
<file path=[Content_Types].xml><?xml version="1.0" encoding="utf-8"?>
<Types xmlns="http://schemas.openxmlformats.org/package/2006/content-types">
  <Default ContentType="image/png" Extension="png"/>
  <Default ContentType="application/vnd.openxmlformats-package.relationships+xml" Extension="rels"/>
  <Default ContentType="application/xml" Extension="xml"/>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slide+xml" PartName="/ppt/slides/slide15.xml"/>
  <Override ContentType="application/vnd.openxmlformats-officedocument.presentationml.slide+xml" PartName="/ppt/slides/slide16.xml"/>
  <Override ContentType="application/vnd.openxmlformats-officedocument.presentationml.slide+xml" PartName="/ppt/slides/slide17.xml"/>
  <Override ContentType="application/vnd.openxmlformats-officedocument.presentationml.slide+xml" PartName="/ppt/slides/slide18.xml"/>
  <Override ContentType="application/vnd.openxmlformats-officedocument.presentationml.slide+xml" PartName="/ppt/slides/slide19.xml"/>
  <Override ContentType="application/vnd.openxmlformats-officedocument.presentationml.slide+xml" PartName="/ppt/slides/slide20.xml"/>
  <Override ContentType="application/vnd.openxmlformats-officedocument.presentationml.slide+xml" PartName="/ppt/slides/slide21.xml"/>
  <Override ContentType="application/vnd.openxmlformats-officedocument.presentationml.slide+xml" PartName="/ppt/slides/slide22.xml"/>
  <Override ContentType="application/vnd.openxmlformats-officedocument.presentationml.slide+xml" PartName="/ppt/slides/slide23.xml"/>
  <Override ContentType="application/vnd.openxmlformats-officedocument.presentationml.slide+xml" PartName="/ppt/slides/slide24.xml"/>
  <Override ContentType="application/vnd.openxmlformats-officedocument.presentationml.slide+xml" PartName="/ppt/slides/slide25.xml"/>
  <Override ContentType="application/vnd.openxmlformats-officedocument.presentationml.slide+xml" PartName="/ppt/slides/slide26.xml"/>
  <Override ContentType="application/vnd.openxmlformats-officedocument.presentationml.slide+xml" PartName="/ppt/slides/slide27.xml"/>
  <Override ContentType="application/vnd.openxmlformats-officedocument.presentationml.slide+xml" PartName="/ppt/slides/slide28.xml"/>
  <Override ContentType="application/vnd.openxmlformats-officedocument.presentationml.slide+xml" PartName="/ppt/slides/slide29.xml"/>
  <Override ContentType="application/vnd.openxmlformats-officedocument.presentationml.slide+xml" PartName="/ppt/slides/slide30.xml"/>
  <Override ContentType="application/vnd.openxmlformats-officedocument.presentationml.slide+xml" PartName="/ppt/slides/slide31.xml"/>
  <Override ContentType="application/vnd.openxmlformats-officedocument.presentationml.slide+xml" PartName="/ppt/slides/slide32.xml"/>
  <Override ContentType="application/vnd.openxmlformats-officedocument.presentationml.notesMaster+xml" PartName="/ppt/notesMasters/notesMaster1.xml"/>
  <Override ContentType="application/vnd.openxmlformats-officedocument.presentationml.handoutMaster+xml" PartName="/ppt/handoutMasters/handoutMaster1.xml"/>
  <Override ContentType="application/vnd.openxmlformats-officedocument.presentationml.commentAuthors+xml" PartName="/ppt/commentAuthors.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2.xml"/>
  <Override ContentType="application/vnd.openxmlformats-officedocument.theme+xml" PartName="/ppt/theme/theme3.xml"/>
  <Override ContentType="application/vnd.openxmlformats-package.core-properties+xml" PartName="/docProps/core.xml"/>
  <Override ContentType="application/vnd.openxmlformats-officedocument.extended-properties+xml" PartName="/docProps/app.xml"/>
  <Default ContentType="image/jpeg" Extension="jpeg"/>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app.xml" Type="http://schemas.openxmlformats.org/officeDocument/2006/relationships/extended-properties"/><Relationship Id="rId2" Target="docProps/core.xml" Type="http://schemas.openxmlformats.org/package/2006/relationships/metadata/core-properties"/><Relationship Id="rId1" Target="ppt/presentation.xml" Type="http://schemas.openxmlformats.org/officeDocument/2006/relationships/officeDocument"/><Relationship Id="rId4"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34"/>
  </p:notesMasterIdLst>
  <p:handoutMasterIdLst>
    <p:handoutMasterId r:id="rId35"/>
  </p:handoutMasterIdLst>
  <p:sldIdLst>
    <p:sldId id="360" r:id="rId2"/>
    <p:sldId id="292" r:id="rId3"/>
    <p:sldId id="323" r:id="rId4"/>
    <p:sldId id="275" r:id="rId5"/>
    <p:sldId id="359" r:id="rId6"/>
    <p:sldId id="353" r:id="rId7"/>
    <p:sldId id="276" r:id="rId8"/>
    <p:sldId id="297" r:id="rId9"/>
    <p:sldId id="298" r:id="rId10"/>
    <p:sldId id="296" r:id="rId11"/>
    <p:sldId id="355" r:id="rId12"/>
    <p:sldId id="278" r:id="rId13"/>
    <p:sldId id="354" r:id="rId14"/>
    <p:sldId id="357" r:id="rId15"/>
    <p:sldId id="358" r:id="rId16"/>
    <p:sldId id="287" r:id="rId17"/>
    <p:sldId id="290" r:id="rId18"/>
    <p:sldId id="288" r:id="rId19"/>
    <p:sldId id="279" r:id="rId20"/>
    <p:sldId id="356" r:id="rId21"/>
    <p:sldId id="299" r:id="rId22"/>
    <p:sldId id="320" r:id="rId23"/>
    <p:sldId id="346" r:id="rId24"/>
    <p:sldId id="362" r:id="rId25"/>
    <p:sldId id="363" r:id="rId26"/>
    <p:sldId id="361" r:id="rId27"/>
    <p:sldId id="364" r:id="rId28"/>
    <p:sldId id="283" r:id="rId29"/>
    <p:sldId id="295" r:id="rId30"/>
    <p:sldId id="281" r:id="rId31"/>
    <p:sldId id="349" r:id="rId32"/>
    <p:sldId id="285" r:id="rId33"/>
  </p:sldIdLst>
  <p:sldSz cx="9144000" cy="6858000" type="screen4x3"/>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6" pos="288">
          <p15:clr>
            <a:srgbClr val="A4A3A4"/>
          </p15:clr>
        </p15:guide>
        <p15:guide id="13" orient="horz" pos="4032" userDrawn="1">
          <p15:clr>
            <a:srgbClr val="A4A3A4"/>
          </p15:clr>
        </p15:guide>
        <p15:guide id="20" orient="horz" pos="434">
          <p15:clr>
            <a:srgbClr val="A4A3A4"/>
          </p15:clr>
        </p15:guide>
        <p15:guide id="22" orient="horz" pos="3720" userDrawn="1">
          <p15:clr>
            <a:srgbClr val="A4A3A4"/>
          </p15:clr>
        </p15:guide>
        <p15:guide id="23" pos="5471">
          <p15:clr>
            <a:srgbClr val="A4A3A4"/>
          </p15:clr>
        </p15:guide>
        <p15:guide id="24" orient="horz" pos="431">
          <p15:clr>
            <a:srgbClr val="A4A3A4"/>
          </p15:clr>
        </p15:guide>
        <p15:guide id="25" orient="horz" pos="775">
          <p15:clr>
            <a:srgbClr val="A4A3A4"/>
          </p15:clr>
        </p15:guide>
        <p15:guide id="27" orient="horz" pos="1056" userDrawn="1">
          <p15:clr>
            <a:srgbClr val="A4A3A4"/>
          </p15:clr>
        </p15:guide>
      </p15:sldGuideLst>
    </p:ext>
    <p:ext uri="{2D200454-40CA-4A62-9FC3-DE9A4176ACB9}">
      <p15:notesGuideLst xmlns:p15="http://schemas.microsoft.com/office/powerpoint/2012/main">
        <p15:guide id="1" orient="horz" pos="2932" userDrawn="1">
          <p15:clr>
            <a:srgbClr val="A4A3A4"/>
          </p15:clr>
        </p15:guide>
        <p15:guide id="2" pos="221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6969"/>
    <a:srgbClr val="FFC9C9"/>
    <a:srgbClr val="C00000"/>
    <a:srgbClr val="9BD4FF"/>
    <a:srgbClr val="FFFFFF"/>
    <a:srgbClr val="0070C0"/>
    <a:srgbClr val="CCCCCC"/>
    <a:srgbClr val="7F7F7F"/>
    <a:srgbClr val="A4E646"/>
    <a:srgbClr val="C5C5C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13" autoAdjust="0"/>
    <p:restoredTop sz="79021" autoAdjust="0"/>
  </p:normalViewPr>
  <p:slideViewPr>
    <p:cSldViewPr snapToGrid="0" showGuides="1">
      <p:cViewPr varScale="1">
        <p:scale>
          <a:sx n="67" d="100"/>
          <a:sy n="67" d="100"/>
        </p:scale>
        <p:origin x="1168" y="32"/>
      </p:cViewPr>
      <p:guideLst>
        <p:guide pos="288"/>
        <p:guide orient="horz" pos="4032"/>
        <p:guide orient="horz" pos="434"/>
        <p:guide orient="horz" pos="3720"/>
        <p:guide pos="5471"/>
        <p:guide orient="horz" pos="431"/>
        <p:guide orient="horz" pos="775"/>
        <p:guide orient="horz" pos="1056"/>
      </p:guideLst>
    </p:cSldViewPr>
  </p:slideViewPr>
  <p:outlineViewPr>
    <p:cViewPr>
      <p:scale>
        <a:sx n="33" d="100"/>
        <a:sy n="33" d="100"/>
      </p:scale>
      <p:origin x="48" y="0"/>
    </p:cViewPr>
  </p:outlineViewPr>
  <p:notesTextViewPr>
    <p:cViewPr>
      <p:scale>
        <a:sx n="1" d="1"/>
        <a:sy n="1" d="1"/>
      </p:scale>
      <p:origin x="0" y="0"/>
    </p:cViewPr>
  </p:notesTextViewPr>
  <p:notesViewPr>
    <p:cSldViewPr snapToGrid="0" showGuides="1">
      <p:cViewPr varScale="1">
        <p:scale>
          <a:sx n="83" d="100"/>
          <a:sy n="83" d="100"/>
        </p:scale>
        <p:origin x="1890" y="84"/>
      </p:cViewPr>
      <p:guideLst>
        <p:guide orient="horz" pos="2932"/>
        <p:guide pos="2212"/>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5455"/>
          </a:xfrm>
          <a:prstGeom prst="rect">
            <a:avLst/>
          </a:prstGeom>
        </p:spPr>
        <p:txBody>
          <a:bodyPr vert="horz" lIns="93304" tIns="46652" rIns="93304" bIns="46652" rtlCol="0"/>
          <a:lstStyle>
            <a:lvl1pPr algn="l">
              <a:defRPr sz="1200"/>
            </a:lvl1pPr>
          </a:lstStyle>
          <a:p>
            <a:endParaRPr lang="en-US" dirty="0"/>
          </a:p>
        </p:txBody>
      </p:sp>
      <p:sp>
        <p:nvSpPr>
          <p:cNvPr id="3" name="Date Placeholder 2"/>
          <p:cNvSpPr>
            <a:spLocks noGrp="1"/>
          </p:cNvSpPr>
          <p:nvPr>
            <p:ph type="dt" sz="quarter" idx="1"/>
          </p:nvPr>
        </p:nvSpPr>
        <p:spPr>
          <a:xfrm>
            <a:off x="3978132" y="0"/>
            <a:ext cx="3043343" cy="465455"/>
          </a:xfrm>
          <a:prstGeom prst="rect">
            <a:avLst/>
          </a:prstGeom>
        </p:spPr>
        <p:txBody>
          <a:bodyPr vert="horz" lIns="93304" tIns="46652" rIns="93304" bIns="46652" rtlCol="0"/>
          <a:lstStyle>
            <a:lvl1pPr algn="r">
              <a:defRPr sz="1200"/>
            </a:lvl1pPr>
          </a:lstStyle>
          <a:p>
            <a:fld id="{C82D80E6-D833-4D00-8945-DCAB52F2AE2C}" type="datetimeFigureOut">
              <a:rPr lang="en-US" smtClean="0"/>
              <a:t>6/23/2020</a:t>
            </a:fld>
            <a:endParaRPr lang="en-US" dirty="0"/>
          </a:p>
        </p:txBody>
      </p:sp>
      <p:sp>
        <p:nvSpPr>
          <p:cNvPr id="4" name="Footer Placeholder 3"/>
          <p:cNvSpPr>
            <a:spLocks noGrp="1"/>
          </p:cNvSpPr>
          <p:nvPr>
            <p:ph type="ftr" sz="quarter" idx="2"/>
          </p:nvPr>
        </p:nvSpPr>
        <p:spPr>
          <a:xfrm>
            <a:off x="0" y="8842030"/>
            <a:ext cx="3043343" cy="465455"/>
          </a:xfrm>
          <a:prstGeom prst="rect">
            <a:avLst/>
          </a:prstGeom>
        </p:spPr>
        <p:txBody>
          <a:bodyPr vert="horz" lIns="93304" tIns="46652" rIns="93304" bIns="46652"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8132" y="8842030"/>
            <a:ext cx="3043343" cy="465455"/>
          </a:xfrm>
          <a:prstGeom prst="rect">
            <a:avLst/>
          </a:prstGeom>
        </p:spPr>
        <p:txBody>
          <a:bodyPr vert="horz" lIns="93304" tIns="46652" rIns="93304" bIns="46652" rtlCol="0" anchor="b"/>
          <a:lstStyle>
            <a:lvl1pPr algn="r">
              <a:defRPr sz="1200"/>
            </a:lvl1pPr>
          </a:lstStyle>
          <a:p>
            <a:fld id="{0510C413-ACE7-4634-A9DB-0DA67C0BE4FF}" type="slidenum">
              <a:rPr lang="en-US" smtClean="0"/>
              <a:t>‹#›</a:t>
            </a:fld>
            <a:endParaRPr lang="en-US" dirty="0"/>
          </a:p>
        </p:txBody>
      </p:sp>
    </p:spTree>
    <p:extLst>
      <p:ext uri="{BB962C8B-B14F-4D97-AF65-F5344CB8AC3E}">
        <p14:creationId xmlns:p14="http://schemas.microsoft.com/office/powerpoint/2010/main" val="40463331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43979" cy="465773"/>
          </a:xfrm>
          <a:prstGeom prst="rect">
            <a:avLst/>
          </a:prstGeom>
        </p:spPr>
        <p:txBody>
          <a:bodyPr vert="horz" lIns="91564" tIns="45782" rIns="91564" bIns="45782" rtlCol="0"/>
          <a:lstStyle>
            <a:lvl1pPr algn="l">
              <a:defRPr sz="1200"/>
            </a:lvl1pPr>
          </a:lstStyle>
          <a:p>
            <a:endParaRPr lang="en-US" dirty="0"/>
          </a:p>
        </p:txBody>
      </p:sp>
      <p:sp>
        <p:nvSpPr>
          <p:cNvPr id="3" name="Date Placeholder 2"/>
          <p:cNvSpPr>
            <a:spLocks noGrp="1"/>
          </p:cNvSpPr>
          <p:nvPr>
            <p:ph type="dt" idx="1"/>
          </p:nvPr>
        </p:nvSpPr>
        <p:spPr>
          <a:xfrm>
            <a:off x="3977532" y="0"/>
            <a:ext cx="3043979" cy="465773"/>
          </a:xfrm>
          <a:prstGeom prst="rect">
            <a:avLst/>
          </a:prstGeom>
        </p:spPr>
        <p:txBody>
          <a:bodyPr vert="horz" lIns="91564" tIns="45782" rIns="91564" bIns="45782" rtlCol="0"/>
          <a:lstStyle>
            <a:lvl1pPr algn="r">
              <a:defRPr sz="1200"/>
            </a:lvl1pPr>
          </a:lstStyle>
          <a:p>
            <a:fld id="{AD27DA04-0E4C-4B92-B868-121483F00298}" type="datetimeFigureOut">
              <a:rPr lang="en-US" smtClean="0"/>
              <a:t>6/23/2020</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564" tIns="45782" rIns="91564" bIns="45782" rtlCol="0" anchor="ctr"/>
          <a:lstStyle/>
          <a:p>
            <a:endParaRPr lang="en-US" dirty="0"/>
          </a:p>
        </p:txBody>
      </p:sp>
      <p:sp>
        <p:nvSpPr>
          <p:cNvPr id="5" name="Notes Placeholder 4"/>
          <p:cNvSpPr>
            <a:spLocks noGrp="1"/>
          </p:cNvSpPr>
          <p:nvPr>
            <p:ph type="body" sz="quarter" idx="3"/>
          </p:nvPr>
        </p:nvSpPr>
        <p:spPr>
          <a:xfrm>
            <a:off x="702947" y="4422460"/>
            <a:ext cx="5617208" cy="4188778"/>
          </a:xfrm>
          <a:prstGeom prst="rect">
            <a:avLst/>
          </a:prstGeom>
        </p:spPr>
        <p:txBody>
          <a:bodyPr vert="horz" lIns="91564" tIns="45782" rIns="91564" bIns="45782"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41738"/>
            <a:ext cx="3043979" cy="465773"/>
          </a:xfrm>
          <a:prstGeom prst="rect">
            <a:avLst/>
          </a:prstGeom>
        </p:spPr>
        <p:txBody>
          <a:bodyPr vert="horz" lIns="91564" tIns="45782" rIns="91564" bIns="45782"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7532" y="8841738"/>
            <a:ext cx="3043979" cy="465773"/>
          </a:xfrm>
          <a:prstGeom prst="rect">
            <a:avLst/>
          </a:prstGeom>
        </p:spPr>
        <p:txBody>
          <a:bodyPr vert="horz" lIns="91564" tIns="45782" rIns="91564" bIns="45782" rtlCol="0" anchor="b"/>
          <a:lstStyle>
            <a:lvl1pPr algn="r">
              <a:defRPr sz="1200"/>
            </a:lvl1pPr>
          </a:lstStyle>
          <a:p>
            <a:fld id="{F9DFD542-4572-43F7-85F2-DCDB718CA25F}" type="slidenum">
              <a:rPr lang="en-US" smtClean="0"/>
              <a:t>‹#›</a:t>
            </a:fld>
            <a:endParaRPr lang="en-US" dirty="0"/>
          </a:p>
        </p:txBody>
      </p:sp>
    </p:spTree>
    <p:extLst>
      <p:ext uri="{BB962C8B-B14F-4D97-AF65-F5344CB8AC3E}">
        <p14:creationId xmlns:p14="http://schemas.microsoft.com/office/powerpoint/2010/main" val="17600443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2" Type="http://schemas.openxmlformats.org/officeDocument/2006/relationships/hyperlink" Target="http://www.bgov.com/" TargetMode="External"/><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7480D1AF-4956-4394-9A3F-45ACE16E818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543922"/>
            <a:ext cx="9144000" cy="6348582"/>
          </a:xfrm>
          <a:prstGeom prst="rect">
            <a:avLst/>
          </a:prstGeom>
        </p:spPr>
      </p:pic>
      <p:sp>
        <p:nvSpPr>
          <p:cNvPr id="12" name="Title 1"/>
          <p:cNvSpPr>
            <a:spLocks noGrp="1"/>
          </p:cNvSpPr>
          <p:nvPr>
            <p:ph type="ctrTitle" hasCustomPrompt="1"/>
            <p:custDataLst>
              <p:tags r:id="rId1"/>
            </p:custDataLst>
          </p:nvPr>
        </p:nvSpPr>
        <p:spPr>
          <a:xfrm>
            <a:off x="365760" y="685800"/>
            <a:ext cx="7300155" cy="2281238"/>
          </a:xfrm>
        </p:spPr>
        <p:txBody>
          <a:bodyPr anchor="b" anchorCtr="0">
            <a:noAutofit/>
          </a:bodyPr>
          <a:lstStyle>
            <a:lvl1pPr>
              <a:lnSpc>
                <a:spcPct val="100000"/>
              </a:lnSpc>
              <a:defRPr sz="5400" b="1" cap="none" baseline="0">
                <a:solidFill>
                  <a:schemeClr val="tx1"/>
                </a:solidFill>
                <a:latin typeface="Arial" pitchFamily="34" charset="0"/>
                <a:cs typeface="Arial" pitchFamily="34" charset="0"/>
              </a:defRPr>
            </a:lvl1pPr>
          </a:lstStyle>
          <a:p>
            <a:r>
              <a:rPr lang="en-US" dirty="0"/>
              <a:t>Title of Presentation for Analyst. [54pt]</a:t>
            </a:r>
          </a:p>
        </p:txBody>
      </p:sp>
      <p:sp>
        <p:nvSpPr>
          <p:cNvPr id="5" name="TextBox 4">
            <a:extLst>
              <a:ext uri="{FF2B5EF4-FFF2-40B4-BE49-F238E27FC236}">
                <a16:creationId xmlns:a16="http://schemas.microsoft.com/office/drawing/2014/main" id="{08F3E7B6-4226-48B5-810A-BB443F920B46}"/>
              </a:ext>
            </a:extLst>
          </p:cNvPr>
          <p:cNvSpPr txBox="1"/>
          <p:nvPr userDrawn="1"/>
        </p:nvSpPr>
        <p:spPr>
          <a:xfrm>
            <a:off x="181153" y="6547452"/>
            <a:ext cx="1656272" cy="258363"/>
          </a:xfrm>
          <a:prstGeom prst="rect">
            <a:avLst/>
          </a:prstGeom>
          <a:noFill/>
        </p:spPr>
        <p:txBody>
          <a:bodyPr wrap="square" lIns="0" tIns="45720" rIns="0" bIns="45720" rtlCol="0">
            <a:noAutofit/>
          </a:bodyPr>
          <a:lstStyle/>
          <a:p>
            <a:pPr>
              <a:buClr>
                <a:srgbClr val="FFFFFF"/>
              </a:buClr>
            </a:pPr>
            <a:r>
              <a:rPr lang="en-US" sz="1050" b="1" dirty="0">
                <a:solidFill>
                  <a:schemeClr val="bg1"/>
                </a:solidFill>
                <a:latin typeface="Arial" pitchFamily="34" charset="0"/>
                <a:cs typeface="Arial" pitchFamily="34" charset="0"/>
              </a:rPr>
              <a:t>©2020 BGOV LLC</a:t>
            </a:r>
          </a:p>
        </p:txBody>
      </p:sp>
    </p:spTree>
    <p:extLst>
      <p:ext uri="{BB962C8B-B14F-4D97-AF65-F5344CB8AC3E}">
        <p14:creationId xmlns:p14="http://schemas.microsoft.com/office/powerpoint/2010/main" val="35780098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bout BGOV">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993" y="684213"/>
            <a:ext cx="8228013" cy="457200"/>
          </a:xfrm>
        </p:spPr>
        <p:txBody>
          <a:bodyPr>
            <a:noAutofit/>
          </a:bodyPr>
          <a:lstStyle>
            <a:lvl1pPr>
              <a:defRPr/>
            </a:lvl1pPr>
          </a:lstStyle>
          <a:p>
            <a:r>
              <a:rPr lang="en-US" dirty="0"/>
              <a:t>About Bloomberg Government</a:t>
            </a:r>
          </a:p>
        </p:txBody>
      </p:sp>
      <p:sp>
        <p:nvSpPr>
          <p:cNvPr id="7" name="Text Placeholder 4"/>
          <p:cNvSpPr>
            <a:spLocks noGrp="1"/>
          </p:cNvSpPr>
          <p:nvPr>
            <p:ph type="body" sz="quarter" idx="11"/>
          </p:nvPr>
        </p:nvSpPr>
        <p:spPr>
          <a:xfrm>
            <a:off x="4570413" y="1693863"/>
            <a:ext cx="3657600" cy="3965714"/>
          </a:xfrm>
        </p:spPr>
        <p:txBody>
          <a:bodyPr/>
          <a:lstStyle>
            <a:lvl1pPr>
              <a:buClr>
                <a:srgbClr val="81DD00"/>
              </a:buClr>
              <a:defRPr/>
            </a:lvl1pPr>
            <a:lvl2pPr>
              <a:buClr>
                <a:srgbClr val="81DD00"/>
              </a:buClr>
              <a:defRPr/>
            </a:lvl2pPr>
            <a:lvl3pPr>
              <a:buClr>
                <a:srgbClr val="81DD00"/>
              </a:buClr>
              <a:defRPr/>
            </a:lvl3pPr>
            <a:lvl4pPr>
              <a:buClr>
                <a:srgbClr val="81DD00"/>
              </a:buClr>
              <a:defRPr/>
            </a:lvl4pPr>
            <a:lvl5pPr>
              <a:buClr>
                <a:srgbClr val="81DD00"/>
              </a:buCl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cxnSp>
        <p:nvCxnSpPr>
          <p:cNvPr id="8" name="Straight Connector 7"/>
          <p:cNvCxnSpPr/>
          <p:nvPr userDrawn="1"/>
        </p:nvCxnSpPr>
        <p:spPr>
          <a:xfrm>
            <a:off x="4343400" y="1828800"/>
            <a:ext cx="0" cy="393192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 name="TextBox 2"/>
          <p:cNvSpPr txBox="1"/>
          <p:nvPr userDrawn="1"/>
        </p:nvSpPr>
        <p:spPr>
          <a:xfrm>
            <a:off x="457200" y="5850573"/>
            <a:ext cx="6400800" cy="548640"/>
          </a:xfrm>
          <a:prstGeom prst="rect">
            <a:avLst/>
          </a:prstGeom>
          <a:noFill/>
        </p:spPr>
        <p:txBody>
          <a:bodyPr wrap="square" lIns="0" tIns="45720" rIns="0" bIns="0" rtlCol="0" anchor="b" anchorCtr="0">
            <a:noAutofit/>
          </a:bodyPr>
          <a:lstStyle/>
          <a:p>
            <a:pPr lvl="0"/>
            <a:r>
              <a:rPr lang="en-US" sz="900" b="1" dirty="0"/>
              <a:t>Disclaimer</a:t>
            </a:r>
          </a:p>
          <a:p>
            <a:pPr lvl="0"/>
            <a:r>
              <a:rPr lang="en-US" sz="900" dirty="0"/>
              <a:t>Copyright 2020 BGOV LLC.</a:t>
            </a:r>
          </a:p>
          <a:p>
            <a:pPr lvl="0"/>
            <a:r>
              <a:rPr lang="en-US" sz="900" dirty="0"/>
              <a:t>Not for redistribution except by an authorized Bloomberg Government user, and only as expressly permitted in the Bloomberg Government terms of service. All permitted uses shall cite Bloomberg Government as a source.</a:t>
            </a:r>
          </a:p>
        </p:txBody>
      </p:sp>
      <p:sp>
        <p:nvSpPr>
          <p:cNvPr id="4" name="TextBox 3"/>
          <p:cNvSpPr txBox="1"/>
          <p:nvPr userDrawn="1"/>
        </p:nvSpPr>
        <p:spPr>
          <a:xfrm>
            <a:off x="458788" y="1693863"/>
            <a:ext cx="3657600" cy="3200400"/>
          </a:xfrm>
          <a:prstGeom prst="rect">
            <a:avLst/>
          </a:prstGeom>
          <a:noFill/>
        </p:spPr>
        <p:txBody>
          <a:bodyPr wrap="square" lIns="0" tIns="45720" rIns="0" bIns="45720" rtlCol="0">
            <a:noAutofit/>
          </a:bodyPr>
          <a:lstStyle/>
          <a:p>
            <a:pPr marL="0" indent="0">
              <a:buNone/>
            </a:pPr>
            <a:r>
              <a:rPr lang="en-US" sz="1400" dirty="0"/>
              <a:t>Delivering news, analytics and data-driven decision tools, Bloomberg Government's digital workspace gives an intelligent edge to government affairs, federal and contracting professionals influencing government action. </a:t>
            </a:r>
          </a:p>
          <a:p>
            <a:pPr marL="0" indent="0">
              <a:buNone/>
            </a:pPr>
            <a:endParaRPr lang="en-US" sz="1400" dirty="0"/>
          </a:p>
          <a:p>
            <a:pPr marL="0" indent="0">
              <a:buNone/>
            </a:pPr>
            <a:r>
              <a:rPr lang="en-US" sz="1400" dirty="0"/>
              <a:t>For more information or a demo, visit</a:t>
            </a:r>
            <a:r>
              <a:rPr lang="en-US" sz="1400" baseline="0" dirty="0"/>
              <a:t> </a:t>
            </a:r>
            <a:r>
              <a:rPr lang="en-US" sz="1400" dirty="0">
                <a:hlinkClick r:id="rId2"/>
              </a:rPr>
              <a:t>www.bgov.com</a:t>
            </a:r>
            <a:r>
              <a:rPr lang="en-US" sz="1400" dirty="0"/>
              <a:t> or call +1-202-416-3450.</a:t>
            </a:r>
          </a:p>
        </p:txBody>
      </p:sp>
      <p:sp>
        <p:nvSpPr>
          <p:cNvPr id="12" name="TextBox 11"/>
          <p:cNvSpPr txBox="1"/>
          <p:nvPr userDrawn="1"/>
        </p:nvSpPr>
        <p:spPr>
          <a:xfrm>
            <a:off x="457200" y="1230313"/>
            <a:ext cx="3840480" cy="333955"/>
          </a:xfrm>
          <a:prstGeom prst="rect">
            <a:avLst/>
          </a:prstGeom>
          <a:noFill/>
        </p:spPr>
        <p:txBody>
          <a:bodyPr wrap="square" lIns="0" tIns="45720" rIns="0" bIns="45720" rtlCol="0">
            <a:noAutofit/>
          </a:bodyPr>
          <a:lstStyle/>
          <a:p>
            <a:pPr lvl="0"/>
            <a:r>
              <a:rPr lang="en-US" sz="1600" dirty="0">
                <a:gradFill>
                  <a:gsLst>
                    <a:gs pos="6000">
                      <a:srgbClr val="81DD00"/>
                    </a:gs>
                    <a:gs pos="51000">
                      <a:srgbClr val="009E6E"/>
                    </a:gs>
                    <a:gs pos="96000">
                      <a:schemeClr val="accent1"/>
                    </a:gs>
                  </a:gsLst>
                  <a:lin ang="0" scaled="0"/>
                </a:gradFill>
              </a:rPr>
              <a:t>Follow us on Twitter @BGOV</a:t>
            </a:r>
          </a:p>
        </p:txBody>
      </p:sp>
    </p:spTree>
    <p:extLst>
      <p:ext uri="{BB962C8B-B14F-4D97-AF65-F5344CB8AC3E}">
        <p14:creationId xmlns:p14="http://schemas.microsoft.com/office/powerpoint/2010/main" val="31518125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2_Body or Overvie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8975"/>
            <a:ext cx="8228013" cy="457200"/>
          </a:xfrm>
        </p:spPr>
        <p:txBody>
          <a:bodyPr wrap="square">
            <a:spAutoFit/>
          </a:bodyPr>
          <a:lstStyle>
            <a:lvl1pPr>
              <a:defRPr sz="2800" cap="none" baseline="0"/>
            </a:lvl1pPr>
          </a:lstStyle>
          <a:p>
            <a:r>
              <a:rPr lang="en-US" dirty="0"/>
              <a:t>Body or Overview Slide: 1-line max [28pt]</a:t>
            </a:r>
          </a:p>
        </p:txBody>
      </p:sp>
      <p:sp>
        <p:nvSpPr>
          <p:cNvPr id="8" name="Text Placeholder 7"/>
          <p:cNvSpPr>
            <a:spLocks noGrp="1"/>
          </p:cNvSpPr>
          <p:nvPr>
            <p:ph type="body" sz="quarter" idx="10" hasCustomPrompt="1"/>
          </p:nvPr>
        </p:nvSpPr>
        <p:spPr>
          <a:xfrm>
            <a:off x="447481" y="1874838"/>
            <a:ext cx="8229600" cy="4021137"/>
          </a:xfrm>
        </p:spPr>
        <p:txBody>
          <a:bodyPr/>
          <a:lstStyle>
            <a:lvl1pPr marL="231775" indent="-231775">
              <a:buClr>
                <a:srgbClr val="81DD00"/>
              </a:buClr>
              <a:buFont typeface="Arial" panose="020B0604020202020204" pitchFamily="34" charset="0"/>
              <a:buChar char="•"/>
              <a:defRPr sz="1600" baseline="0"/>
            </a:lvl1pPr>
            <a:lvl2pPr marL="231775" indent="-231775">
              <a:buClr>
                <a:srgbClr val="00C78B"/>
              </a:buClr>
              <a:defRPr sz="1600"/>
            </a:lvl2pPr>
            <a:lvl3pPr marL="457200" indent="-225425">
              <a:buClr>
                <a:srgbClr val="81DD00"/>
              </a:buClr>
              <a:defRPr sz="1600"/>
            </a:lvl3pPr>
            <a:lvl4pPr marL="688975" indent="-231775">
              <a:buClr>
                <a:srgbClr val="81DD00"/>
              </a:buClr>
              <a:defRPr sz="1400"/>
            </a:lvl4pPr>
            <a:lvl5pPr marL="914400" indent="-225425">
              <a:buClr>
                <a:srgbClr val="81DD00"/>
              </a:buClr>
              <a:defRPr sz="1400"/>
            </a:lvl5pPr>
          </a:lstStyle>
          <a:p>
            <a:pPr lvl="0"/>
            <a:r>
              <a:rPr lang="en-US" dirty="0"/>
              <a:t>First level stand alone bullet</a:t>
            </a:r>
          </a:p>
          <a:p>
            <a:pPr lvl="2"/>
            <a:r>
              <a:rPr lang="en-US" dirty="0"/>
              <a:t>Second level</a:t>
            </a:r>
          </a:p>
          <a:p>
            <a:pPr lvl="3"/>
            <a:r>
              <a:rPr lang="en-US" dirty="0"/>
              <a:t>Third level</a:t>
            </a:r>
          </a:p>
          <a:p>
            <a:pPr lvl="4"/>
            <a:r>
              <a:rPr lang="en-US" dirty="0"/>
              <a:t>Fourth level</a:t>
            </a:r>
          </a:p>
        </p:txBody>
      </p:sp>
      <p:sp>
        <p:nvSpPr>
          <p:cNvPr id="4" name="Text Placeholder 5"/>
          <p:cNvSpPr>
            <a:spLocks noGrp="1"/>
          </p:cNvSpPr>
          <p:nvPr>
            <p:ph type="body" sz="quarter" idx="11" hasCustomPrompt="1"/>
          </p:nvPr>
        </p:nvSpPr>
        <p:spPr>
          <a:xfrm>
            <a:off x="457200" y="1282700"/>
            <a:ext cx="8228013" cy="387350"/>
          </a:xfrm>
        </p:spPr>
        <p:txBody>
          <a:bodyPr/>
          <a:lstStyle>
            <a:lvl1pPr marL="0" indent="0">
              <a:buNone/>
              <a:defRPr b="0" baseline="0">
                <a:solidFill>
                  <a:schemeClr val="tx1">
                    <a:lumMod val="50000"/>
                    <a:lumOff val="50000"/>
                  </a:schemeClr>
                </a:solidFill>
              </a:defRPr>
            </a:lvl1pPr>
          </a:lstStyle>
          <a:p>
            <a:pPr lvl="0"/>
            <a:r>
              <a:rPr lang="en-US" dirty="0"/>
              <a:t>Optional subhead goes here. 1-line max [16pt]</a:t>
            </a:r>
          </a:p>
        </p:txBody>
      </p:sp>
      <p:sp>
        <p:nvSpPr>
          <p:cNvPr id="5" name="Text Placeholder 6"/>
          <p:cNvSpPr>
            <a:spLocks noGrp="1"/>
          </p:cNvSpPr>
          <p:nvPr>
            <p:ph type="body" sz="quarter" idx="13" hasCustomPrompt="1"/>
          </p:nvPr>
        </p:nvSpPr>
        <p:spPr>
          <a:xfrm>
            <a:off x="457200" y="6078855"/>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27100021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ext slid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Autofit/>
          </a:bodyPr>
          <a:lstStyle>
            <a:lvl1pPr>
              <a:defRPr sz="2200"/>
            </a:lvl1pPr>
          </a:lstStyle>
          <a:p>
            <a:r>
              <a:rPr lang="en-US" dirty="0"/>
              <a:t>&lt;Click to edit Master title style: 2-line max headline [22pt]&gt;</a:t>
            </a:r>
          </a:p>
        </p:txBody>
      </p:sp>
      <p:sp>
        <p:nvSpPr>
          <p:cNvPr id="8" name="Text Placeholder 7"/>
          <p:cNvSpPr>
            <a:spLocks noGrp="1"/>
          </p:cNvSpPr>
          <p:nvPr>
            <p:ph type="body" sz="quarter" idx="10"/>
          </p:nvPr>
        </p:nvSpPr>
        <p:spPr>
          <a:xfrm>
            <a:off x="447481" y="1526981"/>
            <a:ext cx="7772400" cy="4572000"/>
          </a:xfrm>
        </p:spPr>
        <p:txBody>
          <a:bodyPr/>
          <a:lstStyle>
            <a:lvl1pPr>
              <a:defRPr sz="1600"/>
            </a:lvl1pPr>
            <a:lvl2pPr>
              <a:defRPr sz="1600"/>
            </a:lvl2pPr>
            <a:lvl3pPr>
              <a:defRPr sz="16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930894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ody or Overvie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8975"/>
            <a:ext cx="8228013" cy="457200"/>
          </a:xfrm>
        </p:spPr>
        <p:txBody>
          <a:bodyPr wrap="square">
            <a:spAutoFit/>
          </a:bodyPr>
          <a:lstStyle>
            <a:lvl1pPr>
              <a:defRPr sz="2800" cap="none" baseline="0"/>
            </a:lvl1pPr>
          </a:lstStyle>
          <a:p>
            <a:r>
              <a:rPr lang="en-US" dirty="0"/>
              <a:t>Body or Overview Slide: 1-line max [28pt]</a:t>
            </a:r>
          </a:p>
        </p:txBody>
      </p:sp>
      <p:sp>
        <p:nvSpPr>
          <p:cNvPr id="8" name="Text Placeholder 7"/>
          <p:cNvSpPr>
            <a:spLocks noGrp="1"/>
          </p:cNvSpPr>
          <p:nvPr>
            <p:ph type="body" sz="quarter" idx="10" hasCustomPrompt="1"/>
          </p:nvPr>
        </p:nvSpPr>
        <p:spPr>
          <a:xfrm>
            <a:off x="447481" y="1874838"/>
            <a:ext cx="8229600" cy="4021137"/>
          </a:xfrm>
        </p:spPr>
        <p:txBody>
          <a:bodyPr/>
          <a:lstStyle>
            <a:lvl1pPr marL="231775" indent="-231775">
              <a:buClr>
                <a:srgbClr val="81DD00"/>
              </a:buClr>
              <a:buFont typeface="Arial" panose="020B0604020202020204" pitchFamily="34" charset="0"/>
              <a:buChar char="•"/>
              <a:defRPr sz="1600" baseline="0"/>
            </a:lvl1pPr>
            <a:lvl2pPr marL="231775" indent="-231775">
              <a:buClr>
                <a:srgbClr val="00C78B"/>
              </a:buClr>
              <a:defRPr sz="1600"/>
            </a:lvl2pPr>
            <a:lvl3pPr marL="457200" indent="-225425">
              <a:buClr>
                <a:srgbClr val="81DD00"/>
              </a:buClr>
              <a:defRPr sz="1600"/>
            </a:lvl3pPr>
            <a:lvl4pPr marL="688975" indent="-231775">
              <a:buClr>
                <a:srgbClr val="81DD00"/>
              </a:buClr>
              <a:defRPr sz="1400"/>
            </a:lvl4pPr>
            <a:lvl5pPr marL="914400" indent="-225425">
              <a:buClr>
                <a:srgbClr val="81DD00"/>
              </a:buClr>
              <a:defRPr sz="1400"/>
            </a:lvl5pPr>
          </a:lstStyle>
          <a:p>
            <a:pPr lvl="0"/>
            <a:r>
              <a:rPr lang="en-US" dirty="0"/>
              <a:t>First level stand alone bullet</a:t>
            </a:r>
          </a:p>
          <a:p>
            <a:pPr lvl="2"/>
            <a:r>
              <a:rPr lang="en-US" dirty="0"/>
              <a:t>Second level</a:t>
            </a:r>
          </a:p>
          <a:p>
            <a:pPr lvl="3"/>
            <a:r>
              <a:rPr lang="en-US" dirty="0"/>
              <a:t>Third level</a:t>
            </a:r>
          </a:p>
          <a:p>
            <a:pPr lvl="4"/>
            <a:r>
              <a:rPr lang="en-US" dirty="0"/>
              <a:t>Fourth level</a:t>
            </a:r>
          </a:p>
        </p:txBody>
      </p:sp>
      <p:sp>
        <p:nvSpPr>
          <p:cNvPr id="4" name="Text Placeholder 5"/>
          <p:cNvSpPr>
            <a:spLocks noGrp="1"/>
          </p:cNvSpPr>
          <p:nvPr>
            <p:ph type="body" sz="quarter" idx="11" hasCustomPrompt="1"/>
          </p:nvPr>
        </p:nvSpPr>
        <p:spPr>
          <a:xfrm>
            <a:off x="457200" y="1282700"/>
            <a:ext cx="8228013" cy="387350"/>
          </a:xfrm>
        </p:spPr>
        <p:txBody>
          <a:bodyPr/>
          <a:lstStyle>
            <a:lvl1pPr marL="0" indent="0">
              <a:buNone/>
              <a:defRPr b="0" baseline="0">
                <a:solidFill>
                  <a:schemeClr val="tx1">
                    <a:lumMod val="50000"/>
                    <a:lumOff val="50000"/>
                  </a:schemeClr>
                </a:solidFill>
              </a:defRPr>
            </a:lvl1pPr>
          </a:lstStyle>
          <a:p>
            <a:pPr lvl="0"/>
            <a:r>
              <a:rPr lang="en-US" dirty="0"/>
              <a:t>Optional subhead goes here. 1-line max [16pt]</a:t>
            </a:r>
          </a:p>
        </p:txBody>
      </p:sp>
      <p:sp>
        <p:nvSpPr>
          <p:cNvPr id="5" name="Text Placeholder 6"/>
          <p:cNvSpPr>
            <a:spLocks noGrp="1"/>
          </p:cNvSpPr>
          <p:nvPr>
            <p:ph type="body" sz="quarter" idx="13" hasCustomPrompt="1"/>
          </p:nvPr>
        </p:nvSpPr>
        <p:spPr>
          <a:xfrm>
            <a:off x="457200" y="6078855"/>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10747882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4_Body or Overvie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8975"/>
            <a:ext cx="8228013" cy="457200"/>
          </a:xfrm>
        </p:spPr>
        <p:txBody>
          <a:bodyPr wrap="square">
            <a:spAutoFit/>
          </a:bodyPr>
          <a:lstStyle>
            <a:lvl1pPr>
              <a:defRPr sz="2800" cap="none" baseline="0"/>
            </a:lvl1pPr>
          </a:lstStyle>
          <a:p>
            <a:r>
              <a:rPr lang="en-US" dirty="0"/>
              <a:t>Body or Overview Slide: 1-line max [28pt]</a:t>
            </a:r>
          </a:p>
        </p:txBody>
      </p:sp>
      <p:sp>
        <p:nvSpPr>
          <p:cNvPr id="8" name="Text Placeholder 7"/>
          <p:cNvSpPr>
            <a:spLocks noGrp="1"/>
          </p:cNvSpPr>
          <p:nvPr>
            <p:ph type="body" sz="quarter" idx="10" hasCustomPrompt="1"/>
          </p:nvPr>
        </p:nvSpPr>
        <p:spPr>
          <a:xfrm>
            <a:off x="447481" y="1874838"/>
            <a:ext cx="8229600" cy="4021137"/>
          </a:xfrm>
        </p:spPr>
        <p:txBody>
          <a:bodyPr/>
          <a:lstStyle>
            <a:lvl1pPr marL="231775" indent="-231775">
              <a:buClr>
                <a:srgbClr val="81DD00"/>
              </a:buClr>
              <a:buFont typeface="Arial" panose="020B0604020202020204" pitchFamily="34" charset="0"/>
              <a:buChar char="•"/>
              <a:defRPr sz="1600" baseline="0"/>
            </a:lvl1pPr>
            <a:lvl2pPr marL="231775" indent="-231775">
              <a:buClr>
                <a:srgbClr val="00C78B"/>
              </a:buClr>
              <a:defRPr sz="1600"/>
            </a:lvl2pPr>
            <a:lvl3pPr marL="457200" indent="-225425">
              <a:buClr>
                <a:srgbClr val="81DD00"/>
              </a:buClr>
              <a:defRPr sz="1600"/>
            </a:lvl3pPr>
            <a:lvl4pPr marL="688975" indent="-231775">
              <a:buClr>
                <a:srgbClr val="81DD00"/>
              </a:buClr>
              <a:defRPr sz="1400"/>
            </a:lvl4pPr>
            <a:lvl5pPr marL="914400" indent="-225425">
              <a:buClr>
                <a:srgbClr val="81DD00"/>
              </a:buClr>
              <a:defRPr sz="1400"/>
            </a:lvl5pPr>
          </a:lstStyle>
          <a:p>
            <a:pPr lvl="0"/>
            <a:r>
              <a:rPr lang="en-US" dirty="0"/>
              <a:t>First level stand alone bullet</a:t>
            </a:r>
          </a:p>
          <a:p>
            <a:pPr lvl="2"/>
            <a:r>
              <a:rPr lang="en-US" dirty="0"/>
              <a:t>Second level</a:t>
            </a:r>
          </a:p>
          <a:p>
            <a:pPr lvl="3"/>
            <a:r>
              <a:rPr lang="en-US" dirty="0"/>
              <a:t>Third level</a:t>
            </a:r>
          </a:p>
          <a:p>
            <a:pPr lvl="4"/>
            <a:r>
              <a:rPr lang="en-US" dirty="0"/>
              <a:t>Fourth level</a:t>
            </a:r>
          </a:p>
        </p:txBody>
      </p:sp>
      <p:sp>
        <p:nvSpPr>
          <p:cNvPr id="4" name="Text Placeholder 5"/>
          <p:cNvSpPr>
            <a:spLocks noGrp="1"/>
          </p:cNvSpPr>
          <p:nvPr>
            <p:ph type="body" sz="quarter" idx="11" hasCustomPrompt="1"/>
          </p:nvPr>
        </p:nvSpPr>
        <p:spPr>
          <a:xfrm>
            <a:off x="457200" y="1282700"/>
            <a:ext cx="8228013" cy="387350"/>
          </a:xfrm>
        </p:spPr>
        <p:txBody>
          <a:bodyPr/>
          <a:lstStyle>
            <a:lvl1pPr marL="0" indent="0">
              <a:buNone/>
              <a:defRPr b="0" baseline="0">
                <a:solidFill>
                  <a:schemeClr val="tx1">
                    <a:lumMod val="50000"/>
                    <a:lumOff val="50000"/>
                  </a:schemeClr>
                </a:solidFill>
              </a:defRPr>
            </a:lvl1pPr>
          </a:lstStyle>
          <a:p>
            <a:pPr lvl="0"/>
            <a:r>
              <a:rPr lang="en-US" dirty="0"/>
              <a:t>Optional subhead goes here. 1-line max [16pt]</a:t>
            </a:r>
          </a:p>
        </p:txBody>
      </p:sp>
      <p:sp>
        <p:nvSpPr>
          <p:cNvPr id="5" name="Text Placeholder 6"/>
          <p:cNvSpPr>
            <a:spLocks noGrp="1"/>
          </p:cNvSpPr>
          <p:nvPr>
            <p:ph type="body" sz="quarter" idx="13" hasCustomPrompt="1"/>
          </p:nvPr>
        </p:nvSpPr>
        <p:spPr>
          <a:xfrm>
            <a:off x="457200" y="6078855"/>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34733326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dy or Overview">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200" y="684213"/>
            <a:ext cx="8228013" cy="457200"/>
          </a:xfrm>
        </p:spPr>
        <p:txBody>
          <a:bodyPr wrap="square">
            <a:spAutoFit/>
          </a:bodyPr>
          <a:lstStyle>
            <a:lvl1pPr>
              <a:defRPr sz="2800" cap="none" baseline="0"/>
            </a:lvl1pPr>
          </a:lstStyle>
          <a:p>
            <a:r>
              <a:rPr lang="en-US" dirty="0"/>
              <a:t>Body or Overview Slide: 1-line max [28pt]</a:t>
            </a:r>
          </a:p>
        </p:txBody>
      </p:sp>
      <p:sp>
        <p:nvSpPr>
          <p:cNvPr id="8" name="Text Placeholder 7"/>
          <p:cNvSpPr>
            <a:spLocks noGrp="1"/>
          </p:cNvSpPr>
          <p:nvPr>
            <p:ph type="body" sz="quarter" idx="10" hasCustomPrompt="1"/>
          </p:nvPr>
        </p:nvSpPr>
        <p:spPr>
          <a:xfrm>
            <a:off x="447481" y="1693864"/>
            <a:ext cx="8229600" cy="4202111"/>
          </a:xfrm>
        </p:spPr>
        <p:txBody>
          <a:bodyPr/>
          <a:lstStyle>
            <a:lvl1pPr marL="231775" indent="-231775">
              <a:spcBef>
                <a:spcPts val="0"/>
              </a:spcBef>
              <a:spcAft>
                <a:spcPts val="0"/>
              </a:spcAft>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1pPr>
            <a:lvl2pPr marL="457200" indent="-225425">
              <a:buClr>
                <a:srgbClr val="81DD00"/>
              </a:buClr>
              <a:buFont typeface="Arial" panose="020B0604020202020204" pitchFamily="34" charset="0"/>
              <a:buChar char="•"/>
              <a:defRPr sz="1600"/>
            </a:lvl2pPr>
            <a:lvl3pPr marL="688975" indent="-231775">
              <a:spcBef>
                <a:spcPts val="0"/>
              </a:spcBef>
              <a:spcAft>
                <a:spcPts val="0"/>
              </a:spcAft>
              <a:buClr>
                <a:srgbClr val="81DD00"/>
              </a:buClr>
              <a:buFont typeface="Arial" panose="020B0604020202020204" pitchFamily="34" charset="0"/>
              <a:buChar char="•"/>
              <a:defRPr sz="1600"/>
            </a:lvl3pPr>
            <a:lvl4pPr marL="914400" indent="-225425">
              <a:spcBef>
                <a:spcPts val="0"/>
              </a:spcBef>
              <a:spcAft>
                <a:spcPts val="0"/>
              </a:spcAft>
              <a:buClr>
                <a:srgbClr val="81DD00"/>
              </a:buClr>
              <a:buFont typeface="Arial" panose="020B0604020202020204" pitchFamily="34" charset="0"/>
              <a:buChar char="•"/>
              <a:defRPr sz="1400"/>
            </a:lvl4pPr>
            <a:lvl5pPr marL="1146175" indent="-231775">
              <a:spcBef>
                <a:spcPts val="0"/>
              </a:spcBef>
              <a:spcAft>
                <a:spcPts val="0"/>
              </a:spcAft>
              <a:buClr>
                <a:srgbClr val="81DD00"/>
              </a:buClr>
              <a:defRPr sz="1400"/>
            </a:lvl5pPr>
            <a:lvl6pPr marL="1149350" indent="-234950" defTabSz="1201738">
              <a:spcBef>
                <a:spcPts val="0"/>
              </a:spcBef>
              <a:spcAft>
                <a:spcPts val="0"/>
              </a:spcAft>
              <a:buClr>
                <a:srgbClr val="81DD00"/>
              </a:buClr>
              <a:defRPr sz="1400"/>
            </a:lvl6pPr>
          </a:lstStyle>
          <a:p>
            <a:pPr lvl="0"/>
            <a:r>
              <a:rPr lang="en-US" dirty="0"/>
              <a:t>First level stand alone bulle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457200" y="1234440"/>
            <a:ext cx="8228013" cy="387350"/>
          </a:xfrm>
        </p:spPr>
        <p:txBody>
          <a:bodyPr/>
          <a:lstStyle>
            <a:lvl1pPr marL="0" indent="0">
              <a:buNone/>
              <a:defRPr b="0" baseline="0">
                <a:solidFill>
                  <a:schemeClr val="tx1">
                    <a:lumMod val="50000"/>
                    <a:lumOff val="50000"/>
                  </a:schemeClr>
                </a:solidFill>
              </a:defRPr>
            </a:lvl1pPr>
          </a:lstStyle>
          <a:p>
            <a:pPr lvl="0"/>
            <a:r>
              <a:rPr lang="en-US" dirty="0"/>
              <a:t>Optional subhead goes here. 1-line max [16pt]</a:t>
            </a:r>
          </a:p>
        </p:txBody>
      </p:sp>
    </p:spTree>
    <p:extLst>
      <p:ext uri="{BB962C8B-B14F-4D97-AF65-F5344CB8AC3E}">
        <p14:creationId xmlns:p14="http://schemas.microsoft.com/office/powerpoint/2010/main" val="14014227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rt or Graph">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406" y="684213"/>
            <a:ext cx="8228013" cy="477054"/>
          </a:xfrm>
        </p:spPr>
        <p:txBody>
          <a:bodyPr wrap="square">
            <a:spAutoFit/>
          </a:bodyPr>
          <a:lstStyle>
            <a:lvl1pPr>
              <a:defRPr sz="2800" cap="none" baseline="0"/>
            </a:lvl1pPr>
          </a:lstStyle>
          <a:p>
            <a:r>
              <a:rPr lang="en-US" dirty="0"/>
              <a:t>Chart/Graph Slide: 1-line max [28pt]</a:t>
            </a:r>
          </a:p>
        </p:txBody>
      </p:sp>
      <p:sp>
        <p:nvSpPr>
          <p:cNvPr id="8" name="Text Placeholder 7"/>
          <p:cNvSpPr>
            <a:spLocks noGrp="1"/>
          </p:cNvSpPr>
          <p:nvPr>
            <p:ph type="body" sz="quarter" idx="10" hasCustomPrompt="1"/>
          </p:nvPr>
        </p:nvSpPr>
        <p:spPr>
          <a:xfrm>
            <a:off x="5484813" y="1693863"/>
            <a:ext cx="3200400" cy="4202112"/>
          </a:xfrm>
        </p:spPr>
        <p:txBody>
          <a:bodyPr/>
          <a:lstStyle>
            <a:lvl1pPr marL="231775" indent="-231775">
              <a:buClr>
                <a:srgbClr val="81DD00"/>
              </a:buClr>
              <a:buFont typeface="Arial" panose="020B0604020202020204" pitchFamily="34" charset="0"/>
              <a:buChar char="•"/>
              <a:defRPr sz="1600" baseline="0"/>
            </a:lvl1pPr>
            <a:lvl2pPr marL="457200" indent="-231775">
              <a:buClr>
                <a:srgbClr val="81DD00"/>
              </a:buClr>
              <a:defRPr sz="1600"/>
            </a:lvl2pPr>
            <a:lvl3pPr marL="688975" indent="-231775">
              <a:buClr>
                <a:srgbClr val="81DD00"/>
              </a:buClr>
              <a:defRPr sz="1600"/>
            </a:lvl3pPr>
            <a:lvl4pPr marL="914400" indent="-231775">
              <a:buClr>
                <a:srgbClr val="81DD00"/>
              </a:buClr>
              <a:defRPr sz="1400"/>
            </a:lvl4pPr>
            <a:lvl5pPr marL="1146175" indent="-225425">
              <a:buClr>
                <a:srgbClr val="81DD00"/>
              </a:buClr>
              <a:defRPr sz="1400"/>
            </a:lvl5pPr>
          </a:lstStyle>
          <a:p>
            <a:pPr lvl="0"/>
            <a:r>
              <a:rPr lang="en-US" dirty="0"/>
              <a:t>First level stand alone bulle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5"/>
          <p:cNvSpPr>
            <a:spLocks noGrp="1"/>
          </p:cNvSpPr>
          <p:nvPr>
            <p:ph type="body" sz="quarter" idx="11" hasCustomPrompt="1"/>
          </p:nvPr>
        </p:nvSpPr>
        <p:spPr>
          <a:xfrm>
            <a:off x="456406" y="1230313"/>
            <a:ext cx="8228013" cy="365760"/>
          </a:xfrm>
        </p:spPr>
        <p:txBody>
          <a:bodyPr/>
          <a:lstStyle>
            <a:lvl1pPr marL="0" indent="0">
              <a:buNone/>
              <a:defRPr b="0" baseline="0">
                <a:solidFill>
                  <a:schemeClr val="tx1">
                    <a:lumMod val="50000"/>
                    <a:lumOff val="50000"/>
                  </a:schemeClr>
                </a:solidFill>
              </a:defRPr>
            </a:lvl1pPr>
          </a:lstStyle>
          <a:p>
            <a:pPr lvl="0"/>
            <a:r>
              <a:rPr lang="en-US" dirty="0"/>
              <a:t>Optional subhead goes here. 1-line max [16pt]</a:t>
            </a:r>
          </a:p>
        </p:txBody>
      </p:sp>
      <p:sp>
        <p:nvSpPr>
          <p:cNvPr id="5" name="Chart Placeholder 4"/>
          <p:cNvSpPr>
            <a:spLocks noGrp="1"/>
          </p:cNvSpPr>
          <p:nvPr>
            <p:ph type="chart" sz="quarter" idx="12" hasCustomPrompt="1"/>
          </p:nvPr>
        </p:nvSpPr>
        <p:spPr>
          <a:xfrm>
            <a:off x="457200" y="1693863"/>
            <a:ext cx="4572000" cy="3017520"/>
          </a:xfrm>
        </p:spPr>
        <p:txBody>
          <a:bodyPr/>
          <a:lstStyle>
            <a:lvl1pPr marL="0" indent="0">
              <a:buNone/>
              <a:defRPr baseline="0"/>
            </a:lvl1pPr>
          </a:lstStyle>
          <a:p>
            <a:r>
              <a:rPr lang="en-US" dirty="0"/>
              <a:t>&lt;Add Chart&gt;</a:t>
            </a:r>
          </a:p>
        </p:txBody>
      </p:sp>
      <p:sp>
        <p:nvSpPr>
          <p:cNvPr id="7" name="Text Placeholder 6"/>
          <p:cNvSpPr>
            <a:spLocks noGrp="1"/>
          </p:cNvSpPr>
          <p:nvPr>
            <p:ph type="body" sz="quarter" idx="13" hasCustomPrompt="1"/>
          </p:nvPr>
        </p:nvSpPr>
        <p:spPr>
          <a:xfrm>
            <a:off x="457993" y="6124893"/>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20319895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wo-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406" y="684213"/>
            <a:ext cx="8228013" cy="457200"/>
          </a:xfrm>
        </p:spPr>
        <p:txBody>
          <a:bodyPr>
            <a:noAutofit/>
          </a:bodyPr>
          <a:lstStyle>
            <a:lvl1pPr>
              <a:defRPr/>
            </a:lvl1pPr>
          </a:lstStyle>
          <a:p>
            <a:r>
              <a:rPr lang="en-US" dirty="0"/>
              <a:t>Two-column body slide: 1-line max [28pt]</a:t>
            </a:r>
          </a:p>
        </p:txBody>
      </p:sp>
      <p:sp>
        <p:nvSpPr>
          <p:cNvPr id="5" name="Text Placeholder 4"/>
          <p:cNvSpPr>
            <a:spLocks noGrp="1"/>
          </p:cNvSpPr>
          <p:nvPr>
            <p:ph type="body" sz="quarter" idx="10" hasCustomPrompt="1"/>
          </p:nvPr>
        </p:nvSpPr>
        <p:spPr>
          <a:xfrm>
            <a:off x="457200" y="1693863"/>
            <a:ext cx="3657600" cy="4202112"/>
          </a:xfrm>
        </p:spPr>
        <p:txBody>
          <a:bodyPr/>
          <a:lstStyle>
            <a:lvl1pPr>
              <a:buClr>
                <a:srgbClr val="81DD00"/>
              </a:buClr>
              <a:defRPr/>
            </a:lvl1pPr>
            <a:lvl2pPr marL="457200" indent="-228600">
              <a:buClr>
                <a:srgbClr val="81DD00"/>
              </a:buClr>
              <a:buFont typeface="Arial" panose="020B0604020202020204" pitchFamily="34" charset="0"/>
              <a:buChar char="•"/>
              <a:defRPr/>
            </a:lvl2pPr>
            <a:lvl3pPr marL="688975" indent="-228600">
              <a:buClr>
                <a:srgbClr val="81DD00"/>
              </a:buClr>
              <a:defRPr sz="1600"/>
            </a:lvl3pPr>
            <a:lvl4pPr marL="915988" indent="-228600">
              <a:buClr>
                <a:srgbClr val="81DD00"/>
              </a:buClr>
              <a:defRPr/>
            </a:lvl4pPr>
            <a:lvl5pPr marL="1144588" indent="-228600" defTabSz="914400">
              <a:buClr>
                <a:srgbClr val="81DD00"/>
              </a:buClr>
              <a:defRPr/>
            </a:lvl5pPr>
          </a:lstStyle>
          <a:p>
            <a:pPr lvl="0"/>
            <a:r>
              <a:rPr lang="en-US" dirty="0"/>
              <a:t>First level stand alone bulle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4"/>
          <p:cNvSpPr>
            <a:spLocks noGrp="1"/>
          </p:cNvSpPr>
          <p:nvPr>
            <p:ph type="body" sz="quarter" idx="11" hasCustomPrompt="1"/>
          </p:nvPr>
        </p:nvSpPr>
        <p:spPr>
          <a:xfrm>
            <a:off x="4572000" y="1693863"/>
            <a:ext cx="3657600" cy="4202112"/>
          </a:xfrm>
        </p:spPr>
        <p:txBody>
          <a:bodyPr/>
          <a:lst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1pPr>
            <a:lvl2pPr>
              <a:buClr>
                <a:srgbClr val="81DD00"/>
              </a:buClr>
              <a:defRPr/>
            </a:lvl2pPr>
            <a:lvl3pPr marL="688975" indent="-228600"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3pPr>
            <a:lvl4pPr marL="915988" indent="-228600" algn="l" defTabSz="914400" rtl="0" eaLnBrk="1" latinLnBrk="0" hangingPunct="1">
              <a:spcBef>
                <a:spcPts val="0"/>
              </a:spcBef>
              <a:buClr>
                <a:srgbClr val="81DD00"/>
              </a:buClr>
              <a:buFont typeface="Arial" panose="020B0604020202020204" pitchFamily="34" charset="0"/>
              <a:buChar char="•"/>
              <a:defRPr kumimoji="0" lang="en-US" sz="14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4pPr>
            <a:lvl5pPr marL="1146175" indent="-231775" algn="l" defTabSz="914400" rtl="0" eaLnBrk="1" latinLnBrk="0" hangingPunct="1">
              <a:spcBef>
                <a:spcPts val="0"/>
              </a:spcBef>
              <a:buClr>
                <a:srgbClr val="81DD00"/>
              </a:buClr>
              <a:buFont typeface="Arial" panose="020B0604020202020204" pitchFamily="34" charset="0"/>
              <a:buChar char="•"/>
              <a:defRPr kumimoji="0" lang="en-US" sz="14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5pPr>
          </a:lstStyle>
          <a:p>
            <a:pPr lvl="0"/>
            <a:r>
              <a:rPr lang="en-US" dirty="0"/>
              <a:t>First level stand alone bulle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5"/>
          <p:cNvSpPr>
            <a:spLocks noGrp="1"/>
          </p:cNvSpPr>
          <p:nvPr>
            <p:ph type="body" sz="quarter" idx="12" hasCustomPrompt="1"/>
          </p:nvPr>
        </p:nvSpPr>
        <p:spPr>
          <a:xfrm>
            <a:off x="457993" y="1230313"/>
            <a:ext cx="8228013" cy="365760"/>
          </a:xfrm>
        </p:spPr>
        <p:txBody>
          <a:bodyPr/>
          <a:lstStyle>
            <a:lvl1pPr marL="0" indent="0">
              <a:buNone/>
              <a:defRPr b="0" baseline="0">
                <a:solidFill>
                  <a:schemeClr val="tx1">
                    <a:lumMod val="50000"/>
                    <a:lumOff val="50000"/>
                  </a:schemeClr>
                </a:solidFill>
              </a:defRPr>
            </a:lvl1pPr>
          </a:lstStyle>
          <a:p>
            <a:pPr lvl="0"/>
            <a:r>
              <a:rPr lang="en-US" dirty="0"/>
              <a:t>Optional subhead goes here.</a:t>
            </a:r>
          </a:p>
        </p:txBody>
      </p:sp>
      <p:cxnSp>
        <p:nvCxnSpPr>
          <p:cNvPr id="8" name="Straight Connector 7"/>
          <p:cNvCxnSpPr/>
          <p:nvPr userDrawn="1"/>
        </p:nvCxnSpPr>
        <p:spPr>
          <a:xfrm>
            <a:off x="4343400" y="1828800"/>
            <a:ext cx="0" cy="393192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6"/>
          <p:cNvSpPr>
            <a:spLocks noGrp="1"/>
          </p:cNvSpPr>
          <p:nvPr>
            <p:ph type="body" sz="quarter" idx="13" hasCustomPrompt="1"/>
          </p:nvPr>
        </p:nvSpPr>
        <p:spPr>
          <a:xfrm>
            <a:off x="457993" y="6124893"/>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124841045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hree-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6406" y="684213"/>
            <a:ext cx="8228013" cy="457200"/>
          </a:xfrm>
        </p:spPr>
        <p:txBody>
          <a:bodyPr>
            <a:noAutofit/>
          </a:bodyPr>
          <a:lstStyle>
            <a:lvl1pPr>
              <a:defRPr/>
            </a:lvl1pPr>
          </a:lstStyle>
          <a:p>
            <a:r>
              <a:rPr lang="en-US" dirty="0"/>
              <a:t>Three-column body slide: 1-line max [28pt]</a:t>
            </a:r>
          </a:p>
        </p:txBody>
      </p:sp>
      <p:sp>
        <p:nvSpPr>
          <p:cNvPr id="5" name="Text Placeholder 4"/>
          <p:cNvSpPr>
            <a:spLocks noGrp="1"/>
          </p:cNvSpPr>
          <p:nvPr>
            <p:ph type="body" sz="quarter" idx="10" hasCustomPrompt="1"/>
          </p:nvPr>
        </p:nvSpPr>
        <p:spPr>
          <a:xfrm>
            <a:off x="457200" y="1693863"/>
            <a:ext cx="2514600" cy="4202112"/>
          </a:xfrm>
        </p:spPr>
        <p:txBody>
          <a:bodyPr/>
          <a:lstStyle>
            <a:lvl1pPr>
              <a:buClr>
                <a:srgbClr val="81DD00"/>
              </a:buClr>
              <a:defRPr/>
            </a:lvl1pPr>
            <a:lvl2pPr>
              <a:buClr>
                <a:srgbClr val="81DD00"/>
              </a:buClr>
              <a:defRPr/>
            </a:lvl2pPr>
            <a:lvl3pPr>
              <a:buClr>
                <a:srgbClr val="81DD00"/>
              </a:buClr>
              <a:defRPr/>
            </a:lvl3pPr>
            <a:lvl4pPr>
              <a:buClr>
                <a:srgbClr val="81DD00"/>
              </a:buClr>
              <a:defRPr/>
            </a:lvl4pPr>
            <a:lvl5pPr>
              <a:buClr>
                <a:srgbClr val="81DD00"/>
              </a:buClr>
              <a:defRPr/>
            </a:lvl5pPr>
          </a:lstStyle>
          <a:p>
            <a:pPr lvl="0"/>
            <a:r>
              <a:rPr lang="en-US" dirty="0"/>
              <a:t>First level </a:t>
            </a:r>
          </a:p>
          <a:p>
            <a:pPr lvl="2"/>
            <a:r>
              <a:rPr lang="en-US" dirty="0"/>
              <a:t>Second level</a:t>
            </a:r>
          </a:p>
          <a:p>
            <a:pPr lvl="3"/>
            <a:r>
              <a:rPr lang="en-US" dirty="0"/>
              <a:t>Third level</a:t>
            </a:r>
          </a:p>
          <a:p>
            <a:pPr lvl="4"/>
            <a:r>
              <a:rPr lang="en-US" dirty="0"/>
              <a:t>Fourth level</a:t>
            </a:r>
          </a:p>
        </p:txBody>
      </p:sp>
      <p:sp>
        <p:nvSpPr>
          <p:cNvPr id="7" name="Text Placeholder 4"/>
          <p:cNvSpPr>
            <a:spLocks noGrp="1"/>
          </p:cNvSpPr>
          <p:nvPr>
            <p:ph type="body" sz="quarter" idx="11" hasCustomPrompt="1"/>
          </p:nvPr>
        </p:nvSpPr>
        <p:spPr>
          <a:xfrm>
            <a:off x="6170613" y="1693863"/>
            <a:ext cx="2514600" cy="4202112"/>
          </a:xfrm>
        </p:spPr>
        <p:txBody>
          <a:bodyPr/>
          <a:lstStyle>
            <a:lvl1pPr>
              <a:buClr>
                <a:srgbClr val="81DD00"/>
              </a:buClr>
              <a:defRPr/>
            </a:lvl1pPr>
            <a:lvl2pPr>
              <a:buClr>
                <a:srgbClr val="81DD00"/>
              </a:buClr>
              <a:defRPr sz="1400"/>
            </a:lvl2pPr>
            <a:lvl3pPr>
              <a:buClr>
                <a:srgbClr val="81DD00"/>
              </a:buClr>
              <a:defRPr/>
            </a:lvl3pPr>
            <a:lvl4pPr>
              <a:buClr>
                <a:srgbClr val="81DD00"/>
              </a:buClr>
              <a:defRPr/>
            </a:lvl4pPr>
            <a:lvl5pPr>
              <a:buClr>
                <a:srgbClr val="81DD00"/>
              </a:buClr>
              <a:defRPr/>
            </a:lvl5pPr>
          </a:lstStyle>
          <a:p>
            <a:pPr lvl="0"/>
            <a:r>
              <a:rPr lang="en-US" dirty="0"/>
              <a:t>First level</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2" hasCustomPrompt="1"/>
          </p:nvPr>
        </p:nvSpPr>
        <p:spPr>
          <a:xfrm>
            <a:off x="457993" y="1230313"/>
            <a:ext cx="8228013" cy="365760"/>
          </a:xfrm>
        </p:spPr>
        <p:txBody>
          <a:bodyPr/>
          <a:lstStyle>
            <a:lvl1pPr marL="0" indent="0">
              <a:buNone/>
              <a:defRPr b="0" baseline="0">
                <a:solidFill>
                  <a:schemeClr val="tx1">
                    <a:lumMod val="50000"/>
                    <a:lumOff val="50000"/>
                  </a:schemeClr>
                </a:solidFill>
              </a:defRPr>
            </a:lvl1pPr>
          </a:lstStyle>
          <a:p>
            <a:pPr lvl="0"/>
            <a:r>
              <a:rPr lang="en-US" dirty="0"/>
              <a:t>Optional subhead goes here.</a:t>
            </a:r>
          </a:p>
        </p:txBody>
      </p:sp>
      <p:cxnSp>
        <p:nvCxnSpPr>
          <p:cNvPr id="8" name="Straight Connector 7"/>
          <p:cNvCxnSpPr/>
          <p:nvPr userDrawn="1"/>
        </p:nvCxnSpPr>
        <p:spPr>
          <a:xfrm>
            <a:off x="3154680" y="1828800"/>
            <a:ext cx="0" cy="393192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6"/>
          <p:cNvSpPr>
            <a:spLocks noGrp="1"/>
          </p:cNvSpPr>
          <p:nvPr>
            <p:ph type="body" sz="quarter" idx="13" hasCustomPrompt="1"/>
          </p:nvPr>
        </p:nvSpPr>
        <p:spPr>
          <a:xfrm>
            <a:off x="457993" y="6124893"/>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
        <p:nvSpPr>
          <p:cNvPr id="9" name="Text Placeholder 4"/>
          <p:cNvSpPr>
            <a:spLocks noGrp="1"/>
          </p:cNvSpPr>
          <p:nvPr>
            <p:ph type="body" sz="quarter" idx="14" hasCustomPrompt="1"/>
          </p:nvPr>
        </p:nvSpPr>
        <p:spPr>
          <a:xfrm>
            <a:off x="3314700" y="1693863"/>
            <a:ext cx="2514600" cy="4202112"/>
          </a:xfrm>
        </p:spPr>
        <p:txBody>
          <a:bodyPr/>
          <a:lstStyle>
            <a:lvl1pPr>
              <a:buClr>
                <a:srgbClr val="81DD00"/>
              </a:buClr>
              <a:defRPr/>
            </a:lvl1pPr>
            <a:lvl2pPr>
              <a:buClr>
                <a:srgbClr val="81DD00"/>
              </a:buClr>
              <a:defRPr sz="1400"/>
            </a:lvl2pPr>
            <a:lvl3pPr>
              <a:buClr>
                <a:srgbClr val="81DD00"/>
              </a:buClr>
              <a:defRPr/>
            </a:lvl3pPr>
            <a:lvl4pPr>
              <a:buClr>
                <a:srgbClr val="81DD00"/>
              </a:buClr>
              <a:defRPr/>
            </a:lvl4pPr>
            <a:lvl5pPr>
              <a:buClr>
                <a:srgbClr val="81DD00"/>
              </a:buClr>
              <a:defRPr/>
            </a:lvl5pPr>
          </a:lstStyle>
          <a:p>
            <a:pPr lvl="0"/>
            <a:r>
              <a:rPr lang="en-US" dirty="0"/>
              <a:t>First level</a:t>
            </a:r>
          </a:p>
          <a:p>
            <a:pPr lvl="1"/>
            <a:r>
              <a:rPr lang="en-US" dirty="0"/>
              <a:t>Second level</a:t>
            </a:r>
          </a:p>
          <a:p>
            <a:pPr lvl="2"/>
            <a:r>
              <a:rPr lang="en-US" dirty="0"/>
              <a:t>Third level</a:t>
            </a:r>
          </a:p>
          <a:p>
            <a:pPr lvl="3"/>
            <a:r>
              <a:rPr lang="en-US" dirty="0"/>
              <a:t>Fourth level</a:t>
            </a:r>
          </a:p>
        </p:txBody>
      </p:sp>
      <p:cxnSp>
        <p:nvCxnSpPr>
          <p:cNvPr id="11" name="Straight Connector 10"/>
          <p:cNvCxnSpPr/>
          <p:nvPr userDrawn="1"/>
        </p:nvCxnSpPr>
        <p:spPr>
          <a:xfrm>
            <a:off x="5989320" y="1828800"/>
            <a:ext cx="0" cy="393192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39435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993" y="684213"/>
            <a:ext cx="8228013" cy="457200"/>
          </a:xfrm>
        </p:spPr>
        <p:txBody>
          <a:bodyPr>
            <a:noAutofit/>
          </a:bodyPr>
          <a:lstStyle>
            <a:lvl1pPr>
              <a:defRPr/>
            </a:lvl1pPr>
          </a:lstStyle>
          <a:p>
            <a:r>
              <a:rPr lang="en-US" dirty="0"/>
              <a:t>Blank slide: 1-line max [28pt]&gt;</a:t>
            </a:r>
          </a:p>
        </p:txBody>
      </p:sp>
      <p:sp>
        <p:nvSpPr>
          <p:cNvPr id="6" name="Text Placeholder 5"/>
          <p:cNvSpPr>
            <a:spLocks noGrp="1"/>
          </p:cNvSpPr>
          <p:nvPr>
            <p:ph type="body" sz="quarter" idx="10" hasCustomPrompt="1"/>
          </p:nvPr>
        </p:nvSpPr>
        <p:spPr>
          <a:xfrm>
            <a:off x="457200" y="1230313"/>
            <a:ext cx="8228013" cy="365760"/>
          </a:xfrm>
        </p:spPr>
        <p:txBody>
          <a:bodyPr/>
          <a:lstStyle>
            <a:lvl1pPr marL="0" indent="0">
              <a:buNone/>
              <a:defRPr b="0" baseline="0">
                <a:solidFill>
                  <a:schemeClr val="tx1">
                    <a:lumMod val="50000"/>
                    <a:lumOff val="50000"/>
                  </a:schemeClr>
                </a:solidFill>
              </a:defRPr>
            </a:lvl1pPr>
          </a:lstStyle>
          <a:p>
            <a:pPr lvl="0"/>
            <a:r>
              <a:rPr lang="en-US" dirty="0"/>
              <a:t>Optional subhead goes here.</a:t>
            </a:r>
          </a:p>
        </p:txBody>
      </p:sp>
      <p:sp>
        <p:nvSpPr>
          <p:cNvPr id="7" name="Text Placeholder 6"/>
          <p:cNvSpPr>
            <a:spLocks noGrp="1"/>
          </p:cNvSpPr>
          <p:nvPr>
            <p:ph type="body" sz="quarter" idx="13" hasCustomPrompt="1"/>
          </p:nvPr>
        </p:nvSpPr>
        <p:spPr>
          <a:xfrm>
            <a:off x="457993" y="6124893"/>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6975412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act Slide Stacke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993" y="684213"/>
            <a:ext cx="8228013" cy="457200"/>
          </a:xfrm>
        </p:spPr>
        <p:txBody>
          <a:bodyPr>
            <a:noAutofit/>
          </a:bodyPr>
          <a:lstStyle>
            <a:lvl1pPr>
              <a:defRPr baseline="0"/>
            </a:lvl1pPr>
          </a:lstStyle>
          <a:p>
            <a:r>
              <a:rPr lang="en-US" dirty="0"/>
              <a:t>Fact slide stacked: 1-line max [28pt]</a:t>
            </a:r>
          </a:p>
        </p:txBody>
      </p:sp>
      <p:sp>
        <p:nvSpPr>
          <p:cNvPr id="7" name="Text Placeholder 4"/>
          <p:cNvSpPr>
            <a:spLocks noGrp="1"/>
          </p:cNvSpPr>
          <p:nvPr>
            <p:ph type="body" sz="quarter" idx="11" hasCustomPrompt="1"/>
          </p:nvPr>
        </p:nvSpPr>
        <p:spPr>
          <a:xfrm>
            <a:off x="4570413" y="1693863"/>
            <a:ext cx="3657600" cy="4202112"/>
          </a:xfrm>
        </p:spPr>
        <p:txBody>
          <a:bodyPr/>
          <a:lstStyle>
            <a:lvl1pPr>
              <a:buClr>
                <a:srgbClr val="81DD00"/>
              </a:buClr>
              <a:defRPr/>
            </a:lvl1pPr>
            <a:lvl2pPr marL="457200" indent="-228600">
              <a:buClr>
                <a:srgbClr val="81DD00"/>
              </a:buClr>
              <a:defRPr/>
            </a:lvl2pPr>
            <a:lvl3pPr marL="688975" indent="-231775">
              <a:buClr>
                <a:srgbClr val="81DD00"/>
              </a:buClr>
              <a:defRPr/>
            </a:lvl3pPr>
            <a:lvl4pPr marL="914400" indent="-225425">
              <a:buClr>
                <a:srgbClr val="81DD00"/>
              </a:buClr>
              <a:defRPr/>
            </a:lvl4pPr>
            <a:lvl5pPr marL="917575" indent="-228600">
              <a:buClr>
                <a:srgbClr val="81DD00"/>
              </a:buClr>
              <a:defRPr/>
            </a:lvl5pPr>
          </a:lstStyle>
          <a:p>
            <a:pPr lvl="0"/>
            <a:r>
              <a:rPr lang="en-US" dirty="0"/>
              <a:t>First level stand alone bullet</a:t>
            </a:r>
          </a:p>
          <a:p>
            <a:pPr lvl="1"/>
            <a:r>
              <a:rPr lang="en-US" dirty="0"/>
              <a:t>Second level</a:t>
            </a:r>
          </a:p>
          <a:p>
            <a:pPr lvl="2"/>
            <a:r>
              <a:rPr lang="en-US" dirty="0"/>
              <a:t>Third level</a:t>
            </a:r>
          </a:p>
          <a:p>
            <a:pPr lvl="3"/>
            <a:r>
              <a:rPr lang="en-US" dirty="0"/>
              <a:t>Fourth level</a:t>
            </a:r>
          </a:p>
        </p:txBody>
      </p:sp>
      <p:sp>
        <p:nvSpPr>
          <p:cNvPr id="6" name="Text Placeholder 5"/>
          <p:cNvSpPr>
            <a:spLocks noGrp="1"/>
          </p:cNvSpPr>
          <p:nvPr>
            <p:ph type="body" sz="quarter" idx="12" hasCustomPrompt="1"/>
          </p:nvPr>
        </p:nvSpPr>
        <p:spPr>
          <a:xfrm>
            <a:off x="457200" y="1230313"/>
            <a:ext cx="8228013" cy="365760"/>
          </a:xfrm>
        </p:spPr>
        <p:txBody>
          <a:bodyPr/>
          <a:lstStyle>
            <a:lvl1pPr marL="0" indent="0">
              <a:buNone/>
              <a:defRPr b="0" baseline="0">
                <a:solidFill>
                  <a:schemeClr val="tx1">
                    <a:lumMod val="50000"/>
                    <a:lumOff val="50000"/>
                  </a:schemeClr>
                </a:solidFill>
              </a:defRPr>
            </a:lvl1pPr>
          </a:lstStyle>
          <a:p>
            <a:pPr lvl="0"/>
            <a:r>
              <a:rPr lang="en-US" dirty="0"/>
              <a:t>Optional subhead goes here.</a:t>
            </a:r>
          </a:p>
        </p:txBody>
      </p:sp>
      <p:cxnSp>
        <p:nvCxnSpPr>
          <p:cNvPr id="8" name="Straight Connector 7"/>
          <p:cNvCxnSpPr/>
          <p:nvPr userDrawn="1"/>
        </p:nvCxnSpPr>
        <p:spPr>
          <a:xfrm>
            <a:off x="4343400" y="1828800"/>
            <a:ext cx="0" cy="393192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6"/>
          <p:cNvSpPr>
            <a:spLocks noGrp="1"/>
          </p:cNvSpPr>
          <p:nvPr>
            <p:ph type="body" sz="quarter" idx="13" hasCustomPrompt="1"/>
          </p:nvPr>
        </p:nvSpPr>
        <p:spPr>
          <a:xfrm>
            <a:off x="457200" y="6124893"/>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spTree>
    <p:extLst>
      <p:ext uri="{BB962C8B-B14F-4D97-AF65-F5344CB8AC3E}">
        <p14:creationId xmlns:p14="http://schemas.microsoft.com/office/powerpoint/2010/main" val="36027827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Fact slid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7993" y="684213"/>
            <a:ext cx="8228013" cy="457200"/>
          </a:xfrm>
        </p:spPr>
        <p:txBody>
          <a:bodyPr>
            <a:noAutofit/>
          </a:bodyPr>
          <a:lstStyle>
            <a:lvl1pPr>
              <a:defRPr baseline="0"/>
            </a:lvl1pPr>
          </a:lstStyle>
          <a:p>
            <a:r>
              <a:rPr lang="en-US" dirty="0"/>
              <a:t>Fact slide columns: 1-line max [28pt]</a:t>
            </a:r>
          </a:p>
        </p:txBody>
      </p:sp>
      <p:sp>
        <p:nvSpPr>
          <p:cNvPr id="6" name="Text Placeholder 5"/>
          <p:cNvSpPr>
            <a:spLocks noGrp="1"/>
          </p:cNvSpPr>
          <p:nvPr>
            <p:ph type="body" sz="quarter" idx="12" hasCustomPrompt="1"/>
          </p:nvPr>
        </p:nvSpPr>
        <p:spPr>
          <a:xfrm>
            <a:off x="457200" y="1230313"/>
            <a:ext cx="8228013" cy="365760"/>
          </a:xfrm>
        </p:spPr>
        <p:txBody>
          <a:bodyPr/>
          <a:lstStyle>
            <a:lvl1pPr marL="0" indent="0">
              <a:buNone/>
              <a:defRPr b="0" baseline="0">
                <a:solidFill>
                  <a:schemeClr val="tx1">
                    <a:lumMod val="50000"/>
                    <a:lumOff val="50000"/>
                  </a:schemeClr>
                </a:solidFill>
              </a:defRPr>
            </a:lvl1pPr>
          </a:lstStyle>
          <a:p>
            <a:pPr lvl="0"/>
            <a:r>
              <a:rPr lang="en-US" dirty="0"/>
              <a:t>Optional subhead goes here.</a:t>
            </a:r>
          </a:p>
        </p:txBody>
      </p:sp>
      <p:sp>
        <p:nvSpPr>
          <p:cNvPr id="10" name="Text Placeholder 6"/>
          <p:cNvSpPr>
            <a:spLocks noGrp="1"/>
          </p:cNvSpPr>
          <p:nvPr>
            <p:ph type="body" sz="quarter" idx="13" hasCustomPrompt="1"/>
          </p:nvPr>
        </p:nvSpPr>
        <p:spPr>
          <a:xfrm>
            <a:off x="457993" y="6124893"/>
            <a:ext cx="8228013"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Notes: &lt;</a:t>
            </a:r>
            <a:r>
              <a:rPr lang="en-US" dirty="0" err="1"/>
              <a:t>tk</a:t>
            </a:r>
            <a:r>
              <a:rPr lang="en-US" dirty="0"/>
              <a:t>&gt;</a:t>
            </a:r>
          </a:p>
          <a:p>
            <a:pPr lvl="0"/>
            <a:r>
              <a:rPr lang="en-US" dirty="0"/>
              <a:t>Source: &lt;</a:t>
            </a:r>
            <a:r>
              <a:rPr lang="en-US" dirty="0" err="1"/>
              <a:t>tk</a:t>
            </a:r>
            <a:r>
              <a:rPr lang="en-US" dirty="0"/>
              <a:t>&gt;</a:t>
            </a:r>
          </a:p>
        </p:txBody>
      </p:sp>
      <p:cxnSp>
        <p:nvCxnSpPr>
          <p:cNvPr id="7" name="Straight Connector 6"/>
          <p:cNvCxnSpPr/>
          <p:nvPr userDrawn="1"/>
        </p:nvCxnSpPr>
        <p:spPr>
          <a:xfrm>
            <a:off x="4343400" y="1828800"/>
            <a:ext cx="0" cy="3931920"/>
          </a:xfrm>
          <a:prstGeom prst="line">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6069857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Quote page &amp; photo">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8788" y="684213"/>
            <a:ext cx="3657600" cy="457200"/>
          </a:xfrm>
        </p:spPr>
        <p:txBody>
          <a:bodyPr>
            <a:noAutofit/>
          </a:bodyPr>
          <a:lstStyle>
            <a:lvl1pPr>
              <a:defRPr baseline="0"/>
            </a:lvl1pPr>
          </a:lstStyle>
          <a:p>
            <a:r>
              <a:rPr lang="en-US" dirty="0"/>
              <a:t>Quote page w/ photo</a:t>
            </a:r>
          </a:p>
        </p:txBody>
      </p:sp>
      <p:sp>
        <p:nvSpPr>
          <p:cNvPr id="7" name="Text Placeholder 6"/>
          <p:cNvSpPr>
            <a:spLocks noGrp="1"/>
          </p:cNvSpPr>
          <p:nvPr>
            <p:ph type="body" sz="quarter" idx="13" hasCustomPrompt="1"/>
          </p:nvPr>
        </p:nvSpPr>
        <p:spPr>
          <a:xfrm>
            <a:off x="458788" y="6124893"/>
            <a:ext cx="3657600" cy="274320"/>
          </a:xfrm>
        </p:spPr>
        <p:txBody>
          <a:bodyPr bIns="0" anchor="b" anchorCtr="0"/>
          <a:lstStyle>
            <a:lvl1pPr marL="0" indent="0">
              <a:buNone/>
              <a:defRPr sz="900" baseline="0"/>
            </a:lvl1pPr>
            <a:lvl2pPr marL="168275" indent="0">
              <a:buNone/>
              <a:defRPr/>
            </a:lvl2pPr>
            <a:lvl3pPr marL="396875" indent="0">
              <a:buNone/>
              <a:defRPr/>
            </a:lvl3pPr>
            <a:lvl4pPr marL="625475" indent="0">
              <a:buNone/>
              <a:defRPr/>
            </a:lvl4pPr>
            <a:lvl5pPr marL="854075" indent="0">
              <a:buNone/>
              <a:defRPr/>
            </a:lvl5pPr>
          </a:lstStyle>
          <a:p>
            <a:pPr lvl="0"/>
            <a:r>
              <a:rPr lang="en-US" dirty="0"/>
              <a:t>Source: &lt;</a:t>
            </a:r>
            <a:r>
              <a:rPr lang="en-US" dirty="0" err="1"/>
              <a:t>tk</a:t>
            </a:r>
            <a:r>
              <a:rPr lang="en-US" dirty="0"/>
              <a:t>&gt;</a:t>
            </a:r>
          </a:p>
        </p:txBody>
      </p:sp>
      <p:sp>
        <p:nvSpPr>
          <p:cNvPr id="4" name="TextBox 3"/>
          <p:cNvSpPr txBox="1"/>
          <p:nvPr userDrawn="1"/>
        </p:nvSpPr>
        <p:spPr>
          <a:xfrm>
            <a:off x="457200" y="1392238"/>
            <a:ext cx="971550" cy="952500"/>
          </a:xfrm>
          <a:prstGeom prst="rect">
            <a:avLst/>
          </a:prstGeom>
          <a:noFill/>
        </p:spPr>
        <p:txBody>
          <a:bodyPr wrap="square" lIns="0" tIns="45720" rIns="0" bIns="45720" rtlCol="0">
            <a:noAutofit/>
          </a:bodyPr>
          <a:lstStyle/>
          <a:p>
            <a:pPr lvl="0"/>
            <a:r>
              <a:rPr lang="en-US" sz="11700" dirty="0">
                <a:solidFill>
                  <a:srgbClr val="81DD00"/>
                </a:solidFill>
              </a:rPr>
              <a:t>“</a:t>
            </a:r>
          </a:p>
        </p:txBody>
      </p:sp>
      <p:sp>
        <p:nvSpPr>
          <p:cNvPr id="9" name="Text Placeholder 5"/>
          <p:cNvSpPr>
            <a:spLocks noGrp="1"/>
          </p:cNvSpPr>
          <p:nvPr>
            <p:ph type="body" sz="quarter" idx="12" hasCustomPrompt="1"/>
          </p:nvPr>
        </p:nvSpPr>
        <p:spPr>
          <a:xfrm>
            <a:off x="457200" y="4798378"/>
            <a:ext cx="3657600" cy="365760"/>
          </a:xfrm>
        </p:spPr>
        <p:txBody>
          <a:bodyPr/>
          <a:lstStyle>
            <a:lvl1pPr marL="0" indent="0">
              <a:buNone/>
              <a:defRPr b="0" baseline="0">
                <a:gradFill>
                  <a:gsLst>
                    <a:gs pos="6000">
                      <a:srgbClr val="81DD00"/>
                    </a:gs>
                    <a:gs pos="51000">
                      <a:srgbClr val="00C78B"/>
                    </a:gs>
                    <a:gs pos="96000">
                      <a:srgbClr val="00B9E4"/>
                    </a:gs>
                  </a:gsLst>
                  <a:lin ang="0" scaled="1"/>
                </a:gradFill>
              </a:defRPr>
            </a:lvl1pPr>
          </a:lstStyle>
          <a:p>
            <a:pPr lvl="0"/>
            <a:r>
              <a:rPr lang="en-US" dirty="0"/>
              <a:t>First &amp; last name</a:t>
            </a:r>
          </a:p>
        </p:txBody>
      </p:sp>
      <p:sp>
        <p:nvSpPr>
          <p:cNvPr id="10" name="Text Placeholder 9"/>
          <p:cNvSpPr>
            <a:spLocks noGrp="1"/>
          </p:cNvSpPr>
          <p:nvPr>
            <p:ph type="body" sz="quarter" idx="14" hasCustomPrompt="1"/>
          </p:nvPr>
        </p:nvSpPr>
        <p:spPr>
          <a:xfrm>
            <a:off x="457200" y="2222737"/>
            <a:ext cx="3657600" cy="2019300"/>
          </a:xfrm>
        </p:spPr>
        <p:txBody>
          <a:bodyPr tIns="0" rIns="91440"/>
          <a:lstStyle>
            <a:lvl1pPr marL="0" indent="0">
              <a:buClr>
                <a:srgbClr val="81DD00"/>
              </a:buClr>
              <a:buFont typeface="Arial" panose="020B0604020202020204" pitchFamily="34" charset="0"/>
              <a:buNone/>
              <a:defRPr sz="1600" baseline="0"/>
            </a:lvl1pPr>
            <a:lvl2pPr marL="457200" indent="-228600">
              <a:buClr>
                <a:srgbClr val="81DD00"/>
              </a:buClr>
              <a:buFont typeface="Arial" panose="020B0604020202020204" pitchFamily="34" charset="0"/>
              <a:buChar char="•"/>
              <a:defRPr sz="1600"/>
            </a:lvl2pPr>
            <a:lvl3pPr marL="685800" indent="-228600">
              <a:buClr>
                <a:srgbClr val="81DD00"/>
              </a:buClr>
              <a:buFont typeface="Arial" panose="020B0604020202020204" pitchFamily="34" charset="0"/>
              <a:buChar char="•"/>
              <a:defRPr sz="1600"/>
            </a:lvl3pPr>
            <a:lvl4pPr marL="1028700" indent="-342900">
              <a:buFont typeface="Arial" panose="020B0604020202020204" pitchFamily="34" charset="0"/>
              <a:buChar char="•"/>
              <a:defRPr sz="1600"/>
            </a:lvl4pPr>
            <a:lvl5pPr marL="1257300" indent="-342900">
              <a:buFont typeface="Arial" panose="020B0604020202020204" pitchFamily="34" charset="0"/>
              <a:buChar char="•"/>
              <a:defRPr sz="1600"/>
            </a:lvl5pPr>
          </a:lstStyle>
          <a:p>
            <a:pPr lvl="0"/>
            <a:r>
              <a:rPr lang="en-US" dirty="0"/>
              <a:t>&lt;Insert text&gt;</a:t>
            </a:r>
          </a:p>
        </p:txBody>
      </p:sp>
    </p:spTree>
    <p:extLst>
      <p:ext uri="{BB962C8B-B14F-4D97-AF65-F5344CB8AC3E}">
        <p14:creationId xmlns:p14="http://schemas.microsoft.com/office/powerpoint/2010/main" val="33340947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5120640" y="0"/>
            <a:ext cx="4023360" cy="731520"/>
            <a:chOff x="1371600" y="2286000"/>
            <a:chExt cx="4023360" cy="731520"/>
          </a:xfrm>
        </p:grpSpPr>
        <p:cxnSp>
          <p:nvCxnSpPr>
            <p:cNvPr id="8" name="Straight Connector 7"/>
            <p:cNvCxnSpPr/>
            <p:nvPr/>
          </p:nvCxnSpPr>
          <p:spPr>
            <a:xfrm flipV="1">
              <a:off x="1371600" y="2651760"/>
              <a:ext cx="402336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flipV="1">
              <a:off x="1371600" y="2286000"/>
              <a:ext cx="402336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37160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73736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210312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246888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83464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320040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393192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466344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02920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39496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356616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4297680" y="2286000"/>
              <a:ext cx="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V="1">
              <a:off x="1371600" y="3017520"/>
              <a:ext cx="4023360" cy="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137160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173736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210312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246888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nvCxnSpPr>
          <p:spPr>
            <a:xfrm>
              <a:off x="283464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320040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356616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393192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429768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466344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flipH="1">
              <a:off x="137160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flipH="1">
              <a:off x="173736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H="1">
              <a:off x="210312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246888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H="1">
              <a:off x="283464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flipH="1">
              <a:off x="320040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nvCxnSpPr>
          <p:spPr>
            <a:xfrm flipH="1">
              <a:off x="356616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p:nvPr/>
          </p:nvCxnSpPr>
          <p:spPr>
            <a:xfrm flipH="1">
              <a:off x="393192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flipH="1">
              <a:off x="429768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p:nvPr/>
          </p:nvCxnSpPr>
          <p:spPr>
            <a:xfrm flipH="1">
              <a:off x="4663440" y="2286000"/>
              <a:ext cx="731520" cy="73152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flipH="1">
              <a:off x="1371600" y="2286000"/>
              <a:ext cx="365760" cy="36576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4" name="Straight Connector 43"/>
            <p:cNvCxnSpPr/>
            <p:nvPr/>
          </p:nvCxnSpPr>
          <p:spPr>
            <a:xfrm flipH="1">
              <a:off x="5029200" y="2651760"/>
              <a:ext cx="365760" cy="36576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a:xfrm>
              <a:off x="5029200" y="2289810"/>
              <a:ext cx="365760" cy="36576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371600" y="2651760"/>
              <a:ext cx="365760" cy="365760"/>
            </a:xfrm>
            <a:prstGeom prst="line">
              <a:avLst/>
            </a:prstGeom>
            <a:ln w="63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2" name="Title Placeholder 1"/>
          <p:cNvSpPr>
            <a:spLocks noGrp="1"/>
          </p:cNvSpPr>
          <p:nvPr>
            <p:ph type="title"/>
          </p:nvPr>
        </p:nvSpPr>
        <p:spPr>
          <a:xfrm>
            <a:off x="457993" y="684213"/>
            <a:ext cx="8228013" cy="4572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457200" y="1693863"/>
            <a:ext cx="8228013" cy="4202112"/>
          </a:xfrm>
          <a:prstGeom prst="rect">
            <a:avLst/>
          </a:prstGeom>
        </p:spPr>
        <p:txBody>
          <a:bodyPr vert="horz" lIns="0" tIns="45720" rIns="0" bIns="45720" rtlCol="0">
            <a:noAutofit/>
          </a:bodyPr>
          <a:lstStyle/>
          <a:p>
            <a:pPr lvl="0"/>
            <a:r>
              <a:rPr lang="en-US" dirty="0"/>
              <a:t>First level stand alone bullet</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p:txBody>
      </p:sp>
      <p:sp>
        <p:nvSpPr>
          <p:cNvPr id="7" name="Slide Number Placeholder 5"/>
          <p:cNvSpPr txBox="1">
            <a:spLocks/>
          </p:cNvSpPr>
          <p:nvPr>
            <p:custDataLst>
              <p:tags r:id="rId16"/>
            </p:custDataLst>
          </p:nvPr>
        </p:nvSpPr>
        <p:spPr>
          <a:xfrm rot="5400000">
            <a:off x="8611586" y="108423"/>
            <a:ext cx="351448" cy="481450"/>
          </a:xfrm>
          <a:prstGeom prst="rect">
            <a:avLst/>
          </a:prstGeom>
        </p:spPr>
        <p:txBody>
          <a:bodyPr vert="vert270" lIns="91440" tIns="45720" rIns="91440" bIns="45720" rtlCol="0" anchor="ctr"/>
          <a:lstStyle>
            <a:defPPr>
              <a:defRPr lang="en-US"/>
            </a:defPPr>
            <a:lvl1pPr marL="0" algn="ctr" defTabSz="914400" rtl="0" eaLnBrk="1" latinLnBrk="0" hangingPunct="1">
              <a:defRPr lang="en-US" sz="2000" b="1" kern="1200" smtClean="0">
                <a:solidFill>
                  <a:srgbClr val="606060"/>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83C57C-80DA-45D5-BFE5-7583B8192761}" type="slidenum">
              <a:rPr lang="en-US" smtClean="0"/>
              <a:pPr/>
              <a:t>‹#›</a:t>
            </a:fld>
            <a:endParaRPr lang="en-US" dirty="0"/>
          </a:p>
        </p:txBody>
      </p:sp>
      <p:sp>
        <p:nvSpPr>
          <p:cNvPr id="4" name="TextBox 3">
            <a:extLst>
              <a:ext uri="{FF2B5EF4-FFF2-40B4-BE49-F238E27FC236}">
                <a16:creationId xmlns:a16="http://schemas.microsoft.com/office/drawing/2014/main" id="{4AF96FBE-0958-4A4C-8F3A-3C2847CE2735}"/>
              </a:ext>
            </a:extLst>
          </p:cNvPr>
          <p:cNvSpPr txBox="1"/>
          <p:nvPr userDrawn="1"/>
        </p:nvSpPr>
        <p:spPr>
          <a:xfrm>
            <a:off x="474457" y="6605096"/>
            <a:ext cx="2018581" cy="345863"/>
          </a:xfrm>
          <a:prstGeom prst="rect">
            <a:avLst/>
          </a:prstGeom>
          <a:noFill/>
        </p:spPr>
        <p:txBody>
          <a:bodyPr wrap="square" lIns="0" tIns="45720" rIns="0" bIns="45720" rtlCol="0">
            <a:noAutofit/>
          </a:bodyPr>
          <a:lstStyle/>
          <a:p>
            <a:pPr>
              <a:buClr>
                <a:srgbClr val="FFFFFF"/>
              </a:buClr>
            </a:pPr>
            <a:r>
              <a:rPr lang="en-US" sz="850" b="1" dirty="0">
                <a:solidFill>
                  <a:schemeClr val="accent2">
                    <a:lumMod val="60000"/>
                    <a:lumOff val="40000"/>
                  </a:schemeClr>
                </a:solidFill>
                <a:latin typeface="+mj-lt"/>
                <a:cs typeface="Arial" pitchFamily="34" charset="0"/>
              </a:rPr>
              <a:t>©2020 BGOV LLC</a:t>
            </a:r>
          </a:p>
        </p:txBody>
      </p:sp>
      <p:pic>
        <p:nvPicPr>
          <p:cNvPr id="5" name="Picture 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6417316" y="6448425"/>
            <a:ext cx="2322581" cy="212141"/>
          </a:xfrm>
          <a:prstGeom prst="rect">
            <a:avLst/>
          </a:prstGeom>
        </p:spPr>
      </p:pic>
    </p:spTree>
    <p:extLst>
      <p:ext uri="{BB962C8B-B14F-4D97-AF65-F5344CB8AC3E}">
        <p14:creationId xmlns:p14="http://schemas.microsoft.com/office/powerpoint/2010/main" val="2721622275"/>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7" r:id="rId3"/>
    <p:sldLayoutId id="2147483664" r:id="rId4"/>
    <p:sldLayoutId id="2147483668" r:id="rId5"/>
    <p:sldLayoutId id="2147483662" r:id="rId6"/>
    <p:sldLayoutId id="2147483669" r:id="rId7"/>
    <p:sldLayoutId id="2147483670" r:id="rId8"/>
    <p:sldLayoutId id="2147483671" r:id="rId9"/>
    <p:sldLayoutId id="2147483672" r:id="rId10"/>
    <p:sldLayoutId id="2147483674" r:id="rId11"/>
    <p:sldLayoutId id="2147483675" r:id="rId12"/>
    <p:sldLayoutId id="2147483676" r:id="rId13"/>
    <p:sldLayoutId id="2147483677" r:id="rId14"/>
  </p:sldLayoutIdLst>
  <p:txStyles>
    <p:titleStyle>
      <a:lvl1pPr algn="l" defTabSz="914400" rtl="0" eaLnBrk="1" latinLnBrk="0" hangingPunct="1">
        <a:spcBef>
          <a:spcPct val="0"/>
        </a:spcBef>
        <a:buNone/>
        <a:defRPr sz="2800" b="1" kern="1200" cap="none" baseline="0">
          <a:solidFill>
            <a:schemeClr val="tx1"/>
          </a:solidFill>
          <a:latin typeface="Arial" pitchFamily="34" charset="0"/>
          <a:ea typeface="+mj-ea"/>
          <a:cs typeface="Arial" pitchFamily="34" charset="0"/>
        </a:defRPr>
      </a:lvl1pPr>
    </p:titleStyle>
    <p:body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1pPr>
      <a:lvl2pPr marL="457200" indent="-228600" algn="l" defTabSz="914400" rtl="0" eaLnBrk="1" latinLnBrk="0" hangingPunct="1">
        <a:spcBef>
          <a:spcPts val="0"/>
        </a:spcBef>
        <a:buClr>
          <a:srgbClr val="81DD00"/>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685800" indent="-228600" algn="l" defTabSz="914400" rtl="0" eaLnBrk="1" latinLnBrk="0" hangingPunct="1">
        <a:spcBef>
          <a:spcPts val="0"/>
        </a:spcBef>
        <a:buClr>
          <a:srgbClr val="81DD00"/>
        </a:buClr>
        <a:buFont typeface="Arial" pitchFamily="34" charset="0"/>
        <a:buChar char="•"/>
        <a:defRPr sz="1400" kern="1200">
          <a:solidFill>
            <a:schemeClr val="tx1"/>
          </a:solidFill>
          <a:latin typeface="Arial" pitchFamily="34" charset="0"/>
          <a:ea typeface="+mn-ea"/>
          <a:cs typeface="Arial" pitchFamily="34" charset="0"/>
        </a:defRPr>
      </a:lvl3pPr>
      <a:lvl4pPr marL="914400" indent="-228600"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1146175" indent="-23177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arget="../media/image5.jpeg" Type="http://schemas.openxmlformats.org/officeDocument/2006/relationships/image"/><Relationship Id="rId1" Target="../slideLayouts/slideLayout13.xml" Type="http://schemas.openxmlformats.org/officeDocument/2006/relationships/slideLayout"/></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2" Type="http://schemas.openxmlformats.org/officeDocument/2006/relationships/hyperlink" Target="https://www.bgov.com/core/news/#!/articles/PWM67YDWLU69" TargetMode="Externa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hyperlink" Target="https://www.nrcc.org/2019/02/08/nrcc-announces-55-offensive-targets-2020-cycle/" TargetMode="External"/><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hyperlink" Target="https://dccc.org/frontline/" TargetMode="Externa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hyperlink" Target="https://dccc.org/memo-dccc-expands-offensive-battlefield-39-districts/" TargetMode="External"/><Relationship Id="rId2" Type="http://schemas.openxmlformats.org/officeDocument/2006/relationships/hyperlink" Target="https://dccc.org/democrats-go-offense-dccc-chairwoman-cheri-bustos-announces-initial-2020-offensive-battlefield/" TargetMode="External"/><Relationship Id="rId1" Type="http://schemas.openxmlformats.org/officeDocument/2006/relationships/slideLayout" Target="../slideLayouts/slideLayout13.xml"/><Relationship Id="rId4" Type="http://schemas.openxmlformats.org/officeDocument/2006/relationships/hyperlink" Target="https://dccc.org/wp-content/uploads/2020/01/01162020-Battlefield-Expansion.pdf"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hyperlink" Target="https://www.cookpolitical.com/ratings/house-race-ratings" TargetMode="Externa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2.xml"/></Relationships>
</file>

<file path=ppt/slides/_rels/slide22.xml.rels><?xml version="1.0" encoding="UTF-8" standalone="yes"?>
<Relationships xmlns="http://schemas.openxmlformats.org/package/2006/relationships"><Relationship Id="rId2" Type="http://schemas.openxmlformats.org/officeDocument/2006/relationships/hyperlink" Target="https://www.bgov.com/core/news/#!/articles/PORX836JTSE8" TargetMode="Externa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hyperlink" Target="https://www.bgov.com/core/news/#!/articles/Q3E8996JTSE8" TargetMode="External"/><Relationship Id="rId2" Type="http://schemas.openxmlformats.org/officeDocument/2006/relationships/hyperlink" Target="https://www.bgov.com/core/news/#!/articles/Q3HOGBDWLU6N" TargetMode="External"/><Relationship Id="rId1" Type="http://schemas.openxmlformats.org/officeDocument/2006/relationships/slideLayout" Target="../slideLayouts/slideLayout13.xml"/><Relationship Id="rId4" Type="http://schemas.openxmlformats.org/officeDocument/2006/relationships/image" Target="../media/image9.png"/></Relationships>
</file>

<file path=ppt/slides/_rels/slide24.xml.rels><?xml version="1.0" encoding="UTF-8" standalone="yes"?>
<Relationships xmlns="http://schemas.openxmlformats.org/package/2006/relationships"><Relationship Id="rId3" Type="http://schemas.openxmlformats.org/officeDocument/2006/relationships/hyperlink" Target="https://www.bloomberg.com/graphics/2020-presidential-delegates-tracker/" TargetMode="External"/><Relationship Id="rId2" Type="http://schemas.openxmlformats.org/officeDocument/2006/relationships/image" Target="../media/image10.png"/><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hyperlink" Target="https://www.bloomberg.com/graphics/2020-presidential-delegates-tracker/" TargetMode="Externa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hyperlink" Target="https://www.bloomberg.com/graphics/2020-presidential-delegates-tracker/" TargetMode="External"/><Relationship Id="rId2" Type="http://schemas.openxmlformats.org/officeDocument/2006/relationships/image" Target="../media/image12.png"/><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s://cookpolitical.com/sites/default/files/2019-11/EC%20102919.pdf" TargetMode="External"/><Relationship Id="rId2" Type="http://schemas.openxmlformats.org/officeDocument/2006/relationships/hyperlink" Target="https://www.cookpolitical.com/sites/default/files/2019-01/EC.pdf" TargetMode="External"/><Relationship Id="rId1" Type="http://schemas.openxmlformats.org/officeDocument/2006/relationships/slideLayout" Target="../slideLayouts/slideLayout12.xml"/><Relationship Id="rId4" Type="http://schemas.openxmlformats.org/officeDocument/2006/relationships/image" Target="../media/image1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0.xml.rels><?xml version="1.0" encoding="UTF-8" standalone="yes"?>
<Relationships xmlns="http://schemas.openxmlformats.org/package/2006/relationships"><Relationship Id="rId2" Type="http://schemas.openxmlformats.org/officeDocument/2006/relationships/hyperlink" Target="https://www.cookpolitical.com/ratings/governor-race-ratings" TargetMode="External"/><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hyperlink" Target="https://open.spotify.com/show/0UU44u97nIKRxG5hbpHll1" TargetMode="External"/><Relationship Id="rId2" Type="http://schemas.openxmlformats.org/officeDocument/2006/relationships/image" Target="../media/image14.png"/><Relationship Id="rId1" Type="http://schemas.openxmlformats.org/officeDocument/2006/relationships/slideLayout" Target="../slideLayouts/slideLayout6.xml"/><Relationship Id="rId6" Type="http://schemas.openxmlformats.org/officeDocument/2006/relationships/hyperlink" Target="https://www.stitcher.com/podcast/downballot-counts" TargetMode="External"/><Relationship Id="rId5" Type="http://schemas.openxmlformats.org/officeDocument/2006/relationships/hyperlink" Target="https://overcast.fm/itunes1495251500/downballot-counts" TargetMode="External"/><Relationship Id="rId4" Type="http://schemas.openxmlformats.org/officeDocument/2006/relationships/hyperlink" Target="https://podcasts.apple.com/us/podcast/downballot-counts/id1495251500" TargetMode="External"/></Relationships>
</file>

<file path=ppt/slides/_rels/slide32.xml.rels><?xml version="1.0" encoding="UTF-8" standalone="yes"?>
<Relationships xmlns="http://schemas.openxmlformats.org/package/2006/relationships"><Relationship Id="rId3" Type="http://schemas.openxmlformats.org/officeDocument/2006/relationships/hyperlink" Target="https://www.bgov.com/core/u/XAlj1yYoAAA=" TargetMode="External"/><Relationship Id="rId2" Type="http://schemas.openxmlformats.org/officeDocument/2006/relationships/hyperlink" Target="https://www.bgov.com/core/u/XAli6yYoAAA=" TargetMode="External"/><Relationship Id="rId1" Type="http://schemas.openxmlformats.org/officeDocument/2006/relationships/slideLayout" Target="../slideLayouts/slideLayout10.xml"/><Relationship Id="rId4" Type="http://schemas.openxmlformats.org/officeDocument/2006/relationships/hyperlink" Target="https://about.bgov.com/podcasts/" TargetMode="External"/></Relationships>
</file>

<file path=ppt/slides/_rels/slide4.xml.rels><?xml version="1.0" encoding="UTF-8" standalone="yes" ?><Relationships xmlns="http://schemas.openxmlformats.org/package/2006/relationships"><Relationship Id="rId2" Target="../media/image3.jpeg" Type="http://schemas.openxmlformats.org/officeDocument/2006/relationships/image"/><Relationship Id="rId1" Target="../slideLayouts/slideLayout11.xml" Type="http://schemas.openxmlformats.org/officeDocument/2006/relationships/slideLayout"/></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2" Type="http://schemas.openxmlformats.org/officeDocument/2006/relationships/hyperlink" Target="https://cookpolitical.com/ratings/senate-race-ratings" TargetMode="Externa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p:txBody>
          <a:bodyPr/>
          <a:lstStyle/>
          <a:p>
            <a:r>
              <a:rPr lang="en-US" sz="3600" dirty="0"/>
              <a:t>BGOV OnPoint: </a:t>
            </a:r>
            <a:br>
              <a:rPr lang="en-US" sz="3600" dirty="0"/>
            </a:br>
            <a:r>
              <a:rPr lang="en-US" dirty="0"/>
              <a:t>2020 Election Outlook</a:t>
            </a:r>
          </a:p>
        </p:txBody>
      </p:sp>
      <p:sp>
        <p:nvSpPr>
          <p:cNvPr id="6" name="Text Placeholder 10"/>
          <p:cNvSpPr txBox="1">
            <a:spLocks/>
          </p:cNvSpPr>
          <p:nvPr/>
        </p:nvSpPr>
        <p:spPr>
          <a:xfrm>
            <a:off x="317500" y="5942013"/>
            <a:ext cx="4030261" cy="228600"/>
          </a:xfrm>
          <a:prstGeom prst="rect">
            <a:avLst/>
          </a:prstGeom>
          <a:noFill/>
        </p:spPr>
        <p:txBody>
          <a:bodyPr lIns="0" tIns="0" rIns="0" bIns="0"/>
          <a:lstStyle>
            <a:lvl1pPr marL="342900" indent="-342900" algn="l" defTabSz="914400" rtl="0" eaLnBrk="1" latinLnBrk="0" hangingPunct="1">
              <a:spcBef>
                <a:spcPct val="20000"/>
              </a:spcBef>
              <a:buFont typeface="Arial" pitchFamily="34" charset="0"/>
              <a:buNone/>
              <a:defRPr sz="1400" b="1" kern="1200" baseline="0">
                <a:solidFill>
                  <a:schemeClr val="tx1">
                    <a:lumMod val="65000"/>
                    <a:lumOff val="3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b="0" dirty="0">
                <a:solidFill>
                  <a:schemeClr val="accent2"/>
                </a:solidFill>
                <a:latin typeface="Arial" pitchFamily="34" charset="0"/>
                <a:cs typeface="Arial" pitchFamily="34" charset="0"/>
              </a:rPr>
              <a:t>March 11, 2020</a:t>
            </a:r>
          </a:p>
        </p:txBody>
      </p:sp>
      <p:sp>
        <p:nvSpPr>
          <p:cNvPr id="17" name="Text Placeholder 10"/>
          <p:cNvSpPr txBox="1">
            <a:spLocks/>
          </p:cNvSpPr>
          <p:nvPr/>
        </p:nvSpPr>
        <p:spPr>
          <a:xfrm>
            <a:off x="317500" y="3242603"/>
            <a:ext cx="2743200" cy="2470810"/>
          </a:xfrm>
          <a:prstGeom prst="rect">
            <a:avLst/>
          </a:prstGeom>
        </p:spPr>
        <p:txBody>
          <a:bodyPr lIns="0" tIns="0" rIns="0" bIns="0" anchor="b" anchorCtr="0"/>
          <a:lstStyle>
            <a:lvl1pPr marL="0" marR="0" indent="0" algn="l" defTabSz="914400" rtl="0" eaLnBrk="1" fontAlgn="auto" latinLnBrk="0" hangingPunct="1">
              <a:lnSpc>
                <a:spcPct val="100000"/>
              </a:lnSpc>
              <a:spcBef>
                <a:spcPct val="20000"/>
              </a:spcBef>
              <a:spcAft>
                <a:spcPts val="0"/>
              </a:spcAft>
              <a:buClrTx/>
              <a:buSzTx/>
              <a:buFont typeface="Arial" pitchFamily="34" charset="0"/>
              <a:buNone/>
              <a:tabLst/>
              <a:defRPr sz="1600" b="1" kern="1200" baseline="0">
                <a:solidFill>
                  <a:schemeClr val="tx1">
                    <a:lumMod val="65000"/>
                    <a:lumOff val="3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defRPr/>
            </a:pPr>
            <a:r>
              <a:rPr lang="en-US" sz="1800" b="0" dirty="0">
                <a:gradFill>
                  <a:gsLst>
                    <a:gs pos="6000">
                      <a:srgbClr val="81DD00"/>
                    </a:gs>
                    <a:gs pos="51000">
                      <a:srgbClr val="00C78B"/>
                    </a:gs>
                    <a:gs pos="96000">
                      <a:srgbClr val="00B9E4"/>
                    </a:gs>
                  </a:gsLst>
                  <a:lin ang="0" scaled="1"/>
                </a:gradFill>
                <a:latin typeface="Arial" pitchFamily="34" charset="0"/>
                <a:cs typeface="Arial" pitchFamily="34" charset="0"/>
              </a:rPr>
              <a:t>By Bloomberg Staff</a:t>
            </a:r>
          </a:p>
          <a:p>
            <a:pPr>
              <a:spcBef>
                <a:spcPts val="0"/>
              </a:spcBef>
              <a:defRPr/>
            </a:pPr>
            <a:r>
              <a:rPr lang="en-US" sz="1400" b="0" dirty="0">
                <a:solidFill>
                  <a:schemeClr val="accent2"/>
                </a:solidFill>
                <a:latin typeface="Arial" pitchFamily="34" charset="0"/>
                <a:cs typeface="Arial" pitchFamily="34" charset="0"/>
              </a:rPr>
              <a:t>bgoveditors@bgov.com</a:t>
            </a:r>
          </a:p>
        </p:txBody>
      </p:sp>
    </p:spTree>
    <p:extLst>
      <p:ext uri="{BB962C8B-B14F-4D97-AF65-F5344CB8AC3E}">
        <p14:creationId xmlns:p14="http://schemas.microsoft.com/office/powerpoint/2010/main" val="14538047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2020 Democratic-Held Senate Seats</a:t>
            </a:r>
          </a:p>
        </p:txBody>
      </p:sp>
      <p:graphicFrame>
        <p:nvGraphicFramePr>
          <p:cNvPr id="6" name="Table 5"/>
          <p:cNvGraphicFramePr>
            <a:graphicFrameLocks noGrp="1"/>
          </p:cNvGraphicFramePr>
          <p:nvPr>
            <p:extLst>
              <p:ext uri="{D42A27DB-BD31-4B8C-83A1-F6EECF244321}">
                <p14:modId xmlns:p14="http://schemas.microsoft.com/office/powerpoint/2010/main" val="2868478635"/>
              </p:ext>
            </p:extLst>
          </p:nvPr>
        </p:nvGraphicFramePr>
        <p:xfrm>
          <a:off x="457200" y="1481328"/>
          <a:ext cx="8123207" cy="4338395"/>
        </p:xfrm>
        <a:graphic>
          <a:graphicData uri="http://schemas.openxmlformats.org/drawingml/2006/table">
            <a:tbl>
              <a:tblPr firstRow="1" bandRow="1">
                <a:tableStyleId>{B301B821-A1FF-4177-AEE7-76D212191A09}</a:tableStyleId>
              </a:tblPr>
              <a:tblGrid>
                <a:gridCol w="1843177">
                  <a:extLst>
                    <a:ext uri="{9D8B030D-6E8A-4147-A177-3AD203B41FA5}">
                      <a16:colId xmlns:a16="http://schemas.microsoft.com/office/drawing/2014/main" val="20000"/>
                    </a:ext>
                  </a:extLst>
                </a:gridCol>
                <a:gridCol w="1256006">
                  <a:extLst>
                    <a:ext uri="{9D8B030D-6E8A-4147-A177-3AD203B41FA5}">
                      <a16:colId xmlns:a16="http://schemas.microsoft.com/office/drawing/2014/main" val="20001"/>
                    </a:ext>
                  </a:extLst>
                </a:gridCol>
                <a:gridCol w="1256006">
                  <a:extLst>
                    <a:ext uri="{9D8B030D-6E8A-4147-A177-3AD203B41FA5}">
                      <a16:colId xmlns:a16="http://schemas.microsoft.com/office/drawing/2014/main" val="20002"/>
                    </a:ext>
                  </a:extLst>
                </a:gridCol>
                <a:gridCol w="1256006">
                  <a:extLst>
                    <a:ext uri="{9D8B030D-6E8A-4147-A177-3AD203B41FA5}">
                      <a16:colId xmlns:a16="http://schemas.microsoft.com/office/drawing/2014/main" val="20003"/>
                    </a:ext>
                  </a:extLst>
                </a:gridCol>
                <a:gridCol w="1256006">
                  <a:extLst>
                    <a:ext uri="{9D8B030D-6E8A-4147-A177-3AD203B41FA5}">
                      <a16:colId xmlns:a16="http://schemas.microsoft.com/office/drawing/2014/main" val="20004"/>
                    </a:ext>
                  </a:extLst>
                </a:gridCol>
                <a:gridCol w="1256006">
                  <a:extLst>
                    <a:ext uri="{9D8B030D-6E8A-4147-A177-3AD203B41FA5}">
                      <a16:colId xmlns:a16="http://schemas.microsoft.com/office/drawing/2014/main" val="20005"/>
                    </a:ext>
                  </a:extLst>
                </a:gridCol>
              </a:tblGrid>
              <a:tr h="316523">
                <a:tc>
                  <a:txBody>
                    <a:bodyPr/>
                    <a:lstStyle/>
                    <a:p>
                      <a:pPr marL="0" marR="0" algn="l">
                        <a:lnSpc>
                          <a:spcPct val="107000"/>
                        </a:lnSpc>
                        <a:spcBef>
                          <a:spcPts val="0"/>
                        </a:spcBef>
                        <a:spcAft>
                          <a:spcPts val="0"/>
                        </a:spcAft>
                      </a:pPr>
                      <a:r>
                        <a:rPr lang="en-US" sz="1000" dirty="0">
                          <a:effectLst/>
                        </a:rPr>
                        <a:t>Incumbent</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ctr"/>
                      <a:r>
                        <a:rPr lang="en-US" sz="1000" u="none" strike="noStrike" dirty="0">
                          <a:effectLst/>
                        </a:rPr>
                        <a:t>2016 </a:t>
                      </a:r>
                      <a:br>
                        <a:rPr lang="en-US" sz="1000" u="none" strike="noStrike" dirty="0">
                          <a:effectLst/>
                        </a:rPr>
                      </a:br>
                      <a:r>
                        <a:rPr lang="en-US" sz="1000" u="none" strike="noStrike" dirty="0">
                          <a:effectLst/>
                        </a:rPr>
                        <a:t>Presidential</a:t>
                      </a:r>
                      <a:r>
                        <a:rPr lang="en-US" sz="1000" u="none" strike="noStrike" baseline="0" dirty="0">
                          <a:effectLst/>
                        </a:rPr>
                        <a:t> </a:t>
                      </a:r>
                      <a:r>
                        <a:rPr lang="en-US" sz="1000" u="none" strike="noStrike" dirty="0">
                          <a:effectLst/>
                        </a:rPr>
                        <a:t>Winner</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6 Percentage</a:t>
                      </a:r>
                      <a:br>
                        <a:rPr lang="en-US" sz="1000" u="none" strike="noStrike" dirty="0">
                          <a:effectLst/>
                        </a:rPr>
                      </a:br>
                      <a:r>
                        <a:rPr lang="en-US" sz="1000" u="none" strike="noStrike" dirty="0">
                          <a:effectLst/>
                        </a:rPr>
                        <a:t>Point Margin</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2 </a:t>
                      </a:r>
                      <a:br>
                        <a:rPr lang="en-US" sz="1000" u="none" strike="noStrike" dirty="0">
                          <a:effectLst/>
                        </a:rPr>
                      </a:br>
                      <a:r>
                        <a:rPr lang="en-US" sz="1000" u="none" strike="noStrike" dirty="0">
                          <a:effectLst/>
                        </a:rPr>
                        <a:t>Presidential</a:t>
                      </a:r>
                      <a:r>
                        <a:rPr lang="en-US" sz="1000" u="none" strike="noStrike" baseline="0" dirty="0">
                          <a:effectLst/>
                        </a:rPr>
                        <a:t> Winner</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2 Percentage</a:t>
                      </a:r>
                      <a:br>
                        <a:rPr lang="en-US" sz="1000" u="none" strike="noStrike" dirty="0">
                          <a:effectLst/>
                        </a:rPr>
                      </a:br>
                      <a:r>
                        <a:rPr lang="en-US" sz="1000" u="none" strike="noStrike" dirty="0">
                          <a:effectLst/>
                        </a:rPr>
                        <a:t>Point Margin</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Cash on</a:t>
                      </a:r>
                      <a:r>
                        <a:rPr lang="en-US" sz="1000" u="none" strike="noStrike" baseline="0" dirty="0">
                          <a:effectLst/>
                        </a:rPr>
                        <a:t> Hand</a:t>
                      </a:r>
                      <a:br>
                        <a:rPr lang="en-US" sz="1000" u="none" strike="noStrike" baseline="0" dirty="0">
                          <a:effectLst/>
                        </a:rPr>
                      </a:br>
                      <a:r>
                        <a:rPr lang="en-US" sz="1000" u="none" strike="noStrike" dirty="0">
                          <a:effectLst/>
                        </a:rPr>
                        <a:t>(Dec. 31)</a:t>
                      </a:r>
                      <a:endParaRPr lang="en-US" sz="1000" b="1" i="0" u="none" strike="noStrike" dirty="0">
                        <a:solidFill>
                          <a:schemeClr val="tx1"/>
                        </a:solidFill>
                        <a:effectLst/>
                        <a:latin typeface="+mn-lt"/>
                      </a:endParaRPr>
                    </a:p>
                  </a:txBody>
                  <a:tcPr anchor="ctr"/>
                </a:tc>
                <a:extLst>
                  <a:ext uri="{0D108BD9-81ED-4DB2-BD59-A6C34878D82A}">
                    <a16:rowId xmlns:a16="http://schemas.microsoft.com/office/drawing/2014/main" val="10000"/>
                  </a:ext>
                </a:extLst>
              </a:tr>
              <a:tr h="316523">
                <a:tc>
                  <a:txBody>
                    <a:bodyPr/>
                    <a:lstStyle/>
                    <a:p>
                      <a:pPr marL="0" marR="0" algn="l">
                        <a:lnSpc>
                          <a:spcPct val="107000"/>
                        </a:lnSpc>
                        <a:spcBef>
                          <a:spcPts val="0"/>
                        </a:spcBef>
                        <a:spcAft>
                          <a:spcPts val="0"/>
                        </a:spcAft>
                      </a:pPr>
                      <a:r>
                        <a:rPr lang="en-US" sz="1000" dirty="0">
                          <a:effectLst/>
                          <a:latin typeface="+mn-lt"/>
                        </a:rPr>
                        <a:t>Doug Jones (Al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7.7%</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2.2%</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7,422,821</a:t>
                      </a:r>
                    </a:p>
                  </a:txBody>
                  <a:tcPr marL="9525" marR="9525" marT="9525" marB="0" anchor="ctr"/>
                </a:tc>
                <a:extLst>
                  <a:ext uri="{0D108BD9-81ED-4DB2-BD59-A6C34878D82A}">
                    <a16:rowId xmlns:a16="http://schemas.microsoft.com/office/drawing/2014/main" val="10001"/>
                  </a:ext>
                </a:extLst>
              </a:tr>
              <a:tr h="316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rPr>
                        <a:t>Chris Coons (Del.)</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1.4%</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8.6%</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2,647,091</a:t>
                      </a:r>
                    </a:p>
                  </a:txBody>
                  <a:tcPr marL="9525" marR="9525" marT="9525" marB="0" anchor="ctr"/>
                </a:tc>
                <a:extLst>
                  <a:ext uri="{0D108BD9-81ED-4DB2-BD59-A6C34878D82A}">
                    <a16:rowId xmlns:a16="http://schemas.microsoft.com/office/drawing/2014/main" val="10002"/>
                  </a:ext>
                </a:extLst>
              </a:tr>
              <a:tr h="316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rPr>
                        <a:t>Dick Durbin (Ill.)</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7.1%</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6.9%</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4,636,452</a:t>
                      </a:r>
                    </a:p>
                  </a:txBody>
                  <a:tcPr marL="9525" marR="9525" marT="9525" marB="0" anchor="ctr"/>
                </a:tc>
                <a:extLst>
                  <a:ext uri="{0D108BD9-81ED-4DB2-BD59-A6C34878D82A}">
                    <a16:rowId xmlns:a16="http://schemas.microsoft.com/office/drawing/2014/main" val="10003"/>
                  </a:ext>
                </a:extLst>
              </a:tr>
              <a:tr h="316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rPr>
                        <a:t>Ed Markey (Mass.)</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27.2%</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23.1%</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4,550,451</a:t>
                      </a:r>
                    </a:p>
                  </a:txBody>
                  <a:tcPr marL="9525" marR="9525" marT="9525" marB="0" anchor="ctr"/>
                </a:tc>
                <a:extLst>
                  <a:ext uri="{0D108BD9-81ED-4DB2-BD59-A6C34878D82A}">
                    <a16:rowId xmlns:a16="http://schemas.microsoft.com/office/drawing/2014/main" val="10004"/>
                  </a:ext>
                </a:extLst>
              </a:tr>
              <a:tr h="316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rPr>
                        <a:t>Gary Peters (Mich.)</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0.2%</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9.5%</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8,036,796</a:t>
                      </a:r>
                    </a:p>
                  </a:txBody>
                  <a:tcPr marL="9525" marR="9525" marT="9525" marB="0" anchor="ctr"/>
                </a:tc>
                <a:extLst>
                  <a:ext uri="{0D108BD9-81ED-4DB2-BD59-A6C34878D82A}">
                    <a16:rowId xmlns:a16="http://schemas.microsoft.com/office/drawing/2014/main" val="10005"/>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kern="1200" dirty="0">
                          <a:effectLst/>
                          <a:latin typeface="+mn-lt"/>
                        </a:rPr>
                        <a:t>Tina Smith (Minn.)</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5%</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7.7%</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3,623,188</a:t>
                      </a:r>
                    </a:p>
                  </a:txBody>
                  <a:tcPr marL="9525" marR="9525" marT="9525" marB="0" anchor="ctr"/>
                </a:tc>
                <a:extLst>
                  <a:ext uri="{0D108BD9-81ED-4DB2-BD59-A6C34878D82A}">
                    <a16:rowId xmlns:a16="http://schemas.microsoft.com/office/drawing/2014/main" val="10006"/>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Jeanne Shaheen (N.H.)</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0.4%</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5.6%</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5,757,662</a:t>
                      </a:r>
                    </a:p>
                  </a:txBody>
                  <a:tcPr marL="9525" marR="9525" marT="9525" marB="0" anchor="ctr"/>
                </a:tc>
                <a:extLst>
                  <a:ext uri="{0D108BD9-81ED-4DB2-BD59-A6C34878D82A}">
                    <a16:rowId xmlns:a16="http://schemas.microsoft.com/office/drawing/2014/main" val="10009"/>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Cory Booker (N.J.)</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4.1%</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7.8%</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53,551</a:t>
                      </a:r>
                    </a:p>
                  </a:txBody>
                  <a:tcPr marL="9525" marR="9525" marT="9525" marB="0" anchor="ctr"/>
                </a:tc>
                <a:extLst>
                  <a:ext uri="{0D108BD9-81ED-4DB2-BD59-A6C34878D82A}">
                    <a16:rowId xmlns:a16="http://schemas.microsoft.com/office/drawing/2014/main" val="10007"/>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Open (N.M.)</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8.2%</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0.1%</a:t>
                      </a:r>
                      <a:endParaRPr lang="en-US" sz="1000" b="0" i="0" u="none" strike="noStrike" dirty="0">
                        <a:solidFill>
                          <a:schemeClr val="tx1"/>
                        </a:solidFill>
                        <a:effectLst/>
                        <a:latin typeface="+mn-lt"/>
                      </a:endParaRPr>
                    </a:p>
                  </a:txBody>
                  <a:tcPr anchor="ctr"/>
                </a:tc>
                <a:tc>
                  <a:txBody>
                    <a:bodyPr/>
                    <a:lstStyle/>
                    <a:p>
                      <a:pPr algn="r" fontAlgn="b"/>
                      <a:r>
                        <a:rPr lang="en-US" sz="1000" u="none" strike="noStrike" dirty="0">
                          <a:solidFill>
                            <a:schemeClr val="tx1"/>
                          </a:solidFill>
                          <a:effectLst/>
                          <a:latin typeface="+mn-lt"/>
                        </a:rPr>
                        <a:t>N/A </a:t>
                      </a:r>
                      <a:endParaRPr lang="en-US" sz="1000" b="0" i="0" u="none" strike="noStrike" dirty="0">
                        <a:solidFill>
                          <a:schemeClr val="tx1"/>
                        </a:solidFill>
                        <a:effectLst/>
                        <a:latin typeface="+mn-lt"/>
                      </a:endParaRPr>
                    </a:p>
                  </a:txBody>
                  <a:tcPr anchor="ctr"/>
                </a:tc>
                <a:extLst>
                  <a:ext uri="{0D108BD9-81ED-4DB2-BD59-A6C34878D82A}">
                    <a16:rowId xmlns:a16="http://schemas.microsoft.com/office/drawing/2014/main" val="10008"/>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Jeff Merkley (Ore.)</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1.0%</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2.1%</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3,222,344</a:t>
                      </a:r>
                    </a:p>
                  </a:txBody>
                  <a:tcPr marL="9525" marR="9525" marT="9525" marB="0" anchor="ctr"/>
                </a:tc>
                <a:extLst>
                  <a:ext uri="{0D108BD9-81ED-4DB2-BD59-A6C34878D82A}">
                    <a16:rowId xmlns:a16="http://schemas.microsoft.com/office/drawing/2014/main" val="10010"/>
                  </a:ext>
                </a:extLst>
              </a:tr>
              <a:tr h="308002">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Jack Reed (R.I.)</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5.5%</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27.5%</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2,832,024</a:t>
                      </a:r>
                    </a:p>
                  </a:txBody>
                  <a:tcPr marL="9525" marR="9525" marT="9525" marB="0" anchor="ctr"/>
                </a:tc>
                <a:extLst>
                  <a:ext uri="{0D108BD9-81ED-4DB2-BD59-A6C34878D82A}">
                    <a16:rowId xmlns:a16="http://schemas.microsoft.com/office/drawing/2014/main" val="10011"/>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Mark Warner (V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5.3%</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3.9%</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7,459,886</a:t>
                      </a:r>
                    </a:p>
                  </a:txBody>
                  <a:tcPr marL="9525" marR="9525" marT="9525" marB="0" anchor="ctr"/>
                </a:tc>
                <a:extLst>
                  <a:ext uri="{0D108BD9-81ED-4DB2-BD59-A6C34878D82A}">
                    <a16:rowId xmlns:a16="http://schemas.microsoft.com/office/drawing/2014/main" val="10012"/>
                  </a:ext>
                </a:extLst>
              </a:tr>
            </a:tbl>
          </a:graphicData>
        </a:graphic>
      </p:graphicFrame>
      <p:sp>
        <p:nvSpPr>
          <p:cNvPr id="7" name="TextBox 6"/>
          <p:cNvSpPr txBox="1"/>
          <p:nvPr/>
        </p:nvSpPr>
        <p:spPr>
          <a:xfrm>
            <a:off x="457200" y="5943600"/>
            <a:ext cx="8119872" cy="457200"/>
          </a:xfrm>
          <a:prstGeom prst="rect">
            <a:avLst/>
          </a:prstGeom>
          <a:noFill/>
        </p:spPr>
        <p:txBody>
          <a:bodyPr wrap="square" lIns="0" tIns="45720" rIns="0" bIns="45720" rtlCol="0">
            <a:noAutofit/>
          </a:bodyPr>
          <a:lstStyle/>
          <a:p>
            <a:pPr>
              <a:buClr>
                <a:srgbClr val="FFFFFF"/>
              </a:buClr>
            </a:pPr>
            <a:r>
              <a:rPr lang="en-US" sz="1000" dirty="0">
                <a:latin typeface="Arial" pitchFamily="34" charset="0"/>
                <a:cs typeface="Arial" pitchFamily="34" charset="0"/>
              </a:rPr>
              <a:t>Source: Bloomberg Government; Federal Election Commission</a:t>
            </a:r>
          </a:p>
          <a:p>
            <a:pPr>
              <a:buClr>
                <a:srgbClr val="FFFFFF"/>
              </a:buClr>
            </a:pPr>
            <a:r>
              <a:rPr lang="en-US" sz="1000" dirty="0">
                <a:latin typeface="Arial" pitchFamily="34" charset="0"/>
                <a:cs typeface="Arial" pitchFamily="34" charset="0"/>
              </a:rPr>
              <a:t>Notes: </a:t>
            </a:r>
            <a:r>
              <a:rPr lang="en-US" sz="1000" dirty="0"/>
              <a:t>Tom Udall (D-N.M.) is retiring; Jones’ cash-on-hand total is current to Feb. 12, Durbin’s to Feb. 26</a:t>
            </a:r>
            <a:endParaRPr lang="en-US" sz="1000" dirty="0">
              <a:solidFill>
                <a:srgbClr val="000000"/>
              </a:solidFill>
              <a:latin typeface="Arial" pitchFamily="34" charset="0"/>
              <a:cs typeface="Arial" pitchFamily="34" charset="0"/>
            </a:endParaRPr>
          </a:p>
          <a:p>
            <a:pPr>
              <a:buClr>
                <a:srgbClr val="FFFFFF"/>
              </a:buClr>
            </a:pPr>
            <a:endParaRPr lang="en-US" sz="1000" dirty="0">
              <a:latin typeface="Arial" pitchFamily="34" charset="0"/>
              <a:cs typeface="Arial" pitchFamily="34" charset="0"/>
            </a:endParaRPr>
          </a:p>
        </p:txBody>
      </p:sp>
    </p:spTree>
    <p:extLst>
      <p:ext uri="{BB962C8B-B14F-4D97-AF65-F5344CB8AC3E}">
        <p14:creationId xmlns:p14="http://schemas.microsoft.com/office/powerpoint/2010/main" val="3789650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Senate Women in the Balance</a:t>
            </a:r>
          </a:p>
        </p:txBody>
      </p:sp>
      <p:sp>
        <p:nvSpPr>
          <p:cNvPr id="3" name="Text Placeholder 2"/>
          <p:cNvSpPr>
            <a:spLocks noGrp="1"/>
          </p:cNvSpPr>
          <p:nvPr>
            <p:ph type="body" sz="quarter" idx="10"/>
          </p:nvPr>
        </p:nvSpPr>
        <p:spPr>
          <a:xfrm>
            <a:off x="455612" y="1250302"/>
            <a:ext cx="8429596" cy="1550771"/>
          </a:xfrm>
        </p:spPr>
        <p:txBody>
          <a:bodyPr/>
          <a:lstStyle/>
          <a:p>
            <a:pPr marL="0" indent="0">
              <a:buNone/>
            </a:pPr>
            <a:r>
              <a:rPr lang="en-US" dirty="0">
                <a:solidFill>
                  <a:schemeClr val="tx1">
                    <a:lumMod val="50000"/>
                    <a:lumOff val="50000"/>
                  </a:schemeClr>
                </a:solidFill>
              </a:rPr>
              <a:t>There are 26 women in the Senate, or 26% of the membership. Two of the 17 Democratic women and six of the nine Republican women are on the ballot this year.</a:t>
            </a:r>
          </a:p>
        </p:txBody>
      </p:sp>
      <p:pic>
        <p:nvPicPr>
          <p:cNvPr id="5" name="Picture 4" descr="A picture containing text, map&#10;&#10;Description automatically generated">
            <a:extLst>
              <a:ext uri="{FF2B5EF4-FFF2-40B4-BE49-F238E27FC236}">
                <a16:creationId xmlns:a16="http://schemas.microsoft.com/office/drawing/2014/main" id="{CEF89E5C-15D1-4139-AC38-7E9F6CFDEE3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0552" r="1504" b="14555"/>
          <a:stretch/>
        </p:blipFill>
        <p:spPr>
          <a:xfrm>
            <a:off x="258793" y="2114682"/>
            <a:ext cx="8885208" cy="3884491"/>
          </a:xfrm>
          <a:prstGeom prst="rect">
            <a:avLst/>
          </a:prstGeom>
        </p:spPr>
      </p:pic>
      <p:sp>
        <p:nvSpPr>
          <p:cNvPr id="6" name="Text Placeholder 4">
            <a:extLst>
              <a:ext uri="{FF2B5EF4-FFF2-40B4-BE49-F238E27FC236}">
                <a16:creationId xmlns:a16="http://schemas.microsoft.com/office/drawing/2014/main" id="{08206132-3C1A-4DD5-B9FB-E491FEF15C9A}"/>
              </a:ext>
            </a:extLst>
          </p:cNvPr>
          <p:cNvSpPr txBox="1">
            <a:spLocks/>
          </p:cNvSpPr>
          <p:nvPr/>
        </p:nvSpPr>
        <p:spPr>
          <a:xfrm>
            <a:off x="457197" y="6314400"/>
            <a:ext cx="8228013" cy="274320"/>
          </a:xfrm>
          <a:prstGeom prst="rect">
            <a:avLst/>
          </a:prstGeom>
        </p:spPr>
        <p:txBody>
          <a:bodyPr vert="horz" lIns="0" tIns="45720" rIns="0" bIns="0" rtlCol="0" anchor="b" anchorCtr="0">
            <a:noAutofit/>
          </a:bodyPr>
          <a:lstStyle>
            <a:lvl1pPr marL="0" indent="0" algn="l" defTabSz="914400" rtl="0" eaLnBrk="1" latinLnBrk="0" hangingPunct="1">
              <a:spcBef>
                <a:spcPts val="0"/>
              </a:spcBef>
              <a:buClr>
                <a:srgbClr val="81DD00"/>
              </a:buClr>
              <a:buFont typeface="Arial" panose="020B0604020202020204" pitchFamily="34" charset="0"/>
              <a:buNone/>
              <a:defRPr kumimoji="0" lang="en-US" sz="900" b="0" i="0" u="none" strike="noStrike" kern="1200" cap="none" spc="0" normalizeH="0" baseline="0">
                <a:ln>
                  <a:noFill/>
                </a:ln>
                <a:solidFill>
                  <a:srgbClr val="000000"/>
                </a:solidFill>
                <a:effectLst/>
                <a:uLnTx/>
                <a:uFillTx/>
                <a:latin typeface="Arial" pitchFamily="34" charset="0"/>
                <a:ea typeface="+mn-ea"/>
                <a:cs typeface="Arial" pitchFamily="34" charset="0"/>
              </a:defRPr>
            </a:lvl1pPr>
            <a:lvl2pPr marL="168275" indent="0" algn="l" defTabSz="914400" rtl="0" eaLnBrk="1" latinLnBrk="0" hangingPunct="1">
              <a:spcBef>
                <a:spcPts val="0"/>
              </a:spcBef>
              <a:buClr>
                <a:srgbClr val="81DD00"/>
              </a:buClr>
              <a:buFont typeface="Arial" panose="020B0604020202020204" pitchFamily="34" charset="0"/>
              <a:buNone/>
              <a:defRPr sz="1600" kern="1200">
                <a:solidFill>
                  <a:schemeClr val="tx1"/>
                </a:solidFill>
                <a:latin typeface="Arial" pitchFamily="34" charset="0"/>
                <a:ea typeface="+mn-ea"/>
                <a:cs typeface="Arial" pitchFamily="34" charset="0"/>
              </a:defRPr>
            </a:lvl2pPr>
            <a:lvl3pPr marL="396875" indent="0" algn="l" defTabSz="914400" rtl="0" eaLnBrk="1" latinLnBrk="0" hangingPunct="1">
              <a:spcBef>
                <a:spcPts val="0"/>
              </a:spcBef>
              <a:buClr>
                <a:srgbClr val="81DD00"/>
              </a:buClr>
              <a:buFont typeface="Arial" pitchFamily="34" charset="0"/>
              <a:buNone/>
              <a:defRPr sz="1400" kern="1200">
                <a:solidFill>
                  <a:schemeClr val="tx1"/>
                </a:solidFill>
                <a:latin typeface="Arial" pitchFamily="34" charset="0"/>
                <a:ea typeface="+mn-ea"/>
                <a:cs typeface="Arial" pitchFamily="34" charset="0"/>
              </a:defRPr>
            </a:lvl3pPr>
            <a:lvl4pPr marL="625475" indent="0" algn="l" defTabSz="914400" rtl="0" eaLnBrk="1" latinLnBrk="0" hangingPunct="1">
              <a:spcBef>
                <a:spcPts val="0"/>
              </a:spcBef>
              <a:buClr>
                <a:srgbClr val="81DD00"/>
              </a:buClr>
              <a:buFont typeface="Arial" panose="020B0604020202020204" pitchFamily="34" charset="0"/>
              <a:buNone/>
              <a:tabLst/>
              <a:defRPr sz="1400" kern="1200">
                <a:solidFill>
                  <a:schemeClr val="tx1"/>
                </a:solidFill>
                <a:latin typeface="Arial" pitchFamily="34" charset="0"/>
                <a:ea typeface="+mn-ea"/>
                <a:cs typeface="Arial" pitchFamily="34" charset="0"/>
              </a:defRPr>
            </a:lvl4pPr>
            <a:lvl5pPr marL="854075" indent="0" algn="l" defTabSz="914400" rtl="0" eaLnBrk="1" latinLnBrk="0" hangingPunct="1">
              <a:spcBef>
                <a:spcPts val="0"/>
              </a:spcBef>
              <a:buClr>
                <a:srgbClr val="81DD00"/>
              </a:buClr>
              <a:buFont typeface="Arial" pitchFamily="34" charset="0"/>
              <a:buNone/>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FF"/>
              </a:buClr>
            </a:pPr>
            <a:r>
              <a:rPr lang="en-US" dirty="0"/>
              <a:t>Note: Data of March 11</a:t>
            </a:r>
          </a:p>
        </p:txBody>
      </p:sp>
    </p:spTree>
    <p:extLst>
      <p:ext uri="{BB962C8B-B14F-4D97-AF65-F5344CB8AC3E}">
        <p14:creationId xmlns:p14="http://schemas.microsoft.com/office/powerpoint/2010/main" val="3468036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77054"/>
          </a:xfrm>
        </p:spPr>
        <p:txBody>
          <a:bodyPr/>
          <a:lstStyle/>
          <a:p>
            <a:r>
              <a:rPr lang="en-US" dirty="0"/>
              <a:t>Big Picture on 2020 House Races</a:t>
            </a:r>
          </a:p>
        </p:txBody>
      </p:sp>
      <p:sp>
        <p:nvSpPr>
          <p:cNvPr id="3" name="Text Placeholder 2"/>
          <p:cNvSpPr>
            <a:spLocks noGrp="1"/>
          </p:cNvSpPr>
          <p:nvPr>
            <p:ph type="body" sz="quarter" idx="10"/>
          </p:nvPr>
        </p:nvSpPr>
        <p:spPr>
          <a:xfrm>
            <a:off x="455612" y="1376362"/>
            <a:ext cx="8429596" cy="1424711"/>
          </a:xfrm>
        </p:spPr>
        <p:txBody>
          <a:bodyPr/>
          <a:lstStyle/>
          <a:p>
            <a:pPr marL="0" indent="0">
              <a:buClr>
                <a:srgbClr val="0070C0"/>
              </a:buClr>
              <a:buNone/>
            </a:pPr>
            <a:r>
              <a:rPr lang="en-US" b="1" dirty="0">
                <a:solidFill>
                  <a:schemeClr val="tx1"/>
                </a:solidFill>
              </a:rPr>
              <a:t>All 435 House seats are up in 2020</a:t>
            </a:r>
          </a:p>
          <a:p>
            <a:pPr>
              <a:buClr>
                <a:srgbClr val="0070C0"/>
              </a:buClr>
            </a:pPr>
            <a:r>
              <a:rPr lang="en-US" dirty="0">
                <a:solidFill>
                  <a:schemeClr val="tx1"/>
                </a:solidFill>
              </a:rPr>
              <a:t>Democrats are defending their majority after a net gain of 40 seats in 2018 election </a:t>
            </a:r>
          </a:p>
          <a:p>
            <a:pPr>
              <a:buClr>
                <a:srgbClr val="0070C0"/>
              </a:buClr>
            </a:pPr>
            <a:r>
              <a:rPr lang="en-US" dirty="0">
                <a:solidFill>
                  <a:schemeClr val="tx1"/>
                </a:solidFill>
              </a:rPr>
              <a:t>Republicans would need to net around 18 seats to flip the chamber</a:t>
            </a:r>
          </a:p>
          <a:p>
            <a:pPr>
              <a:buClr>
                <a:srgbClr val="0070C0"/>
              </a:buClr>
            </a:pPr>
            <a:r>
              <a:rPr lang="en-US" dirty="0">
                <a:solidFill>
                  <a:schemeClr val="tx1"/>
                </a:solidFill>
              </a:rPr>
              <a:t>Some of the most closely watched races will be districts won by the other party’s 2016 presidential candidate</a:t>
            </a:r>
            <a:endParaRPr lang="en-US" dirty="0"/>
          </a:p>
        </p:txBody>
      </p:sp>
      <p:pic>
        <p:nvPicPr>
          <p:cNvPr id="7" name="Picture 6">
            <a:extLst>
              <a:ext uri="{FF2B5EF4-FFF2-40B4-BE49-F238E27FC236}">
                <a16:creationId xmlns:a16="http://schemas.microsoft.com/office/drawing/2014/main" id="{05FEF62D-E576-45A2-8DFC-CE1476607FDD}"/>
              </a:ext>
            </a:extLst>
          </p:cNvPr>
          <p:cNvPicPr>
            <a:picLocks noChangeAspect="1"/>
          </p:cNvPicPr>
          <p:nvPr/>
        </p:nvPicPr>
        <p:blipFill>
          <a:blip r:embed="rId2"/>
          <a:stretch>
            <a:fillRect/>
          </a:stretch>
        </p:blipFill>
        <p:spPr>
          <a:xfrm>
            <a:off x="1973810" y="3011406"/>
            <a:ext cx="5393199" cy="3096096"/>
          </a:xfrm>
          <a:prstGeom prst="rect">
            <a:avLst/>
          </a:prstGeom>
        </p:spPr>
      </p:pic>
    </p:spTree>
    <p:extLst>
      <p:ext uri="{BB962C8B-B14F-4D97-AF65-F5344CB8AC3E}">
        <p14:creationId xmlns:p14="http://schemas.microsoft.com/office/powerpoint/2010/main" val="202200117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33EEDB-B51E-4C56-9AD3-D5C3595A1A22}"/>
              </a:ext>
            </a:extLst>
          </p:cNvPr>
          <p:cNvSpPr>
            <a:spLocks noGrp="1"/>
          </p:cNvSpPr>
          <p:nvPr>
            <p:ph type="title"/>
          </p:nvPr>
        </p:nvSpPr>
        <p:spPr/>
        <p:txBody>
          <a:bodyPr/>
          <a:lstStyle/>
          <a:p>
            <a:r>
              <a:rPr lang="en-US" dirty="0"/>
              <a:t>Congressional Comings &amp; Goings</a:t>
            </a:r>
          </a:p>
        </p:txBody>
      </p:sp>
      <p:sp>
        <p:nvSpPr>
          <p:cNvPr id="4" name="Text Placeholder 3">
            <a:extLst>
              <a:ext uri="{FF2B5EF4-FFF2-40B4-BE49-F238E27FC236}">
                <a16:creationId xmlns:a16="http://schemas.microsoft.com/office/drawing/2014/main" id="{B316481F-EB54-4A7F-9988-06F695611507}"/>
              </a:ext>
            </a:extLst>
          </p:cNvPr>
          <p:cNvSpPr>
            <a:spLocks noGrp="1"/>
          </p:cNvSpPr>
          <p:nvPr>
            <p:ph type="body" sz="quarter" idx="13"/>
          </p:nvPr>
        </p:nvSpPr>
        <p:spPr>
          <a:xfrm>
            <a:off x="457992" y="6252096"/>
            <a:ext cx="8228013" cy="274320"/>
          </a:xfrm>
        </p:spPr>
        <p:txBody>
          <a:bodyPr/>
          <a:lstStyle/>
          <a:p>
            <a:r>
              <a:rPr lang="en-US" dirty="0">
                <a:solidFill>
                  <a:schemeClr val="tx1"/>
                </a:solidFill>
              </a:rPr>
              <a:t>Source: Bloomberg Government; as of March 11</a:t>
            </a:r>
          </a:p>
        </p:txBody>
      </p:sp>
      <p:sp>
        <p:nvSpPr>
          <p:cNvPr id="5" name="Text Placeholder 2">
            <a:extLst>
              <a:ext uri="{FF2B5EF4-FFF2-40B4-BE49-F238E27FC236}">
                <a16:creationId xmlns:a16="http://schemas.microsoft.com/office/drawing/2014/main" id="{DDE31116-1339-4AE2-95BF-B83F97E01482}"/>
              </a:ext>
            </a:extLst>
          </p:cNvPr>
          <p:cNvSpPr>
            <a:spLocks noGrp="1"/>
          </p:cNvSpPr>
          <p:nvPr>
            <p:ph type="body" sz="quarter" idx="10"/>
          </p:nvPr>
        </p:nvSpPr>
        <p:spPr>
          <a:xfrm>
            <a:off x="457993" y="1334876"/>
            <a:ext cx="2232907" cy="4617575"/>
          </a:xfrm>
        </p:spPr>
        <p:txBody>
          <a:bodyPr/>
          <a:lstStyle/>
          <a:p>
            <a:pPr marL="0" indent="0" algn="ctr">
              <a:buNone/>
            </a:pPr>
            <a:r>
              <a:rPr lang="en-US" sz="2000" b="1" dirty="0">
                <a:solidFill>
                  <a:schemeClr val="tx1"/>
                </a:solidFill>
              </a:rPr>
              <a:t>Senate</a:t>
            </a:r>
          </a:p>
          <a:p>
            <a:pPr marL="0" indent="0">
              <a:buNone/>
            </a:pPr>
            <a:endParaRPr lang="en-US" sz="1000" b="1" dirty="0">
              <a:solidFill>
                <a:schemeClr val="tx1"/>
              </a:solidFill>
            </a:endParaRPr>
          </a:p>
          <a:p>
            <a:pPr marL="0" indent="0">
              <a:buNone/>
            </a:pPr>
            <a:r>
              <a:rPr lang="en-US" sz="1200" b="1" dirty="0">
                <a:solidFill>
                  <a:schemeClr val="tx1"/>
                </a:solidFill>
              </a:rPr>
              <a:t>Resigned</a:t>
            </a:r>
          </a:p>
          <a:p>
            <a:pPr marL="171450" indent="-171450">
              <a:buFont typeface="Arial" panose="020B0604020202020204" pitchFamily="34" charset="0"/>
              <a:buChar char="•"/>
            </a:pPr>
            <a:r>
              <a:rPr lang="en-US" sz="1000" dirty="0">
                <a:solidFill>
                  <a:schemeClr val="tx1"/>
                </a:solidFill>
              </a:rPr>
              <a:t>Johnny Isakson (R-Ga.) resigned Dec. 31, 2019; Kelly Loeffler</a:t>
            </a:r>
            <a:r>
              <a:rPr lang="en-US" sz="1000" dirty="0">
                <a:solidFill>
                  <a:srgbClr val="FF0000"/>
                </a:solidFill>
              </a:rPr>
              <a:t> </a:t>
            </a:r>
            <a:r>
              <a:rPr lang="en-US" sz="1000" dirty="0">
                <a:solidFill>
                  <a:schemeClr val="tx1"/>
                </a:solidFill>
              </a:rPr>
              <a:t>(R) was appointed to serve out the term</a:t>
            </a:r>
          </a:p>
          <a:p>
            <a:pPr marL="0" indent="0">
              <a:buNone/>
            </a:pPr>
            <a:endParaRPr lang="en-US" sz="1000" b="1" dirty="0">
              <a:solidFill>
                <a:schemeClr val="tx1"/>
              </a:solidFill>
            </a:endParaRPr>
          </a:p>
          <a:p>
            <a:pPr marL="0" indent="0">
              <a:buNone/>
            </a:pPr>
            <a:r>
              <a:rPr lang="en-US" sz="1200" b="1" dirty="0">
                <a:solidFill>
                  <a:schemeClr val="tx1"/>
                </a:solidFill>
              </a:rPr>
              <a:t>Not seeking re-election</a:t>
            </a:r>
          </a:p>
          <a:p>
            <a:pPr marL="171450" indent="-171450">
              <a:buFont typeface="Arial" panose="020B0604020202020204" pitchFamily="34" charset="0"/>
              <a:buChar char="•"/>
            </a:pPr>
            <a:r>
              <a:rPr lang="en-US" sz="1000" dirty="0">
                <a:solidFill>
                  <a:schemeClr val="tx1"/>
                </a:solidFill>
              </a:rPr>
              <a:t>Lamar Alexander (R-Tenn.)</a:t>
            </a:r>
          </a:p>
          <a:p>
            <a:pPr marL="171450" indent="-171450">
              <a:buFont typeface="Arial" panose="020B0604020202020204" pitchFamily="34" charset="0"/>
              <a:buChar char="•"/>
            </a:pPr>
            <a:r>
              <a:rPr lang="en-US" sz="1000" dirty="0">
                <a:solidFill>
                  <a:schemeClr val="tx1"/>
                </a:solidFill>
              </a:rPr>
              <a:t>Mike Enzi (R-Wyo.)</a:t>
            </a:r>
          </a:p>
          <a:p>
            <a:pPr marL="171450" indent="-171450">
              <a:buFont typeface="Arial" panose="020B0604020202020204" pitchFamily="34" charset="0"/>
              <a:buChar char="•"/>
            </a:pPr>
            <a:r>
              <a:rPr lang="en-US" sz="1000" dirty="0">
                <a:solidFill>
                  <a:schemeClr val="tx1"/>
                </a:solidFill>
              </a:rPr>
              <a:t>Pat Roberts (R-Kan.)</a:t>
            </a:r>
          </a:p>
          <a:p>
            <a:pPr marL="171450" indent="-171450">
              <a:buFont typeface="Arial" panose="020B0604020202020204" pitchFamily="34" charset="0"/>
              <a:buChar char="•"/>
            </a:pPr>
            <a:r>
              <a:rPr lang="en-US" sz="1000" dirty="0">
                <a:solidFill>
                  <a:schemeClr val="tx1"/>
                </a:solidFill>
              </a:rPr>
              <a:t>Tom Udall (D-N.M.)</a:t>
            </a:r>
          </a:p>
          <a:p>
            <a:endParaRPr lang="en-US" sz="1000" dirty="0">
              <a:solidFill>
                <a:schemeClr val="tx1"/>
              </a:solidFill>
            </a:endParaRPr>
          </a:p>
          <a:p>
            <a:pPr marL="0" indent="0">
              <a:buNone/>
            </a:pPr>
            <a:r>
              <a:rPr lang="en-US" sz="1200" b="1" dirty="0">
                <a:solidFill>
                  <a:schemeClr val="tx1"/>
                </a:solidFill>
              </a:rPr>
              <a:t>Running for president</a:t>
            </a:r>
          </a:p>
          <a:p>
            <a:pPr marL="171450" indent="-171450">
              <a:buFont typeface="Arial" panose="020B0604020202020204" pitchFamily="34" charset="0"/>
              <a:buChar char="•"/>
            </a:pPr>
            <a:r>
              <a:rPr lang="en-US" sz="1000" dirty="0">
                <a:solidFill>
                  <a:schemeClr val="tx1"/>
                </a:solidFill>
              </a:rPr>
              <a:t>Bernie Sanders (I-Vt.)</a:t>
            </a:r>
          </a:p>
          <a:p>
            <a:endParaRPr lang="en-US" dirty="0">
              <a:solidFill>
                <a:schemeClr val="tx1"/>
              </a:solidFill>
            </a:endParaRPr>
          </a:p>
          <a:p>
            <a:pPr marL="0" indent="0">
              <a:buNone/>
            </a:pPr>
            <a:endParaRPr lang="en-US" dirty="0">
              <a:solidFill>
                <a:schemeClr val="tx1"/>
              </a:solidFill>
            </a:endParaRPr>
          </a:p>
        </p:txBody>
      </p:sp>
      <p:sp>
        <p:nvSpPr>
          <p:cNvPr id="6" name="Text Placeholder 3">
            <a:extLst>
              <a:ext uri="{FF2B5EF4-FFF2-40B4-BE49-F238E27FC236}">
                <a16:creationId xmlns:a16="http://schemas.microsoft.com/office/drawing/2014/main" id="{8B8C8373-5AC0-47E8-930C-328CAEC41FB7}"/>
              </a:ext>
            </a:extLst>
          </p:cNvPr>
          <p:cNvSpPr txBox="1">
            <a:spLocks/>
          </p:cNvSpPr>
          <p:nvPr/>
        </p:nvSpPr>
        <p:spPr>
          <a:xfrm>
            <a:off x="2952398" y="1334876"/>
            <a:ext cx="5733608" cy="2356894"/>
          </a:xfrm>
          <a:prstGeom prst="rect">
            <a:avLst/>
          </a:prstGeom>
        </p:spPr>
        <p:txBody>
          <a:bodyPr/>
          <a:lst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1pPr>
            <a:lvl2pPr marL="457200" indent="-228600" algn="l" defTabSz="914400" rtl="0" eaLnBrk="1" latinLnBrk="0" hangingPunct="1">
              <a:spcBef>
                <a:spcPts val="0"/>
              </a:spcBef>
              <a:buClr>
                <a:srgbClr val="81DD00"/>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685800" indent="-228600" algn="l" defTabSz="914400" rtl="0" eaLnBrk="1" latinLnBrk="0" hangingPunct="1">
              <a:spcBef>
                <a:spcPts val="0"/>
              </a:spcBef>
              <a:buClr>
                <a:srgbClr val="81DD00"/>
              </a:buClr>
              <a:buFont typeface="Arial" pitchFamily="34" charset="0"/>
              <a:buChar char="•"/>
              <a:defRPr sz="1400" kern="1200">
                <a:solidFill>
                  <a:schemeClr val="tx1"/>
                </a:solidFill>
                <a:latin typeface="Arial" pitchFamily="34" charset="0"/>
                <a:ea typeface="+mn-ea"/>
                <a:cs typeface="Arial" pitchFamily="34" charset="0"/>
              </a:defRPr>
            </a:lvl3pPr>
            <a:lvl4pPr marL="914400" indent="-228600"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1146175" indent="-23177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Font typeface="Arial" panose="020B0604020202020204" pitchFamily="34" charset="0"/>
              <a:buNone/>
            </a:pPr>
            <a:r>
              <a:rPr lang="en-US" sz="2000" b="1" dirty="0">
                <a:solidFill>
                  <a:schemeClr val="tx1"/>
                </a:solidFill>
              </a:rPr>
              <a:t>House</a:t>
            </a:r>
          </a:p>
          <a:p>
            <a:pPr marL="0" indent="0" algn="ctr">
              <a:buFont typeface="Arial" panose="020B0604020202020204" pitchFamily="34" charset="0"/>
              <a:buNone/>
            </a:pPr>
            <a:endParaRPr lang="en-US" sz="1000" b="1" dirty="0">
              <a:solidFill>
                <a:schemeClr val="tx1"/>
              </a:solidFill>
            </a:endParaRPr>
          </a:p>
          <a:p>
            <a:pPr marL="0" indent="0">
              <a:buFont typeface="Arial" panose="020B0604020202020204" pitchFamily="34" charset="0"/>
              <a:buNone/>
            </a:pPr>
            <a:r>
              <a:rPr lang="en-US" sz="1000" b="1" dirty="0">
                <a:solidFill>
                  <a:schemeClr val="tx1"/>
                </a:solidFill>
              </a:rPr>
              <a:t>Special election winners</a:t>
            </a:r>
          </a:p>
          <a:p>
            <a:r>
              <a:rPr lang="en-US" sz="800" dirty="0">
                <a:solidFill>
                  <a:schemeClr val="tx1"/>
                </a:solidFill>
              </a:rPr>
              <a:t>NC-03 – Greg Murphy (R) elected Sept. 10, 2019</a:t>
            </a:r>
          </a:p>
          <a:p>
            <a:r>
              <a:rPr lang="en-US" sz="800" dirty="0">
                <a:solidFill>
                  <a:schemeClr val="tx1"/>
                </a:solidFill>
              </a:rPr>
              <a:t>NC-09 – Dan Bishop (R) elected Sept. 10, 2019</a:t>
            </a:r>
          </a:p>
          <a:p>
            <a:r>
              <a:rPr lang="en-US" sz="800" dirty="0">
                <a:solidFill>
                  <a:schemeClr val="tx1"/>
                </a:solidFill>
              </a:rPr>
              <a:t>PA-12 – Fred Keller (R) elected May 21, 2019</a:t>
            </a:r>
          </a:p>
          <a:p>
            <a:pPr marL="0" indent="0">
              <a:lnSpc>
                <a:spcPct val="150000"/>
              </a:lnSpc>
              <a:buClr>
                <a:srgbClr val="0070C0"/>
              </a:buClr>
              <a:buFont typeface="Arial" panose="020B0604020202020204" pitchFamily="34" charset="0"/>
              <a:buNone/>
            </a:pPr>
            <a:r>
              <a:rPr lang="en-US" sz="1000" b="1" dirty="0">
                <a:solidFill>
                  <a:schemeClr val="tx1"/>
                </a:solidFill>
              </a:rPr>
              <a:t>Party switches </a:t>
            </a:r>
          </a:p>
          <a:p>
            <a:r>
              <a:rPr lang="en-US" sz="800" dirty="0">
                <a:solidFill>
                  <a:schemeClr val="tx1"/>
                </a:solidFill>
              </a:rPr>
              <a:t>NJ-02 – Jeff Van Drew switched from the Democratic to Republican party Jan. 7</a:t>
            </a:r>
            <a:endParaRPr lang="en-US" sz="1000" b="1" dirty="0">
              <a:solidFill>
                <a:schemeClr val="tx1"/>
              </a:solidFill>
            </a:endParaRPr>
          </a:p>
          <a:p>
            <a:pPr marL="0" indent="0">
              <a:lnSpc>
                <a:spcPct val="150000"/>
              </a:lnSpc>
              <a:buClr>
                <a:srgbClr val="0070C0"/>
              </a:buClr>
              <a:buFont typeface="Arial" panose="020B0604020202020204" pitchFamily="34" charset="0"/>
              <a:buNone/>
            </a:pPr>
            <a:r>
              <a:rPr lang="en-US" sz="1000" b="1" dirty="0">
                <a:solidFill>
                  <a:schemeClr val="tx1"/>
                </a:solidFill>
              </a:rPr>
              <a:t>Vacancies/pending vacancies</a:t>
            </a:r>
          </a:p>
          <a:p>
            <a:r>
              <a:rPr lang="en-US" sz="800" dirty="0">
                <a:solidFill>
                  <a:schemeClr val="tx1"/>
                </a:solidFill>
              </a:rPr>
              <a:t>CA-25 – Katie Hill (D) resigned Nov. 3, 2019; special election May 12</a:t>
            </a:r>
          </a:p>
          <a:p>
            <a:r>
              <a:rPr lang="en-US" sz="800" dirty="0">
                <a:solidFill>
                  <a:schemeClr val="tx1"/>
                </a:solidFill>
              </a:rPr>
              <a:t>CA-50 – Duncan Hunter (R) resigned Jan. 13; no special election</a:t>
            </a:r>
          </a:p>
          <a:p>
            <a:r>
              <a:rPr lang="en-US" sz="800" dirty="0">
                <a:solidFill>
                  <a:schemeClr val="tx1"/>
                </a:solidFill>
              </a:rPr>
              <a:t>MD-07 – Elijah Cummings (D) died Oct. 17, 2019; special election April 28</a:t>
            </a:r>
          </a:p>
          <a:p>
            <a:r>
              <a:rPr lang="en-US" sz="800" dirty="0">
                <a:solidFill>
                  <a:schemeClr val="tx1"/>
                </a:solidFill>
              </a:rPr>
              <a:t>NC-11 – Mark Meadows (R) was named White House chief of staff March 6, hasn’t resigned</a:t>
            </a:r>
          </a:p>
          <a:p>
            <a:r>
              <a:rPr lang="en-US" sz="800" dirty="0">
                <a:solidFill>
                  <a:schemeClr val="tx1"/>
                </a:solidFill>
              </a:rPr>
              <a:t>NY-27 – Chris Collins (R) resigned Sept. 30, 2019; special election April 28</a:t>
            </a:r>
          </a:p>
          <a:p>
            <a:r>
              <a:rPr lang="en-US" sz="800" dirty="0">
                <a:solidFill>
                  <a:schemeClr val="tx1"/>
                </a:solidFill>
              </a:rPr>
              <a:t>WI-07 – Sean Duffy (R) resigned Sept. 23, 2019; special election May 12</a:t>
            </a:r>
          </a:p>
        </p:txBody>
      </p:sp>
      <p:sp>
        <p:nvSpPr>
          <p:cNvPr id="7" name="Text Placeholder 3">
            <a:extLst>
              <a:ext uri="{FF2B5EF4-FFF2-40B4-BE49-F238E27FC236}">
                <a16:creationId xmlns:a16="http://schemas.microsoft.com/office/drawing/2014/main" id="{FFAD570C-0FAA-40C1-9677-F83FB1A9416F}"/>
              </a:ext>
            </a:extLst>
          </p:cNvPr>
          <p:cNvSpPr txBox="1">
            <a:spLocks/>
          </p:cNvSpPr>
          <p:nvPr/>
        </p:nvSpPr>
        <p:spPr>
          <a:xfrm>
            <a:off x="2952398" y="3664389"/>
            <a:ext cx="6140447" cy="1479323"/>
          </a:xfrm>
          <a:prstGeom prst="rect">
            <a:avLst/>
          </a:prstGeom>
        </p:spPr>
        <p:txBody>
          <a:bodyPr numCol="3"/>
          <a:lst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1pPr>
            <a:lvl2pPr marL="457200" indent="-228600" algn="l" defTabSz="914400" rtl="0" eaLnBrk="1" latinLnBrk="0" hangingPunct="1">
              <a:spcBef>
                <a:spcPts val="0"/>
              </a:spcBef>
              <a:buClr>
                <a:srgbClr val="81DD00"/>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685800" indent="-228600" algn="l" defTabSz="914400" rtl="0" eaLnBrk="1" latinLnBrk="0" hangingPunct="1">
              <a:spcBef>
                <a:spcPts val="0"/>
              </a:spcBef>
              <a:buClr>
                <a:srgbClr val="81DD00"/>
              </a:buClr>
              <a:buFont typeface="Arial" pitchFamily="34" charset="0"/>
              <a:buChar char="•"/>
              <a:defRPr sz="1400" kern="1200">
                <a:solidFill>
                  <a:schemeClr val="tx1"/>
                </a:solidFill>
                <a:latin typeface="Arial" pitchFamily="34" charset="0"/>
                <a:ea typeface="+mn-ea"/>
                <a:cs typeface="Arial" pitchFamily="34" charset="0"/>
              </a:defRPr>
            </a:lvl3pPr>
            <a:lvl4pPr marL="914400" indent="-228600"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1146175" indent="-23177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1000" b="1" dirty="0">
                <a:solidFill>
                  <a:schemeClr val="tx1"/>
                </a:solidFill>
              </a:rPr>
              <a:t>Not seeking re-election</a:t>
            </a:r>
          </a:p>
          <a:p>
            <a:r>
              <a:rPr lang="en-US" sz="800" dirty="0">
                <a:solidFill>
                  <a:schemeClr val="tx1"/>
                </a:solidFill>
              </a:rPr>
              <a:t>AL-02 – Martha Roby (R)</a:t>
            </a:r>
          </a:p>
          <a:p>
            <a:r>
              <a:rPr lang="en-US" sz="800" dirty="0">
                <a:solidFill>
                  <a:schemeClr val="tx1"/>
                </a:solidFill>
              </a:rPr>
              <a:t>CA-53 – Susan Davis (D)</a:t>
            </a:r>
          </a:p>
          <a:p>
            <a:r>
              <a:rPr lang="en-US" sz="800" dirty="0">
                <a:solidFill>
                  <a:schemeClr val="tx1"/>
                </a:solidFill>
              </a:rPr>
              <a:t>FL-03 – Ted Yoho (R) </a:t>
            </a:r>
          </a:p>
          <a:p>
            <a:r>
              <a:rPr lang="en-US" sz="800" dirty="0">
                <a:solidFill>
                  <a:schemeClr val="tx1"/>
                </a:solidFill>
              </a:rPr>
              <a:t>FL-19 – Francis Rooney (R)</a:t>
            </a:r>
          </a:p>
          <a:p>
            <a:r>
              <a:rPr lang="en-US" sz="800" dirty="0">
                <a:solidFill>
                  <a:schemeClr val="tx1"/>
                </a:solidFill>
              </a:rPr>
              <a:t>GA-07 – Rob Woodall (R)</a:t>
            </a:r>
          </a:p>
          <a:p>
            <a:r>
              <a:rPr lang="en-US" sz="800" dirty="0">
                <a:solidFill>
                  <a:schemeClr val="tx1"/>
                </a:solidFill>
              </a:rPr>
              <a:t>GA-14 – Tom Graves (R)</a:t>
            </a:r>
          </a:p>
          <a:p>
            <a:r>
              <a:rPr lang="en-US" sz="800" dirty="0">
                <a:solidFill>
                  <a:schemeClr val="tx1"/>
                </a:solidFill>
              </a:rPr>
              <a:t>HI-02 – Tulsi Gabbard (D)</a:t>
            </a:r>
          </a:p>
          <a:p>
            <a:r>
              <a:rPr lang="en-US" sz="800" dirty="0">
                <a:solidFill>
                  <a:schemeClr val="tx1"/>
                </a:solidFill>
              </a:rPr>
              <a:t>IA-02 – Dave Loebsack (D)</a:t>
            </a:r>
          </a:p>
          <a:p>
            <a:r>
              <a:rPr lang="en-US" sz="800" dirty="0">
                <a:solidFill>
                  <a:schemeClr val="tx1"/>
                </a:solidFill>
              </a:rPr>
              <a:t>IL-15 – John Shimkus (R)</a:t>
            </a:r>
          </a:p>
          <a:p>
            <a:r>
              <a:rPr lang="en-US" sz="800" dirty="0">
                <a:solidFill>
                  <a:schemeClr val="tx1"/>
                </a:solidFill>
              </a:rPr>
              <a:t>IN-01 – Pete Visclosky (D)</a:t>
            </a:r>
          </a:p>
          <a:p>
            <a:pPr marL="0" indent="0">
              <a:buNone/>
            </a:pPr>
            <a:endParaRPr lang="en-US" sz="1050" dirty="0">
              <a:solidFill>
                <a:schemeClr val="tx1"/>
              </a:solidFill>
            </a:endParaRPr>
          </a:p>
          <a:p>
            <a:r>
              <a:rPr lang="en-US" sz="800" dirty="0">
                <a:solidFill>
                  <a:schemeClr val="tx1"/>
                </a:solidFill>
              </a:rPr>
              <a:t>IN-05 – Susan Brooks (R)</a:t>
            </a:r>
          </a:p>
          <a:p>
            <a:r>
              <a:rPr lang="en-US" sz="800" dirty="0">
                <a:solidFill>
                  <a:schemeClr val="tx1"/>
                </a:solidFill>
              </a:rPr>
              <a:t>LA-05 – Ralph Abraham (R)</a:t>
            </a:r>
          </a:p>
          <a:p>
            <a:r>
              <a:rPr lang="en-US" sz="800" dirty="0">
                <a:solidFill>
                  <a:schemeClr val="tx1"/>
                </a:solidFill>
              </a:rPr>
              <a:t>MI-10 – Paul Mitchell (R)</a:t>
            </a:r>
          </a:p>
          <a:p>
            <a:r>
              <a:rPr lang="en-US" sz="800" dirty="0">
                <a:solidFill>
                  <a:schemeClr val="tx1"/>
                </a:solidFill>
              </a:rPr>
              <a:t>NC-02 – George Holding (R)</a:t>
            </a:r>
          </a:p>
          <a:p>
            <a:r>
              <a:rPr lang="en-US" sz="800" dirty="0">
                <a:solidFill>
                  <a:schemeClr val="tx1"/>
                </a:solidFill>
              </a:rPr>
              <a:t>NC-06 – Mark Walker (R)</a:t>
            </a:r>
          </a:p>
          <a:p>
            <a:r>
              <a:rPr lang="en-US" sz="800" dirty="0">
                <a:solidFill>
                  <a:schemeClr val="tx1"/>
                </a:solidFill>
              </a:rPr>
              <a:t>NY-02 – Peter King (R)</a:t>
            </a:r>
          </a:p>
          <a:p>
            <a:r>
              <a:rPr lang="en-US" sz="800" dirty="0">
                <a:solidFill>
                  <a:schemeClr val="tx1"/>
                </a:solidFill>
              </a:rPr>
              <a:t>NY-15 – José Serrano (D)</a:t>
            </a:r>
          </a:p>
          <a:p>
            <a:r>
              <a:rPr lang="en-US" sz="800" dirty="0">
                <a:solidFill>
                  <a:schemeClr val="tx1"/>
                </a:solidFill>
              </a:rPr>
              <a:t>NY-17 – Nita Lowey (D)</a:t>
            </a:r>
          </a:p>
          <a:p>
            <a:r>
              <a:rPr lang="en-US" sz="800" dirty="0">
                <a:solidFill>
                  <a:schemeClr val="tx1"/>
                </a:solidFill>
              </a:rPr>
              <a:t>OR-02 – Greg Walden (R)</a:t>
            </a:r>
          </a:p>
          <a:p>
            <a:endParaRPr lang="en-US" sz="800" dirty="0">
              <a:solidFill>
                <a:schemeClr val="tx1"/>
              </a:solidFill>
            </a:endParaRPr>
          </a:p>
          <a:p>
            <a:endParaRPr lang="en-US" sz="800" dirty="0">
              <a:solidFill>
                <a:schemeClr val="tx1"/>
              </a:solidFill>
            </a:endParaRPr>
          </a:p>
          <a:p>
            <a:r>
              <a:rPr lang="en-US" sz="800" dirty="0">
                <a:solidFill>
                  <a:schemeClr val="tx1"/>
                </a:solidFill>
              </a:rPr>
              <a:t>TN-01 – Phil Roe (R)</a:t>
            </a:r>
            <a:endParaRPr lang="en-US" sz="1050" dirty="0">
              <a:solidFill>
                <a:schemeClr val="tx1"/>
              </a:solidFill>
            </a:endParaRPr>
          </a:p>
          <a:p>
            <a:r>
              <a:rPr lang="en-US" sz="800" dirty="0">
                <a:solidFill>
                  <a:schemeClr val="tx1"/>
                </a:solidFill>
              </a:rPr>
              <a:t>TX-11 – Michael Conaway (R)</a:t>
            </a:r>
          </a:p>
          <a:p>
            <a:r>
              <a:rPr lang="en-US" sz="800" dirty="0">
                <a:solidFill>
                  <a:schemeClr val="tx1"/>
                </a:solidFill>
              </a:rPr>
              <a:t>TX-13 – Mac Thornberry (R)</a:t>
            </a:r>
          </a:p>
          <a:p>
            <a:r>
              <a:rPr lang="en-US" sz="800" dirty="0">
                <a:solidFill>
                  <a:schemeClr val="tx1"/>
                </a:solidFill>
              </a:rPr>
              <a:t>TX-17 – Bill Flores (R)</a:t>
            </a:r>
          </a:p>
          <a:p>
            <a:r>
              <a:rPr lang="en-US" sz="800" dirty="0">
                <a:solidFill>
                  <a:schemeClr val="tx1"/>
                </a:solidFill>
              </a:rPr>
              <a:t>TX-22 – Pete Olson (R)</a:t>
            </a:r>
          </a:p>
          <a:p>
            <a:r>
              <a:rPr lang="en-US" sz="800" dirty="0">
                <a:solidFill>
                  <a:schemeClr val="tx1"/>
                </a:solidFill>
              </a:rPr>
              <a:t>TX-23 – Will Hurd (R)</a:t>
            </a:r>
          </a:p>
          <a:p>
            <a:r>
              <a:rPr lang="en-US" sz="800" dirty="0">
                <a:solidFill>
                  <a:schemeClr val="tx1"/>
                </a:solidFill>
              </a:rPr>
              <a:t>TX-24 – Kenny Marchant (R)</a:t>
            </a:r>
          </a:p>
          <a:p>
            <a:r>
              <a:rPr lang="en-US" sz="800" dirty="0">
                <a:solidFill>
                  <a:schemeClr val="tx1"/>
                </a:solidFill>
              </a:rPr>
              <a:t>WA-10 – Denny Heck (D)</a:t>
            </a:r>
          </a:p>
          <a:p>
            <a:r>
              <a:rPr lang="en-US" sz="800" spc="-20" dirty="0">
                <a:solidFill>
                  <a:schemeClr val="tx1"/>
                </a:solidFill>
              </a:rPr>
              <a:t>WI-05 – Jim Sensenbrenner (R)</a:t>
            </a:r>
          </a:p>
        </p:txBody>
      </p:sp>
      <p:cxnSp>
        <p:nvCxnSpPr>
          <p:cNvPr id="9" name="Straight Connector 8">
            <a:extLst>
              <a:ext uri="{FF2B5EF4-FFF2-40B4-BE49-F238E27FC236}">
                <a16:creationId xmlns:a16="http://schemas.microsoft.com/office/drawing/2014/main" id="{8580943C-C80F-426A-B5E9-73B6D1608426}"/>
              </a:ext>
            </a:extLst>
          </p:cNvPr>
          <p:cNvCxnSpPr/>
          <p:nvPr/>
        </p:nvCxnSpPr>
        <p:spPr>
          <a:xfrm>
            <a:off x="2808880" y="1964485"/>
            <a:ext cx="0" cy="4041057"/>
          </a:xfrm>
          <a:prstGeom prst="line">
            <a:avLst/>
          </a:prstGeom>
          <a:ln w="127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 Placeholder 3">
            <a:extLst>
              <a:ext uri="{FF2B5EF4-FFF2-40B4-BE49-F238E27FC236}">
                <a16:creationId xmlns:a16="http://schemas.microsoft.com/office/drawing/2014/main" id="{91B585E9-CD73-45CC-B11B-938E3E31E49F}"/>
              </a:ext>
            </a:extLst>
          </p:cNvPr>
          <p:cNvSpPr txBox="1">
            <a:spLocks/>
          </p:cNvSpPr>
          <p:nvPr/>
        </p:nvSpPr>
        <p:spPr>
          <a:xfrm>
            <a:off x="2936395" y="5133024"/>
            <a:ext cx="5765614" cy="1107887"/>
          </a:xfrm>
          <a:prstGeom prst="rect">
            <a:avLst/>
          </a:prstGeom>
        </p:spPr>
        <p:txBody>
          <a:bodyPr/>
          <a:lst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1pPr>
            <a:lvl2pPr marL="457200" indent="-228600" algn="l" defTabSz="914400" rtl="0" eaLnBrk="1" latinLnBrk="0" hangingPunct="1">
              <a:spcBef>
                <a:spcPts val="0"/>
              </a:spcBef>
              <a:buClr>
                <a:srgbClr val="81DD00"/>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685800" indent="-228600" algn="l" defTabSz="914400" rtl="0" eaLnBrk="1" latinLnBrk="0" hangingPunct="1">
              <a:spcBef>
                <a:spcPts val="0"/>
              </a:spcBef>
              <a:buClr>
                <a:srgbClr val="81DD00"/>
              </a:buClr>
              <a:buFont typeface="Arial" pitchFamily="34" charset="0"/>
              <a:buChar char="•"/>
              <a:defRPr sz="1400" kern="1200">
                <a:solidFill>
                  <a:schemeClr val="tx1"/>
                </a:solidFill>
                <a:latin typeface="Arial" pitchFamily="34" charset="0"/>
                <a:ea typeface="+mn-ea"/>
                <a:cs typeface="Arial" pitchFamily="34" charset="0"/>
              </a:defRPr>
            </a:lvl3pPr>
            <a:lvl4pPr marL="914400" indent="-228600"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1146175" indent="-23177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en-US" sz="1000" b="1" dirty="0">
                <a:solidFill>
                  <a:schemeClr val="tx1"/>
                </a:solidFill>
              </a:rPr>
              <a:t>Seeking other office</a:t>
            </a:r>
          </a:p>
          <a:p>
            <a:r>
              <a:rPr lang="en-US" sz="800" dirty="0">
                <a:solidFill>
                  <a:schemeClr val="tx1"/>
                </a:solidFill>
              </a:rPr>
              <a:t>AL-01 – Bradley Byrne (R), Senate (lost in primary)</a:t>
            </a:r>
          </a:p>
          <a:p>
            <a:r>
              <a:rPr lang="en-US" sz="800" dirty="0">
                <a:solidFill>
                  <a:schemeClr val="tx1"/>
                </a:solidFill>
              </a:rPr>
              <a:t>CA-08 – Paul Cook (R), elected in March to San Bernardino County Board of Supervisors </a:t>
            </a:r>
          </a:p>
          <a:p>
            <a:r>
              <a:rPr lang="en-US" sz="800" dirty="0">
                <a:solidFill>
                  <a:schemeClr val="tx1"/>
                </a:solidFill>
              </a:rPr>
              <a:t>GA-09 – Doug Collins (R), Senate</a:t>
            </a:r>
          </a:p>
          <a:p>
            <a:r>
              <a:rPr lang="en-US" sz="800" dirty="0">
                <a:solidFill>
                  <a:schemeClr val="tx1"/>
                </a:solidFill>
              </a:rPr>
              <a:t>HI-02 – Tulsi Gabbard (D), president</a:t>
            </a:r>
          </a:p>
          <a:p>
            <a:r>
              <a:rPr lang="en-US" sz="800" dirty="0">
                <a:solidFill>
                  <a:schemeClr val="tx1"/>
                </a:solidFill>
              </a:rPr>
              <a:t>KS-01 – Roger Marshall (R), Senate</a:t>
            </a:r>
          </a:p>
          <a:p>
            <a:r>
              <a:rPr lang="en-US" sz="800" dirty="0">
                <a:solidFill>
                  <a:schemeClr val="tx1"/>
                </a:solidFill>
              </a:rPr>
              <a:t>MA-04 – Joe Kennedy (D), Senate</a:t>
            </a:r>
          </a:p>
          <a:p>
            <a:r>
              <a:rPr lang="en-US" sz="800" dirty="0">
                <a:solidFill>
                  <a:schemeClr val="tx1"/>
                </a:solidFill>
              </a:rPr>
              <a:t>MT-AL – Greg Gianforte (R), governor </a:t>
            </a:r>
          </a:p>
          <a:p>
            <a:r>
              <a:rPr lang="en-US" sz="800" dirty="0">
                <a:solidFill>
                  <a:schemeClr val="tx1"/>
                </a:solidFill>
              </a:rPr>
              <a:t>NM-03 – Ben Ray Luján (D), Senate</a:t>
            </a:r>
          </a:p>
          <a:p>
            <a:r>
              <a:rPr lang="en-US" sz="800" dirty="0">
                <a:solidFill>
                  <a:schemeClr val="tx1"/>
                </a:solidFill>
              </a:rPr>
              <a:t>UT-01 – Rob Bishop (R), lieutenant governor</a:t>
            </a:r>
          </a:p>
        </p:txBody>
      </p:sp>
    </p:spTree>
    <p:extLst>
      <p:ext uri="{BB962C8B-B14F-4D97-AF65-F5344CB8AC3E}">
        <p14:creationId xmlns:p14="http://schemas.microsoft.com/office/powerpoint/2010/main" val="27932700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er Tuesday and the House</a:t>
            </a:r>
          </a:p>
        </p:txBody>
      </p:sp>
      <p:sp>
        <p:nvSpPr>
          <p:cNvPr id="5" name="Freeform 975"/>
          <p:cNvSpPr>
            <a:spLocks noChangeAspect="1"/>
          </p:cNvSpPr>
          <p:nvPr/>
        </p:nvSpPr>
        <p:spPr bwMode="auto">
          <a:xfrm>
            <a:off x="584998" y="1230638"/>
            <a:ext cx="793882" cy="1166062"/>
          </a:xfrm>
          <a:custGeom>
            <a:avLst/>
            <a:gdLst>
              <a:gd name="T0" fmla="*/ 59 w 724"/>
              <a:gd name="T1" fmla="*/ 36 h 1216"/>
              <a:gd name="T2" fmla="*/ 63 w 724"/>
              <a:gd name="T3" fmla="*/ 0 h 1216"/>
              <a:gd name="T4" fmla="*/ 338 w 724"/>
              <a:gd name="T5" fmla="*/ 343 h 1216"/>
              <a:gd name="T6" fmla="*/ 692 w 724"/>
              <a:gd name="T7" fmla="*/ 971 h 1216"/>
              <a:gd name="T8" fmla="*/ 704 w 724"/>
              <a:gd name="T9" fmla="*/ 1009 h 1216"/>
              <a:gd name="T10" fmla="*/ 724 w 724"/>
              <a:gd name="T11" fmla="*/ 1048 h 1216"/>
              <a:gd name="T12" fmla="*/ 683 w 724"/>
              <a:gd name="T13" fmla="*/ 1080 h 1216"/>
              <a:gd name="T14" fmla="*/ 672 w 724"/>
              <a:gd name="T15" fmla="*/ 1122 h 1216"/>
              <a:gd name="T16" fmla="*/ 651 w 724"/>
              <a:gd name="T17" fmla="*/ 1158 h 1216"/>
              <a:gd name="T18" fmla="*/ 657 w 724"/>
              <a:gd name="T19" fmla="*/ 1182 h 1216"/>
              <a:gd name="T20" fmla="*/ 657 w 724"/>
              <a:gd name="T21" fmla="*/ 1210 h 1216"/>
              <a:gd name="T22" fmla="*/ 640 w 724"/>
              <a:gd name="T23" fmla="*/ 1214 h 1216"/>
              <a:gd name="T24" fmla="*/ 410 w 724"/>
              <a:gd name="T25" fmla="*/ 1182 h 1216"/>
              <a:gd name="T26" fmla="*/ 406 w 724"/>
              <a:gd name="T27" fmla="*/ 1169 h 1216"/>
              <a:gd name="T28" fmla="*/ 408 w 724"/>
              <a:gd name="T29" fmla="*/ 1139 h 1216"/>
              <a:gd name="T30" fmla="*/ 372 w 724"/>
              <a:gd name="T31" fmla="*/ 1063 h 1216"/>
              <a:gd name="T32" fmla="*/ 344 w 724"/>
              <a:gd name="T33" fmla="*/ 1033 h 1216"/>
              <a:gd name="T34" fmla="*/ 325 w 724"/>
              <a:gd name="T35" fmla="*/ 1026 h 1216"/>
              <a:gd name="T36" fmla="*/ 319 w 724"/>
              <a:gd name="T37" fmla="*/ 997 h 1216"/>
              <a:gd name="T38" fmla="*/ 259 w 724"/>
              <a:gd name="T39" fmla="*/ 954 h 1216"/>
              <a:gd name="T40" fmla="*/ 219 w 724"/>
              <a:gd name="T41" fmla="*/ 931 h 1216"/>
              <a:gd name="T42" fmla="*/ 185 w 724"/>
              <a:gd name="T43" fmla="*/ 914 h 1216"/>
              <a:gd name="T44" fmla="*/ 146 w 724"/>
              <a:gd name="T45" fmla="*/ 894 h 1216"/>
              <a:gd name="T46" fmla="*/ 155 w 724"/>
              <a:gd name="T47" fmla="*/ 865 h 1216"/>
              <a:gd name="T48" fmla="*/ 157 w 724"/>
              <a:gd name="T49" fmla="*/ 824 h 1216"/>
              <a:gd name="T50" fmla="*/ 151 w 724"/>
              <a:gd name="T51" fmla="*/ 803 h 1216"/>
              <a:gd name="T52" fmla="*/ 123 w 724"/>
              <a:gd name="T53" fmla="*/ 760 h 1216"/>
              <a:gd name="T54" fmla="*/ 110 w 724"/>
              <a:gd name="T55" fmla="*/ 715 h 1216"/>
              <a:gd name="T56" fmla="*/ 85 w 724"/>
              <a:gd name="T57" fmla="*/ 673 h 1216"/>
              <a:gd name="T58" fmla="*/ 104 w 724"/>
              <a:gd name="T59" fmla="*/ 630 h 1216"/>
              <a:gd name="T60" fmla="*/ 91 w 724"/>
              <a:gd name="T61" fmla="*/ 600 h 1216"/>
              <a:gd name="T62" fmla="*/ 68 w 724"/>
              <a:gd name="T63" fmla="*/ 558 h 1216"/>
              <a:gd name="T64" fmla="*/ 68 w 724"/>
              <a:gd name="T65" fmla="*/ 524 h 1216"/>
              <a:gd name="T66" fmla="*/ 85 w 724"/>
              <a:gd name="T67" fmla="*/ 496 h 1216"/>
              <a:gd name="T68" fmla="*/ 83 w 724"/>
              <a:gd name="T69" fmla="*/ 522 h 1216"/>
              <a:gd name="T70" fmla="*/ 108 w 724"/>
              <a:gd name="T71" fmla="*/ 543 h 1216"/>
              <a:gd name="T72" fmla="*/ 95 w 724"/>
              <a:gd name="T73" fmla="*/ 505 h 1216"/>
              <a:gd name="T74" fmla="*/ 93 w 724"/>
              <a:gd name="T75" fmla="*/ 477 h 1216"/>
              <a:gd name="T76" fmla="*/ 125 w 724"/>
              <a:gd name="T77" fmla="*/ 479 h 1216"/>
              <a:gd name="T78" fmla="*/ 172 w 724"/>
              <a:gd name="T79" fmla="*/ 496 h 1216"/>
              <a:gd name="T80" fmla="*/ 146 w 724"/>
              <a:gd name="T81" fmla="*/ 485 h 1216"/>
              <a:gd name="T82" fmla="*/ 134 w 724"/>
              <a:gd name="T83" fmla="*/ 481 h 1216"/>
              <a:gd name="T84" fmla="*/ 108 w 724"/>
              <a:gd name="T85" fmla="*/ 473 h 1216"/>
              <a:gd name="T86" fmla="*/ 85 w 724"/>
              <a:gd name="T87" fmla="*/ 468 h 1216"/>
              <a:gd name="T88" fmla="*/ 78 w 724"/>
              <a:gd name="T89" fmla="*/ 494 h 1216"/>
              <a:gd name="T90" fmla="*/ 57 w 724"/>
              <a:gd name="T91" fmla="*/ 466 h 1216"/>
              <a:gd name="T92" fmla="*/ 49 w 724"/>
              <a:gd name="T93" fmla="*/ 449 h 1216"/>
              <a:gd name="T94" fmla="*/ 46 w 724"/>
              <a:gd name="T95" fmla="*/ 426 h 1216"/>
              <a:gd name="T96" fmla="*/ 44 w 724"/>
              <a:gd name="T97" fmla="*/ 413 h 1216"/>
              <a:gd name="T98" fmla="*/ 23 w 724"/>
              <a:gd name="T99" fmla="*/ 370 h 1216"/>
              <a:gd name="T100" fmla="*/ 14 w 724"/>
              <a:gd name="T101" fmla="*/ 324 h 1216"/>
              <a:gd name="T102" fmla="*/ 25 w 724"/>
              <a:gd name="T103" fmla="*/ 264 h 1216"/>
              <a:gd name="T104" fmla="*/ 19 w 724"/>
              <a:gd name="T105" fmla="*/ 221 h 1216"/>
              <a:gd name="T106" fmla="*/ 2 w 724"/>
              <a:gd name="T107" fmla="*/ 179 h 1216"/>
              <a:gd name="T108" fmla="*/ 19 w 724"/>
              <a:gd name="T109" fmla="*/ 136 h 1216"/>
              <a:gd name="T110" fmla="*/ 34 w 724"/>
              <a:gd name="T111" fmla="*/ 119 h 1216"/>
              <a:gd name="T112" fmla="*/ 57 w 724"/>
              <a:gd name="T113" fmla="*/ 6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4" h="1216">
                <a:moveTo>
                  <a:pt x="57" y="66"/>
                </a:moveTo>
                <a:lnTo>
                  <a:pt x="59" y="53"/>
                </a:lnTo>
                <a:lnTo>
                  <a:pt x="61" y="51"/>
                </a:lnTo>
                <a:lnTo>
                  <a:pt x="59" y="36"/>
                </a:lnTo>
                <a:lnTo>
                  <a:pt x="61" y="30"/>
                </a:lnTo>
                <a:lnTo>
                  <a:pt x="55" y="21"/>
                </a:lnTo>
                <a:lnTo>
                  <a:pt x="59" y="15"/>
                </a:lnTo>
                <a:lnTo>
                  <a:pt x="63" y="0"/>
                </a:lnTo>
                <a:lnTo>
                  <a:pt x="68" y="0"/>
                </a:lnTo>
                <a:lnTo>
                  <a:pt x="249" y="49"/>
                </a:lnTo>
                <a:lnTo>
                  <a:pt x="400" y="89"/>
                </a:lnTo>
                <a:lnTo>
                  <a:pt x="338" y="343"/>
                </a:lnTo>
                <a:lnTo>
                  <a:pt x="321" y="417"/>
                </a:lnTo>
                <a:lnTo>
                  <a:pt x="583" y="801"/>
                </a:lnTo>
                <a:lnTo>
                  <a:pt x="694" y="965"/>
                </a:lnTo>
                <a:lnTo>
                  <a:pt x="692" y="971"/>
                </a:lnTo>
                <a:lnTo>
                  <a:pt x="692" y="977"/>
                </a:lnTo>
                <a:lnTo>
                  <a:pt x="700" y="994"/>
                </a:lnTo>
                <a:lnTo>
                  <a:pt x="702" y="1003"/>
                </a:lnTo>
                <a:lnTo>
                  <a:pt x="704" y="1009"/>
                </a:lnTo>
                <a:lnTo>
                  <a:pt x="706" y="1018"/>
                </a:lnTo>
                <a:lnTo>
                  <a:pt x="706" y="1026"/>
                </a:lnTo>
                <a:lnTo>
                  <a:pt x="719" y="1041"/>
                </a:lnTo>
                <a:lnTo>
                  <a:pt x="724" y="1048"/>
                </a:lnTo>
                <a:lnTo>
                  <a:pt x="719" y="1054"/>
                </a:lnTo>
                <a:lnTo>
                  <a:pt x="694" y="1067"/>
                </a:lnTo>
                <a:lnTo>
                  <a:pt x="689" y="1075"/>
                </a:lnTo>
                <a:lnTo>
                  <a:pt x="683" y="1080"/>
                </a:lnTo>
                <a:lnTo>
                  <a:pt x="681" y="1092"/>
                </a:lnTo>
                <a:lnTo>
                  <a:pt x="679" y="1105"/>
                </a:lnTo>
                <a:lnTo>
                  <a:pt x="675" y="1114"/>
                </a:lnTo>
                <a:lnTo>
                  <a:pt x="672" y="1122"/>
                </a:lnTo>
                <a:lnTo>
                  <a:pt x="660" y="1137"/>
                </a:lnTo>
                <a:lnTo>
                  <a:pt x="653" y="1144"/>
                </a:lnTo>
                <a:lnTo>
                  <a:pt x="649" y="1150"/>
                </a:lnTo>
                <a:lnTo>
                  <a:pt x="651" y="1158"/>
                </a:lnTo>
                <a:lnTo>
                  <a:pt x="651" y="1165"/>
                </a:lnTo>
                <a:lnTo>
                  <a:pt x="647" y="1173"/>
                </a:lnTo>
                <a:lnTo>
                  <a:pt x="649" y="1180"/>
                </a:lnTo>
                <a:lnTo>
                  <a:pt x="657" y="1182"/>
                </a:lnTo>
                <a:lnTo>
                  <a:pt x="664" y="1186"/>
                </a:lnTo>
                <a:lnTo>
                  <a:pt x="664" y="1193"/>
                </a:lnTo>
                <a:lnTo>
                  <a:pt x="664" y="1205"/>
                </a:lnTo>
                <a:lnTo>
                  <a:pt x="657" y="1210"/>
                </a:lnTo>
                <a:lnTo>
                  <a:pt x="655" y="1216"/>
                </a:lnTo>
                <a:lnTo>
                  <a:pt x="647" y="1216"/>
                </a:lnTo>
                <a:lnTo>
                  <a:pt x="645" y="1214"/>
                </a:lnTo>
                <a:lnTo>
                  <a:pt x="640" y="1214"/>
                </a:lnTo>
                <a:lnTo>
                  <a:pt x="638" y="1214"/>
                </a:lnTo>
                <a:lnTo>
                  <a:pt x="415" y="1193"/>
                </a:lnTo>
                <a:lnTo>
                  <a:pt x="413" y="1190"/>
                </a:lnTo>
                <a:lnTo>
                  <a:pt x="410" y="1182"/>
                </a:lnTo>
                <a:lnTo>
                  <a:pt x="406" y="1173"/>
                </a:lnTo>
                <a:lnTo>
                  <a:pt x="410" y="1182"/>
                </a:lnTo>
                <a:lnTo>
                  <a:pt x="413" y="1173"/>
                </a:lnTo>
                <a:lnTo>
                  <a:pt x="406" y="1169"/>
                </a:lnTo>
                <a:lnTo>
                  <a:pt x="404" y="1176"/>
                </a:lnTo>
                <a:lnTo>
                  <a:pt x="404" y="1167"/>
                </a:lnTo>
                <a:lnTo>
                  <a:pt x="406" y="1152"/>
                </a:lnTo>
                <a:lnTo>
                  <a:pt x="408" y="1139"/>
                </a:lnTo>
                <a:lnTo>
                  <a:pt x="406" y="1124"/>
                </a:lnTo>
                <a:lnTo>
                  <a:pt x="402" y="1107"/>
                </a:lnTo>
                <a:lnTo>
                  <a:pt x="396" y="1092"/>
                </a:lnTo>
                <a:lnTo>
                  <a:pt x="372" y="1063"/>
                </a:lnTo>
                <a:lnTo>
                  <a:pt x="364" y="1056"/>
                </a:lnTo>
                <a:lnTo>
                  <a:pt x="359" y="1050"/>
                </a:lnTo>
                <a:lnTo>
                  <a:pt x="351" y="1037"/>
                </a:lnTo>
                <a:lnTo>
                  <a:pt x="344" y="1033"/>
                </a:lnTo>
                <a:lnTo>
                  <a:pt x="336" y="1033"/>
                </a:lnTo>
                <a:lnTo>
                  <a:pt x="334" y="1037"/>
                </a:lnTo>
                <a:lnTo>
                  <a:pt x="325" y="1033"/>
                </a:lnTo>
                <a:lnTo>
                  <a:pt x="325" y="1026"/>
                </a:lnTo>
                <a:lnTo>
                  <a:pt x="327" y="1018"/>
                </a:lnTo>
                <a:lnTo>
                  <a:pt x="327" y="1012"/>
                </a:lnTo>
                <a:lnTo>
                  <a:pt x="321" y="997"/>
                </a:lnTo>
                <a:lnTo>
                  <a:pt x="319" y="997"/>
                </a:lnTo>
                <a:lnTo>
                  <a:pt x="291" y="990"/>
                </a:lnTo>
                <a:lnTo>
                  <a:pt x="276" y="982"/>
                </a:lnTo>
                <a:lnTo>
                  <a:pt x="261" y="969"/>
                </a:lnTo>
                <a:lnTo>
                  <a:pt x="259" y="954"/>
                </a:lnTo>
                <a:lnTo>
                  <a:pt x="251" y="948"/>
                </a:lnTo>
                <a:lnTo>
                  <a:pt x="247" y="941"/>
                </a:lnTo>
                <a:lnTo>
                  <a:pt x="234" y="933"/>
                </a:lnTo>
                <a:lnTo>
                  <a:pt x="219" y="931"/>
                </a:lnTo>
                <a:lnTo>
                  <a:pt x="212" y="928"/>
                </a:lnTo>
                <a:lnTo>
                  <a:pt x="200" y="918"/>
                </a:lnTo>
                <a:lnTo>
                  <a:pt x="191" y="916"/>
                </a:lnTo>
                <a:lnTo>
                  <a:pt x="185" y="914"/>
                </a:lnTo>
                <a:lnTo>
                  <a:pt x="163" y="911"/>
                </a:lnTo>
                <a:lnTo>
                  <a:pt x="157" y="903"/>
                </a:lnTo>
                <a:lnTo>
                  <a:pt x="153" y="897"/>
                </a:lnTo>
                <a:lnTo>
                  <a:pt x="146" y="894"/>
                </a:lnTo>
                <a:lnTo>
                  <a:pt x="149" y="886"/>
                </a:lnTo>
                <a:lnTo>
                  <a:pt x="153" y="879"/>
                </a:lnTo>
                <a:lnTo>
                  <a:pt x="151" y="871"/>
                </a:lnTo>
                <a:lnTo>
                  <a:pt x="155" y="865"/>
                </a:lnTo>
                <a:lnTo>
                  <a:pt x="155" y="850"/>
                </a:lnTo>
                <a:lnTo>
                  <a:pt x="161" y="839"/>
                </a:lnTo>
                <a:lnTo>
                  <a:pt x="161" y="833"/>
                </a:lnTo>
                <a:lnTo>
                  <a:pt x="157" y="824"/>
                </a:lnTo>
                <a:lnTo>
                  <a:pt x="149" y="822"/>
                </a:lnTo>
                <a:lnTo>
                  <a:pt x="144" y="816"/>
                </a:lnTo>
                <a:lnTo>
                  <a:pt x="144" y="807"/>
                </a:lnTo>
                <a:lnTo>
                  <a:pt x="151" y="803"/>
                </a:lnTo>
                <a:lnTo>
                  <a:pt x="149" y="794"/>
                </a:lnTo>
                <a:lnTo>
                  <a:pt x="136" y="781"/>
                </a:lnTo>
                <a:lnTo>
                  <a:pt x="132" y="767"/>
                </a:lnTo>
                <a:lnTo>
                  <a:pt x="123" y="760"/>
                </a:lnTo>
                <a:lnTo>
                  <a:pt x="121" y="752"/>
                </a:lnTo>
                <a:lnTo>
                  <a:pt x="119" y="745"/>
                </a:lnTo>
                <a:lnTo>
                  <a:pt x="112" y="730"/>
                </a:lnTo>
                <a:lnTo>
                  <a:pt x="110" y="715"/>
                </a:lnTo>
                <a:lnTo>
                  <a:pt x="104" y="709"/>
                </a:lnTo>
                <a:lnTo>
                  <a:pt x="100" y="696"/>
                </a:lnTo>
                <a:lnTo>
                  <a:pt x="89" y="681"/>
                </a:lnTo>
                <a:lnTo>
                  <a:pt x="85" y="673"/>
                </a:lnTo>
                <a:lnTo>
                  <a:pt x="87" y="658"/>
                </a:lnTo>
                <a:lnTo>
                  <a:pt x="87" y="643"/>
                </a:lnTo>
                <a:lnTo>
                  <a:pt x="102" y="637"/>
                </a:lnTo>
                <a:lnTo>
                  <a:pt x="104" y="630"/>
                </a:lnTo>
                <a:lnTo>
                  <a:pt x="108" y="630"/>
                </a:lnTo>
                <a:lnTo>
                  <a:pt x="108" y="615"/>
                </a:lnTo>
                <a:lnTo>
                  <a:pt x="104" y="600"/>
                </a:lnTo>
                <a:lnTo>
                  <a:pt x="91" y="600"/>
                </a:lnTo>
                <a:lnTo>
                  <a:pt x="83" y="594"/>
                </a:lnTo>
                <a:lnTo>
                  <a:pt x="70" y="573"/>
                </a:lnTo>
                <a:lnTo>
                  <a:pt x="68" y="564"/>
                </a:lnTo>
                <a:lnTo>
                  <a:pt x="68" y="558"/>
                </a:lnTo>
                <a:lnTo>
                  <a:pt x="70" y="554"/>
                </a:lnTo>
                <a:lnTo>
                  <a:pt x="72" y="547"/>
                </a:lnTo>
                <a:lnTo>
                  <a:pt x="72" y="532"/>
                </a:lnTo>
                <a:lnTo>
                  <a:pt x="68" y="524"/>
                </a:lnTo>
                <a:lnTo>
                  <a:pt x="74" y="511"/>
                </a:lnTo>
                <a:lnTo>
                  <a:pt x="74" y="502"/>
                </a:lnTo>
                <a:lnTo>
                  <a:pt x="78" y="496"/>
                </a:lnTo>
                <a:lnTo>
                  <a:pt x="85" y="496"/>
                </a:lnTo>
                <a:lnTo>
                  <a:pt x="87" y="500"/>
                </a:lnTo>
                <a:lnTo>
                  <a:pt x="87" y="507"/>
                </a:lnTo>
                <a:lnTo>
                  <a:pt x="83" y="515"/>
                </a:lnTo>
                <a:lnTo>
                  <a:pt x="83" y="522"/>
                </a:lnTo>
                <a:lnTo>
                  <a:pt x="89" y="526"/>
                </a:lnTo>
                <a:lnTo>
                  <a:pt x="93" y="534"/>
                </a:lnTo>
                <a:lnTo>
                  <a:pt x="100" y="543"/>
                </a:lnTo>
                <a:lnTo>
                  <a:pt x="108" y="543"/>
                </a:lnTo>
                <a:lnTo>
                  <a:pt x="102" y="537"/>
                </a:lnTo>
                <a:lnTo>
                  <a:pt x="102" y="522"/>
                </a:lnTo>
                <a:lnTo>
                  <a:pt x="100" y="509"/>
                </a:lnTo>
                <a:lnTo>
                  <a:pt x="95" y="505"/>
                </a:lnTo>
                <a:lnTo>
                  <a:pt x="93" y="498"/>
                </a:lnTo>
                <a:lnTo>
                  <a:pt x="95" y="492"/>
                </a:lnTo>
                <a:lnTo>
                  <a:pt x="91" y="483"/>
                </a:lnTo>
                <a:lnTo>
                  <a:pt x="93" y="477"/>
                </a:lnTo>
                <a:lnTo>
                  <a:pt x="102" y="477"/>
                </a:lnTo>
                <a:lnTo>
                  <a:pt x="108" y="473"/>
                </a:lnTo>
                <a:lnTo>
                  <a:pt x="115" y="479"/>
                </a:lnTo>
                <a:lnTo>
                  <a:pt x="125" y="479"/>
                </a:lnTo>
                <a:lnTo>
                  <a:pt x="146" y="490"/>
                </a:lnTo>
                <a:lnTo>
                  <a:pt x="161" y="483"/>
                </a:lnTo>
                <a:lnTo>
                  <a:pt x="172" y="498"/>
                </a:lnTo>
                <a:lnTo>
                  <a:pt x="172" y="496"/>
                </a:lnTo>
                <a:lnTo>
                  <a:pt x="168" y="490"/>
                </a:lnTo>
                <a:lnTo>
                  <a:pt x="161" y="483"/>
                </a:lnTo>
                <a:lnTo>
                  <a:pt x="153" y="485"/>
                </a:lnTo>
                <a:lnTo>
                  <a:pt x="146" y="485"/>
                </a:lnTo>
                <a:lnTo>
                  <a:pt x="153" y="481"/>
                </a:lnTo>
                <a:lnTo>
                  <a:pt x="155" y="477"/>
                </a:lnTo>
                <a:lnTo>
                  <a:pt x="149" y="481"/>
                </a:lnTo>
                <a:lnTo>
                  <a:pt x="134" y="481"/>
                </a:lnTo>
                <a:lnTo>
                  <a:pt x="127" y="475"/>
                </a:lnTo>
                <a:lnTo>
                  <a:pt x="121" y="473"/>
                </a:lnTo>
                <a:lnTo>
                  <a:pt x="115" y="477"/>
                </a:lnTo>
                <a:lnTo>
                  <a:pt x="108" y="473"/>
                </a:lnTo>
                <a:lnTo>
                  <a:pt x="102" y="466"/>
                </a:lnTo>
                <a:lnTo>
                  <a:pt x="95" y="460"/>
                </a:lnTo>
                <a:lnTo>
                  <a:pt x="89" y="462"/>
                </a:lnTo>
                <a:lnTo>
                  <a:pt x="85" y="468"/>
                </a:lnTo>
                <a:lnTo>
                  <a:pt x="87" y="477"/>
                </a:lnTo>
                <a:lnTo>
                  <a:pt x="80" y="481"/>
                </a:lnTo>
                <a:lnTo>
                  <a:pt x="85" y="490"/>
                </a:lnTo>
                <a:lnTo>
                  <a:pt x="78" y="494"/>
                </a:lnTo>
                <a:lnTo>
                  <a:pt x="70" y="488"/>
                </a:lnTo>
                <a:lnTo>
                  <a:pt x="66" y="479"/>
                </a:lnTo>
                <a:lnTo>
                  <a:pt x="59" y="475"/>
                </a:lnTo>
                <a:lnTo>
                  <a:pt x="57" y="466"/>
                </a:lnTo>
                <a:lnTo>
                  <a:pt x="49" y="460"/>
                </a:lnTo>
                <a:lnTo>
                  <a:pt x="42" y="464"/>
                </a:lnTo>
                <a:lnTo>
                  <a:pt x="44" y="456"/>
                </a:lnTo>
                <a:lnTo>
                  <a:pt x="49" y="449"/>
                </a:lnTo>
                <a:lnTo>
                  <a:pt x="51" y="441"/>
                </a:lnTo>
                <a:lnTo>
                  <a:pt x="55" y="456"/>
                </a:lnTo>
                <a:lnTo>
                  <a:pt x="53" y="441"/>
                </a:lnTo>
                <a:lnTo>
                  <a:pt x="46" y="426"/>
                </a:lnTo>
                <a:lnTo>
                  <a:pt x="46" y="426"/>
                </a:lnTo>
                <a:lnTo>
                  <a:pt x="44" y="428"/>
                </a:lnTo>
                <a:lnTo>
                  <a:pt x="46" y="422"/>
                </a:lnTo>
                <a:lnTo>
                  <a:pt x="44" y="413"/>
                </a:lnTo>
                <a:lnTo>
                  <a:pt x="40" y="407"/>
                </a:lnTo>
                <a:lnTo>
                  <a:pt x="34" y="400"/>
                </a:lnTo>
                <a:lnTo>
                  <a:pt x="29" y="392"/>
                </a:lnTo>
                <a:lnTo>
                  <a:pt x="23" y="370"/>
                </a:lnTo>
                <a:lnTo>
                  <a:pt x="14" y="356"/>
                </a:lnTo>
                <a:lnTo>
                  <a:pt x="8" y="343"/>
                </a:lnTo>
                <a:lnTo>
                  <a:pt x="14" y="334"/>
                </a:lnTo>
                <a:lnTo>
                  <a:pt x="14" y="324"/>
                </a:lnTo>
                <a:lnTo>
                  <a:pt x="14" y="294"/>
                </a:lnTo>
                <a:lnTo>
                  <a:pt x="21" y="281"/>
                </a:lnTo>
                <a:lnTo>
                  <a:pt x="25" y="275"/>
                </a:lnTo>
                <a:lnTo>
                  <a:pt x="25" y="264"/>
                </a:lnTo>
                <a:lnTo>
                  <a:pt x="27" y="258"/>
                </a:lnTo>
                <a:lnTo>
                  <a:pt x="25" y="251"/>
                </a:lnTo>
                <a:lnTo>
                  <a:pt x="25" y="243"/>
                </a:lnTo>
                <a:lnTo>
                  <a:pt x="19" y="221"/>
                </a:lnTo>
                <a:lnTo>
                  <a:pt x="14" y="215"/>
                </a:lnTo>
                <a:lnTo>
                  <a:pt x="14" y="206"/>
                </a:lnTo>
                <a:lnTo>
                  <a:pt x="0" y="185"/>
                </a:lnTo>
                <a:lnTo>
                  <a:pt x="2" y="179"/>
                </a:lnTo>
                <a:lnTo>
                  <a:pt x="2" y="166"/>
                </a:lnTo>
                <a:lnTo>
                  <a:pt x="6" y="151"/>
                </a:lnTo>
                <a:lnTo>
                  <a:pt x="14" y="145"/>
                </a:lnTo>
                <a:lnTo>
                  <a:pt x="19" y="136"/>
                </a:lnTo>
                <a:lnTo>
                  <a:pt x="25" y="134"/>
                </a:lnTo>
                <a:lnTo>
                  <a:pt x="34" y="130"/>
                </a:lnTo>
                <a:lnTo>
                  <a:pt x="31" y="128"/>
                </a:lnTo>
                <a:lnTo>
                  <a:pt x="34" y="119"/>
                </a:lnTo>
                <a:lnTo>
                  <a:pt x="38" y="113"/>
                </a:lnTo>
                <a:lnTo>
                  <a:pt x="42" y="104"/>
                </a:lnTo>
                <a:lnTo>
                  <a:pt x="40" y="98"/>
                </a:lnTo>
                <a:lnTo>
                  <a:pt x="57" y="66"/>
                </a:lnTo>
                <a:close/>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r>
              <a:rPr lang="en-US" sz="1000" b="1" dirty="0">
                <a:solidFill>
                  <a:schemeClr val="bg1"/>
                </a:solidFill>
              </a:rPr>
              <a:t> </a:t>
            </a:r>
            <a:r>
              <a:rPr lang="en-US" sz="1000" b="1" dirty="0">
                <a:solidFill>
                  <a:srgbClr val="5A5A5A"/>
                </a:solidFill>
              </a:rPr>
              <a:t>Calif.</a:t>
            </a:r>
            <a:br>
              <a:rPr lang="en-US" sz="1000" b="1" dirty="0">
                <a:solidFill>
                  <a:srgbClr val="5A5A5A"/>
                </a:solidFill>
              </a:rPr>
            </a:br>
            <a:r>
              <a:rPr lang="en-US" sz="1000" b="1" dirty="0">
                <a:solidFill>
                  <a:srgbClr val="5A5A5A"/>
                </a:solidFill>
              </a:rPr>
              <a:t>(53 seats)</a:t>
            </a:r>
          </a:p>
        </p:txBody>
      </p:sp>
      <p:sp>
        <p:nvSpPr>
          <p:cNvPr id="6" name="Freeform 825"/>
          <p:cNvSpPr>
            <a:spLocks noChangeAspect="1"/>
          </p:cNvSpPr>
          <p:nvPr/>
        </p:nvSpPr>
        <p:spPr bwMode="auto">
          <a:xfrm>
            <a:off x="470530" y="2528509"/>
            <a:ext cx="1112453" cy="1083929"/>
          </a:xfrm>
          <a:custGeom>
            <a:avLst/>
            <a:gdLst>
              <a:gd name="T0" fmla="*/ 164 w 1248"/>
              <a:gd name="T1" fmla="*/ 496 h 1216"/>
              <a:gd name="T2" fmla="*/ 373 w 1248"/>
              <a:gd name="T3" fmla="*/ 11 h 1216"/>
              <a:gd name="T4" fmla="*/ 648 w 1248"/>
              <a:gd name="T5" fmla="*/ 17 h 1216"/>
              <a:gd name="T6" fmla="*/ 682 w 1248"/>
              <a:gd name="T7" fmla="*/ 251 h 1216"/>
              <a:gd name="T8" fmla="*/ 714 w 1248"/>
              <a:gd name="T9" fmla="*/ 266 h 1216"/>
              <a:gd name="T10" fmla="*/ 763 w 1248"/>
              <a:gd name="T11" fmla="*/ 283 h 1216"/>
              <a:gd name="T12" fmla="*/ 816 w 1248"/>
              <a:gd name="T13" fmla="*/ 285 h 1216"/>
              <a:gd name="T14" fmla="*/ 841 w 1248"/>
              <a:gd name="T15" fmla="*/ 313 h 1216"/>
              <a:gd name="T16" fmla="*/ 893 w 1248"/>
              <a:gd name="T17" fmla="*/ 315 h 1216"/>
              <a:gd name="T18" fmla="*/ 916 w 1248"/>
              <a:gd name="T19" fmla="*/ 313 h 1216"/>
              <a:gd name="T20" fmla="*/ 952 w 1248"/>
              <a:gd name="T21" fmla="*/ 313 h 1216"/>
              <a:gd name="T22" fmla="*/ 999 w 1248"/>
              <a:gd name="T23" fmla="*/ 317 h 1216"/>
              <a:gd name="T24" fmla="*/ 1057 w 1248"/>
              <a:gd name="T25" fmla="*/ 313 h 1216"/>
              <a:gd name="T26" fmla="*/ 1114 w 1248"/>
              <a:gd name="T27" fmla="*/ 326 h 1216"/>
              <a:gd name="T28" fmla="*/ 1167 w 1248"/>
              <a:gd name="T29" fmla="*/ 343 h 1216"/>
              <a:gd name="T30" fmla="*/ 1218 w 1248"/>
              <a:gd name="T31" fmla="*/ 567 h 1216"/>
              <a:gd name="T32" fmla="*/ 1248 w 1248"/>
              <a:gd name="T33" fmla="*/ 613 h 1216"/>
              <a:gd name="T34" fmla="*/ 1242 w 1248"/>
              <a:gd name="T35" fmla="*/ 660 h 1216"/>
              <a:gd name="T36" fmla="*/ 1235 w 1248"/>
              <a:gd name="T37" fmla="*/ 731 h 1216"/>
              <a:gd name="T38" fmla="*/ 1201 w 1248"/>
              <a:gd name="T39" fmla="*/ 786 h 1216"/>
              <a:gd name="T40" fmla="*/ 1137 w 1248"/>
              <a:gd name="T41" fmla="*/ 814 h 1216"/>
              <a:gd name="T42" fmla="*/ 1137 w 1248"/>
              <a:gd name="T43" fmla="*/ 777 h 1216"/>
              <a:gd name="T44" fmla="*/ 1110 w 1248"/>
              <a:gd name="T45" fmla="*/ 799 h 1216"/>
              <a:gd name="T46" fmla="*/ 1097 w 1248"/>
              <a:gd name="T47" fmla="*/ 846 h 1216"/>
              <a:gd name="T48" fmla="*/ 1022 w 1248"/>
              <a:gd name="T49" fmla="*/ 899 h 1216"/>
              <a:gd name="T50" fmla="*/ 995 w 1248"/>
              <a:gd name="T51" fmla="*/ 920 h 1216"/>
              <a:gd name="T52" fmla="*/ 982 w 1248"/>
              <a:gd name="T53" fmla="*/ 905 h 1216"/>
              <a:gd name="T54" fmla="*/ 956 w 1248"/>
              <a:gd name="T55" fmla="*/ 897 h 1216"/>
              <a:gd name="T56" fmla="*/ 973 w 1248"/>
              <a:gd name="T57" fmla="*/ 929 h 1216"/>
              <a:gd name="T58" fmla="*/ 937 w 1248"/>
              <a:gd name="T59" fmla="*/ 948 h 1216"/>
              <a:gd name="T60" fmla="*/ 912 w 1248"/>
              <a:gd name="T61" fmla="*/ 956 h 1216"/>
              <a:gd name="T62" fmla="*/ 914 w 1248"/>
              <a:gd name="T63" fmla="*/ 965 h 1216"/>
              <a:gd name="T64" fmla="*/ 869 w 1248"/>
              <a:gd name="T65" fmla="*/ 997 h 1216"/>
              <a:gd name="T66" fmla="*/ 863 w 1248"/>
              <a:gd name="T67" fmla="*/ 1056 h 1216"/>
              <a:gd name="T68" fmla="*/ 841 w 1248"/>
              <a:gd name="T69" fmla="*/ 1046 h 1216"/>
              <a:gd name="T70" fmla="*/ 867 w 1248"/>
              <a:gd name="T71" fmla="*/ 1080 h 1216"/>
              <a:gd name="T72" fmla="*/ 867 w 1248"/>
              <a:gd name="T73" fmla="*/ 1114 h 1216"/>
              <a:gd name="T74" fmla="*/ 888 w 1248"/>
              <a:gd name="T75" fmla="*/ 1203 h 1216"/>
              <a:gd name="T76" fmla="*/ 880 w 1248"/>
              <a:gd name="T77" fmla="*/ 1216 h 1216"/>
              <a:gd name="T78" fmla="*/ 820 w 1248"/>
              <a:gd name="T79" fmla="*/ 1193 h 1216"/>
              <a:gd name="T80" fmla="*/ 743 w 1248"/>
              <a:gd name="T81" fmla="*/ 1169 h 1216"/>
              <a:gd name="T82" fmla="*/ 703 w 1248"/>
              <a:gd name="T83" fmla="*/ 1144 h 1216"/>
              <a:gd name="T84" fmla="*/ 669 w 1248"/>
              <a:gd name="T85" fmla="*/ 1071 h 1216"/>
              <a:gd name="T86" fmla="*/ 665 w 1248"/>
              <a:gd name="T87" fmla="*/ 1022 h 1216"/>
              <a:gd name="T88" fmla="*/ 618 w 1248"/>
              <a:gd name="T89" fmla="*/ 971 h 1216"/>
              <a:gd name="T90" fmla="*/ 586 w 1248"/>
              <a:gd name="T91" fmla="*/ 914 h 1216"/>
              <a:gd name="T92" fmla="*/ 556 w 1248"/>
              <a:gd name="T93" fmla="*/ 850 h 1216"/>
              <a:gd name="T94" fmla="*/ 503 w 1248"/>
              <a:gd name="T95" fmla="*/ 788 h 1216"/>
              <a:gd name="T96" fmla="*/ 465 w 1248"/>
              <a:gd name="T97" fmla="*/ 767 h 1216"/>
              <a:gd name="T98" fmla="*/ 396 w 1248"/>
              <a:gd name="T99" fmla="*/ 754 h 1216"/>
              <a:gd name="T100" fmla="*/ 356 w 1248"/>
              <a:gd name="T101" fmla="*/ 777 h 1216"/>
              <a:gd name="T102" fmla="*/ 315 w 1248"/>
              <a:gd name="T103" fmla="*/ 839 h 1216"/>
              <a:gd name="T104" fmla="*/ 273 w 1248"/>
              <a:gd name="T105" fmla="*/ 826 h 1216"/>
              <a:gd name="T106" fmla="*/ 201 w 1248"/>
              <a:gd name="T107" fmla="*/ 777 h 1216"/>
              <a:gd name="T108" fmla="*/ 166 w 1248"/>
              <a:gd name="T109" fmla="*/ 694 h 1216"/>
              <a:gd name="T110" fmla="*/ 139 w 1248"/>
              <a:gd name="T111" fmla="*/ 641 h 1216"/>
              <a:gd name="T112" fmla="*/ 64 w 1248"/>
              <a:gd name="T113" fmla="*/ 564 h 1216"/>
              <a:gd name="T114" fmla="*/ 20 w 1248"/>
              <a:gd name="T115" fmla="*/ 51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8" h="1216">
                <a:moveTo>
                  <a:pt x="9" y="507"/>
                </a:moveTo>
                <a:lnTo>
                  <a:pt x="9" y="503"/>
                </a:lnTo>
                <a:lnTo>
                  <a:pt x="5" y="498"/>
                </a:lnTo>
                <a:lnTo>
                  <a:pt x="0" y="484"/>
                </a:lnTo>
                <a:lnTo>
                  <a:pt x="0" y="481"/>
                </a:lnTo>
                <a:lnTo>
                  <a:pt x="73" y="488"/>
                </a:lnTo>
                <a:lnTo>
                  <a:pt x="164" y="496"/>
                </a:lnTo>
                <a:lnTo>
                  <a:pt x="247" y="503"/>
                </a:lnTo>
                <a:lnTo>
                  <a:pt x="330" y="509"/>
                </a:lnTo>
                <a:lnTo>
                  <a:pt x="335" y="509"/>
                </a:lnTo>
                <a:lnTo>
                  <a:pt x="341" y="501"/>
                </a:lnTo>
                <a:lnTo>
                  <a:pt x="347" y="383"/>
                </a:lnTo>
                <a:lnTo>
                  <a:pt x="356" y="281"/>
                </a:lnTo>
                <a:lnTo>
                  <a:pt x="373" y="11"/>
                </a:lnTo>
                <a:lnTo>
                  <a:pt x="375" y="2"/>
                </a:lnTo>
                <a:lnTo>
                  <a:pt x="379" y="0"/>
                </a:lnTo>
                <a:lnTo>
                  <a:pt x="501" y="9"/>
                </a:lnTo>
                <a:lnTo>
                  <a:pt x="594" y="13"/>
                </a:lnTo>
                <a:lnTo>
                  <a:pt x="631" y="13"/>
                </a:lnTo>
                <a:lnTo>
                  <a:pt x="639" y="13"/>
                </a:lnTo>
                <a:lnTo>
                  <a:pt x="648" y="17"/>
                </a:lnTo>
                <a:lnTo>
                  <a:pt x="641" y="219"/>
                </a:lnTo>
                <a:lnTo>
                  <a:pt x="639" y="230"/>
                </a:lnTo>
                <a:lnTo>
                  <a:pt x="648" y="232"/>
                </a:lnTo>
                <a:lnTo>
                  <a:pt x="654" y="236"/>
                </a:lnTo>
                <a:lnTo>
                  <a:pt x="667" y="251"/>
                </a:lnTo>
                <a:lnTo>
                  <a:pt x="673" y="256"/>
                </a:lnTo>
                <a:lnTo>
                  <a:pt x="682" y="251"/>
                </a:lnTo>
                <a:lnTo>
                  <a:pt x="688" y="254"/>
                </a:lnTo>
                <a:lnTo>
                  <a:pt x="695" y="254"/>
                </a:lnTo>
                <a:lnTo>
                  <a:pt x="699" y="245"/>
                </a:lnTo>
                <a:lnTo>
                  <a:pt x="701" y="249"/>
                </a:lnTo>
                <a:lnTo>
                  <a:pt x="707" y="254"/>
                </a:lnTo>
                <a:lnTo>
                  <a:pt x="714" y="260"/>
                </a:lnTo>
                <a:lnTo>
                  <a:pt x="714" y="266"/>
                </a:lnTo>
                <a:lnTo>
                  <a:pt x="714" y="275"/>
                </a:lnTo>
                <a:lnTo>
                  <a:pt x="722" y="275"/>
                </a:lnTo>
                <a:lnTo>
                  <a:pt x="726" y="277"/>
                </a:lnTo>
                <a:lnTo>
                  <a:pt x="733" y="275"/>
                </a:lnTo>
                <a:lnTo>
                  <a:pt x="741" y="279"/>
                </a:lnTo>
                <a:lnTo>
                  <a:pt x="754" y="283"/>
                </a:lnTo>
                <a:lnTo>
                  <a:pt x="763" y="283"/>
                </a:lnTo>
                <a:lnTo>
                  <a:pt x="769" y="283"/>
                </a:lnTo>
                <a:lnTo>
                  <a:pt x="773" y="288"/>
                </a:lnTo>
                <a:lnTo>
                  <a:pt x="778" y="292"/>
                </a:lnTo>
                <a:lnTo>
                  <a:pt x="786" y="290"/>
                </a:lnTo>
                <a:lnTo>
                  <a:pt x="792" y="285"/>
                </a:lnTo>
                <a:lnTo>
                  <a:pt x="807" y="285"/>
                </a:lnTo>
                <a:lnTo>
                  <a:pt x="816" y="285"/>
                </a:lnTo>
                <a:lnTo>
                  <a:pt x="814" y="292"/>
                </a:lnTo>
                <a:lnTo>
                  <a:pt x="818" y="300"/>
                </a:lnTo>
                <a:lnTo>
                  <a:pt x="827" y="300"/>
                </a:lnTo>
                <a:lnTo>
                  <a:pt x="829" y="305"/>
                </a:lnTo>
                <a:lnTo>
                  <a:pt x="829" y="315"/>
                </a:lnTo>
                <a:lnTo>
                  <a:pt x="835" y="317"/>
                </a:lnTo>
                <a:lnTo>
                  <a:pt x="841" y="313"/>
                </a:lnTo>
                <a:lnTo>
                  <a:pt x="854" y="303"/>
                </a:lnTo>
                <a:lnTo>
                  <a:pt x="861" y="305"/>
                </a:lnTo>
                <a:lnTo>
                  <a:pt x="863" y="313"/>
                </a:lnTo>
                <a:lnTo>
                  <a:pt x="871" y="313"/>
                </a:lnTo>
                <a:lnTo>
                  <a:pt x="873" y="320"/>
                </a:lnTo>
                <a:lnTo>
                  <a:pt x="880" y="320"/>
                </a:lnTo>
                <a:lnTo>
                  <a:pt x="893" y="315"/>
                </a:lnTo>
                <a:lnTo>
                  <a:pt x="899" y="315"/>
                </a:lnTo>
                <a:lnTo>
                  <a:pt x="897" y="322"/>
                </a:lnTo>
                <a:lnTo>
                  <a:pt x="899" y="330"/>
                </a:lnTo>
                <a:lnTo>
                  <a:pt x="901" y="332"/>
                </a:lnTo>
                <a:lnTo>
                  <a:pt x="905" y="330"/>
                </a:lnTo>
                <a:lnTo>
                  <a:pt x="910" y="317"/>
                </a:lnTo>
                <a:lnTo>
                  <a:pt x="916" y="313"/>
                </a:lnTo>
                <a:lnTo>
                  <a:pt x="918" y="307"/>
                </a:lnTo>
                <a:lnTo>
                  <a:pt x="920" y="307"/>
                </a:lnTo>
                <a:lnTo>
                  <a:pt x="927" y="309"/>
                </a:lnTo>
                <a:lnTo>
                  <a:pt x="933" y="315"/>
                </a:lnTo>
                <a:lnTo>
                  <a:pt x="939" y="317"/>
                </a:lnTo>
                <a:lnTo>
                  <a:pt x="946" y="313"/>
                </a:lnTo>
                <a:lnTo>
                  <a:pt x="952" y="313"/>
                </a:lnTo>
                <a:lnTo>
                  <a:pt x="959" y="322"/>
                </a:lnTo>
                <a:lnTo>
                  <a:pt x="965" y="326"/>
                </a:lnTo>
                <a:lnTo>
                  <a:pt x="973" y="328"/>
                </a:lnTo>
                <a:lnTo>
                  <a:pt x="980" y="334"/>
                </a:lnTo>
                <a:lnTo>
                  <a:pt x="982" y="328"/>
                </a:lnTo>
                <a:lnTo>
                  <a:pt x="990" y="328"/>
                </a:lnTo>
                <a:lnTo>
                  <a:pt x="999" y="317"/>
                </a:lnTo>
                <a:lnTo>
                  <a:pt x="1008" y="317"/>
                </a:lnTo>
                <a:lnTo>
                  <a:pt x="1014" y="313"/>
                </a:lnTo>
                <a:lnTo>
                  <a:pt x="1020" y="317"/>
                </a:lnTo>
                <a:lnTo>
                  <a:pt x="1029" y="317"/>
                </a:lnTo>
                <a:lnTo>
                  <a:pt x="1035" y="313"/>
                </a:lnTo>
                <a:lnTo>
                  <a:pt x="1048" y="307"/>
                </a:lnTo>
                <a:lnTo>
                  <a:pt x="1057" y="313"/>
                </a:lnTo>
                <a:lnTo>
                  <a:pt x="1061" y="315"/>
                </a:lnTo>
                <a:lnTo>
                  <a:pt x="1069" y="315"/>
                </a:lnTo>
                <a:lnTo>
                  <a:pt x="1074" y="313"/>
                </a:lnTo>
                <a:lnTo>
                  <a:pt x="1078" y="305"/>
                </a:lnTo>
                <a:lnTo>
                  <a:pt x="1084" y="305"/>
                </a:lnTo>
                <a:lnTo>
                  <a:pt x="1101" y="315"/>
                </a:lnTo>
                <a:lnTo>
                  <a:pt x="1114" y="326"/>
                </a:lnTo>
                <a:lnTo>
                  <a:pt x="1123" y="328"/>
                </a:lnTo>
                <a:lnTo>
                  <a:pt x="1129" y="334"/>
                </a:lnTo>
                <a:lnTo>
                  <a:pt x="1150" y="339"/>
                </a:lnTo>
                <a:lnTo>
                  <a:pt x="1152" y="341"/>
                </a:lnTo>
                <a:lnTo>
                  <a:pt x="1152" y="343"/>
                </a:lnTo>
                <a:lnTo>
                  <a:pt x="1161" y="349"/>
                </a:lnTo>
                <a:lnTo>
                  <a:pt x="1167" y="343"/>
                </a:lnTo>
                <a:lnTo>
                  <a:pt x="1191" y="347"/>
                </a:lnTo>
                <a:lnTo>
                  <a:pt x="1193" y="409"/>
                </a:lnTo>
                <a:lnTo>
                  <a:pt x="1195" y="524"/>
                </a:lnTo>
                <a:lnTo>
                  <a:pt x="1208" y="535"/>
                </a:lnTo>
                <a:lnTo>
                  <a:pt x="1214" y="541"/>
                </a:lnTo>
                <a:lnTo>
                  <a:pt x="1218" y="556"/>
                </a:lnTo>
                <a:lnTo>
                  <a:pt x="1218" y="567"/>
                </a:lnTo>
                <a:lnTo>
                  <a:pt x="1223" y="573"/>
                </a:lnTo>
                <a:lnTo>
                  <a:pt x="1227" y="582"/>
                </a:lnTo>
                <a:lnTo>
                  <a:pt x="1229" y="584"/>
                </a:lnTo>
                <a:lnTo>
                  <a:pt x="1233" y="590"/>
                </a:lnTo>
                <a:lnTo>
                  <a:pt x="1233" y="596"/>
                </a:lnTo>
                <a:lnTo>
                  <a:pt x="1244" y="611"/>
                </a:lnTo>
                <a:lnTo>
                  <a:pt x="1248" y="613"/>
                </a:lnTo>
                <a:lnTo>
                  <a:pt x="1246" y="620"/>
                </a:lnTo>
                <a:lnTo>
                  <a:pt x="1248" y="626"/>
                </a:lnTo>
                <a:lnTo>
                  <a:pt x="1246" y="633"/>
                </a:lnTo>
                <a:lnTo>
                  <a:pt x="1248" y="639"/>
                </a:lnTo>
                <a:lnTo>
                  <a:pt x="1246" y="645"/>
                </a:lnTo>
                <a:lnTo>
                  <a:pt x="1246" y="654"/>
                </a:lnTo>
                <a:lnTo>
                  <a:pt x="1242" y="660"/>
                </a:lnTo>
                <a:lnTo>
                  <a:pt x="1242" y="669"/>
                </a:lnTo>
                <a:lnTo>
                  <a:pt x="1235" y="675"/>
                </a:lnTo>
                <a:lnTo>
                  <a:pt x="1231" y="684"/>
                </a:lnTo>
                <a:lnTo>
                  <a:pt x="1233" y="697"/>
                </a:lnTo>
                <a:lnTo>
                  <a:pt x="1229" y="705"/>
                </a:lnTo>
                <a:lnTo>
                  <a:pt x="1233" y="714"/>
                </a:lnTo>
                <a:lnTo>
                  <a:pt x="1235" y="731"/>
                </a:lnTo>
                <a:lnTo>
                  <a:pt x="1233" y="739"/>
                </a:lnTo>
                <a:lnTo>
                  <a:pt x="1227" y="748"/>
                </a:lnTo>
                <a:lnTo>
                  <a:pt x="1227" y="748"/>
                </a:lnTo>
                <a:lnTo>
                  <a:pt x="1220" y="754"/>
                </a:lnTo>
                <a:lnTo>
                  <a:pt x="1212" y="767"/>
                </a:lnTo>
                <a:lnTo>
                  <a:pt x="1223" y="784"/>
                </a:lnTo>
                <a:lnTo>
                  <a:pt x="1201" y="786"/>
                </a:lnTo>
                <a:lnTo>
                  <a:pt x="1178" y="797"/>
                </a:lnTo>
                <a:lnTo>
                  <a:pt x="1157" y="807"/>
                </a:lnTo>
                <a:lnTo>
                  <a:pt x="1150" y="809"/>
                </a:lnTo>
                <a:lnTo>
                  <a:pt x="1142" y="814"/>
                </a:lnTo>
                <a:lnTo>
                  <a:pt x="1135" y="822"/>
                </a:lnTo>
                <a:lnTo>
                  <a:pt x="1133" y="822"/>
                </a:lnTo>
                <a:lnTo>
                  <a:pt x="1137" y="814"/>
                </a:lnTo>
                <a:lnTo>
                  <a:pt x="1152" y="803"/>
                </a:lnTo>
                <a:lnTo>
                  <a:pt x="1161" y="801"/>
                </a:lnTo>
                <a:lnTo>
                  <a:pt x="1163" y="799"/>
                </a:lnTo>
                <a:lnTo>
                  <a:pt x="1148" y="799"/>
                </a:lnTo>
                <a:lnTo>
                  <a:pt x="1133" y="803"/>
                </a:lnTo>
                <a:lnTo>
                  <a:pt x="1137" y="788"/>
                </a:lnTo>
                <a:lnTo>
                  <a:pt x="1137" y="777"/>
                </a:lnTo>
                <a:lnTo>
                  <a:pt x="1131" y="775"/>
                </a:lnTo>
                <a:lnTo>
                  <a:pt x="1125" y="782"/>
                </a:lnTo>
                <a:lnTo>
                  <a:pt x="1120" y="788"/>
                </a:lnTo>
                <a:lnTo>
                  <a:pt x="1110" y="782"/>
                </a:lnTo>
                <a:lnTo>
                  <a:pt x="1105" y="786"/>
                </a:lnTo>
                <a:lnTo>
                  <a:pt x="1110" y="792"/>
                </a:lnTo>
                <a:lnTo>
                  <a:pt x="1110" y="799"/>
                </a:lnTo>
                <a:lnTo>
                  <a:pt x="1116" y="805"/>
                </a:lnTo>
                <a:lnTo>
                  <a:pt x="1116" y="816"/>
                </a:lnTo>
                <a:lnTo>
                  <a:pt x="1125" y="818"/>
                </a:lnTo>
                <a:lnTo>
                  <a:pt x="1120" y="826"/>
                </a:lnTo>
                <a:lnTo>
                  <a:pt x="1114" y="831"/>
                </a:lnTo>
                <a:lnTo>
                  <a:pt x="1108" y="837"/>
                </a:lnTo>
                <a:lnTo>
                  <a:pt x="1097" y="846"/>
                </a:lnTo>
                <a:lnTo>
                  <a:pt x="1095" y="858"/>
                </a:lnTo>
                <a:lnTo>
                  <a:pt x="1082" y="871"/>
                </a:lnTo>
                <a:lnTo>
                  <a:pt x="1074" y="878"/>
                </a:lnTo>
                <a:lnTo>
                  <a:pt x="1065" y="882"/>
                </a:lnTo>
                <a:lnTo>
                  <a:pt x="1050" y="892"/>
                </a:lnTo>
                <a:lnTo>
                  <a:pt x="1037" y="892"/>
                </a:lnTo>
                <a:lnTo>
                  <a:pt x="1022" y="899"/>
                </a:lnTo>
                <a:lnTo>
                  <a:pt x="1022" y="905"/>
                </a:lnTo>
                <a:lnTo>
                  <a:pt x="1031" y="901"/>
                </a:lnTo>
                <a:lnTo>
                  <a:pt x="1037" y="899"/>
                </a:lnTo>
                <a:lnTo>
                  <a:pt x="1029" y="905"/>
                </a:lnTo>
                <a:lnTo>
                  <a:pt x="1014" y="910"/>
                </a:lnTo>
                <a:lnTo>
                  <a:pt x="993" y="922"/>
                </a:lnTo>
                <a:lnTo>
                  <a:pt x="995" y="920"/>
                </a:lnTo>
                <a:lnTo>
                  <a:pt x="1010" y="912"/>
                </a:lnTo>
                <a:lnTo>
                  <a:pt x="1012" y="905"/>
                </a:lnTo>
                <a:lnTo>
                  <a:pt x="997" y="912"/>
                </a:lnTo>
                <a:lnTo>
                  <a:pt x="1001" y="905"/>
                </a:lnTo>
                <a:lnTo>
                  <a:pt x="993" y="907"/>
                </a:lnTo>
                <a:lnTo>
                  <a:pt x="990" y="899"/>
                </a:lnTo>
                <a:lnTo>
                  <a:pt x="982" y="905"/>
                </a:lnTo>
                <a:lnTo>
                  <a:pt x="976" y="901"/>
                </a:lnTo>
                <a:lnTo>
                  <a:pt x="971" y="892"/>
                </a:lnTo>
                <a:lnTo>
                  <a:pt x="971" y="895"/>
                </a:lnTo>
                <a:lnTo>
                  <a:pt x="978" y="907"/>
                </a:lnTo>
                <a:lnTo>
                  <a:pt x="969" y="912"/>
                </a:lnTo>
                <a:lnTo>
                  <a:pt x="959" y="901"/>
                </a:lnTo>
                <a:lnTo>
                  <a:pt x="956" y="897"/>
                </a:lnTo>
                <a:lnTo>
                  <a:pt x="950" y="897"/>
                </a:lnTo>
                <a:lnTo>
                  <a:pt x="956" y="912"/>
                </a:lnTo>
                <a:lnTo>
                  <a:pt x="965" y="916"/>
                </a:lnTo>
                <a:lnTo>
                  <a:pt x="961" y="924"/>
                </a:lnTo>
                <a:lnTo>
                  <a:pt x="967" y="922"/>
                </a:lnTo>
                <a:lnTo>
                  <a:pt x="976" y="927"/>
                </a:lnTo>
                <a:lnTo>
                  <a:pt x="973" y="929"/>
                </a:lnTo>
                <a:lnTo>
                  <a:pt x="952" y="941"/>
                </a:lnTo>
                <a:lnTo>
                  <a:pt x="946" y="937"/>
                </a:lnTo>
                <a:lnTo>
                  <a:pt x="935" y="924"/>
                </a:lnTo>
                <a:lnTo>
                  <a:pt x="937" y="927"/>
                </a:lnTo>
                <a:lnTo>
                  <a:pt x="933" y="935"/>
                </a:lnTo>
                <a:lnTo>
                  <a:pt x="937" y="941"/>
                </a:lnTo>
                <a:lnTo>
                  <a:pt x="937" y="948"/>
                </a:lnTo>
                <a:lnTo>
                  <a:pt x="929" y="959"/>
                </a:lnTo>
                <a:lnTo>
                  <a:pt x="922" y="963"/>
                </a:lnTo>
                <a:lnTo>
                  <a:pt x="924" y="954"/>
                </a:lnTo>
                <a:lnTo>
                  <a:pt x="922" y="948"/>
                </a:lnTo>
                <a:lnTo>
                  <a:pt x="922" y="954"/>
                </a:lnTo>
                <a:lnTo>
                  <a:pt x="914" y="963"/>
                </a:lnTo>
                <a:lnTo>
                  <a:pt x="912" y="956"/>
                </a:lnTo>
                <a:lnTo>
                  <a:pt x="905" y="961"/>
                </a:lnTo>
                <a:lnTo>
                  <a:pt x="897" y="959"/>
                </a:lnTo>
                <a:lnTo>
                  <a:pt x="899" y="963"/>
                </a:lnTo>
                <a:lnTo>
                  <a:pt x="895" y="969"/>
                </a:lnTo>
                <a:lnTo>
                  <a:pt x="903" y="976"/>
                </a:lnTo>
                <a:lnTo>
                  <a:pt x="905" y="969"/>
                </a:lnTo>
                <a:lnTo>
                  <a:pt x="914" y="965"/>
                </a:lnTo>
                <a:lnTo>
                  <a:pt x="914" y="971"/>
                </a:lnTo>
                <a:lnTo>
                  <a:pt x="910" y="978"/>
                </a:lnTo>
                <a:lnTo>
                  <a:pt x="895" y="997"/>
                </a:lnTo>
                <a:lnTo>
                  <a:pt x="888" y="990"/>
                </a:lnTo>
                <a:lnTo>
                  <a:pt x="873" y="993"/>
                </a:lnTo>
                <a:lnTo>
                  <a:pt x="865" y="995"/>
                </a:lnTo>
                <a:lnTo>
                  <a:pt x="869" y="997"/>
                </a:lnTo>
                <a:lnTo>
                  <a:pt x="876" y="995"/>
                </a:lnTo>
                <a:lnTo>
                  <a:pt x="876" y="1001"/>
                </a:lnTo>
                <a:lnTo>
                  <a:pt x="882" y="1007"/>
                </a:lnTo>
                <a:lnTo>
                  <a:pt x="886" y="1010"/>
                </a:lnTo>
                <a:lnTo>
                  <a:pt x="888" y="1016"/>
                </a:lnTo>
                <a:lnTo>
                  <a:pt x="873" y="1052"/>
                </a:lnTo>
                <a:lnTo>
                  <a:pt x="863" y="1056"/>
                </a:lnTo>
                <a:lnTo>
                  <a:pt x="869" y="1050"/>
                </a:lnTo>
                <a:lnTo>
                  <a:pt x="863" y="1048"/>
                </a:lnTo>
                <a:lnTo>
                  <a:pt x="858" y="1050"/>
                </a:lnTo>
                <a:lnTo>
                  <a:pt x="850" y="1050"/>
                </a:lnTo>
                <a:lnTo>
                  <a:pt x="846" y="1044"/>
                </a:lnTo>
                <a:lnTo>
                  <a:pt x="837" y="1037"/>
                </a:lnTo>
                <a:lnTo>
                  <a:pt x="841" y="1046"/>
                </a:lnTo>
                <a:lnTo>
                  <a:pt x="846" y="1050"/>
                </a:lnTo>
                <a:lnTo>
                  <a:pt x="844" y="1059"/>
                </a:lnTo>
                <a:lnTo>
                  <a:pt x="858" y="1063"/>
                </a:lnTo>
                <a:lnTo>
                  <a:pt x="873" y="1059"/>
                </a:lnTo>
                <a:lnTo>
                  <a:pt x="871" y="1065"/>
                </a:lnTo>
                <a:lnTo>
                  <a:pt x="871" y="1074"/>
                </a:lnTo>
                <a:lnTo>
                  <a:pt x="867" y="1080"/>
                </a:lnTo>
                <a:lnTo>
                  <a:pt x="867" y="1088"/>
                </a:lnTo>
                <a:lnTo>
                  <a:pt x="861" y="1088"/>
                </a:lnTo>
                <a:lnTo>
                  <a:pt x="858" y="1095"/>
                </a:lnTo>
                <a:lnTo>
                  <a:pt x="867" y="1103"/>
                </a:lnTo>
                <a:lnTo>
                  <a:pt x="861" y="1101"/>
                </a:lnTo>
                <a:lnTo>
                  <a:pt x="861" y="1108"/>
                </a:lnTo>
                <a:lnTo>
                  <a:pt x="867" y="1114"/>
                </a:lnTo>
                <a:lnTo>
                  <a:pt x="871" y="1140"/>
                </a:lnTo>
                <a:lnTo>
                  <a:pt x="871" y="1148"/>
                </a:lnTo>
                <a:lnTo>
                  <a:pt x="884" y="1171"/>
                </a:lnTo>
                <a:lnTo>
                  <a:pt x="886" y="1186"/>
                </a:lnTo>
                <a:lnTo>
                  <a:pt x="890" y="1193"/>
                </a:lnTo>
                <a:lnTo>
                  <a:pt x="882" y="1193"/>
                </a:lnTo>
                <a:lnTo>
                  <a:pt x="888" y="1203"/>
                </a:lnTo>
                <a:lnTo>
                  <a:pt x="893" y="1195"/>
                </a:lnTo>
                <a:lnTo>
                  <a:pt x="893" y="1203"/>
                </a:lnTo>
                <a:lnTo>
                  <a:pt x="899" y="1195"/>
                </a:lnTo>
                <a:lnTo>
                  <a:pt x="901" y="1203"/>
                </a:lnTo>
                <a:lnTo>
                  <a:pt x="897" y="1206"/>
                </a:lnTo>
                <a:lnTo>
                  <a:pt x="880" y="1210"/>
                </a:lnTo>
                <a:lnTo>
                  <a:pt x="880" y="1216"/>
                </a:lnTo>
                <a:lnTo>
                  <a:pt x="873" y="1216"/>
                </a:lnTo>
                <a:lnTo>
                  <a:pt x="865" y="1212"/>
                </a:lnTo>
                <a:lnTo>
                  <a:pt x="863" y="1212"/>
                </a:lnTo>
                <a:lnTo>
                  <a:pt x="850" y="1197"/>
                </a:lnTo>
                <a:lnTo>
                  <a:pt x="844" y="1197"/>
                </a:lnTo>
                <a:lnTo>
                  <a:pt x="835" y="1193"/>
                </a:lnTo>
                <a:lnTo>
                  <a:pt x="820" y="1193"/>
                </a:lnTo>
                <a:lnTo>
                  <a:pt x="790" y="1191"/>
                </a:lnTo>
                <a:lnTo>
                  <a:pt x="784" y="1189"/>
                </a:lnTo>
                <a:lnTo>
                  <a:pt x="771" y="1176"/>
                </a:lnTo>
                <a:lnTo>
                  <a:pt x="763" y="1174"/>
                </a:lnTo>
                <a:lnTo>
                  <a:pt x="756" y="1171"/>
                </a:lnTo>
                <a:lnTo>
                  <a:pt x="748" y="1171"/>
                </a:lnTo>
                <a:lnTo>
                  <a:pt x="743" y="1169"/>
                </a:lnTo>
                <a:lnTo>
                  <a:pt x="739" y="1163"/>
                </a:lnTo>
                <a:lnTo>
                  <a:pt x="733" y="1157"/>
                </a:lnTo>
                <a:lnTo>
                  <a:pt x="729" y="1159"/>
                </a:lnTo>
                <a:lnTo>
                  <a:pt x="720" y="1154"/>
                </a:lnTo>
                <a:lnTo>
                  <a:pt x="707" y="1154"/>
                </a:lnTo>
                <a:lnTo>
                  <a:pt x="703" y="1152"/>
                </a:lnTo>
                <a:lnTo>
                  <a:pt x="703" y="1144"/>
                </a:lnTo>
                <a:lnTo>
                  <a:pt x="697" y="1137"/>
                </a:lnTo>
                <a:lnTo>
                  <a:pt x="695" y="1123"/>
                </a:lnTo>
                <a:lnTo>
                  <a:pt x="688" y="1108"/>
                </a:lnTo>
                <a:lnTo>
                  <a:pt x="684" y="1099"/>
                </a:lnTo>
                <a:lnTo>
                  <a:pt x="675" y="1086"/>
                </a:lnTo>
                <a:lnTo>
                  <a:pt x="669" y="1078"/>
                </a:lnTo>
                <a:lnTo>
                  <a:pt x="669" y="1071"/>
                </a:lnTo>
                <a:lnTo>
                  <a:pt x="671" y="1065"/>
                </a:lnTo>
                <a:lnTo>
                  <a:pt x="671" y="1056"/>
                </a:lnTo>
                <a:lnTo>
                  <a:pt x="663" y="1052"/>
                </a:lnTo>
                <a:lnTo>
                  <a:pt x="667" y="1044"/>
                </a:lnTo>
                <a:lnTo>
                  <a:pt x="667" y="1035"/>
                </a:lnTo>
                <a:lnTo>
                  <a:pt x="665" y="1029"/>
                </a:lnTo>
                <a:lnTo>
                  <a:pt x="665" y="1022"/>
                </a:lnTo>
                <a:lnTo>
                  <a:pt x="663" y="1018"/>
                </a:lnTo>
                <a:lnTo>
                  <a:pt x="656" y="1014"/>
                </a:lnTo>
                <a:lnTo>
                  <a:pt x="643" y="1010"/>
                </a:lnTo>
                <a:lnTo>
                  <a:pt x="631" y="990"/>
                </a:lnTo>
                <a:lnTo>
                  <a:pt x="629" y="984"/>
                </a:lnTo>
                <a:lnTo>
                  <a:pt x="624" y="976"/>
                </a:lnTo>
                <a:lnTo>
                  <a:pt x="618" y="971"/>
                </a:lnTo>
                <a:lnTo>
                  <a:pt x="616" y="965"/>
                </a:lnTo>
                <a:lnTo>
                  <a:pt x="609" y="954"/>
                </a:lnTo>
                <a:lnTo>
                  <a:pt x="601" y="950"/>
                </a:lnTo>
                <a:lnTo>
                  <a:pt x="594" y="946"/>
                </a:lnTo>
                <a:lnTo>
                  <a:pt x="588" y="931"/>
                </a:lnTo>
                <a:lnTo>
                  <a:pt x="584" y="916"/>
                </a:lnTo>
                <a:lnTo>
                  <a:pt x="586" y="914"/>
                </a:lnTo>
                <a:lnTo>
                  <a:pt x="580" y="905"/>
                </a:lnTo>
                <a:lnTo>
                  <a:pt x="575" y="899"/>
                </a:lnTo>
                <a:lnTo>
                  <a:pt x="571" y="892"/>
                </a:lnTo>
                <a:lnTo>
                  <a:pt x="571" y="890"/>
                </a:lnTo>
                <a:lnTo>
                  <a:pt x="569" y="884"/>
                </a:lnTo>
                <a:lnTo>
                  <a:pt x="560" y="867"/>
                </a:lnTo>
                <a:lnTo>
                  <a:pt x="556" y="850"/>
                </a:lnTo>
                <a:lnTo>
                  <a:pt x="550" y="841"/>
                </a:lnTo>
                <a:lnTo>
                  <a:pt x="541" y="826"/>
                </a:lnTo>
                <a:lnTo>
                  <a:pt x="522" y="812"/>
                </a:lnTo>
                <a:lnTo>
                  <a:pt x="520" y="805"/>
                </a:lnTo>
                <a:lnTo>
                  <a:pt x="514" y="801"/>
                </a:lnTo>
                <a:lnTo>
                  <a:pt x="505" y="797"/>
                </a:lnTo>
                <a:lnTo>
                  <a:pt x="503" y="788"/>
                </a:lnTo>
                <a:lnTo>
                  <a:pt x="496" y="790"/>
                </a:lnTo>
                <a:lnTo>
                  <a:pt x="494" y="784"/>
                </a:lnTo>
                <a:lnTo>
                  <a:pt x="490" y="777"/>
                </a:lnTo>
                <a:lnTo>
                  <a:pt x="486" y="771"/>
                </a:lnTo>
                <a:lnTo>
                  <a:pt x="479" y="767"/>
                </a:lnTo>
                <a:lnTo>
                  <a:pt x="473" y="763"/>
                </a:lnTo>
                <a:lnTo>
                  <a:pt x="465" y="767"/>
                </a:lnTo>
                <a:lnTo>
                  <a:pt x="445" y="763"/>
                </a:lnTo>
                <a:lnTo>
                  <a:pt x="439" y="763"/>
                </a:lnTo>
                <a:lnTo>
                  <a:pt x="430" y="760"/>
                </a:lnTo>
                <a:lnTo>
                  <a:pt x="424" y="763"/>
                </a:lnTo>
                <a:lnTo>
                  <a:pt x="416" y="760"/>
                </a:lnTo>
                <a:lnTo>
                  <a:pt x="405" y="754"/>
                </a:lnTo>
                <a:lnTo>
                  <a:pt x="396" y="754"/>
                </a:lnTo>
                <a:lnTo>
                  <a:pt x="392" y="760"/>
                </a:lnTo>
                <a:lnTo>
                  <a:pt x="386" y="763"/>
                </a:lnTo>
                <a:lnTo>
                  <a:pt x="379" y="763"/>
                </a:lnTo>
                <a:lnTo>
                  <a:pt x="371" y="765"/>
                </a:lnTo>
                <a:lnTo>
                  <a:pt x="364" y="767"/>
                </a:lnTo>
                <a:lnTo>
                  <a:pt x="360" y="769"/>
                </a:lnTo>
                <a:lnTo>
                  <a:pt x="356" y="777"/>
                </a:lnTo>
                <a:lnTo>
                  <a:pt x="343" y="807"/>
                </a:lnTo>
                <a:lnTo>
                  <a:pt x="339" y="809"/>
                </a:lnTo>
                <a:lnTo>
                  <a:pt x="337" y="818"/>
                </a:lnTo>
                <a:lnTo>
                  <a:pt x="335" y="824"/>
                </a:lnTo>
                <a:lnTo>
                  <a:pt x="328" y="826"/>
                </a:lnTo>
                <a:lnTo>
                  <a:pt x="324" y="835"/>
                </a:lnTo>
                <a:lnTo>
                  <a:pt x="315" y="839"/>
                </a:lnTo>
                <a:lnTo>
                  <a:pt x="313" y="846"/>
                </a:lnTo>
                <a:lnTo>
                  <a:pt x="303" y="846"/>
                </a:lnTo>
                <a:lnTo>
                  <a:pt x="296" y="843"/>
                </a:lnTo>
                <a:lnTo>
                  <a:pt x="294" y="841"/>
                </a:lnTo>
                <a:lnTo>
                  <a:pt x="288" y="841"/>
                </a:lnTo>
                <a:lnTo>
                  <a:pt x="281" y="835"/>
                </a:lnTo>
                <a:lnTo>
                  <a:pt x="273" y="826"/>
                </a:lnTo>
                <a:lnTo>
                  <a:pt x="254" y="818"/>
                </a:lnTo>
                <a:lnTo>
                  <a:pt x="252" y="812"/>
                </a:lnTo>
                <a:lnTo>
                  <a:pt x="237" y="807"/>
                </a:lnTo>
                <a:lnTo>
                  <a:pt x="230" y="805"/>
                </a:lnTo>
                <a:lnTo>
                  <a:pt x="213" y="790"/>
                </a:lnTo>
                <a:lnTo>
                  <a:pt x="207" y="782"/>
                </a:lnTo>
                <a:lnTo>
                  <a:pt x="201" y="777"/>
                </a:lnTo>
                <a:lnTo>
                  <a:pt x="194" y="775"/>
                </a:lnTo>
                <a:lnTo>
                  <a:pt x="183" y="765"/>
                </a:lnTo>
                <a:lnTo>
                  <a:pt x="169" y="728"/>
                </a:lnTo>
                <a:lnTo>
                  <a:pt x="169" y="716"/>
                </a:lnTo>
                <a:lnTo>
                  <a:pt x="171" y="707"/>
                </a:lnTo>
                <a:lnTo>
                  <a:pt x="171" y="701"/>
                </a:lnTo>
                <a:lnTo>
                  <a:pt x="166" y="694"/>
                </a:lnTo>
                <a:lnTo>
                  <a:pt x="160" y="679"/>
                </a:lnTo>
                <a:lnTo>
                  <a:pt x="156" y="677"/>
                </a:lnTo>
                <a:lnTo>
                  <a:pt x="154" y="662"/>
                </a:lnTo>
                <a:lnTo>
                  <a:pt x="152" y="654"/>
                </a:lnTo>
                <a:lnTo>
                  <a:pt x="147" y="652"/>
                </a:lnTo>
                <a:lnTo>
                  <a:pt x="145" y="645"/>
                </a:lnTo>
                <a:lnTo>
                  <a:pt x="139" y="641"/>
                </a:lnTo>
                <a:lnTo>
                  <a:pt x="124" y="628"/>
                </a:lnTo>
                <a:lnTo>
                  <a:pt x="117" y="624"/>
                </a:lnTo>
                <a:lnTo>
                  <a:pt x="109" y="620"/>
                </a:lnTo>
                <a:lnTo>
                  <a:pt x="96" y="605"/>
                </a:lnTo>
                <a:lnTo>
                  <a:pt x="92" y="596"/>
                </a:lnTo>
                <a:lnTo>
                  <a:pt x="79" y="584"/>
                </a:lnTo>
                <a:lnTo>
                  <a:pt x="64" y="564"/>
                </a:lnTo>
                <a:lnTo>
                  <a:pt x="58" y="558"/>
                </a:lnTo>
                <a:lnTo>
                  <a:pt x="45" y="550"/>
                </a:lnTo>
                <a:lnTo>
                  <a:pt x="37" y="545"/>
                </a:lnTo>
                <a:lnTo>
                  <a:pt x="30" y="530"/>
                </a:lnTo>
                <a:lnTo>
                  <a:pt x="30" y="524"/>
                </a:lnTo>
                <a:lnTo>
                  <a:pt x="26" y="518"/>
                </a:lnTo>
                <a:lnTo>
                  <a:pt x="20" y="511"/>
                </a:lnTo>
                <a:lnTo>
                  <a:pt x="15" y="511"/>
                </a:lnTo>
                <a:lnTo>
                  <a:pt x="15" y="509"/>
                </a:lnTo>
                <a:lnTo>
                  <a:pt x="9" y="507"/>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rgbClr val="5A5A5A"/>
              </a:solidFill>
            </a:endParaRPr>
          </a:p>
        </p:txBody>
      </p:sp>
      <p:sp>
        <p:nvSpPr>
          <p:cNvPr id="8" name="Freeform 910"/>
          <p:cNvSpPr>
            <a:spLocks noChangeAspect="1"/>
          </p:cNvSpPr>
          <p:nvPr/>
        </p:nvSpPr>
        <p:spPr bwMode="auto">
          <a:xfrm rot="625645">
            <a:off x="399390" y="3728025"/>
            <a:ext cx="1323184" cy="600334"/>
          </a:xfrm>
          <a:custGeom>
            <a:avLst/>
            <a:gdLst>
              <a:gd name="T0" fmla="*/ 21 w 756"/>
              <a:gd name="T1" fmla="*/ 264 h 343"/>
              <a:gd name="T2" fmla="*/ 47 w 756"/>
              <a:gd name="T3" fmla="*/ 233 h 343"/>
              <a:gd name="T4" fmla="*/ 100 w 756"/>
              <a:gd name="T5" fmla="*/ 198 h 343"/>
              <a:gd name="T6" fmla="*/ 121 w 756"/>
              <a:gd name="T7" fmla="*/ 179 h 343"/>
              <a:gd name="T8" fmla="*/ 141 w 756"/>
              <a:gd name="T9" fmla="*/ 173 h 343"/>
              <a:gd name="T10" fmla="*/ 162 w 756"/>
              <a:gd name="T11" fmla="*/ 152 h 343"/>
              <a:gd name="T12" fmla="*/ 194 w 756"/>
              <a:gd name="T13" fmla="*/ 128 h 343"/>
              <a:gd name="T14" fmla="*/ 209 w 756"/>
              <a:gd name="T15" fmla="*/ 98 h 343"/>
              <a:gd name="T16" fmla="*/ 326 w 756"/>
              <a:gd name="T17" fmla="*/ 75 h 343"/>
              <a:gd name="T18" fmla="*/ 709 w 756"/>
              <a:gd name="T19" fmla="*/ 7 h 343"/>
              <a:gd name="T20" fmla="*/ 737 w 756"/>
              <a:gd name="T21" fmla="*/ 39 h 343"/>
              <a:gd name="T22" fmla="*/ 722 w 756"/>
              <a:gd name="T23" fmla="*/ 34 h 343"/>
              <a:gd name="T24" fmla="*/ 698 w 756"/>
              <a:gd name="T25" fmla="*/ 32 h 343"/>
              <a:gd name="T26" fmla="*/ 705 w 756"/>
              <a:gd name="T27" fmla="*/ 49 h 343"/>
              <a:gd name="T28" fmla="*/ 686 w 756"/>
              <a:gd name="T29" fmla="*/ 51 h 343"/>
              <a:gd name="T30" fmla="*/ 662 w 756"/>
              <a:gd name="T31" fmla="*/ 69 h 343"/>
              <a:gd name="T32" fmla="*/ 656 w 756"/>
              <a:gd name="T33" fmla="*/ 43 h 343"/>
              <a:gd name="T34" fmla="*/ 654 w 756"/>
              <a:gd name="T35" fmla="*/ 58 h 343"/>
              <a:gd name="T36" fmla="*/ 673 w 756"/>
              <a:gd name="T37" fmla="*/ 79 h 343"/>
              <a:gd name="T38" fmla="*/ 703 w 756"/>
              <a:gd name="T39" fmla="*/ 69 h 343"/>
              <a:gd name="T40" fmla="*/ 724 w 756"/>
              <a:gd name="T41" fmla="*/ 79 h 343"/>
              <a:gd name="T42" fmla="*/ 724 w 756"/>
              <a:gd name="T43" fmla="*/ 100 h 343"/>
              <a:gd name="T44" fmla="*/ 739 w 756"/>
              <a:gd name="T45" fmla="*/ 71 h 343"/>
              <a:gd name="T46" fmla="*/ 754 w 756"/>
              <a:gd name="T47" fmla="*/ 75 h 343"/>
              <a:gd name="T48" fmla="*/ 743 w 756"/>
              <a:gd name="T49" fmla="*/ 100 h 343"/>
              <a:gd name="T50" fmla="*/ 711 w 756"/>
              <a:gd name="T51" fmla="*/ 137 h 343"/>
              <a:gd name="T52" fmla="*/ 692 w 756"/>
              <a:gd name="T53" fmla="*/ 132 h 343"/>
              <a:gd name="T54" fmla="*/ 684 w 756"/>
              <a:gd name="T55" fmla="*/ 130 h 343"/>
              <a:gd name="T56" fmla="*/ 660 w 756"/>
              <a:gd name="T57" fmla="*/ 137 h 343"/>
              <a:gd name="T58" fmla="*/ 677 w 756"/>
              <a:gd name="T59" fmla="*/ 145 h 343"/>
              <a:gd name="T60" fmla="*/ 690 w 756"/>
              <a:gd name="T61" fmla="*/ 160 h 343"/>
              <a:gd name="T62" fmla="*/ 684 w 756"/>
              <a:gd name="T63" fmla="*/ 186 h 343"/>
              <a:gd name="T64" fmla="*/ 656 w 756"/>
              <a:gd name="T65" fmla="*/ 179 h 343"/>
              <a:gd name="T66" fmla="*/ 681 w 756"/>
              <a:gd name="T67" fmla="*/ 194 h 343"/>
              <a:gd name="T68" fmla="*/ 705 w 756"/>
              <a:gd name="T69" fmla="*/ 181 h 343"/>
              <a:gd name="T70" fmla="*/ 709 w 756"/>
              <a:gd name="T71" fmla="*/ 186 h 343"/>
              <a:gd name="T72" fmla="*/ 724 w 756"/>
              <a:gd name="T73" fmla="*/ 184 h 343"/>
              <a:gd name="T74" fmla="*/ 707 w 756"/>
              <a:gd name="T75" fmla="*/ 211 h 343"/>
              <a:gd name="T76" fmla="*/ 688 w 756"/>
              <a:gd name="T77" fmla="*/ 213 h 343"/>
              <a:gd name="T78" fmla="*/ 654 w 756"/>
              <a:gd name="T79" fmla="*/ 224 h 343"/>
              <a:gd name="T80" fmla="*/ 632 w 756"/>
              <a:gd name="T81" fmla="*/ 243 h 343"/>
              <a:gd name="T82" fmla="*/ 630 w 756"/>
              <a:gd name="T83" fmla="*/ 245 h 343"/>
              <a:gd name="T84" fmla="*/ 603 w 756"/>
              <a:gd name="T85" fmla="*/ 294 h 343"/>
              <a:gd name="T86" fmla="*/ 592 w 756"/>
              <a:gd name="T87" fmla="*/ 299 h 343"/>
              <a:gd name="T88" fmla="*/ 588 w 756"/>
              <a:gd name="T89" fmla="*/ 333 h 343"/>
              <a:gd name="T90" fmla="*/ 543 w 756"/>
              <a:gd name="T91" fmla="*/ 343 h 343"/>
              <a:gd name="T92" fmla="*/ 322 w 756"/>
              <a:gd name="T93" fmla="*/ 273 h 343"/>
              <a:gd name="T94" fmla="*/ 300 w 756"/>
              <a:gd name="T95" fmla="*/ 250 h 343"/>
              <a:gd name="T96" fmla="*/ 175 w 756"/>
              <a:gd name="T97" fmla="*/ 256 h 343"/>
              <a:gd name="T98" fmla="*/ 134 w 756"/>
              <a:gd name="T99" fmla="*/ 27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343">
                <a:moveTo>
                  <a:pt x="0" y="305"/>
                </a:moveTo>
                <a:lnTo>
                  <a:pt x="0" y="275"/>
                </a:lnTo>
                <a:lnTo>
                  <a:pt x="15" y="273"/>
                </a:lnTo>
                <a:lnTo>
                  <a:pt x="21" y="264"/>
                </a:lnTo>
                <a:lnTo>
                  <a:pt x="21" y="256"/>
                </a:lnTo>
                <a:lnTo>
                  <a:pt x="26" y="247"/>
                </a:lnTo>
                <a:lnTo>
                  <a:pt x="32" y="241"/>
                </a:lnTo>
                <a:lnTo>
                  <a:pt x="47" y="233"/>
                </a:lnTo>
                <a:lnTo>
                  <a:pt x="60" y="233"/>
                </a:lnTo>
                <a:lnTo>
                  <a:pt x="66" y="228"/>
                </a:lnTo>
                <a:lnTo>
                  <a:pt x="87" y="209"/>
                </a:lnTo>
                <a:lnTo>
                  <a:pt x="100" y="198"/>
                </a:lnTo>
                <a:lnTo>
                  <a:pt x="107" y="198"/>
                </a:lnTo>
                <a:lnTo>
                  <a:pt x="111" y="192"/>
                </a:lnTo>
                <a:lnTo>
                  <a:pt x="115" y="177"/>
                </a:lnTo>
                <a:lnTo>
                  <a:pt x="121" y="179"/>
                </a:lnTo>
                <a:lnTo>
                  <a:pt x="124" y="173"/>
                </a:lnTo>
                <a:lnTo>
                  <a:pt x="126" y="169"/>
                </a:lnTo>
                <a:lnTo>
                  <a:pt x="134" y="164"/>
                </a:lnTo>
                <a:lnTo>
                  <a:pt x="141" y="173"/>
                </a:lnTo>
                <a:lnTo>
                  <a:pt x="145" y="173"/>
                </a:lnTo>
                <a:lnTo>
                  <a:pt x="151" y="164"/>
                </a:lnTo>
                <a:lnTo>
                  <a:pt x="156" y="158"/>
                </a:lnTo>
                <a:lnTo>
                  <a:pt x="162" y="152"/>
                </a:lnTo>
                <a:lnTo>
                  <a:pt x="175" y="147"/>
                </a:lnTo>
                <a:lnTo>
                  <a:pt x="181" y="152"/>
                </a:lnTo>
                <a:lnTo>
                  <a:pt x="190" y="143"/>
                </a:lnTo>
                <a:lnTo>
                  <a:pt x="194" y="128"/>
                </a:lnTo>
                <a:lnTo>
                  <a:pt x="200" y="122"/>
                </a:lnTo>
                <a:lnTo>
                  <a:pt x="207" y="120"/>
                </a:lnTo>
                <a:lnTo>
                  <a:pt x="209" y="105"/>
                </a:lnTo>
                <a:lnTo>
                  <a:pt x="209" y="98"/>
                </a:lnTo>
                <a:lnTo>
                  <a:pt x="213" y="88"/>
                </a:lnTo>
                <a:lnTo>
                  <a:pt x="226" y="90"/>
                </a:lnTo>
                <a:lnTo>
                  <a:pt x="256" y="86"/>
                </a:lnTo>
                <a:lnTo>
                  <a:pt x="326" y="75"/>
                </a:lnTo>
                <a:lnTo>
                  <a:pt x="522" y="39"/>
                </a:lnTo>
                <a:lnTo>
                  <a:pt x="620" y="20"/>
                </a:lnTo>
                <a:lnTo>
                  <a:pt x="707" y="0"/>
                </a:lnTo>
                <a:lnTo>
                  <a:pt x="709" y="7"/>
                </a:lnTo>
                <a:lnTo>
                  <a:pt x="716" y="13"/>
                </a:lnTo>
                <a:lnTo>
                  <a:pt x="722" y="15"/>
                </a:lnTo>
                <a:lnTo>
                  <a:pt x="722" y="20"/>
                </a:lnTo>
                <a:lnTo>
                  <a:pt x="737" y="39"/>
                </a:lnTo>
                <a:lnTo>
                  <a:pt x="737" y="47"/>
                </a:lnTo>
                <a:lnTo>
                  <a:pt x="733" y="37"/>
                </a:lnTo>
                <a:lnTo>
                  <a:pt x="718" y="26"/>
                </a:lnTo>
                <a:lnTo>
                  <a:pt x="722" y="34"/>
                </a:lnTo>
                <a:lnTo>
                  <a:pt x="728" y="41"/>
                </a:lnTo>
                <a:lnTo>
                  <a:pt x="720" y="41"/>
                </a:lnTo>
                <a:lnTo>
                  <a:pt x="705" y="32"/>
                </a:lnTo>
                <a:lnTo>
                  <a:pt x="698" y="32"/>
                </a:lnTo>
                <a:lnTo>
                  <a:pt x="705" y="34"/>
                </a:lnTo>
                <a:lnTo>
                  <a:pt x="711" y="41"/>
                </a:lnTo>
                <a:lnTo>
                  <a:pt x="711" y="47"/>
                </a:lnTo>
                <a:lnTo>
                  <a:pt x="705" y="49"/>
                </a:lnTo>
                <a:lnTo>
                  <a:pt x="698" y="47"/>
                </a:lnTo>
                <a:lnTo>
                  <a:pt x="703" y="54"/>
                </a:lnTo>
                <a:lnTo>
                  <a:pt x="692" y="51"/>
                </a:lnTo>
                <a:lnTo>
                  <a:pt x="686" y="51"/>
                </a:lnTo>
                <a:lnTo>
                  <a:pt x="694" y="58"/>
                </a:lnTo>
                <a:lnTo>
                  <a:pt x="677" y="71"/>
                </a:lnTo>
                <a:lnTo>
                  <a:pt x="671" y="66"/>
                </a:lnTo>
                <a:lnTo>
                  <a:pt x="662" y="69"/>
                </a:lnTo>
                <a:lnTo>
                  <a:pt x="656" y="54"/>
                </a:lnTo>
                <a:lnTo>
                  <a:pt x="656" y="47"/>
                </a:lnTo>
                <a:lnTo>
                  <a:pt x="656" y="45"/>
                </a:lnTo>
                <a:lnTo>
                  <a:pt x="656" y="43"/>
                </a:lnTo>
                <a:lnTo>
                  <a:pt x="652" y="39"/>
                </a:lnTo>
                <a:lnTo>
                  <a:pt x="656" y="45"/>
                </a:lnTo>
                <a:lnTo>
                  <a:pt x="652" y="51"/>
                </a:lnTo>
                <a:lnTo>
                  <a:pt x="654" y="58"/>
                </a:lnTo>
                <a:lnTo>
                  <a:pt x="658" y="66"/>
                </a:lnTo>
                <a:lnTo>
                  <a:pt x="664" y="73"/>
                </a:lnTo>
                <a:lnTo>
                  <a:pt x="664" y="81"/>
                </a:lnTo>
                <a:lnTo>
                  <a:pt x="673" y="79"/>
                </a:lnTo>
                <a:lnTo>
                  <a:pt x="679" y="77"/>
                </a:lnTo>
                <a:lnTo>
                  <a:pt x="688" y="71"/>
                </a:lnTo>
                <a:lnTo>
                  <a:pt x="703" y="75"/>
                </a:lnTo>
                <a:lnTo>
                  <a:pt x="703" y="69"/>
                </a:lnTo>
                <a:lnTo>
                  <a:pt x="713" y="64"/>
                </a:lnTo>
                <a:lnTo>
                  <a:pt x="722" y="64"/>
                </a:lnTo>
                <a:lnTo>
                  <a:pt x="724" y="71"/>
                </a:lnTo>
                <a:lnTo>
                  <a:pt x="724" y="79"/>
                </a:lnTo>
                <a:lnTo>
                  <a:pt x="720" y="88"/>
                </a:lnTo>
                <a:lnTo>
                  <a:pt x="726" y="90"/>
                </a:lnTo>
                <a:lnTo>
                  <a:pt x="722" y="96"/>
                </a:lnTo>
                <a:lnTo>
                  <a:pt x="724" y="100"/>
                </a:lnTo>
                <a:lnTo>
                  <a:pt x="733" y="94"/>
                </a:lnTo>
                <a:lnTo>
                  <a:pt x="730" y="79"/>
                </a:lnTo>
                <a:lnTo>
                  <a:pt x="730" y="71"/>
                </a:lnTo>
                <a:lnTo>
                  <a:pt x="739" y="71"/>
                </a:lnTo>
                <a:lnTo>
                  <a:pt x="741" y="64"/>
                </a:lnTo>
                <a:lnTo>
                  <a:pt x="741" y="62"/>
                </a:lnTo>
                <a:lnTo>
                  <a:pt x="747" y="69"/>
                </a:lnTo>
                <a:lnTo>
                  <a:pt x="754" y="75"/>
                </a:lnTo>
                <a:lnTo>
                  <a:pt x="754" y="90"/>
                </a:lnTo>
                <a:lnTo>
                  <a:pt x="756" y="96"/>
                </a:lnTo>
                <a:lnTo>
                  <a:pt x="750" y="103"/>
                </a:lnTo>
                <a:lnTo>
                  <a:pt x="743" y="100"/>
                </a:lnTo>
                <a:lnTo>
                  <a:pt x="743" y="107"/>
                </a:lnTo>
                <a:lnTo>
                  <a:pt x="733" y="130"/>
                </a:lnTo>
                <a:lnTo>
                  <a:pt x="728" y="137"/>
                </a:lnTo>
                <a:lnTo>
                  <a:pt x="711" y="137"/>
                </a:lnTo>
                <a:lnTo>
                  <a:pt x="705" y="135"/>
                </a:lnTo>
                <a:lnTo>
                  <a:pt x="701" y="128"/>
                </a:lnTo>
                <a:lnTo>
                  <a:pt x="701" y="135"/>
                </a:lnTo>
                <a:lnTo>
                  <a:pt x="692" y="132"/>
                </a:lnTo>
                <a:lnTo>
                  <a:pt x="686" y="126"/>
                </a:lnTo>
                <a:lnTo>
                  <a:pt x="690" y="122"/>
                </a:lnTo>
                <a:lnTo>
                  <a:pt x="681" y="124"/>
                </a:lnTo>
                <a:lnTo>
                  <a:pt x="684" y="130"/>
                </a:lnTo>
                <a:lnTo>
                  <a:pt x="686" y="137"/>
                </a:lnTo>
                <a:lnTo>
                  <a:pt x="681" y="135"/>
                </a:lnTo>
                <a:lnTo>
                  <a:pt x="673" y="139"/>
                </a:lnTo>
                <a:lnTo>
                  <a:pt x="660" y="137"/>
                </a:lnTo>
                <a:lnTo>
                  <a:pt x="645" y="132"/>
                </a:lnTo>
                <a:lnTo>
                  <a:pt x="643" y="135"/>
                </a:lnTo>
                <a:lnTo>
                  <a:pt x="645" y="137"/>
                </a:lnTo>
                <a:lnTo>
                  <a:pt x="677" y="145"/>
                </a:lnTo>
                <a:lnTo>
                  <a:pt x="686" y="145"/>
                </a:lnTo>
                <a:lnTo>
                  <a:pt x="701" y="152"/>
                </a:lnTo>
                <a:lnTo>
                  <a:pt x="698" y="158"/>
                </a:lnTo>
                <a:lnTo>
                  <a:pt x="690" y="160"/>
                </a:lnTo>
                <a:lnTo>
                  <a:pt x="688" y="167"/>
                </a:lnTo>
                <a:lnTo>
                  <a:pt x="694" y="164"/>
                </a:lnTo>
                <a:lnTo>
                  <a:pt x="694" y="171"/>
                </a:lnTo>
                <a:lnTo>
                  <a:pt x="684" y="186"/>
                </a:lnTo>
                <a:lnTo>
                  <a:pt x="679" y="188"/>
                </a:lnTo>
                <a:lnTo>
                  <a:pt x="671" y="188"/>
                </a:lnTo>
                <a:lnTo>
                  <a:pt x="662" y="181"/>
                </a:lnTo>
                <a:lnTo>
                  <a:pt x="656" y="179"/>
                </a:lnTo>
                <a:lnTo>
                  <a:pt x="650" y="175"/>
                </a:lnTo>
                <a:lnTo>
                  <a:pt x="654" y="181"/>
                </a:lnTo>
                <a:lnTo>
                  <a:pt x="667" y="192"/>
                </a:lnTo>
                <a:lnTo>
                  <a:pt x="681" y="194"/>
                </a:lnTo>
                <a:lnTo>
                  <a:pt x="696" y="186"/>
                </a:lnTo>
                <a:lnTo>
                  <a:pt x="703" y="188"/>
                </a:lnTo>
                <a:lnTo>
                  <a:pt x="701" y="181"/>
                </a:lnTo>
                <a:lnTo>
                  <a:pt x="705" y="181"/>
                </a:lnTo>
                <a:lnTo>
                  <a:pt x="705" y="179"/>
                </a:lnTo>
                <a:lnTo>
                  <a:pt x="707" y="173"/>
                </a:lnTo>
                <a:lnTo>
                  <a:pt x="711" y="179"/>
                </a:lnTo>
                <a:lnTo>
                  <a:pt x="709" y="186"/>
                </a:lnTo>
                <a:lnTo>
                  <a:pt x="716" y="186"/>
                </a:lnTo>
                <a:lnTo>
                  <a:pt x="720" y="177"/>
                </a:lnTo>
                <a:lnTo>
                  <a:pt x="722" y="177"/>
                </a:lnTo>
                <a:lnTo>
                  <a:pt x="724" y="184"/>
                </a:lnTo>
                <a:lnTo>
                  <a:pt x="722" y="190"/>
                </a:lnTo>
                <a:lnTo>
                  <a:pt x="716" y="196"/>
                </a:lnTo>
                <a:lnTo>
                  <a:pt x="709" y="211"/>
                </a:lnTo>
                <a:lnTo>
                  <a:pt x="707" y="211"/>
                </a:lnTo>
                <a:lnTo>
                  <a:pt x="698" y="207"/>
                </a:lnTo>
                <a:lnTo>
                  <a:pt x="696" y="213"/>
                </a:lnTo>
                <a:lnTo>
                  <a:pt x="692" y="207"/>
                </a:lnTo>
                <a:lnTo>
                  <a:pt x="688" y="213"/>
                </a:lnTo>
                <a:lnTo>
                  <a:pt x="686" y="218"/>
                </a:lnTo>
                <a:lnTo>
                  <a:pt x="679" y="218"/>
                </a:lnTo>
                <a:lnTo>
                  <a:pt x="662" y="226"/>
                </a:lnTo>
                <a:lnTo>
                  <a:pt x="654" y="224"/>
                </a:lnTo>
                <a:lnTo>
                  <a:pt x="647" y="237"/>
                </a:lnTo>
                <a:lnTo>
                  <a:pt x="643" y="243"/>
                </a:lnTo>
                <a:lnTo>
                  <a:pt x="641" y="245"/>
                </a:lnTo>
                <a:lnTo>
                  <a:pt x="632" y="243"/>
                </a:lnTo>
                <a:lnTo>
                  <a:pt x="639" y="237"/>
                </a:lnTo>
                <a:lnTo>
                  <a:pt x="630" y="233"/>
                </a:lnTo>
                <a:lnTo>
                  <a:pt x="635" y="239"/>
                </a:lnTo>
                <a:lnTo>
                  <a:pt x="630" y="245"/>
                </a:lnTo>
                <a:lnTo>
                  <a:pt x="635" y="252"/>
                </a:lnTo>
                <a:lnTo>
                  <a:pt x="620" y="264"/>
                </a:lnTo>
                <a:lnTo>
                  <a:pt x="609" y="279"/>
                </a:lnTo>
                <a:lnTo>
                  <a:pt x="603" y="294"/>
                </a:lnTo>
                <a:lnTo>
                  <a:pt x="601" y="303"/>
                </a:lnTo>
                <a:lnTo>
                  <a:pt x="601" y="324"/>
                </a:lnTo>
                <a:lnTo>
                  <a:pt x="596" y="305"/>
                </a:lnTo>
                <a:lnTo>
                  <a:pt x="592" y="299"/>
                </a:lnTo>
                <a:lnTo>
                  <a:pt x="592" y="299"/>
                </a:lnTo>
                <a:lnTo>
                  <a:pt x="596" y="313"/>
                </a:lnTo>
                <a:lnTo>
                  <a:pt x="594" y="328"/>
                </a:lnTo>
                <a:lnTo>
                  <a:pt x="588" y="333"/>
                </a:lnTo>
                <a:lnTo>
                  <a:pt x="575" y="333"/>
                </a:lnTo>
                <a:lnTo>
                  <a:pt x="562" y="337"/>
                </a:lnTo>
                <a:lnTo>
                  <a:pt x="547" y="343"/>
                </a:lnTo>
                <a:lnTo>
                  <a:pt x="543" y="343"/>
                </a:lnTo>
                <a:lnTo>
                  <a:pt x="539" y="341"/>
                </a:lnTo>
                <a:lnTo>
                  <a:pt x="424" y="258"/>
                </a:lnTo>
                <a:lnTo>
                  <a:pt x="324" y="275"/>
                </a:lnTo>
                <a:lnTo>
                  <a:pt x="322" y="273"/>
                </a:lnTo>
                <a:lnTo>
                  <a:pt x="322" y="267"/>
                </a:lnTo>
                <a:lnTo>
                  <a:pt x="317" y="258"/>
                </a:lnTo>
                <a:lnTo>
                  <a:pt x="307" y="247"/>
                </a:lnTo>
                <a:lnTo>
                  <a:pt x="300" y="250"/>
                </a:lnTo>
                <a:lnTo>
                  <a:pt x="292" y="243"/>
                </a:lnTo>
                <a:lnTo>
                  <a:pt x="262" y="245"/>
                </a:lnTo>
                <a:lnTo>
                  <a:pt x="181" y="254"/>
                </a:lnTo>
                <a:lnTo>
                  <a:pt x="175" y="256"/>
                </a:lnTo>
                <a:lnTo>
                  <a:pt x="166" y="260"/>
                </a:lnTo>
                <a:lnTo>
                  <a:pt x="153" y="264"/>
                </a:lnTo>
                <a:lnTo>
                  <a:pt x="141" y="275"/>
                </a:lnTo>
                <a:lnTo>
                  <a:pt x="134" y="275"/>
                </a:lnTo>
                <a:lnTo>
                  <a:pt x="111" y="288"/>
                </a:lnTo>
                <a:lnTo>
                  <a:pt x="0" y="305"/>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rgbClr val="5A5A5A"/>
              </a:solidFill>
            </a:endParaRPr>
          </a:p>
        </p:txBody>
      </p:sp>
      <p:sp>
        <p:nvSpPr>
          <p:cNvPr id="9" name="Freeform 715"/>
          <p:cNvSpPr>
            <a:spLocks noChangeAspect="1"/>
          </p:cNvSpPr>
          <p:nvPr/>
        </p:nvSpPr>
        <p:spPr bwMode="auto">
          <a:xfrm>
            <a:off x="743084" y="5472199"/>
            <a:ext cx="730030" cy="677534"/>
          </a:xfrm>
          <a:custGeom>
            <a:avLst/>
            <a:gdLst>
              <a:gd name="T0" fmla="*/ 89 w 445"/>
              <a:gd name="T1" fmla="*/ 17 h 413"/>
              <a:gd name="T2" fmla="*/ 394 w 445"/>
              <a:gd name="T3" fmla="*/ 0 h 413"/>
              <a:gd name="T4" fmla="*/ 407 w 445"/>
              <a:gd name="T5" fmla="*/ 10 h 413"/>
              <a:gd name="T6" fmla="*/ 409 w 445"/>
              <a:gd name="T7" fmla="*/ 25 h 413"/>
              <a:gd name="T8" fmla="*/ 394 w 445"/>
              <a:gd name="T9" fmla="*/ 36 h 413"/>
              <a:gd name="T10" fmla="*/ 385 w 445"/>
              <a:gd name="T11" fmla="*/ 51 h 413"/>
              <a:gd name="T12" fmla="*/ 441 w 445"/>
              <a:gd name="T13" fmla="*/ 53 h 413"/>
              <a:gd name="T14" fmla="*/ 445 w 445"/>
              <a:gd name="T15" fmla="*/ 64 h 413"/>
              <a:gd name="T16" fmla="*/ 443 w 445"/>
              <a:gd name="T17" fmla="*/ 74 h 413"/>
              <a:gd name="T18" fmla="*/ 428 w 445"/>
              <a:gd name="T19" fmla="*/ 85 h 413"/>
              <a:gd name="T20" fmla="*/ 424 w 445"/>
              <a:gd name="T21" fmla="*/ 89 h 413"/>
              <a:gd name="T22" fmla="*/ 424 w 445"/>
              <a:gd name="T23" fmla="*/ 100 h 413"/>
              <a:gd name="T24" fmla="*/ 417 w 445"/>
              <a:gd name="T25" fmla="*/ 108 h 413"/>
              <a:gd name="T26" fmla="*/ 417 w 445"/>
              <a:gd name="T27" fmla="*/ 121 h 413"/>
              <a:gd name="T28" fmla="*/ 409 w 445"/>
              <a:gd name="T29" fmla="*/ 119 h 413"/>
              <a:gd name="T30" fmla="*/ 413 w 445"/>
              <a:gd name="T31" fmla="*/ 125 h 413"/>
              <a:gd name="T32" fmla="*/ 417 w 445"/>
              <a:gd name="T33" fmla="*/ 153 h 413"/>
              <a:gd name="T34" fmla="*/ 409 w 445"/>
              <a:gd name="T35" fmla="*/ 157 h 413"/>
              <a:gd name="T36" fmla="*/ 398 w 445"/>
              <a:gd name="T37" fmla="*/ 168 h 413"/>
              <a:gd name="T38" fmla="*/ 400 w 445"/>
              <a:gd name="T39" fmla="*/ 172 h 413"/>
              <a:gd name="T40" fmla="*/ 394 w 445"/>
              <a:gd name="T41" fmla="*/ 187 h 413"/>
              <a:gd name="T42" fmla="*/ 383 w 445"/>
              <a:gd name="T43" fmla="*/ 185 h 413"/>
              <a:gd name="T44" fmla="*/ 379 w 445"/>
              <a:gd name="T45" fmla="*/ 202 h 413"/>
              <a:gd name="T46" fmla="*/ 377 w 445"/>
              <a:gd name="T47" fmla="*/ 204 h 413"/>
              <a:gd name="T48" fmla="*/ 377 w 445"/>
              <a:gd name="T49" fmla="*/ 213 h 413"/>
              <a:gd name="T50" fmla="*/ 375 w 445"/>
              <a:gd name="T51" fmla="*/ 217 h 413"/>
              <a:gd name="T52" fmla="*/ 375 w 445"/>
              <a:gd name="T53" fmla="*/ 230 h 413"/>
              <a:gd name="T54" fmla="*/ 370 w 445"/>
              <a:gd name="T55" fmla="*/ 243 h 413"/>
              <a:gd name="T56" fmla="*/ 360 w 445"/>
              <a:gd name="T57" fmla="*/ 245 h 413"/>
              <a:gd name="T58" fmla="*/ 355 w 445"/>
              <a:gd name="T59" fmla="*/ 258 h 413"/>
              <a:gd name="T60" fmla="*/ 345 w 445"/>
              <a:gd name="T61" fmla="*/ 260 h 413"/>
              <a:gd name="T62" fmla="*/ 347 w 445"/>
              <a:gd name="T63" fmla="*/ 268 h 413"/>
              <a:gd name="T64" fmla="*/ 351 w 445"/>
              <a:gd name="T65" fmla="*/ 281 h 413"/>
              <a:gd name="T66" fmla="*/ 338 w 445"/>
              <a:gd name="T67" fmla="*/ 294 h 413"/>
              <a:gd name="T68" fmla="*/ 338 w 445"/>
              <a:gd name="T69" fmla="*/ 307 h 413"/>
              <a:gd name="T70" fmla="*/ 330 w 445"/>
              <a:gd name="T71" fmla="*/ 311 h 413"/>
              <a:gd name="T72" fmla="*/ 336 w 445"/>
              <a:gd name="T73" fmla="*/ 319 h 413"/>
              <a:gd name="T74" fmla="*/ 328 w 445"/>
              <a:gd name="T75" fmla="*/ 321 h 413"/>
              <a:gd name="T76" fmla="*/ 328 w 445"/>
              <a:gd name="T77" fmla="*/ 330 h 413"/>
              <a:gd name="T78" fmla="*/ 326 w 445"/>
              <a:gd name="T79" fmla="*/ 343 h 413"/>
              <a:gd name="T80" fmla="*/ 330 w 445"/>
              <a:gd name="T81" fmla="*/ 345 h 413"/>
              <a:gd name="T82" fmla="*/ 326 w 445"/>
              <a:gd name="T83" fmla="*/ 353 h 413"/>
              <a:gd name="T84" fmla="*/ 334 w 445"/>
              <a:gd name="T85" fmla="*/ 355 h 413"/>
              <a:gd name="T86" fmla="*/ 334 w 445"/>
              <a:gd name="T87" fmla="*/ 370 h 413"/>
              <a:gd name="T88" fmla="*/ 338 w 445"/>
              <a:gd name="T89" fmla="*/ 383 h 413"/>
              <a:gd name="T90" fmla="*/ 332 w 445"/>
              <a:gd name="T91" fmla="*/ 383 h 413"/>
              <a:gd name="T92" fmla="*/ 332 w 445"/>
              <a:gd name="T93" fmla="*/ 400 h 413"/>
              <a:gd name="T94" fmla="*/ 64 w 445"/>
              <a:gd name="T95" fmla="*/ 413 h 413"/>
              <a:gd name="T96" fmla="*/ 38 w 445"/>
              <a:gd name="T97" fmla="*/ 347 h 413"/>
              <a:gd name="T98" fmla="*/ 23 w 445"/>
              <a:gd name="T99" fmla="*/ 347 h 413"/>
              <a:gd name="T100" fmla="*/ 21 w 445"/>
              <a:gd name="T101" fmla="*/ 343 h 413"/>
              <a:gd name="T102" fmla="*/ 15 w 445"/>
              <a:gd name="T103" fmla="*/ 1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 h="413">
                <a:moveTo>
                  <a:pt x="0" y="19"/>
                </a:moveTo>
                <a:lnTo>
                  <a:pt x="89" y="17"/>
                </a:lnTo>
                <a:lnTo>
                  <a:pt x="232" y="10"/>
                </a:lnTo>
                <a:lnTo>
                  <a:pt x="394" y="0"/>
                </a:lnTo>
                <a:lnTo>
                  <a:pt x="400" y="4"/>
                </a:lnTo>
                <a:lnTo>
                  <a:pt x="407" y="10"/>
                </a:lnTo>
                <a:lnTo>
                  <a:pt x="409" y="19"/>
                </a:lnTo>
                <a:lnTo>
                  <a:pt x="409" y="25"/>
                </a:lnTo>
                <a:lnTo>
                  <a:pt x="402" y="32"/>
                </a:lnTo>
                <a:lnTo>
                  <a:pt x="394" y="36"/>
                </a:lnTo>
                <a:lnTo>
                  <a:pt x="390" y="45"/>
                </a:lnTo>
                <a:lnTo>
                  <a:pt x="385" y="51"/>
                </a:lnTo>
                <a:lnTo>
                  <a:pt x="390" y="59"/>
                </a:lnTo>
                <a:lnTo>
                  <a:pt x="441" y="53"/>
                </a:lnTo>
                <a:lnTo>
                  <a:pt x="445" y="57"/>
                </a:lnTo>
                <a:lnTo>
                  <a:pt x="445" y="64"/>
                </a:lnTo>
                <a:lnTo>
                  <a:pt x="439" y="68"/>
                </a:lnTo>
                <a:lnTo>
                  <a:pt x="443" y="74"/>
                </a:lnTo>
                <a:lnTo>
                  <a:pt x="434" y="81"/>
                </a:lnTo>
                <a:lnTo>
                  <a:pt x="428" y="85"/>
                </a:lnTo>
                <a:lnTo>
                  <a:pt x="424" y="87"/>
                </a:lnTo>
                <a:lnTo>
                  <a:pt x="424" y="89"/>
                </a:lnTo>
                <a:lnTo>
                  <a:pt x="430" y="96"/>
                </a:lnTo>
                <a:lnTo>
                  <a:pt x="424" y="100"/>
                </a:lnTo>
                <a:lnTo>
                  <a:pt x="422" y="106"/>
                </a:lnTo>
                <a:lnTo>
                  <a:pt x="417" y="108"/>
                </a:lnTo>
                <a:lnTo>
                  <a:pt x="419" y="115"/>
                </a:lnTo>
                <a:lnTo>
                  <a:pt x="417" y="121"/>
                </a:lnTo>
                <a:lnTo>
                  <a:pt x="415" y="117"/>
                </a:lnTo>
                <a:lnTo>
                  <a:pt x="409" y="119"/>
                </a:lnTo>
                <a:lnTo>
                  <a:pt x="407" y="128"/>
                </a:lnTo>
                <a:lnTo>
                  <a:pt x="413" y="125"/>
                </a:lnTo>
                <a:lnTo>
                  <a:pt x="413" y="134"/>
                </a:lnTo>
                <a:lnTo>
                  <a:pt x="417" y="153"/>
                </a:lnTo>
                <a:lnTo>
                  <a:pt x="415" y="155"/>
                </a:lnTo>
                <a:lnTo>
                  <a:pt x="409" y="157"/>
                </a:lnTo>
                <a:lnTo>
                  <a:pt x="404" y="164"/>
                </a:lnTo>
                <a:lnTo>
                  <a:pt x="398" y="168"/>
                </a:lnTo>
                <a:lnTo>
                  <a:pt x="396" y="170"/>
                </a:lnTo>
                <a:lnTo>
                  <a:pt x="400" y="172"/>
                </a:lnTo>
                <a:lnTo>
                  <a:pt x="400" y="181"/>
                </a:lnTo>
                <a:lnTo>
                  <a:pt x="394" y="187"/>
                </a:lnTo>
                <a:lnTo>
                  <a:pt x="387" y="189"/>
                </a:lnTo>
                <a:lnTo>
                  <a:pt x="383" y="185"/>
                </a:lnTo>
                <a:lnTo>
                  <a:pt x="385" y="202"/>
                </a:lnTo>
                <a:lnTo>
                  <a:pt x="379" y="202"/>
                </a:lnTo>
                <a:lnTo>
                  <a:pt x="377" y="194"/>
                </a:lnTo>
                <a:lnTo>
                  <a:pt x="377" y="204"/>
                </a:lnTo>
                <a:lnTo>
                  <a:pt x="385" y="209"/>
                </a:lnTo>
                <a:lnTo>
                  <a:pt x="377" y="213"/>
                </a:lnTo>
                <a:lnTo>
                  <a:pt x="375" y="204"/>
                </a:lnTo>
                <a:lnTo>
                  <a:pt x="375" y="217"/>
                </a:lnTo>
                <a:lnTo>
                  <a:pt x="379" y="219"/>
                </a:lnTo>
                <a:lnTo>
                  <a:pt x="375" y="230"/>
                </a:lnTo>
                <a:lnTo>
                  <a:pt x="377" y="234"/>
                </a:lnTo>
                <a:lnTo>
                  <a:pt x="370" y="243"/>
                </a:lnTo>
                <a:lnTo>
                  <a:pt x="366" y="245"/>
                </a:lnTo>
                <a:lnTo>
                  <a:pt x="360" y="245"/>
                </a:lnTo>
                <a:lnTo>
                  <a:pt x="362" y="251"/>
                </a:lnTo>
                <a:lnTo>
                  <a:pt x="355" y="258"/>
                </a:lnTo>
                <a:lnTo>
                  <a:pt x="353" y="262"/>
                </a:lnTo>
                <a:lnTo>
                  <a:pt x="345" y="260"/>
                </a:lnTo>
                <a:lnTo>
                  <a:pt x="351" y="266"/>
                </a:lnTo>
                <a:lnTo>
                  <a:pt x="347" y="268"/>
                </a:lnTo>
                <a:lnTo>
                  <a:pt x="347" y="275"/>
                </a:lnTo>
                <a:lnTo>
                  <a:pt x="351" y="281"/>
                </a:lnTo>
                <a:lnTo>
                  <a:pt x="332" y="289"/>
                </a:lnTo>
                <a:lnTo>
                  <a:pt x="338" y="294"/>
                </a:lnTo>
                <a:lnTo>
                  <a:pt x="336" y="300"/>
                </a:lnTo>
                <a:lnTo>
                  <a:pt x="338" y="307"/>
                </a:lnTo>
                <a:lnTo>
                  <a:pt x="336" y="311"/>
                </a:lnTo>
                <a:lnTo>
                  <a:pt x="330" y="311"/>
                </a:lnTo>
                <a:lnTo>
                  <a:pt x="330" y="317"/>
                </a:lnTo>
                <a:lnTo>
                  <a:pt x="336" y="319"/>
                </a:lnTo>
                <a:lnTo>
                  <a:pt x="330" y="324"/>
                </a:lnTo>
                <a:lnTo>
                  <a:pt x="328" y="321"/>
                </a:lnTo>
                <a:lnTo>
                  <a:pt x="324" y="324"/>
                </a:lnTo>
                <a:lnTo>
                  <a:pt x="328" y="330"/>
                </a:lnTo>
                <a:lnTo>
                  <a:pt x="321" y="336"/>
                </a:lnTo>
                <a:lnTo>
                  <a:pt x="326" y="343"/>
                </a:lnTo>
                <a:lnTo>
                  <a:pt x="321" y="351"/>
                </a:lnTo>
                <a:lnTo>
                  <a:pt x="330" y="345"/>
                </a:lnTo>
                <a:lnTo>
                  <a:pt x="332" y="349"/>
                </a:lnTo>
                <a:lnTo>
                  <a:pt x="326" y="353"/>
                </a:lnTo>
                <a:lnTo>
                  <a:pt x="332" y="355"/>
                </a:lnTo>
                <a:lnTo>
                  <a:pt x="334" y="355"/>
                </a:lnTo>
                <a:lnTo>
                  <a:pt x="332" y="362"/>
                </a:lnTo>
                <a:lnTo>
                  <a:pt x="334" y="370"/>
                </a:lnTo>
                <a:lnTo>
                  <a:pt x="336" y="370"/>
                </a:lnTo>
                <a:lnTo>
                  <a:pt x="338" y="383"/>
                </a:lnTo>
                <a:lnTo>
                  <a:pt x="338" y="383"/>
                </a:lnTo>
                <a:lnTo>
                  <a:pt x="332" y="383"/>
                </a:lnTo>
                <a:lnTo>
                  <a:pt x="332" y="390"/>
                </a:lnTo>
                <a:lnTo>
                  <a:pt x="332" y="400"/>
                </a:lnTo>
                <a:lnTo>
                  <a:pt x="179" y="409"/>
                </a:lnTo>
                <a:lnTo>
                  <a:pt x="64" y="413"/>
                </a:lnTo>
                <a:lnTo>
                  <a:pt x="62" y="351"/>
                </a:lnTo>
                <a:lnTo>
                  <a:pt x="38" y="347"/>
                </a:lnTo>
                <a:lnTo>
                  <a:pt x="32" y="353"/>
                </a:lnTo>
                <a:lnTo>
                  <a:pt x="23" y="347"/>
                </a:lnTo>
                <a:lnTo>
                  <a:pt x="23" y="345"/>
                </a:lnTo>
                <a:lnTo>
                  <a:pt x="21" y="343"/>
                </a:lnTo>
                <a:lnTo>
                  <a:pt x="19" y="145"/>
                </a:lnTo>
                <a:lnTo>
                  <a:pt x="15" y="115"/>
                </a:lnTo>
                <a:lnTo>
                  <a:pt x="0" y="19"/>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Ark.</a:t>
            </a:r>
          </a:p>
          <a:p>
            <a:pPr algn="ctr"/>
            <a:r>
              <a:rPr lang="en-US" sz="1000" b="1" dirty="0">
                <a:solidFill>
                  <a:srgbClr val="5A5A5A"/>
                </a:solidFill>
              </a:rPr>
              <a:t>(4 seats)</a:t>
            </a:r>
          </a:p>
        </p:txBody>
      </p:sp>
      <p:sp>
        <p:nvSpPr>
          <p:cNvPr id="11" name="Freeform 727"/>
          <p:cNvSpPr>
            <a:spLocks noChangeAspect="1"/>
          </p:cNvSpPr>
          <p:nvPr/>
        </p:nvSpPr>
        <p:spPr bwMode="auto">
          <a:xfrm>
            <a:off x="814522" y="4509497"/>
            <a:ext cx="564358" cy="800101"/>
          </a:xfrm>
          <a:custGeom>
            <a:avLst/>
            <a:gdLst>
              <a:gd name="T0" fmla="*/ 0 w 345"/>
              <a:gd name="T1" fmla="*/ 23 h 560"/>
              <a:gd name="T2" fmla="*/ 234 w 345"/>
              <a:gd name="T3" fmla="*/ 0 h 560"/>
              <a:gd name="T4" fmla="*/ 302 w 345"/>
              <a:gd name="T5" fmla="*/ 230 h 560"/>
              <a:gd name="T6" fmla="*/ 306 w 345"/>
              <a:gd name="T7" fmla="*/ 240 h 560"/>
              <a:gd name="T8" fmla="*/ 315 w 345"/>
              <a:gd name="T9" fmla="*/ 262 h 560"/>
              <a:gd name="T10" fmla="*/ 326 w 345"/>
              <a:gd name="T11" fmla="*/ 274 h 560"/>
              <a:gd name="T12" fmla="*/ 328 w 345"/>
              <a:gd name="T13" fmla="*/ 294 h 560"/>
              <a:gd name="T14" fmla="*/ 336 w 345"/>
              <a:gd name="T15" fmla="*/ 304 h 560"/>
              <a:gd name="T16" fmla="*/ 326 w 345"/>
              <a:gd name="T17" fmla="*/ 315 h 560"/>
              <a:gd name="T18" fmla="*/ 323 w 345"/>
              <a:gd name="T19" fmla="*/ 338 h 560"/>
              <a:gd name="T20" fmla="*/ 326 w 345"/>
              <a:gd name="T21" fmla="*/ 366 h 560"/>
              <a:gd name="T22" fmla="*/ 336 w 345"/>
              <a:gd name="T23" fmla="*/ 383 h 560"/>
              <a:gd name="T24" fmla="*/ 334 w 345"/>
              <a:gd name="T25" fmla="*/ 398 h 560"/>
              <a:gd name="T26" fmla="*/ 334 w 345"/>
              <a:gd name="T27" fmla="*/ 421 h 560"/>
              <a:gd name="T28" fmla="*/ 345 w 345"/>
              <a:gd name="T29" fmla="*/ 438 h 560"/>
              <a:gd name="T30" fmla="*/ 196 w 345"/>
              <a:gd name="T31" fmla="*/ 460 h 560"/>
              <a:gd name="T32" fmla="*/ 100 w 345"/>
              <a:gd name="T33" fmla="*/ 475 h 560"/>
              <a:gd name="T34" fmla="*/ 108 w 345"/>
              <a:gd name="T35" fmla="*/ 498 h 560"/>
              <a:gd name="T36" fmla="*/ 121 w 345"/>
              <a:gd name="T37" fmla="*/ 509 h 560"/>
              <a:gd name="T38" fmla="*/ 121 w 345"/>
              <a:gd name="T39" fmla="*/ 526 h 560"/>
              <a:gd name="T40" fmla="*/ 113 w 345"/>
              <a:gd name="T41" fmla="*/ 545 h 560"/>
              <a:gd name="T42" fmla="*/ 106 w 345"/>
              <a:gd name="T43" fmla="*/ 547 h 560"/>
              <a:gd name="T44" fmla="*/ 96 w 345"/>
              <a:gd name="T45" fmla="*/ 556 h 560"/>
              <a:gd name="T46" fmla="*/ 72 w 345"/>
              <a:gd name="T47" fmla="*/ 558 h 560"/>
              <a:gd name="T48" fmla="*/ 87 w 345"/>
              <a:gd name="T49" fmla="*/ 556 h 560"/>
              <a:gd name="T50" fmla="*/ 83 w 345"/>
              <a:gd name="T51" fmla="*/ 541 h 560"/>
              <a:gd name="T52" fmla="*/ 74 w 345"/>
              <a:gd name="T53" fmla="*/ 539 h 560"/>
              <a:gd name="T54" fmla="*/ 72 w 345"/>
              <a:gd name="T55" fmla="*/ 524 h 560"/>
              <a:gd name="T56" fmla="*/ 68 w 345"/>
              <a:gd name="T57" fmla="*/ 511 h 560"/>
              <a:gd name="T58" fmla="*/ 59 w 345"/>
              <a:gd name="T59" fmla="*/ 505 h 560"/>
              <a:gd name="T60" fmla="*/ 57 w 345"/>
              <a:gd name="T61" fmla="*/ 513 h 560"/>
              <a:gd name="T62" fmla="*/ 55 w 345"/>
              <a:gd name="T63" fmla="*/ 547 h 560"/>
              <a:gd name="T64" fmla="*/ 34 w 345"/>
              <a:gd name="T65" fmla="*/ 545 h 560"/>
              <a:gd name="T66" fmla="*/ 27 w 345"/>
              <a:gd name="T67" fmla="*/ 543 h 560"/>
              <a:gd name="T68" fmla="*/ 10 w 345"/>
              <a:gd name="T69" fmla="*/ 34 h 560"/>
              <a:gd name="T70" fmla="*/ 0 w 345"/>
              <a:gd name="T71" fmla="*/ 2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 h="560">
                <a:moveTo>
                  <a:pt x="0" y="25"/>
                </a:moveTo>
                <a:lnTo>
                  <a:pt x="0" y="23"/>
                </a:lnTo>
                <a:lnTo>
                  <a:pt x="132" y="13"/>
                </a:lnTo>
                <a:lnTo>
                  <a:pt x="234" y="0"/>
                </a:lnTo>
                <a:lnTo>
                  <a:pt x="268" y="106"/>
                </a:lnTo>
                <a:lnTo>
                  <a:pt x="302" y="230"/>
                </a:lnTo>
                <a:lnTo>
                  <a:pt x="304" y="234"/>
                </a:lnTo>
                <a:lnTo>
                  <a:pt x="306" y="240"/>
                </a:lnTo>
                <a:lnTo>
                  <a:pt x="311" y="249"/>
                </a:lnTo>
                <a:lnTo>
                  <a:pt x="315" y="262"/>
                </a:lnTo>
                <a:lnTo>
                  <a:pt x="326" y="270"/>
                </a:lnTo>
                <a:lnTo>
                  <a:pt x="326" y="274"/>
                </a:lnTo>
                <a:lnTo>
                  <a:pt x="330" y="283"/>
                </a:lnTo>
                <a:lnTo>
                  <a:pt x="328" y="294"/>
                </a:lnTo>
                <a:lnTo>
                  <a:pt x="336" y="296"/>
                </a:lnTo>
                <a:lnTo>
                  <a:pt x="336" y="304"/>
                </a:lnTo>
                <a:lnTo>
                  <a:pt x="330" y="309"/>
                </a:lnTo>
                <a:lnTo>
                  <a:pt x="326" y="315"/>
                </a:lnTo>
                <a:lnTo>
                  <a:pt x="326" y="330"/>
                </a:lnTo>
                <a:lnTo>
                  <a:pt x="323" y="338"/>
                </a:lnTo>
                <a:lnTo>
                  <a:pt x="321" y="351"/>
                </a:lnTo>
                <a:lnTo>
                  <a:pt x="326" y="366"/>
                </a:lnTo>
                <a:lnTo>
                  <a:pt x="332" y="372"/>
                </a:lnTo>
                <a:lnTo>
                  <a:pt x="336" y="383"/>
                </a:lnTo>
                <a:lnTo>
                  <a:pt x="334" y="389"/>
                </a:lnTo>
                <a:lnTo>
                  <a:pt x="334" y="398"/>
                </a:lnTo>
                <a:lnTo>
                  <a:pt x="332" y="413"/>
                </a:lnTo>
                <a:lnTo>
                  <a:pt x="334" y="421"/>
                </a:lnTo>
                <a:lnTo>
                  <a:pt x="338" y="428"/>
                </a:lnTo>
                <a:lnTo>
                  <a:pt x="345" y="438"/>
                </a:lnTo>
                <a:lnTo>
                  <a:pt x="345" y="443"/>
                </a:lnTo>
                <a:lnTo>
                  <a:pt x="196" y="460"/>
                </a:lnTo>
                <a:lnTo>
                  <a:pt x="106" y="468"/>
                </a:lnTo>
                <a:lnTo>
                  <a:pt x="100" y="475"/>
                </a:lnTo>
                <a:lnTo>
                  <a:pt x="98" y="483"/>
                </a:lnTo>
                <a:lnTo>
                  <a:pt x="108" y="498"/>
                </a:lnTo>
                <a:lnTo>
                  <a:pt x="115" y="502"/>
                </a:lnTo>
                <a:lnTo>
                  <a:pt x="121" y="509"/>
                </a:lnTo>
                <a:lnTo>
                  <a:pt x="119" y="519"/>
                </a:lnTo>
                <a:lnTo>
                  <a:pt x="121" y="526"/>
                </a:lnTo>
                <a:lnTo>
                  <a:pt x="119" y="539"/>
                </a:lnTo>
                <a:lnTo>
                  <a:pt x="113" y="545"/>
                </a:lnTo>
                <a:lnTo>
                  <a:pt x="104" y="545"/>
                </a:lnTo>
                <a:lnTo>
                  <a:pt x="106" y="547"/>
                </a:lnTo>
                <a:lnTo>
                  <a:pt x="104" y="553"/>
                </a:lnTo>
                <a:lnTo>
                  <a:pt x="96" y="556"/>
                </a:lnTo>
                <a:lnTo>
                  <a:pt x="68" y="560"/>
                </a:lnTo>
                <a:lnTo>
                  <a:pt x="72" y="558"/>
                </a:lnTo>
                <a:lnTo>
                  <a:pt x="79" y="558"/>
                </a:lnTo>
                <a:lnTo>
                  <a:pt x="87" y="556"/>
                </a:lnTo>
                <a:lnTo>
                  <a:pt x="89" y="549"/>
                </a:lnTo>
                <a:lnTo>
                  <a:pt x="83" y="541"/>
                </a:lnTo>
                <a:lnTo>
                  <a:pt x="81" y="543"/>
                </a:lnTo>
                <a:lnTo>
                  <a:pt x="74" y="539"/>
                </a:lnTo>
                <a:lnTo>
                  <a:pt x="70" y="530"/>
                </a:lnTo>
                <a:lnTo>
                  <a:pt x="72" y="524"/>
                </a:lnTo>
                <a:lnTo>
                  <a:pt x="72" y="517"/>
                </a:lnTo>
                <a:lnTo>
                  <a:pt x="68" y="511"/>
                </a:lnTo>
                <a:lnTo>
                  <a:pt x="64" y="509"/>
                </a:lnTo>
                <a:lnTo>
                  <a:pt x="59" y="505"/>
                </a:lnTo>
                <a:lnTo>
                  <a:pt x="61" y="507"/>
                </a:lnTo>
                <a:lnTo>
                  <a:pt x="57" y="513"/>
                </a:lnTo>
                <a:lnTo>
                  <a:pt x="57" y="522"/>
                </a:lnTo>
                <a:lnTo>
                  <a:pt x="55" y="547"/>
                </a:lnTo>
                <a:lnTo>
                  <a:pt x="49" y="547"/>
                </a:lnTo>
                <a:lnTo>
                  <a:pt x="34" y="545"/>
                </a:lnTo>
                <a:lnTo>
                  <a:pt x="27" y="545"/>
                </a:lnTo>
                <a:lnTo>
                  <a:pt x="27" y="543"/>
                </a:lnTo>
                <a:lnTo>
                  <a:pt x="4" y="375"/>
                </a:lnTo>
                <a:lnTo>
                  <a:pt x="10" y="34"/>
                </a:lnTo>
                <a:lnTo>
                  <a:pt x="4" y="30"/>
                </a:lnTo>
                <a:lnTo>
                  <a:pt x="0" y="25"/>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rgbClr val="5A5A5A"/>
              </a:solidFill>
            </a:endParaRPr>
          </a:p>
        </p:txBody>
      </p:sp>
      <p:sp>
        <p:nvSpPr>
          <p:cNvPr id="13" name="Text Placeholder 2"/>
          <p:cNvSpPr>
            <a:spLocks noGrp="1"/>
          </p:cNvSpPr>
          <p:nvPr>
            <p:ph type="body" sz="quarter" idx="10"/>
          </p:nvPr>
        </p:nvSpPr>
        <p:spPr>
          <a:xfrm>
            <a:off x="1835684" y="1234249"/>
            <a:ext cx="6976534" cy="1162451"/>
          </a:xfrm>
        </p:spPr>
        <p:txBody>
          <a:bodyPr/>
          <a:lstStyle/>
          <a:p>
            <a:pPr marL="285750" indent="-285750">
              <a:buFont typeface="Arial" panose="020B0604020202020204" pitchFamily="34" charset="0"/>
              <a:buChar char="•"/>
            </a:pPr>
            <a:r>
              <a:rPr lang="en-US" dirty="0">
                <a:solidFill>
                  <a:schemeClr val="tx1"/>
                </a:solidFill>
              </a:rPr>
              <a:t>Special election in ex-Rep. Katie Hill’s (D) district</a:t>
            </a:r>
          </a:p>
          <a:p>
            <a:pPr marL="285750" indent="-285750">
              <a:buFont typeface="Arial" panose="020B0604020202020204" pitchFamily="34" charset="0"/>
              <a:buChar char="•"/>
            </a:pPr>
            <a:r>
              <a:rPr lang="en-US" dirty="0">
                <a:solidFill>
                  <a:schemeClr val="tx1"/>
                </a:solidFill>
              </a:rPr>
              <a:t>Ex-Rep. Darrell </a:t>
            </a:r>
            <a:r>
              <a:rPr lang="en-US" dirty="0" err="1">
                <a:solidFill>
                  <a:schemeClr val="tx1"/>
                </a:solidFill>
              </a:rPr>
              <a:t>Issa</a:t>
            </a:r>
            <a:r>
              <a:rPr lang="en-US" dirty="0">
                <a:solidFill>
                  <a:schemeClr val="tx1"/>
                </a:solidFill>
              </a:rPr>
              <a:t> (R) seeks comeback</a:t>
            </a:r>
          </a:p>
          <a:p>
            <a:pPr marL="285750" indent="-285750">
              <a:buFont typeface="Arial" panose="020B0604020202020204" pitchFamily="34" charset="0"/>
              <a:buChar char="•"/>
            </a:pPr>
            <a:r>
              <a:rPr lang="en-US" dirty="0">
                <a:solidFill>
                  <a:schemeClr val="tx1"/>
                </a:solidFill>
              </a:rPr>
              <a:t>Open-seat races to replace Reps. Susan Davis (D), Paul Cook (R)</a:t>
            </a:r>
          </a:p>
          <a:p>
            <a:pPr marL="285750" indent="-285750">
              <a:buFont typeface="Arial" panose="020B0604020202020204" pitchFamily="34" charset="0"/>
              <a:buChar char="•"/>
            </a:pPr>
            <a:r>
              <a:rPr lang="en-US" dirty="0">
                <a:solidFill>
                  <a:schemeClr val="tx1"/>
                </a:solidFill>
              </a:rPr>
              <a:t>GOP targeting freshman Democrats in Orange County, Central Valley</a:t>
            </a:r>
          </a:p>
          <a:p>
            <a:pPr marL="285750" indent="-285750">
              <a:buFont typeface="Arial" panose="020B0604020202020204" pitchFamily="34" charset="0"/>
              <a:buChar char="•"/>
            </a:pPr>
            <a:endParaRPr lang="en-US" dirty="0">
              <a:solidFill>
                <a:schemeClr val="tx1"/>
              </a:solidFill>
            </a:endParaRPr>
          </a:p>
        </p:txBody>
      </p:sp>
      <p:sp>
        <p:nvSpPr>
          <p:cNvPr id="15" name="Text Placeholder 2"/>
          <p:cNvSpPr>
            <a:spLocks noGrp="1"/>
          </p:cNvSpPr>
          <p:nvPr>
            <p:ph type="body" sz="quarter" idx="10"/>
          </p:nvPr>
        </p:nvSpPr>
        <p:spPr>
          <a:xfrm>
            <a:off x="1863642" y="2678720"/>
            <a:ext cx="6976534" cy="659341"/>
          </a:xfrm>
        </p:spPr>
        <p:txBody>
          <a:bodyPr/>
          <a:lstStyle/>
          <a:p>
            <a:pPr marL="285750" indent="-285750">
              <a:buFont typeface="Arial" panose="020B0604020202020204" pitchFamily="34" charset="0"/>
              <a:buChar char="•"/>
            </a:pPr>
            <a:r>
              <a:rPr lang="en-US" dirty="0">
                <a:solidFill>
                  <a:schemeClr val="tx1"/>
                </a:solidFill>
              </a:rPr>
              <a:t>Reps. Kay Granger (R), Henry Cuellar (D) survive primary challenges</a:t>
            </a:r>
          </a:p>
          <a:p>
            <a:pPr marL="285750" indent="-285750">
              <a:buFont typeface="Arial" panose="020B0604020202020204" pitchFamily="34" charset="0"/>
              <a:buChar char="•"/>
            </a:pPr>
            <a:r>
              <a:rPr lang="en-US" dirty="0">
                <a:solidFill>
                  <a:schemeClr val="tx1"/>
                </a:solidFill>
              </a:rPr>
              <a:t>Former Rep. Pete Sessions (R) advances to runoff in new district</a:t>
            </a:r>
          </a:p>
          <a:p>
            <a:pPr marL="285750" indent="-285750">
              <a:buFont typeface="Arial" panose="020B0604020202020204" pitchFamily="34" charset="0"/>
              <a:buChar char="•"/>
            </a:pPr>
            <a:r>
              <a:rPr lang="en-US" dirty="0">
                <a:solidFill>
                  <a:schemeClr val="tx1"/>
                </a:solidFill>
              </a:rPr>
              <a:t>Pierce Bush comes up short in open-seat primary</a:t>
            </a:r>
          </a:p>
        </p:txBody>
      </p:sp>
      <p:sp>
        <p:nvSpPr>
          <p:cNvPr id="17" name="Text Placeholder 2"/>
          <p:cNvSpPr>
            <a:spLocks noGrp="1"/>
          </p:cNvSpPr>
          <p:nvPr>
            <p:ph type="body" sz="quarter" idx="10"/>
          </p:nvPr>
        </p:nvSpPr>
        <p:spPr>
          <a:xfrm>
            <a:off x="1835684" y="3728025"/>
            <a:ext cx="6976534" cy="659341"/>
          </a:xfrm>
        </p:spPr>
        <p:txBody>
          <a:bodyPr/>
          <a:lstStyle/>
          <a:p>
            <a:pPr marL="285750" indent="-285750">
              <a:buFont typeface="Arial" panose="020B0604020202020204" pitchFamily="34" charset="0"/>
              <a:buChar char="•"/>
            </a:pPr>
            <a:r>
              <a:rPr lang="en-US" dirty="0">
                <a:solidFill>
                  <a:schemeClr val="tx1"/>
                </a:solidFill>
              </a:rPr>
              <a:t>New congressional map likely to net Democrats two seats</a:t>
            </a:r>
          </a:p>
          <a:p>
            <a:pPr marL="285750" indent="-285750">
              <a:buFont typeface="Arial" panose="020B0604020202020204" pitchFamily="34" charset="0"/>
              <a:buChar char="•"/>
            </a:pPr>
            <a:r>
              <a:rPr lang="en-US" dirty="0">
                <a:solidFill>
                  <a:schemeClr val="tx1"/>
                </a:solidFill>
              </a:rPr>
              <a:t>11th District GOP runoff to replace Mark Meadows (R)</a:t>
            </a:r>
          </a:p>
        </p:txBody>
      </p:sp>
      <p:sp>
        <p:nvSpPr>
          <p:cNvPr id="18" name="Text Placeholder 2"/>
          <p:cNvSpPr>
            <a:spLocks noGrp="1"/>
          </p:cNvSpPr>
          <p:nvPr>
            <p:ph type="body" sz="quarter" idx="10"/>
          </p:nvPr>
        </p:nvSpPr>
        <p:spPr>
          <a:xfrm>
            <a:off x="1863642" y="4526524"/>
            <a:ext cx="6976534" cy="659341"/>
          </a:xfrm>
        </p:spPr>
        <p:txBody>
          <a:bodyPr/>
          <a:lstStyle/>
          <a:p>
            <a:pPr marL="285750" indent="-285750">
              <a:buFont typeface="Arial" panose="020B0604020202020204" pitchFamily="34" charset="0"/>
              <a:buChar char="•"/>
            </a:pPr>
            <a:r>
              <a:rPr lang="en-US" dirty="0">
                <a:solidFill>
                  <a:schemeClr val="tx1"/>
                </a:solidFill>
              </a:rPr>
              <a:t>GOP races to replace Reps. Bradley Byrne (R), Martha Roby (R)</a:t>
            </a:r>
            <a:br>
              <a:rPr lang="en-US" dirty="0">
                <a:solidFill>
                  <a:schemeClr val="tx1"/>
                </a:solidFill>
              </a:rPr>
            </a:br>
            <a:r>
              <a:rPr lang="en-US" dirty="0">
                <a:solidFill>
                  <a:schemeClr val="tx1"/>
                </a:solidFill>
              </a:rPr>
              <a:t>advance to March 31 runoffs</a:t>
            </a:r>
          </a:p>
        </p:txBody>
      </p:sp>
      <p:sp>
        <p:nvSpPr>
          <p:cNvPr id="19" name="Text Placeholder 2"/>
          <p:cNvSpPr>
            <a:spLocks noGrp="1"/>
          </p:cNvSpPr>
          <p:nvPr>
            <p:ph type="body" sz="quarter" idx="10"/>
          </p:nvPr>
        </p:nvSpPr>
        <p:spPr>
          <a:xfrm>
            <a:off x="1835684" y="5575829"/>
            <a:ext cx="6976534" cy="659341"/>
          </a:xfrm>
        </p:spPr>
        <p:txBody>
          <a:bodyPr/>
          <a:lstStyle/>
          <a:p>
            <a:pPr marL="285750" indent="-285750">
              <a:buFont typeface="Arial" panose="020B0604020202020204" pitchFamily="34" charset="0"/>
              <a:buChar char="•"/>
            </a:pPr>
            <a:r>
              <a:rPr lang="en-US" dirty="0">
                <a:solidFill>
                  <a:schemeClr val="tx1"/>
                </a:solidFill>
              </a:rPr>
              <a:t>All four GOP House members unopposed in primaries</a:t>
            </a:r>
          </a:p>
          <a:p>
            <a:pPr marL="285750" indent="-285750">
              <a:buFont typeface="Arial" panose="020B0604020202020204" pitchFamily="34" charset="0"/>
              <a:buChar char="•"/>
            </a:pPr>
            <a:r>
              <a:rPr lang="en-US" dirty="0">
                <a:solidFill>
                  <a:schemeClr val="tx1"/>
                </a:solidFill>
              </a:rPr>
              <a:t>Rep. French Hill (R) faces state Sen. Joyce Elliott (D) in November</a:t>
            </a:r>
          </a:p>
        </p:txBody>
      </p:sp>
      <p:sp>
        <p:nvSpPr>
          <p:cNvPr id="20" name="TextBox 19"/>
          <p:cNvSpPr txBox="1"/>
          <p:nvPr/>
        </p:nvSpPr>
        <p:spPr>
          <a:xfrm>
            <a:off x="743084" y="3792034"/>
            <a:ext cx="658592" cy="287867"/>
          </a:xfrm>
          <a:prstGeom prst="rect">
            <a:avLst/>
          </a:prstGeom>
          <a:noFill/>
        </p:spPr>
        <p:txBody>
          <a:bodyPr wrap="square" lIns="0" tIns="45720" rIns="0" bIns="45720" rtlCol="0">
            <a:noAutofit/>
          </a:bodyPr>
          <a:lstStyle/>
          <a:p>
            <a:pPr algn="ctr"/>
            <a:r>
              <a:rPr lang="en-US" sz="1000" b="1" dirty="0">
                <a:solidFill>
                  <a:srgbClr val="5A5A5A"/>
                </a:solidFill>
              </a:rPr>
              <a:t>N.C.</a:t>
            </a:r>
          </a:p>
          <a:p>
            <a:pPr algn="ctr"/>
            <a:r>
              <a:rPr lang="en-US" sz="1000" b="1" dirty="0">
                <a:solidFill>
                  <a:srgbClr val="5A5A5A"/>
                </a:solidFill>
              </a:rPr>
              <a:t>(13 seats)</a:t>
            </a:r>
          </a:p>
          <a:p>
            <a:pPr>
              <a:buClr>
                <a:srgbClr val="FFFFFF"/>
              </a:buClr>
            </a:pPr>
            <a:endParaRPr lang="en-US" sz="1400" dirty="0">
              <a:solidFill>
                <a:srgbClr val="000000"/>
              </a:solidFill>
              <a:latin typeface="Arial" pitchFamily="34" charset="0"/>
              <a:cs typeface="Arial" pitchFamily="34" charset="0"/>
            </a:endParaRPr>
          </a:p>
        </p:txBody>
      </p:sp>
      <p:sp>
        <p:nvSpPr>
          <p:cNvPr id="22" name="TextBox 21"/>
          <p:cNvSpPr txBox="1"/>
          <p:nvPr/>
        </p:nvSpPr>
        <p:spPr>
          <a:xfrm>
            <a:off x="743084" y="2822948"/>
            <a:ext cx="685516" cy="372533"/>
          </a:xfrm>
          <a:prstGeom prst="rect">
            <a:avLst/>
          </a:prstGeom>
          <a:noFill/>
        </p:spPr>
        <p:txBody>
          <a:bodyPr wrap="square" lIns="0" tIns="45720" rIns="0" bIns="45720" rtlCol="0">
            <a:noAutofit/>
          </a:bodyPr>
          <a:lstStyle/>
          <a:p>
            <a:pPr algn="ctr">
              <a:buClr>
                <a:srgbClr val="FFFFFF"/>
              </a:buClr>
            </a:pPr>
            <a:r>
              <a:rPr lang="en-US" sz="1000" b="1" dirty="0">
                <a:solidFill>
                  <a:srgbClr val="5A5A5A"/>
                </a:solidFill>
              </a:rPr>
              <a:t>Texas</a:t>
            </a:r>
          </a:p>
          <a:p>
            <a:pPr algn="ctr">
              <a:buClr>
                <a:srgbClr val="FFFFFF"/>
              </a:buClr>
            </a:pPr>
            <a:r>
              <a:rPr lang="en-US" sz="1000" b="1" dirty="0">
                <a:solidFill>
                  <a:srgbClr val="5A5A5A"/>
                </a:solidFill>
              </a:rPr>
              <a:t>(36 seats)</a:t>
            </a:r>
          </a:p>
        </p:txBody>
      </p:sp>
      <p:sp>
        <p:nvSpPr>
          <p:cNvPr id="23" name="TextBox 22"/>
          <p:cNvSpPr txBox="1"/>
          <p:nvPr/>
        </p:nvSpPr>
        <p:spPr>
          <a:xfrm>
            <a:off x="729622" y="4690130"/>
            <a:ext cx="685516" cy="372533"/>
          </a:xfrm>
          <a:prstGeom prst="rect">
            <a:avLst/>
          </a:prstGeom>
          <a:noFill/>
        </p:spPr>
        <p:txBody>
          <a:bodyPr wrap="square" lIns="0" tIns="45720" rIns="0" bIns="45720" rtlCol="0">
            <a:noAutofit/>
          </a:bodyPr>
          <a:lstStyle/>
          <a:p>
            <a:pPr algn="ctr">
              <a:buClr>
                <a:srgbClr val="FFFFFF"/>
              </a:buClr>
            </a:pPr>
            <a:r>
              <a:rPr lang="en-US" sz="1000" b="1" dirty="0">
                <a:solidFill>
                  <a:srgbClr val="5A5A5A"/>
                </a:solidFill>
              </a:rPr>
              <a:t>Ala.</a:t>
            </a:r>
          </a:p>
          <a:p>
            <a:pPr algn="ctr">
              <a:buClr>
                <a:srgbClr val="FFFFFF"/>
              </a:buClr>
            </a:pPr>
            <a:r>
              <a:rPr lang="en-US" sz="1000" b="1" dirty="0">
                <a:solidFill>
                  <a:srgbClr val="5A5A5A"/>
                </a:solidFill>
              </a:rPr>
              <a:t>(7 seats)</a:t>
            </a:r>
          </a:p>
        </p:txBody>
      </p:sp>
    </p:spTree>
    <p:extLst>
      <p:ext uri="{BB962C8B-B14F-4D97-AF65-F5344CB8AC3E}">
        <p14:creationId xmlns:p14="http://schemas.microsoft.com/office/powerpoint/2010/main" val="29322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More House Races to Watch</a:t>
            </a:r>
          </a:p>
        </p:txBody>
      </p:sp>
      <p:sp>
        <p:nvSpPr>
          <p:cNvPr id="3" name="Text Placeholder 2"/>
          <p:cNvSpPr>
            <a:spLocks noGrp="1"/>
          </p:cNvSpPr>
          <p:nvPr>
            <p:ph type="body" sz="quarter" idx="10"/>
          </p:nvPr>
        </p:nvSpPr>
        <p:spPr>
          <a:xfrm>
            <a:off x="455610" y="1276772"/>
            <a:ext cx="8468696" cy="5037763"/>
          </a:xfrm>
        </p:spPr>
        <p:txBody>
          <a:bodyPr/>
          <a:lstStyle/>
          <a:p>
            <a:pPr marL="0" indent="0">
              <a:buNone/>
            </a:pPr>
            <a:r>
              <a:rPr lang="en-US" b="1" dirty="0"/>
              <a:t>Several incumbents facing higher-profile primary challengers</a:t>
            </a:r>
          </a:p>
          <a:p>
            <a:pPr marL="0" indent="0">
              <a:buNone/>
            </a:pPr>
            <a:endParaRPr lang="en-US" sz="800" dirty="0"/>
          </a:p>
          <a:p>
            <a:pPr lvl="1">
              <a:buClr>
                <a:srgbClr val="81DD00"/>
              </a:buClr>
            </a:pPr>
            <a:r>
              <a:rPr lang="en-US" sz="1400" dirty="0">
                <a:latin typeface="+mn-lt"/>
              </a:rPr>
              <a:t>Some progressive Democrats are aiming to repeat Alexandria Ocasio-Cortez’s upset win </a:t>
            </a:r>
            <a:r>
              <a:rPr lang="en-US" sz="1400" dirty="0">
                <a:latin typeface="+mn-lt"/>
                <a:hlinkClick r:id="rId2"/>
              </a:rPr>
              <a:t>by mounting liberal primary bids</a:t>
            </a:r>
            <a:r>
              <a:rPr lang="en-US" sz="1400" dirty="0">
                <a:latin typeface="+mn-lt"/>
              </a:rPr>
              <a:t> to oust long-time incumbents</a:t>
            </a:r>
          </a:p>
          <a:p>
            <a:pPr lvl="2"/>
            <a:r>
              <a:rPr lang="en-US" sz="1400" dirty="0">
                <a:latin typeface="+mn-lt"/>
              </a:rPr>
              <a:t>New York (June 23): </a:t>
            </a:r>
            <a:r>
              <a:rPr lang="en-US" sz="1400" b="1" dirty="0">
                <a:latin typeface="+mn-lt"/>
              </a:rPr>
              <a:t>Eliot Engel</a:t>
            </a:r>
            <a:r>
              <a:rPr lang="en-US" sz="1400" dirty="0">
                <a:latin typeface="+mn-lt"/>
              </a:rPr>
              <a:t>, </a:t>
            </a:r>
            <a:r>
              <a:rPr lang="en-US" sz="1400" b="1" dirty="0">
                <a:latin typeface="+mn-lt"/>
              </a:rPr>
              <a:t>Jerry Nadler</a:t>
            </a:r>
            <a:r>
              <a:rPr lang="en-US" sz="1400" dirty="0">
                <a:latin typeface="+mn-lt"/>
              </a:rPr>
              <a:t>, </a:t>
            </a:r>
            <a:r>
              <a:rPr lang="en-US" sz="1400" b="1" dirty="0">
                <a:latin typeface="+mn-lt"/>
              </a:rPr>
              <a:t>Carolyn Maloney</a:t>
            </a:r>
            <a:r>
              <a:rPr lang="en-US" sz="1400" dirty="0">
                <a:latin typeface="+mn-lt"/>
              </a:rPr>
              <a:t>, and </a:t>
            </a:r>
            <a:r>
              <a:rPr lang="en-US" sz="1400" b="1" dirty="0">
                <a:latin typeface="+mn-lt"/>
              </a:rPr>
              <a:t>Yvette Clarke</a:t>
            </a:r>
          </a:p>
          <a:p>
            <a:pPr lvl="2"/>
            <a:r>
              <a:rPr lang="en-US" sz="1400" dirty="0">
                <a:latin typeface="+mn-lt"/>
              </a:rPr>
              <a:t>Massachusetts (Sept. 1): </a:t>
            </a:r>
            <a:r>
              <a:rPr lang="en-US" sz="1400" b="1" dirty="0">
                <a:latin typeface="+mn-lt"/>
              </a:rPr>
              <a:t>Richard Neal</a:t>
            </a:r>
          </a:p>
          <a:p>
            <a:pPr lvl="2"/>
            <a:r>
              <a:rPr lang="en-US" sz="1400" dirty="0">
                <a:latin typeface="+mn-lt"/>
              </a:rPr>
              <a:t>Maryland (April 28): Majority Leader </a:t>
            </a:r>
            <a:r>
              <a:rPr lang="en-US" sz="1400" b="1" dirty="0">
                <a:latin typeface="+mn-lt"/>
              </a:rPr>
              <a:t>Steny Hoyer</a:t>
            </a:r>
            <a:r>
              <a:rPr lang="en-US" sz="1400" dirty="0">
                <a:latin typeface="+mn-lt"/>
              </a:rPr>
              <a:t> </a:t>
            </a:r>
          </a:p>
          <a:p>
            <a:pPr lvl="2"/>
            <a:r>
              <a:rPr lang="en-US" sz="1400" dirty="0">
                <a:latin typeface="+mn-lt"/>
              </a:rPr>
              <a:t>Illinois (March 17): </a:t>
            </a:r>
            <a:r>
              <a:rPr lang="en-US" sz="1400" b="1" spc="-30" dirty="0"/>
              <a:t>Dan Lipinski</a:t>
            </a:r>
          </a:p>
          <a:p>
            <a:pPr lvl="2"/>
            <a:r>
              <a:rPr lang="en-US" sz="1400" spc="-30" dirty="0">
                <a:latin typeface="+mn-lt"/>
              </a:rPr>
              <a:t>Ohio (March 17): </a:t>
            </a:r>
            <a:r>
              <a:rPr lang="en-US" sz="1400" b="1" spc="-30" dirty="0">
                <a:latin typeface="+mn-lt"/>
              </a:rPr>
              <a:t>Joyce Beatty</a:t>
            </a:r>
            <a:endParaRPr lang="en-US" sz="1400" dirty="0">
              <a:latin typeface="+mn-lt"/>
            </a:endParaRPr>
          </a:p>
          <a:p>
            <a:pPr lvl="2"/>
            <a:endParaRPr lang="en-US" sz="1400" dirty="0"/>
          </a:p>
          <a:p>
            <a:pPr lvl="1">
              <a:buClr>
                <a:srgbClr val="81DD00"/>
              </a:buClr>
            </a:pPr>
            <a:r>
              <a:rPr lang="en-US" sz="1400" spc="-30" dirty="0"/>
              <a:t>Ocasio-Cortez hails from a safely Democratic urban district and it’s unclear if a similar anti-incumbency phenomenon would be replicated in more centrist or suburban districts</a:t>
            </a:r>
          </a:p>
          <a:p>
            <a:pPr lvl="1">
              <a:buClr>
                <a:srgbClr val="81DD00"/>
              </a:buClr>
            </a:pPr>
            <a:endParaRPr lang="en-US" sz="1400" dirty="0"/>
          </a:p>
          <a:p>
            <a:pPr lvl="1">
              <a:buClr>
                <a:srgbClr val="81DD00"/>
              </a:buClr>
            </a:pPr>
            <a:r>
              <a:rPr lang="en-US" sz="1400" dirty="0"/>
              <a:t>An Iowa state senator aims to force out embattled incumbent </a:t>
            </a:r>
            <a:r>
              <a:rPr lang="en-US" sz="1400" b="1" dirty="0"/>
              <a:t>Steve King </a:t>
            </a:r>
            <a:r>
              <a:rPr lang="en-US" sz="1400" dirty="0"/>
              <a:t>in the GOP primary; King’s 2018 Democratic opponent also plans to run again after losing to King by only 3 points in 2018</a:t>
            </a:r>
          </a:p>
          <a:p>
            <a:pPr marL="0" lvl="1" indent="0">
              <a:buClr>
                <a:srgbClr val="0070C0"/>
              </a:buClr>
              <a:buNone/>
            </a:pPr>
            <a:endParaRPr lang="en-US" sz="1400" dirty="0"/>
          </a:p>
          <a:p>
            <a:pPr marL="0" indent="0">
              <a:buClr>
                <a:srgbClr val="0070C0"/>
              </a:buClr>
              <a:buNone/>
            </a:pPr>
            <a:endParaRPr lang="en-US" dirty="0"/>
          </a:p>
          <a:p>
            <a:pPr marL="0" indent="0">
              <a:buClr>
                <a:srgbClr val="0070C0"/>
              </a:buClr>
              <a:buNone/>
            </a:pPr>
            <a:endParaRPr lang="en-US" dirty="0"/>
          </a:p>
          <a:p>
            <a:pPr marL="0" indent="0">
              <a:buClr>
                <a:srgbClr val="0070C0"/>
              </a:buClr>
              <a:buNone/>
            </a:pPr>
            <a:endParaRPr lang="en-US" dirty="0"/>
          </a:p>
        </p:txBody>
      </p:sp>
    </p:spTree>
    <p:extLst>
      <p:ext uri="{BB962C8B-B14F-4D97-AF65-F5344CB8AC3E}">
        <p14:creationId xmlns:p14="http://schemas.microsoft.com/office/powerpoint/2010/main" val="1923014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GOP Aims to Defeat Trump-District Democrats</a:t>
            </a:r>
          </a:p>
        </p:txBody>
      </p:sp>
      <p:sp>
        <p:nvSpPr>
          <p:cNvPr id="8" name="Text Placeholder 2"/>
          <p:cNvSpPr>
            <a:spLocks noGrp="1"/>
          </p:cNvSpPr>
          <p:nvPr>
            <p:ph type="body" sz="quarter" idx="10"/>
          </p:nvPr>
        </p:nvSpPr>
        <p:spPr>
          <a:xfrm>
            <a:off x="455611" y="1209181"/>
            <a:ext cx="8080718" cy="902788"/>
          </a:xfrm>
        </p:spPr>
        <p:txBody>
          <a:bodyPr/>
          <a:lstStyle/>
          <a:p>
            <a:pPr>
              <a:buClr>
                <a:srgbClr val="0070C0"/>
              </a:buClr>
            </a:pPr>
            <a:r>
              <a:rPr lang="en-US" dirty="0"/>
              <a:t>House Republicans released a list of more than </a:t>
            </a:r>
            <a:r>
              <a:rPr lang="en-US" dirty="0">
                <a:solidFill>
                  <a:schemeClr val="tx1"/>
                </a:solidFill>
              </a:rPr>
              <a:t>50</a:t>
            </a:r>
            <a:r>
              <a:rPr lang="en-US" dirty="0"/>
              <a:t> seats they intend to target in 2020</a:t>
            </a:r>
          </a:p>
          <a:p>
            <a:pPr>
              <a:buClr>
                <a:srgbClr val="0070C0"/>
              </a:buClr>
            </a:pPr>
            <a:r>
              <a:rPr lang="en-US" dirty="0">
                <a:solidFill>
                  <a:schemeClr val="tx1"/>
                </a:solidFill>
              </a:rPr>
              <a:t>Among them are 30 districts that Trump won in 2016 (</a:t>
            </a:r>
            <a:r>
              <a:rPr lang="en-US" u="sng" dirty="0">
                <a:solidFill>
                  <a:schemeClr val="tx1"/>
                </a:solidFill>
              </a:rPr>
              <a:t>underlined</a:t>
            </a:r>
            <a:r>
              <a:rPr lang="en-US" dirty="0">
                <a:solidFill>
                  <a:schemeClr val="tx1"/>
                </a:solidFill>
              </a:rPr>
              <a:t>)</a:t>
            </a:r>
          </a:p>
          <a:p>
            <a:pPr>
              <a:buClr>
                <a:srgbClr val="0070C0"/>
              </a:buClr>
            </a:pPr>
            <a:r>
              <a:rPr lang="en-US" dirty="0">
                <a:solidFill>
                  <a:schemeClr val="tx1"/>
                </a:solidFill>
              </a:rPr>
              <a:t>40 members are facing their first re-election bids</a:t>
            </a:r>
          </a:p>
        </p:txBody>
      </p:sp>
      <p:sp>
        <p:nvSpPr>
          <p:cNvPr id="9" name="Text Placeholder 4"/>
          <p:cNvSpPr>
            <a:spLocks noGrp="1"/>
          </p:cNvSpPr>
          <p:nvPr>
            <p:ph type="body" sz="quarter" idx="13"/>
          </p:nvPr>
        </p:nvSpPr>
        <p:spPr>
          <a:xfrm>
            <a:off x="455611" y="6029336"/>
            <a:ext cx="8228013" cy="365368"/>
          </a:xfrm>
        </p:spPr>
        <p:txBody>
          <a:bodyPr/>
          <a:lstStyle/>
          <a:p>
            <a:r>
              <a:rPr lang="en-US" dirty="0"/>
              <a:t>Source: National Republican Congressional Committee </a:t>
            </a:r>
            <a:r>
              <a:rPr lang="en-US" dirty="0">
                <a:hlinkClick r:id="rId2"/>
              </a:rPr>
              <a:t>press release</a:t>
            </a:r>
            <a:r>
              <a:rPr lang="en-US" dirty="0"/>
              <a:t> Feb. 8, 2019</a:t>
            </a:r>
          </a:p>
          <a:p>
            <a:r>
              <a:rPr lang="en-US" dirty="0"/>
              <a:t>Note: Horsford earlier served one term, but won his seat back in 2018; the 2020 election will be his first re-election bid</a:t>
            </a:r>
          </a:p>
        </p:txBody>
      </p:sp>
      <p:graphicFrame>
        <p:nvGraphicFramePr>
          <p:cNvPr id="10" name="Table 9"/>
          <p:cNvGraphicFramePr>
            <a:graphicFrameLocks noGrp="1"/>
          </p:cNvGraphicFramePr>
          <p:nvPr>
            <p:extLst>
              <p:ext uri="{D42A27DB-BD31-4B8C-83A1-F6EECF244321}">
                <p14:modId xmlns:p14="http://schemas.microsoft.com/office/powerpoint/2010/main" val="643715108"/>
              </p:ext>
            </p:extLst>
          </p:nvPr>
        </p:nvGraphicFramePr>
        <p:xfrm>
          <a:off x="455611" y="2092992"/>
          <a:ext cx="8249004" cy="3977640"/>
        </p:xfrm>
        <a:graphic>
          <a:graphicData uri="http://schemas.openxmlformats.org/drawingml/2006/table">
            <a:tbl>
              <a:tblPr firstRow="1" bandRow="1">
                <a:tableStyleId>{B301B821-A1FF-4177-AEE7-76D212191A09}</a:tableStyleId>
              </a:tblPr>
              <a:tblGrid>
                <a:gridCol w="2062251">
                  <a:extLst>
                    <a:ext uri="{9D8B030D-6E8A-4147-A177-3AD203B41FA5}">
                      <a16:colId xmlns:a16="http://schemas.microsoft.com/office/drawing/2014/main" val="20000"/>
                    </a:ext>
                  </a:extLst>
                </a:gridCol>
                <a:gridCol w="2062251">
                  <a:extLst>
                    <a:ext uri="{9D8B030D-6E8A-4147-A177-3AD203B41FA5}">
                      <a16:colId xmlns:a16="http://schemas.microsoft.com/office/drawing/2014/main" val="20001"/>
                    </a:ext>
                  </a:extLst>
                </a:gridCol>
                <a:gridCol w="2062251">
                  <a:extLst>
                    <a:ext uri="{9D8B030D-6E8A-4147-A177-3AD203B41FA5}">
                      <a16:colId xmlns:a16="http://schemas.microsoft.com/office/drawing/2014/main" val="20002"/>
                    </a:ext>
                  </a:extLst>
                </a:gridCol>
                <a:gridCol w="2062251">
                  <a:extLst>
                    <a:ext uri="{9D8B030D-6E8A-4147-A177-3AD203B41FA5}">
                      <a16:colId xmlns:a16="http://schemas.microsoft.com/office/drawing/2014/main" val="20003"/>
                    </a:ext>
                  </a:extLst>
                </a:gridCol>
              </a:tblGrid>
              <a:tr h="265176">
                <a:tc gridSpan="4">
                  <a:txBody>
                    <a:bodyPr/>
                    <a:lstStyle/>
                    <a:p>
                      <a:pPr algn="l"/>
                      <a:r>
                        <a:rPr lang="en-US" sz="1000" dirty="0"/>
                        <a:t>NRCC</a:t>
                      </a:r>
                      <a:r>
                        <a:rPr lang="en-US" sz="1000" baseline="0" dirty="0"/>
                        <a:t> Targets List           </a:t>
                      </a:r>
                      <a:endParaRPr lang="en-US" sz="1000" dirty="0">
                        <a:solidFill>
                          <a:schemeClr val="tx1"/>
                        </a:solidFill>
                        <a:latin typeface="+mn-lt"/>
                      </a:endParaRPr>
                    </a:p>
                  </a:txBody>
                  <a:tcPr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extLst>
                  <a:ext uri="{0D108BD9-81ED-4DB2-BD59-A6C34878D82A}">
                    <a16:rowId xmlns:a16="http://schemas.microsoft.com/office/drawing/2014/main" val="10000"/>
                  </a:ext>
                </a:extLst>
              </a:tr>
              <a:tr h="265176">
                <a:tc>
                  <a:txBody>
                    <a:bodyPr/>
                    <a:lstStyle/>
                    <a:p>
                      <a:pPr algn="l" fontAlgn="ctr"/>
                      <a:r>
                        <a:rPr lang="en-US" sz="1000" u="sng" strike="noStrike" dirty="0">
                          <a:effectLst/>
                        </a:rPr>
                        <a:t>AZ-01 – Tom O’Halleran</a:t>
                      </a:r>
                      <a:endParaRPr lang="en-US" sz="1000" b="0" i="0" u="sng" strike="noStrike" dirty="0">
                        <a:solidFill>
                          <a:srgbClr val="333333"/>
                        </a:solidFill>
                        <a:effectLst/>
                        <a:latin typeface="+mn-lt"/>
                      </a:endParaRPr>
                    </a:p>
                  </a:txBody>
                  <a:tcPr anchor="ctr"/>
                </a:tc>
                <a:tc>
                  <a:txBody>
                    <a:bodyPr/>
                    <a:lstStyle/>
                    <a:p>
                      <a:pPr algn="l" fontAlgn="ctr"/>
                      <a:r>
                        <a:rPr lang="en-US" sz="1000" u="sng" strike="noStrike" dirty="0">
                          <a:effectLst/>
                        </a:rPr>
                        <a:t>GA-06 – Lucy McBath</a:t>
                      </a:r>
                      <a:endParaRPr lang="en-US" sz="1000" b="1" i="0" u="sng" strike="noStrike" dirty="0">
                        <a:solidFill>
                          <a:srgbClr val="333333"/>
                        </a:solidFill>
                        <a:effectLst/>
                        <a:latin typeface="+mn-lt"/>
                      </a:endParaRPr>
                    </a:p>
                  </a:txBody>
                  <a:tcPr anchor="ctr"/>
                </a:tc>
                <a:tc>
                  <a:txBody>
                    <a:bodyPr/>
                    <a:lstStyle/>
                    <a:p>
                      <a:pPr algn="l" fontAlgn="ctr"/>
                      <a:r>
                        <a:rPr lang="en-US" sz="1000" u="sng" strike="noStrike" dirty="0">
                          <a:effectLst/>
                        </a:rPr>
                        <a:t>NH-01 – Chris Pappas</a:t>
                      </a:r>
                      <a:endParaRPr lang="en-US" sz="1000" b="1" i="0" u="sng" strike="noStrike" dirty="0">
                        <a:solidFill>
                          <a:srgbClr val="333333"/>
                        </a:solidFill>
                        <a:effectLst/>
                        <a:latin typeface="+mn-lt"/>
                      </a:endParaRPr>
                    </a:p>
                  </a:txBody>
                  <a:tcPr anchor="ctr"/>
                </a:tc>
                <a:tc>
                  <a:txBody>
                    <a:bodyPr/>
                    <a:lstStyle/>
                    <a:p>
                      <a:pPr algn="l" fontAlgn="ctr"/>
                      <a:r>
                        <a:rPr lang="en-US" sz="1000" u="none" strike="noStrike" dirty="0">
                          <a:effectLst/>
                        </a:rPr>
                        <a:t>PA-07 – Susan Wild</a:t>
                      </a:r>
                      <a:endParaRPr lang="en-US" sz="1000" b="1" i="0" u="none" strike="noStrike" dirty="0">
                        <a:solidFill>
                          <a:srgbClr val="333333"/>
                        </a:solidFill>
                        <a:effectLst/>
                        <a:latin typeface="+mn-lt"/>
                      </a:endParaRPr>
                    </a:p>
                  </a:txBody>
                  <a:tcPr anchor="ctr"/>
                </a:tc>
                <a:extLst>
                  <a:ext uri="{0D108BD9-81ED-4DB2-BD59-A6C34878D82A}">
                    <a16:rowId xmlns:a16="http://schemas.microsoft.com/office/drawing/2014/main" val="10001"/>
                  </a:ext>
                </a:extLst>
              </a:tr>
              <a:tr h="265176">
                <a:tc>
                  <a:txBody>
                    <a:bodyPr/>
                    <a:lstStyle/>
                    <a:p>
                      <a:pPr algn="l" fontAlgn="ctr"/>
                      <a:r>
                        <a:rPr lang="en-US" sz="1000" u="none" strike="noStrike" dirty="0">
                          <a:effectLst/>
                        </a:rPr>
                        <a:t>AZ-02 – Ann Kirkpatrick</a:t>
                      </a:r>
                      <a:endParaRPr lang="en-US" sz="1000" b="0" i="0" u="none" strike="noStrike" dirty="0">
                        <a:solidFill>
                          <a:srgbClr val="333333"/>
                        </a:solidFill>
                        <a:effectLst/>
                        <a:latin typeface="+mn-lt"/>
                      </a:endParaRPr>
                    </a:p>
                  </a:txBody>
                  <a:tcPr anchor="ctr"/>
                </a:tc>
                <a:tc>
                  <a:txBody>
                    <a:bodyPr/>
                    <a:lstStyle/>
                    <a:p>
                      <a:pPr algn="l" fontAlgn="ctr"/>
                      <a:r>
                        <a:rPr lang="en-US" sz="1000" u="sng" strike="noStrike" dirty="0">
                          <a:effectLst/>
                        </a:rPr>
                        <a:t>IA-01 – Abby Finkenauer</a:t>
                      </a:r>
                      <a:endParaRPr lang="en-US" sz="1000" b="1" i="0" u="sng" strike="noStrike" dirty="0">
                        <a:solidFill>
                          <a:srgbClr val="333333"/>
                        </a:solidFill>
                        <a:effectLst/>
                        <a:latin typeface="+mn-lt"/>
                      </a:endParaRPr>
                    </a:p>
                  </a:txBody>
                  <a:tcPr anchor="ctr"/>
                </a:tc>
                <a:tc>
                  <a:txBody>
                    <a:bodyPr/>
                    <a:lstStyle/>
                    <a:p>
                      <a:pPr algn="l" fontAlgn="ctr"/>
                      <a:r>
                        <a:rPr lang="en-US" sz="1000" u="sng" strike="noStrike" dirty="0">
                          <a:effectLst/>
                        </a:rPr>
                        <a:t>NJ-03 – Andy Kim</a:t>
                      </a:r>
                      <a:endParaRPr lang="en-US" sz="1000" b="1" i="0" u="sng" strike="noStrike" dirty="0">
                        <a:solidFill>
                          <a:srgbClr val="333333"/>
                        </a:solidFill>
                        <a:effectLst/>
                        <a:latin typeface="+mn-lt"/>
                      </a:endParaRPr>
                    </a:p>
                  </a:txBody>
                  <a:tcPr anchor="ctr"/>
                </a:tc>
                <a:tc>
                  <a:txBody>
                    <a:bodyPr/>
                    <a:lstStyle/>
                    <a:p>
                      <a:pPr algn="l" fontAlgn="ctr"/>
                      <a:r>
                        <a:rPr lang="en-US" sz="1000" u="sng" strike="noStrike" dirty="0">
                          <a:effectLst/>
                        </a:rPr>
                        <a:t>PA-08 – Matt Cartwright</a:t>
                      </a:r>
                      <a:endParaRPr lang="en-US" sz="1000" b="0" i="0" u="sng" strike="noStrike" dirty="0">
                        <a:solidFill>
                          <a:srgbClr val="333333"/>
                        </a:solidFill>
                        <a:effectLst/>
                        <a:latin typeface="+mn-lt"/>
                      </a:endParaRPr>
                    </a:p>
                  </a:txBody>
                  <a:tcPr anchor="ctr"/>
                </a:tc>
                <a:extLst>
                  <a:ext uri="{0D108BD9-81ED-4DB2-BD59-A6C34878D82A}">
                    <a16:rowId xmlns:a16="http://schemas.microsoft.com/office/drawing/2014/main" val="10002"/>
                  </a:ext>
                </a:extLst>
              </a:tr>
              <a:tr h="265176">
                <a:tc>
                  <a:txBody>
                    <a:bodyPr/>
                    <a:lstStyle/>
                    <a:p>
                      <a:pPr algn="l" fontAlgn="ctr"/>
                      <a:r>
                        <a:rPr lang="en-US" sz="1000" u="none" strike="noStrike" dirty="0">
                          <a:effectLst/>
                        </a:rPr>
                        <a:t>CA-10 – Josh Harder</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IA-02 – (Dave </a:t>
                      </a:r>
                      <a:r>
                        <a:rPr lang="en-US" sz="1000" u="sng" strike="noStrike" dirty="0" err="1">
                          <a:effectLst/>
                        </a:rPr>
                        <a:t>Loebsack</a:t>
                      </a:r>
                      <a:r>
                        <a:rPr lang="en-US" sz="1000" u="sng" strike="noStrike" baseline="0" dirty="0">
                          <a:effectLst/>
                        </a:rPr>
                        <a:t>, retiring)</a:t>
                      </a:r>
                      <a:endParaRPr lang="en-US" sz="1000" b="0" i="0" u="sng" strike="noStrike" dirty="0">
                        <a:solidFill>
                          <a:schemeClr val="tx1"/>
                        </a:solidFill>
                        <a:effectLst/>
                        <a:latin typeface="+mn-lt"/>
                      </a:endParaRPr>
                    </a:p>
                  </a:txBody>
                  <a:tcPr anchor="ctr"/>
                </a:tc>
                <a:tc>
                  <a:txBody>
                    <a:bodyPr/>
                    <a:lstStyle/>
                    <a:p>
                      <a:pPr algn="l" fontAlgn="ctr"/>
                      <a:r>
                        <a:rPr lang="en-US" sz="1000" u="sng" strike="noStrike" dirty="0">
                          <a:effectLst/>
                        </a:rPr>
                        <a:t>NJ-05 – Josh Gottheimer</a:t>
                      </a:r>
                      <a:endParaRPr lang="en-US" sz="1000" b="0" i="0" u="sng" strike="noStrike" dirty="0">
                        <a:solidFill>
                          <a:srgbClr val="333333"/>
                        </a:solidFill>
                        <a:effectLst/>
                        <a:latin typeface="+mn-lt"/>
                      </a:endParaRPr>
                    </a:p>
                  </a:txBody>
                  <a:tcPr anchor="ctr"/>
                </a:tc>
                <a:tc>
                  <a:txBody>
                    <a:bodyPr/>
                    <a:lstStyle/>
                    <a:p>
                      <a:pPr algn="l" fontAlgn="ctr"/>
                      <a:r>
                        <a:rPr lang="en-US" sz="1000" u="sng" strike="noStrike" dirty="0">
                          <a:effectLst/>
                        </a:rPr>
                        <a:t>PA-17 – Conor Lamb</a:t>
                      </a:r>
                      <a:endParaRPr lang="en-US" sz="1000" b="0" i="0" u="sng" strike="noStrike" dirty="0">
                        <a:solidFill>
                          <a:srgbClr val="333333"/>
                        </a:solidFill>
                        <a:effectLst/>
                        <a:latin typeface="+mn-lt"/>
                      </a:endParaRPr>
                    </a:p>
                  </a:txBody>
                  <a:tcPr anchor="ctr"/>
                </a:tc>
                <a:extLst>
                  <a:ext uri="{0D108BD9-81ED-4DB2-BD59-A6C34878D82A}">
                    <a16:rowId xmlns:a16="http://schemas.microsoft.com/office/drawing/2014/main" val="10003"/>
                  </a:ext>
                </a:extLst>
              </a:tr>
              <a:tr h="265176">
                <a:tc>
                  <a:txBody>
                    <a:bodyPr/>
                    <a:lstStyle/>
                    <a:p>
                      <a:pPr algn="l" fontAlgn="ctr"/>
                      <a:r>
                        <a:rPr lang="en-US" sz="1000" u="none" strike="noStrike" dirty="0">
                          <a:effectLst/>
                        </a:rPr>
                        <a:t>CA-21 – TJ Cox</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IA-03 – Cindy Axne</a:t>
                      </a:r>
                      <a:endParaRPr lang="en-US" sz="1000" b="1" i="0" u="sng" strike="noStrike" dirty="0">
                        <a:solidFill>
                          <a:srgbClr val="333333"/>
                        </a:solidFill>
                        <a:effectLst/>
                        <a:latin typeface="+mn-lt"/>
                      </a:endParaRPr>
                    </a:p>
                  </a:txBody>
                  <a:tcPr anchor="ctr"/>
                </a:tc>
                <a:tc>
                  <a:txBody>
                    <a:bodyPr/>
                    <a:lstStyle/>
                    <a:p>
                      <a:pPr algn="l" fontAlgn="ctr"/>
                      <a:r>
                        <a:rPr lang="en-US" sz="1000" u="none" strike="noStrike" dirty="0">
                          <a:effectLst/>
                        </a:rPr>
                        <a:t>NJ-07 – Tom Malinowski</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SC-01 – Joe Cunningham</a:t>
                      </a:r>
                      <a:endParaRPr lang="en-US" sz="1000" b="1" i="0" u="sng" strike="noStrike" dirty="0">
                        <a:solidFill>
                          <a:srgbClr val="333333"/>
                        </a:solidFill>
                        <a:effectLst/>
                        <a:latin typeface="+mn-lt"/>
                      </a:endParaRPr>
                    </a:p>
                  </a:txBody>
                  <a:tcPr anchor="ctr"/>
                </a:tc>
                <a:extLst>
                  <a:ext uri="{0D108BD9-81ED-4DB2-BD59-A6C34878D82A}">
                    <a16:rowId xmlns:a16="http://schemas.microsoft.com/office/drawing/2014/main" val="10004"/>
                  </a:ext>
                </a:extLst>
              </a:tr>
              <a:tr h="265176">
                <a:tc>
                  <a:txBody>
                    <a:bodyPr/>
                    <a:lstStyle/>
                    <a:p>
                      <a:pPr algn="l" fontAlgn="ctr"/>
                      <a:r>
                        <a:rPr lang="en-US" sz="1000" u="none" strike="noStrike" spc="-30" dirty="0">
                          <a:effectLst/>
                        </a:rPr>
                        <a:t>CA-25 – </a:t>
                      </a:r>
                      <a:r>
                        <a:rPr lang="en-US" sz="1000" u="none" strike="noStrike" spc="-30" dirty="0">
                          <a:solidFill>
                            <a:schemeClr val="tx1"/>
                          </a:solidFill>
                          <a:effectLst/>
                        </a:rPr>
                        <a:t>(Open, Katie</a:t>
                      </a:r>
                      <a:r>
                        <a:rPr lang="en-US" sz="1000" u="none" strike="noStrike" spc="-30" baseline="0" dirty="0">
                          <a:solidFill>
                            <a:schemeClr val="tx1"/>
                          </a:solidFill>
                          <a:effectLst/>
                        </a:rPr>
                        <a:t> Hill resigned</a:t>
                      </a:r>
                      <a:r>
                        <a:rPr lang="en-US" sz="1000" u="none" strike="noStrike" spc="-30" dirty="0">
                          <a:solidFill>
                            <a:schemeClr val="tx1"/>
                          </a:solidFill>
                          <a:effectLst/>
                        </a:rPr>
                        <a:t>)</a:t>
                      </a:r>
                      <a:endParaRPr lang="en-US" sz="1000" b="1" i="0" u="none" strike="noStrike" spc="-30" dirty="0">
                        <a:solidFill>
                          <a:schemeClr val="tx1"/>
                        </a:solidFill>
                        <a:effectLst/>
                        <a:latin typeface="+mn-lt"/>
                      </a:endParaRPr>
                    </a:p>
                  </a:txBody>
                  <a:tcPr anchor="ctr"/>
                </a:tc>
                <a:tc>
                  <a:txBody>
                    <a:bodyPr/>
                    <a:lstStyle/>
                    <a:p>
                      <a:pPr algn="l" fontAlgn="ctr"/>
                      <a:r>
                        <a:rPr lang="en-US" sz="1000" u="none" strike="noStrike" dirty="0">
                          <a:effectLst/>
                        </a:rPr>
                        <a:t>IL-06 – Sean Casten</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NJ-11 – Mikie Sherrill</a:t>
                      </a:r>
                      <a:endParaRPr lang="en-US" sz="1000" b="1" i="0" u="sng" strike="noStrike" dirty="0">
                        <a:solidFill>
                          <a:srgbClr val="333333"/>
                        </a:solidFill>
                        <a:effectLst/>
                        <a:latin typeface="+mn-lt"/>
                      </a:endParaRPr>
                    </a:p>
                  </a:txBody>
                  <a:tcPr anchor="ctr"/>
                </a:tc>
                <a:tc>
                  <a:txBody>
                    <a:bodyPr/>
                    <a:lstStyle/>
                    <a:p>
                      <a:pPr algn="l" fontAlgn="ctr"/>
                      <a:r>
                        <a:rPr lang="en-US" sz="1000" u="none" strike="noStrike" dirty="0">
                          <a:effectLst/>
                        </a:rPr>
                        <a:t>TX-07 – Lizzie Fletcher</a:t>
                      </a:r>
                      <a:endParaRPr lang="en-US" sz="1000" b="1" i="0" u="none" strike="noStrike" dirty="0">
                        <a:solidFill>
                          <a:srgbClr val="333333"/>
                        </a:solidFill>
                        <a:effectLst/>
                        <a:latin typeface="+mn-lt"/>
                      </a:endParaRPr>
                    </a:p>
                  </a:txBody>
                  <a:tcPr anchor="ctr"/>
                </a:tc>
                <a:extLst>
                  <a:ext uri="{0D108BD9-81ED-4DB2-BD59-A6C34878D82A}">
                    <a16:rowId xmlns:a16="http://schemas.microsoft.com/office/drawing/2014/main" val="10005"/>
                  </a:ext>
                </a:extLst>
              </a:tr>
              <a:tr h="265176">
                <a:tc>
                  <a:txBody>
                    <a:bodyPr/>
                    <a:lstStyle/>
                    <a:p>
                      <a:pPr algn="l" fontAlgn="ctr"/>
                      <a:r>
                        <a:rPr lang="en-US" sz="1000" u="none" strike="noStrike" dirty="0">
                          <a:effectLst/>
                        </a:rPr>
                        <a:t>CA-39 – Gil Cisneros</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IL-14 – Lauren Underwood</a:t>
                      </a:r>
                      <a:endParaRPr lang="en-US" sz="1000" b="1" i="0" u="sng" strike="noStrike" dirty="0">
                        <a:solidFill>
                          <a:srgbClr val="333333"/>
                        </a:solidFill>
                        <a:effectLst/>
                        <a:latin typeface="+mn-lt"/>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u="sng" strike="noStrike" dirty="0">
                          <a:effectLst/>
                        </a:rPr>
                        <a:t>NM-02 – Xochitl Torres Small</a:t>
                      </a:r>
                      <a:endParaRPr lang="en-US" sz="1000" b="1" i="0" u="sng" strike="noStrike" dirty="0">
                        <a:solidFill>
                          <a:srgbClr val="333333"/>
                        </a:solidFill>
                        <a:effectLst/>
                        <a:latin typeface="+mn-lt"/>
                      </a:endParaRPr>
                    </a:p>
                  </a:txBody>
                  <a:tcPr anchor="ctr"/>
                </a:tc>
                <a:tc>
                  <a:txBody>
                    <a:bodyPr/>
                    <a:lstStyle/>
                    <a:p>
                      <a:pPr algn="l" fontAlgn="ctr"/>
                      <a:r>
                        <a:rPr lang="en-US" sz="1000" u="none" strike="noStrike" dirty="0">
                          <a:effectLst/>
                        </a:rPr>
                        <a:t>TX-32 – Colin Allred</a:t>
                      </a:r>
                      <a:endParaRPr lang="en-US" sz="1000" b="1" i="0" u="none" strike="noStrike" dirty="0">
                        <a:solidFill>
                          <a:srgbClr val="333333"/>
                        </a:solidFill>
                        <a:effectLst/>
                        <a:latin typeface="+mn-lt"/>
                      </a:endParaRPr>
                    </a:p>
                  </a:txBody>
                  <a:tcPr anchor="ctr"/>
                </a:tc>
                <a:extLst>
                  <a:ext uri="{0D108BD9-81ED-4DB2-BD59-A6C34878D82A}">
                    <a16:rowId xmlns:a16="http://schemas.microsoft.com/office/drawing/2014/main" val="10006"/>
                  </a:ext>
                </a:extLst>
              </a:tr>
              <a:tr h="265176">
                <a:tc>
                  <a:txBody>
                    <a:bodyPr/>
                    <a:lstStyle/>
                    <a:p>
                      <a:pPr algn="l" fontAlgn="ctr"/>
                      <a:r>
                        <a:rPr lang="en-US" sz="1000" u="none" strike="noStrike" dirty="0">
                          <a:effectLst/>
                        </a:rPr>
                        <a:t>CA-45 – Katie Porter</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IL-17 – Cheri Bustos</a:t>
                      </a:r>
                      <a:endParaRPr lang="en-US" sz="1000" b="0" i="0" u="sng" strike="noStrike" dirty="0">
                        <a:solidFill>
                          <a:srgbClr val="333333"/>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u="sng" strike="noStrike" dirty="0">
                          <a:effectLst/>
                        </a:rPr>
                        <a:t>NV-03 – Susie Lee </a:t>
                      </a:r>
                      <a:endParaRPr lang="en-US" sz="1000" b="1" i="0" u="sng" strike="noStrike" dirty="0">
                        <a:solidFill>
                          <a:schemeClr val="tx1"/>
                        </a:solidFill>
                        <a:effectLst/>
                        <a:latin typeface="+mn-lt"/>
                      </a:endParaRPr>
                    </a:p>
                  </a:txBody>
                  <a:tcPr anchor="ctr"/>
                </a:tc>
                <a:tc>
                  <a:txBody>
                    <a:bodyPr/>
                    <a:lstStyle/>
                    <a:p>
                      <a:pPr algn="l" fontAlgn="ctr"/>
                      <a:r>
                        <a:rPr lang="en-US" sz="1000" u="sng" strike="noStrike" dirty="0">
                          <a:effectLst/>
                        </a:rPr>
                        <a:t>UT-04 – Ben McAdams</a:t>
                      </a:r>
                      <a:endParaRPr lang="en-US" sz="1000" b="1" i="0" u="sng" strike="noStrike" dirty="0">
                        <a:solidFill>
                          <a:srgbClr val="333333"/>
                        </a:solidFill>
                        <a:effectLst/>
                        <a:latin typeface="+mn-lt"/>
                      </a:endParaRPr>
                    </a:p>
                  </a:txBody>
                  <a:tcPr anchor="ctr"/>
                </a:tc>
                <a:extLst>
                  <a:ext uri="{0D108BD9-81ED-4DB2-BD59-A6C34878D82A}">
                    <a16:rowId xmlns:a16="http://schemas.microsoft.com/office/drawing/2014/main" val="10009"/>
                  </a:ext>
                </a:extLst>
              </a:tr>
              <a:tr h="265176">
                <a:tc>
                  <a:txBody>
                    <a:bodyPr/>
                    <a:lstStyle/>
                    <a:p>
                      <a:pPr algn="l" fontAlgn="ctr"/>
                      <a:r>
                        <a:rPr lang="en-US" sz="1000" u="none" strike="noStrike" dirty="0">
                          <a:effectLst/>
                        </a:rPr>
                        <a:t>CA-48 – Harley Rouda</a:t>
                      </a:r>
                      <a:endParaRPr lang="en-US" sz="1000" b="1" i="0" u="none" strike="noStrike" dirty="0">
                        <a:solidFill>
                          <a:srgbClr val="333333"/>
                        </a:solidFill>
                        <a:effectLst/>
                        <a:latin typeface="+mn-lt"/>
                      </a:endParaRPr>
                    </a:p>
                  </a:txBody>
                  <a:tcPr anchor="ctr"/>
                </a:tc>
                <a:tc>
                  <a:txBody>
                    <a:bodyPr/>
                    <a:lstStyle/>
                    <a:p>
                      <a:pPr algn="l" fontAlgn="ctr"/>
                      <a:r>
                        <a:rPr lang="en-US" sz="1000" u="none" strike="noStrike" dirty="0">
                          <a:effectLst/>
                        </a:rPr>
                        <a:t>KS-03 – Sharice Davids</a:t>
                      </a:r>
                      <a:endParaRPr lang="en-US" sz="1000" b="1" i="0" u="none" strike="noStrike" dirty="0">
                        <a:solidFill>
                          <a:srgbClr val="333333"/>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u="none" strike="noStrike" dirty="0">
                          <a:effectLst/>
                        </a:rPr>
                        <a:t>NV-04 – Steven Horsford</a:t>
                      </a:r>
                      <a:endParaRPr lang="en-US" sz="1000" b="0" i="0" u="none" strike="noStrike" dirty="0">
                        <a:solidFill>
                          <a:schemeClr val="tx1"/>
                        </a:solidFill>
                        <a:effectLst/>
                        <a:latin typeface="+mn-lt"/>
                      </a:endParaRPr>
                    </a:p>
                  </a:txBody>
                  <a:tcPr anchor="ctr"/>
                </a:tc>
                <a:tc>
                  <a:txBody>
                    <a:bodyPr/>
                    <a:lstStyle/>
                    <a:p>
                      <a:pPr algn="l" fontAlgn="ctr"/>
                      <a:r>
                        <a:rPr lang="en-US" sz="1000" u="sng" strike="noStrike" dirty="0">
                          <a:effectLst/>
                        </a:rPr>
                        <a:t>VA-02 – Elaine Luria</a:t>
                      </a:r>
                      <a:endParaRPr lang="en-US" sz="1000" b="1" i="0" u="sng" strike="noStrike" dirty="0">
                        <a:solidFill>
                          <a:srgbClr val="333333"/>
                        </a:solidFill>
                        <a:effectLst/>
                        <a:latin typeface="+mn-lt"/>
                      </a:endParaRPr>
                    </a:p>
                  </a:txBody>
                  <a:tcPr anchor="ctr"/>
                </a:tc>
                <a:extLst>
                  <a:ext uri="{0D108BD9-81ED-4DB2-BD59-A6C34878D82A}">
                    <a16:rowId xmlns:a16="http://schemas.microsoft.com/office/drawing/2014/main" val="10007"/>
                  </a:ext>
                </a:extLst>
              </a:tr>
              <a:tr h="265176">
                <a:tc>
                  <a:txBody>
                    <a:bodyPr/>
                    <a:lstStyle/>
                    <a:p>
                      <a:pPr algn="l" fontAlgn="ctr"/>
                      <a:r>
                        <a:rPr lang="en-US" sz="1000" u="none" strike="noStrike" dirty="0">
                          <a:effectLst/>
                        </a:rPr>
                        <a:t>CA-49 – Mike Levin</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ME-02 – Jared Golden</a:t>
                      </a:r>
                      <a:endParaRPr lang="en-US" sz="1000" b="1" i="0" u="sng" strike="noStrike" dirty="0">
                        <a:solidFill>
                          <a:srgbClr val="333333"/>
                        </a:solidFill>
                        <a:effectLst/>
                        <a:latin typeface="+mn-lt"/>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u="sng" strike="noStrike" dirty="0">
                          <a:effectLst/>
                        </a:rPr>
                        <a:t>NY-11 – Max Rose</a:t>
                      </a:r>
                      <a:endParaRPr lang="en-US" sz="1000" b="1" i="0" u="sng" strike="noStrike" dirty="0">
                        <a:solidFill>
                          <a:srgbClr val="333333"/>
                        </a:solidFill>
                        <a:effectLst/>
                        <a:latin typeface="+mn-lt"/>
                      </a:endParaRPr>
                    </a:p>
                  </a:txBody>
                  <a:tcPr anchor="ctr"/>
                </a:tc>
                <a:tc>
                  <a:txBody>
                    <a:bodyPr/>
                    <a:lstStyle/>
                    <a:p>
                      <a:pPr algn="l" fontAlgn="ctr"/>
                      <a:r>
                        <a:rPr lang="en-US" sz="1000" u="sng" strike="noStrike" dirty="0">
                          <a:effectLst/>
                        </a:rPr>
                        <a:t>VA-07 – Abigail Spanberger</a:t>
                      </a:r>
                      <a:endParaRPr lang="en-US" sz="1000" b="1" i="0" u="sng" strike="noStrike" dirty="0">
                        <a:solidFill>
                          <a:srgbClr val="333333"/>
                        </a:solidFill>
                        <a:effectLst/>
                        <a:latin typeface="+mn-lt"/>
                      </a:endParaRPr>
                    </a:p>
                  </a:txBody>
                  <a:tcPr anchor="ctr"/>
                </a:tc>
                <a:extLst>
                  <a:ext uri="{0D108BD9-81ED-4DB2-BD59-A6C34878D82A}">
                    <a16:rowId xmlns:a16="http://schemas.microsoft.com/office/drawing/2014/main" val="10008"/>
                  </a:ext>
                </a:extLst>
              </a:tr>
              <a:tr h="265176">
                <a:tc>
                  <a:txBody>
                    <a:bodyPr/>
                    <a:lstStyle/>
                    <a:p>
                      <a:pPr algn="l" fontAlgn="ctr"/>
                      <a:r>
                        <a:rPr lang="en-US" sz="1000" u="none" strike="noStrike" dirty="0">
                          <a:effectLst/>
                        </a:rPr>
                        <a:t>CO-06 – Jason Crow</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MI-08 – Elissa Slotkin</a:t>
                      </a:r>
                      <a:endParaRPr lang="en-US" sz="1000" b="1" i="0" u="sng" strike="noStrike" dirty="0">
                        <a:solidFill>
                          <a:srgbClr val="333333"/>
                        </a:solidFill>
                        <a:effectLst/>
                        <a:latin typeface="+mn-lt"/>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u="sng" strike="noStrike" dirty="0">
                          <a:effectLst/>
                        </a:rPr>
                        <a:t>NY-18 – Sean Patrick Maloney</a:t>
                      </a:r>
                      <a:endParaRPr lang="en-US" sz="1000" b="0" i="0" u="sng" strike="noStrike" dirty="0">
                        <a:solidFill>
                          <a:srgbClr val="333333"/>
                        </a:solidFill>
                        <a:effectLst/>
                        <a:latin typeface="+mn-lt"/>
                      </a:endParaRPr>
                    </a:p>
                  </a:txBody>
                  <a:tcPr anchor="ctr"/>
                </a:tc>
                <a:tc>
                  <a:txBody>
                    <a:bodyPr/>
                    <a:lstStyle/>
                    <a:p>
                      <a:pPr algn="l" fontAlgn="ctr"/>
                      <a:r>
                        <a:rPr lang="en-US" sz="1000" u="none" strike="noStrike" dirty="0">
                          <a:effectLst/>
                        </a:rPr>
                        <a:t>VA-10 – Jennifer Wexton</a:t>
                      </a:r>
                      <a:endParaRPr lang="en-US" sz="1000" b="1" i="0" u="none" strike="noStrike" dirty="0">
                        <a:solidFill>
                          <a:srgbClr val="333333"/>
                        </a:solidFill>
                        <a:effectLst/>
                        <a:latin typeface="+mn-lt"/>
                      </a:endParaRPr>
                    </a:p>
                  </a:txBody>
                  <a:tcPr anchor="ctr"/>
                </a:tc>
                <a:extLst>
                  <a:ext uri="{0D108BD9-81ED-4DB2-BD59-A6C34878D82A}">
                    <a16:rowId xmlns:a16="http://schemas.microsoft.com/office/drawing/2014/main" val="10010"/>
                  </a:ext>
                </a:extLst>
              </a:tr>
              <a:tr h="265176">
                <a:tc>
                  <a:txBody>
                    <a:bodyPr/>
                    <a:lstStyle/>
                    <a:p>
                      <a:pPr algn="l" fontAlgn="ctr"/>
                      <a:r>
                        <a:rPr lang="en-US" sz="1000" u="none" strike="noStrike">
                          <a:effectLst/>
                        </a:rPr>
                        <a:t>FL-07 – Stephanie Murphy</a:t>
                      </a:r>
                      <a:endParaRPr lang="en-US" sz="1000" b="0" i="0" u="none" strike="noStrike">
                        <a:solidFill>
                          <a:srgbClr val="333333"/>
                        </a:solidFill>
                        <a:effectLst/>
                        <a:latin typeface="+mn-lt"/>
                      </a:endParaRPr>
                    </a:p>
                  </a:txBody>
                  <a:tcPr anchor="ctr"/>
                </a:tc>
                <a:tc>
                  <a:txBody>
                    <a:bodyPr/>
                    <a:lstStyle/>
                    <a:p>
                      <a:pPr algn="l" fontAlgn="ctr"/>
                      <a:r>
                        <a:rPr lang="en-US" sz="1000" u="sng" strike="noStrike" dirty="0">
                          <a:effectLst/>
                        </a:rPr>
                        <a:t>MI-11 – Haley Stevens</a:t>
                      </a:r>
                      <a:endParaRPr lang="en-US" sz="1000" b="1" i="0" u="sng" strike="noStrike" dirty="0">
                        <a:solidFill>
                          <a:srgbClr val="333333"/>
                        </a:solidFill>
                        <a:effectLst/>
                        <a:latin typeface="+mn-lt"/>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u="sng" strike="noStrike" dirty="0">
                          <a:effectLst/>
                        </a:rPr>
                        <a:t>NY-19 – Antonio Delgado</a:t>
                      </a:r>
                      <a:endParaRPr lang="en-US" sz="1000" b="1" i="0" u="sng" strike="noStrike" dirty="0">
                        <a:solidFill>
                          <a:srgbClr val="333333"/>
                        </a:solidFill>
                        <a:effectLst/>
                        <a:latin typeface="+mn-lt"/>
                      </a:endParaRPr>
                    </a:p>
                  </a:txBody>
                  <a:tcPr anchor="ctr"/>
                </a:tc>
                <a:tc>
                  <a:txBody>
                    <a:bodyPr/>
                    <a:lstStyle/>
                    <a:p>
                      <a:pPr algn="l" fontAlgn="ctr"/>
                      <a:r>
                        <a:rPr lang="en-US" sz="1000" u="none" strike="noStrike" dirty="0">
                          <a:effectLst/>
                        </a:rPr>
                        <a:t>WA-08 – Kim Schrier</a:t>
                      </a:r>
                      <a:endParaRPr lang="en-US" sz="1000" b="1" i="0" u="none" strike="noStrike" dirty="0">
                        <a:solidFill>
                          <a:srgbClr val="333333"/>
                        </a:solidFill>
                        <a:effectLst/>
                        <a:latin typeface="+mn-lt"/>
                      </a:endParaRPr>
                    </a:p>
                  </a:txBody>
                  <a:tcPr anchor="ctr"/>
                </a:tc>
                <a:extLst>
                  <a:ext uri="{0D108BD9-81ED-4DB2-BD59-A6C34878D82A}">
                    <a16:rowId xmlns:a16="http://schemas.microsoft.com/office/drawing/2014/main" val="10011"/>
                  </a:ext>
                </a:extLst>
              </a:tr>
              <a:tr h="265176">
                <a:tc>
                  <a:txBody>
                    <a:bodyPr/>
                    <a:lstStyle/>
                    <a:p>
                      <a:pPr algn="l" fontAlgn="ctr"/>
                      <a:r>
                        <a:rPr lang="en-US" sz="1000" u="none" strike="noStrike" dirty="0">
                          <a:effectLst/>
                        </a:rPr>
                        <a:t>FL-13 – Charlie Crist</a:t>
                      </a:r>
                      <a:endParaRPr lang="en-US" sz="1000" b="0" i="0" u="none" strike="noStrike" dirty="0">
                        <a:solidFill>
                          <a:srgbClr val="333333"/>
                        </a:solidFill>
                        <a:effectLst/>
                        <a:latin typeface="+mn-lt"/>
                      </a:endParaRPr>
                    </a:p>
                  </a:txBody>
                  <a:tcPr anchor="ctr"/>
                </a:tc>
                <a:tc>
                  <a:txBody>
                    <a:bodyPr/>
                    <a:lstStyle/>
                    <a:p>
                      <a:pPr algn="l" fontAlgn="ctr"/>
                      <a:r>
                        <a:rPr lang="en-US" sz="1000" u="sng" strike="noStrike" dirty="0">
                          <a:effectLst/>
                        </a:rPr>
                        <a:t>MN-02 – Angie Craig</a:t>
                      </a:r>
                      <a:endParaRPr lang="en-US" sz="1000" b="1" i="0" u="sng" strike="noStrike" dirty="0">
                        <a:solidFill>
                          <a:srgbClr val="333333"/>
                        </a:solidFill>
                        <a:effectLst/>
                        <a:latin typeface="+mn-lt"/>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u="sng" strike="noStrike" dirty="0">
                          <a:effectLst/>
                        </a:rPr>
                        <a:t>NY-22 – Anthony Brindisi</a:t>
                      </a:r>
                      <a:endParaRPr lang="en-US" sz="1000" b="1" i="0" u="sng" strike="noStrike" dirty="0">
                        <a:solidFill>
                          <a:srgbClr val="333333"/>
                        </a:solidFill>
                        <a:effectLst/>
                        <a:latin typeface="+mn-lt"/>
                      </a:endParaRPr>
                    </a:p>
                  </a:txBody>
                  <a:tcPr anchor="ctr"/>
                </a:tc>
                <a:tc>
                  <a:txBody>
                    <a:bodyPr/>
                    <a:lstStyle/>
                    <a:p>
                      <a:pPr algn="l" fontAlgn="ctr"/>
                      <a:r>
                        <a:rPr lang="en-US" sz="1000" u="sng" strike="noStrike" dirty="0">
                          <a:effectLst/>
                        </a:rPr>
                        <a:t>WI-03 – Ron Kind</a:t>
                      </a:r>
                      <a:endParaRPr lang="en-US" sz="1000" b="0" i="0" u="sng" strike="noStrike" dirty="0">
                        <a:solidFill>
                          <a:srgbClr val="333333"/>
                        </a:solidFill>
                        <a:effectLst/>
                        <a:latin typeface="+mn-lt"/>
                      </a:endParaRPr>
                    </a:p>
                  </a:txBody>
                  <a:tcPr anchor="ctr"/>
                </a:tc>
                <a:extLst>
                  <a:ext uri="{0D108BD9-81ED-4DB2-BD59-A6C34878D82A}">
                    <a16:rowId xmlns:a16="http://schemas.microsoft.com/office/drawing/2014/main" val="10012"/>
                  </a:ext>
                </a:extLst>
              </a:tr>
              <a:tr h="265176">
                <a:tc>
                  <a:txBody>
                    <a:bodyPr/>
                    <a:lstStyle/>
                    <a:p>
                      <a:pPr algn="l" fontAlgn="ctr"/>
                      <a:r>
                        <a:rPr lang="en-US" sz="1000" u="none" strike="noStrike" dirty="0">
                          <a:effectLst/>
                        </a:rPr>
                        <a:t>FL-26 – Debbie Mucarsel-Powell</a:t>
                      </a:r>
                      <a:endParaRPr lang="en-US" sz="1000" b="1" i="0" u="none" strike="noStrike" dirty="0">
                        <a:solidFill>
                          <a:srgbClr val="333333"/>
                        </a:solidFill>
                        <a:effectLst/>
                        <a:latin typeface="+mn-lt"/>
                      </a:endParaRPr>
                    </a:p>
                  </a:txBody>
                  <a:tcPr anchor="ctr"/>
                </a:tc>
                <a:tc>
                  <a:txBody>
                    <a:bodyPr/>
                    <a:lstStyle/>
                    <a:p>
                      <a:pPr algn="l" fontAlgn="ctr"/>
                      <a:r>
                        <a:rPr lang="en-US" sz="1000" u="none" strike="noStrike" dirty="0">
                          <a:effectLst/>
                        </a:rPr>
                        <a:t>MN-03 – Dean Phillips</a:t>
                      </a:r>
                      <a:endParaRPr lang="en-US" sz="1000" b="1" i="0" u="none" strike="noStrike" dirty="0">
                        <a:solidFill>
                          <a:srgbClr val="333333"/>
                        </a:solidFill>
                        <a:effectLst/>
                        <a:latin typeface="+mn-lt"/>
                      </a:endParaRPr>
                    </a:p>
                  </a:txBody>
                  <a:tcPr anchor="ct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en-US" sz="1000" u="sng" strike="noStrike" dirty="0">
                          <a:effectLst/>
                        </a:rPr>
                        <a:t>OK-05 – Kendra Horn</a:t>
                      </a:r>
                      <a:endParaRPr lang="en-US" sz="1000" b="1" i="0" u="sng" strike="noStrike" dirty="0">
                        <a:solidFill>
                          <a:srgbClr val="333333"/>
                        </a:solidFill>
                        <a:effectLst/>
                        <a:latin typeface="+mn-lt"/>
                      </a:endParaRPr>
                    </a:p>
                  </a:txBody>
                  <a:tcPr anchor="ctr"/>
                </a:tc>
                <a:tc>
                  <a:txBody>
                    <a:bodyPr/>
                    <a:lstStyle/>
                    <a:p>
                      <a:endParaRPr lang="en-US" sz="1000" dirty="0"/>
                    </a:p>
                  </a:txBody>
                  <a:tcPr anchor="ctr"/>
                </a:tc>
                <a:extLst>
                  <a:ext uri="{0D108BD9-81ED-4DB2-BD59-A6C34878D82A}">
                    <a16:rowId xmlns:a16="http://schemas.microsoft.com/office/drawing/2014/main" val="10013"/>
                  </a:ext>
                </a:extLst>
              </a:tr>
              <a:tr h="265176">
                <a:tc>
                  <a:txBody>
                    <a:bodyPr/>
                    <a:lstStyle/>
                    <a:p>
                      <a:pPr algn="l" fontAlgn="ctr"/>
                      <a:r>
                        <a:rPr lang="en-US" sz="1000" u="none" strike="noStrike" dirty="0">
                          <a:effectLst/>
                        </a:rPr>
                        <a:t>FL-27 – Donna Shalala</a:t>
                      </a:r>
                      <a:endParaRPr lang="en-US" sz="1000" b="1" i="0" u="none" strike="noStrike" dirty="0">
                        <a:solidFill>
                          <a:srgbClr val="333333"/>
                        </a:solidFill>
                        <a:effectLst/>
                        <a:latin typeface="+mn-lt"/>
                      </a:endParaRPr>
                    </a:p>
                  </a:txBody>
                  <a:tcPr anchor="ctr"/>
                </a:tc>
                <a:tc>
                  <a:txBody>
                    <a:bodyPr/>
                    <a:lstStyle/>
                    <a:p>
                      <a:pPr algn="l" fontAlgn="ctr"/>
                      <a:r>
                        <a:rPr lang="en-US" sz="1000" u="sng" strike="noStrike" dirty="0">
                          <a:effectLst/>
                        </a:rPr>
                        <a:t>MN-07 – Collin Peterson</a:t>
                      </a:r>
                      <a:endParaRPr lang="en-US" sz="1000" b="0" i="0" u="sng" strike="noStrike" dirty="0">
                        <a:solidFill>
                          <a:srgbClr val="333333"/>
                        </a:solidFill>
                        <a:effectLst/>
                        <a:latin typeface="+mn-lt"/>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u="none" strike="noStrike" dirty="0">
                          <a:effectLst/>
                        </a:rPr>
                        <a:t>OR-04 – Peter DeFazio</a:t>
                      </a:r>
                      <a:endParaRPr lang="en-US" sz="1000" b="0" i="0" u="none" strike="noStrike" dirty="0">
                        <a:solidFill>
                          <a:srgbClr val="333333"/>
                        </a:solidFill>
                        <a:effectLst/>
                        <a:latin typeface="+mn-lt"/>
                      </a:endParaRPr>
                    </a:p>
                  </a:txBody>
                  <a:tcPr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endParaRPr lang="en-US" sz="1000" b="1" i="0" u="sng" strike="noStrike" dirty="0">
                        <a:solidFill>
                          <a:srgbClr val="333333"/>
                        </a:solidFill>
                        <a:effectLst/>
                        <a:latin typeface="+mn-lt"/>
                      </a:endParaRPr>
                    </a:p>
                  </a:txBody>
                  <a:tcPr anchor="ctr"/>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27740906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Democrats Aim to Protect Their Freshmen</a:t>
            </a:r>
          </a:p>
        </p:txBody>
      </p:sp>
      <p:sp>
        <p:nvSpPr>
          <p:cNvPr id="5" name="Text Placeholder 4"/>
          <p:cNvSpPr>
            <a:spLocks noGrp="1"/>
          </p:cNvSpPr>
          <p:nvPr>
            <p:ph type="body" sz="quarter" idx="13"/>
          </p:nvPr>
        </p:nvSpPr>
        <p:spPr>
          <a:xfrm>
            <a:off x="457200" y="6188815"/>
            <a:ext cx="8228013" cy="274320"/>
          </a:xfrm>
        </p:spPr>
        <p:txBody>
          <a:bodyPr/>
          <a:lstStyle/>
          <a:p>
            <a:r>
              <a:rPr lang="en-US" dirty="0"/>
              <a:t>Source: Democratic Congressional Campaign Committee’s </a:t>
            </a:r>
            <a:r>
              <a:rPr lang="en-US" dirty="0">
                <a:hlinkClick r:id="rId2"/>
              </a:rPr>
              <a:t>Frontline</a:t>
            </a:r>
            <a:r>
              <a:rPr lang="en-US" dirty="0"/>
              <a:t> list</a:t>
            </a:r>
          </a:p>
        </p:txBody>
      </p:sp>
      <p:sp>
        <p:nvSpPr>
          <p:cNvPr id="6" name="Text Placeholder 2"/>
          <p:cNvSpPr txBox="1">
            <a:spLocks/>
          </p:cNvSpPr>
          <p:nvPr/>
        </p:nvSpPr>
        <p:spPr>
          <a:xfrm>
            <a:off x="457200" y="1270038"/>
            <a:ext cx="8507392" cy="957793"/>
          </a:xfrm>
          <a:prstGeom prst="rect">
            <a:avLst/>
          </a:prstGeom>
        </p:spPr>
        <p:txBody>
          <a:bodyPr vert="horz" lIns="0" tIns="45720" rIns="0" bIns="45720" rtlCol="0">
            <a:noAutofit/>
          </a:bodyPr>
          <a:lst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a:ln>
                  <a:noFill/>
                </a:ln>
                <a:solidFill>
                  <a:srgbClr val="000000"/>
                </a:solidFill>
                <a:effectLst/>
                <a:uLnTx/>
                <a:uFillTx/>
                <a:latin typeface="Arial" pitchFamily="34" charset="0"/>
                <a:ea typeface="+mn-ea"/>
                <a:cs typeface="Arial" pitchFamily="34" charset="0"/>
              </a:defRPr>
            </a:lvl1pPr>
            <a:lvl2pPr marL="231775" indent="-231775" algn="l" defTabSz="914400" rtl="0" eaLnBrk="1" latinLnBrk="0" hangingPunct="1">
              <a:spcBef>
                <a:spcPts val="0"/>
              </a:spcBef>
              <a:buClr>
                <a:srgbClr val="00C78B"/>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457200" indent="-225425" algn="l" defTabSz="914400" rtl="0" eaLnBrk="1" latinLnBrk="0" hangingPunct="1">
              <a:spcBef>
                <a:spcPts val="0"/>
              </a:spcBef>
              <a:buClr>
                <a:srgbClr val="81DD00"/>
              </a:buClr>
              <a:buFont typeface="Arial" pitchFamily="34" charset="0"/>
              <a:buChar char="•"/>
              <a:defRPr sz="1600" kern="1200">
                <a:solidFill>
                  <a:schemeClr val="tx1"/>
                </a:solidFill>
                <a:latin typeface="Arial" pitchFamily="34" charset="0"/>
                <a:ea typeface="+mn-ea"/>
                <a:cs typeface="Arial" pitchFamily="34" charset="0"/>
              </a:defRPr>
            </a:lvl3pPr>
            <a:lvl4pPr marL="688975" indent="-231775"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914400" indent="-22542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70C0"/>
              </a:buClr>
            </a:pPr>
            <a:r>
              <a:rPr lang="en-US" dirty="0"/>
              <a:t>House Democrats have a list of 42 competitive seats they intend to aggressively defend</a:t>
            </a:r>
          </a:p>
          <a:p>
            <a:pPr>
              <a:buClr>
                <a:srgbClr val="0070C0"/>
              </a:buClr>
            </a:pPr>
            <a:r>
              <a:rPr lang="en-US" dirty="0"/>
              <a:t>Most are suburban and have experienced rapid diverse population growth in recent years</a:t>
            </a:r>
          </a:p>
          <a:p>
            <a:pPr>
              <a:buClr>
                <a:srgbClr val="0070C0"/>
              </a:buClr>
            </a:pPr>
            <a:r>
              <a:rPr lang="en-US" dirty="0"/>
              <a:t>Nearly all of these districts feature lawmakers facing their first re-election bid</a:t>
            </a:r>
          </a:p>
        </p:txBody>
      </p:sp>
      <p:graphicFrame>
        <p:nvGraphicFramePr>
          <p:cNvPr id="7" name="Table 6"/>
          <p:cNvGraphicFramePr>
            <a:graphicFrameLocks noGrp="1"/>
          </p:cNvGraphicFramePr>
          <p:nvPr>
            <p:extLst>
              <p:ext uri="{D42A27DB-BD31-4B8C-83A1-F6EECF244321}">
                <p14:modId xmlns:p14="http://schemas.microsoft.com/office/powerpoint/2010/main" val="1944972424"/>
              </p:ext>
            </p:extLst>
          </p:nvPr>
        </p:nvGraphicFramePr>
        <p:xfrm>
          <a:off x="503207" y="2227831"/>
          <a:ext cx="8182008" cy="3840834"/>
        </p:xfrm>
        <a:graphic>
          <a:graphicData uri="http://schemas.openxmlformats.org/drawingml/2006/table">
            <a:tbl>
              <a:tblPr firstRow="1" bandRow="1">
                <a:tableStyleId>{B301B821-A1FF-4177-AEE7-76D212191A09}</a:tableStyleId>
              </a:tblPr>
              <a:tblGrid>
                <a:gridCol w="2045502">
                  <a:extLst>
                    <a:ext uri="{9D8B030D-6E8A-4147-A177-3AD203B41FA5}">
                      <a16:colId xmlns:a16="http://schemas.microsoft.com/office/drawing/2014/main" val="20000"/>
                    </a:ext>
                  </a:extLst>
                </a:gridCol>
                <a:gridCol w="2045502">
                  <a:extLst>
                    <a:ext uri="{9D8B030D-6E8A-4147-A177-3AD203B41FA5}">
                      <a16:colId xmlns:a16="http://schemas.microsoft.com/office/drawing/2014/main" val="20001"/>
                    </a:ext>
                  </a:extLst>
                </a:gridCol>
                <a:gridCol w="2045502">
                  <a:extLst>
                    <a:ext uri="{9D8B030D-6E8A-4147-A177-3AD203B41FA5}">
                      <a16:colId xmlns:a16="http://schemas.microsoft.com/office/drawing/2014/main" val="20002"/>
                    </a:ext>
                  </a:extLst>
                </a:gridCol>
                <a:gridCol w="2045502">
                  <a:extLst>
                    <a:ext uri="{9D8B030D-6E8A-4147-A177-3AD203B41FA5}">
                      <a16:colId xmlns:a16="http://schemas.microsoft.com/office/drawing/2014/main" val="20003"/>
                    </a:ext>
                  </a:extLst>
                </a:gridCol>
              </a:tblGrid>
              <a:tr h="225194">
                <a:tc gridSpan="4">
                  <a:txBody>
                    <a:bodyPr/>
                    <a:lstStyle/>
                    <a:p>
                      <a:pPr algn="l"/>
                      <a:r>
                        <a:rPr lang="en-US" sz="1000" dirty="0"/>
                        <a:t>DCCC Frontline Program</a:t>
                      </a:r>
                      <a:endParaRPr lang="en-US" sz="10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extLst>
                  <a:ext uri="{0D108BD9-81ED-4DB2-BD59-A6C34878D82A}">
                    <a16:rowId xmlns:a16="http://schemas.microsoft.com/office/drawing/2014/main" val="10000"/>
                  </a:ext>
                </a:extLst>
              </a:tr>
              <a:tr h="328662">
                <a:tc>
                  <a:txBody>
                    <a:bodyPr/>
                    <a:lstStyle/>
                    <a:p>
                      <a:pPr marL="0" marR="0" algn="l">
                        <a:lnSpc>
                          <a:spcPct val="107000"/>
                        </a:lnSpc>
                        <a:spcBef>
                          <a:spcPts val="0"/>
                        </a:spcBef>
                        <a:spcAft>
                          <a:spcPts val="0"/>
                        </a:spcAft>
                      </a:pPr>
                      <a:r>
                        <a:rPr lang="en-US" sz="1000" dirty="0">
                          <a:effectLst/>
                        </a:rPr>
                        <a:t>AZ-01</a:t>
                      </a:r>
                      <a:r>
                        <a:rPr lang="en-US" sz="1000" baseline="0" dirty="0">
                          <a:effectLst/>
                        </a:rPr>
                        <a:t> – </a:t>
                      </a:r>
                      <a:r>
                        <a:rPr lang="en-US" sz="1000" dirty="0">
                          <a:effectLst/>
                        </a:rPr>
                        <a:t>Tom O’Halleran</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IA-01 – Abby Finkenauer</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J-05 – Josh Gottheimer</a:t>
                      </a:r>
                      <a:endParaRPr lang="en-US"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PA-08 – Matt Cartwright</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328662">
                <a:tc>
                  <a:txBody>
                    <a:bodyPr/>
                    <a:lstStyle/>
                    <a:p>
                      <a:pPr marL="0" marR="0" algn="l">
                        <a:lnSpc>
                          <a:spcPct val="107000"/>
                        </a:lnSpc>
                        <a:spcBef>
                          <a:spcPts val="0"/>
                        </a:spcBef>
                        <a:spcAft>
                          <a:spcPts val="0"/>
                        </a:spcAft>
                      </a:pPr>
                      <a:r>
                        <a:rPr lang="en-US" sz="1000" dirty="0">
                          <a:effectLst/>
                        </a:rPr>
                        <a:t>CA-10 – Josh Harder</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IA-03 – Cindy Axne</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J-07 – Tom Malinowski</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PA-17 – Conor Lamb</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328662">
                <a:tc>
                  <a:txBody>
                    <a:bodyPr/>
                    <a:lstStyle/>
                    <a:p>
                      <a:pPr marL="0" marR="0" algn="l">
                        <a:lnSpc>
                          <a:spcPct val="107000"/>
                        </a:lnSpc>
                        <a:spcBef>
                          <a:spcPts val="0"/>
                        </a:spcBef>
                        <a:spcAft>
                          <a:spcPts val="0"/>
                        </a:spcAft>
                      </a:pPr>
                      <a:r>
                        <a:rPr lang="en-US" sz="1000" dirty="0">
                          <a:effectLst/>
                        </a:rPr>
                        <a:t>CA-21 –</a:t>
                      </a:r>
                      <a:r>
                        <a:rPr lang="en-US" sz="1000" baseline="0" dirty="0">
                          <a:effectLst/>
                        </a:rPr>
                        <a:t> </a:t>
                      </a:r>
                      <a:r>
                        <a:rPr lang="en-US" sz="1000" dirty="0">
                          <a:effectLst/>
                        </a:rPr>
                        <a:t>TJ Cox</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IL-06 – Sean Casten</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J-11 – Mikie Sherrill</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SC-01 – Joe Cunningham</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r h="328662">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rPr>
                        <a:t>CA-39</a:t>
                      </a:r>
                      <a:r>
                        <a:rPr lang="en-US" sz="1000" baseline="0" dirty="0">
                          <a:effectLst/>
                        </a:rPr>
                        <a:t> </a:t>
                      </a:r>
                      <a:r>
                        <a:rPr lang="en-US" sz="1000" dirty="0">
                          <a:effectLst/>
                        </a:rPr>
                        <a:t>–</a:t>
                      </a:r>
                      <a:r>
                        <a:rPr lang="en-US" sz="1000" baseline="0" dirty="0">
                          <a:effectLst/>
                        </a:rPr>
                        <a:t> </a:t>
                      </a:r>
                      <a:r>
                        <a:rPr lang="en-US" sz="1000" dirty="0">
                          <a:effectLst/>
                        </a:rPr>
                        <a:t>Gil Cisneros</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IL-14 – Lauren Underwood</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M-02 – Xochitl Torres Small</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TX-07 – Lizzie Fletcher</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4"/>
                  </a:ext>
                </a:extLst>
              </a:tr>
              <a:tr h="328662">
                <a:tc>
                  <a:txBody>
                    <a:bodyPr/>
                    <a:lstStyle/>
                    <a:p>
                      <a:pPr marL="0" marR="0" algn="l">
                        <a:lnSpc>
                          <a:spcPct val="107000"/>
                        </a:lnSpc>
                        <a:spcBef>
                          <a:spcPts val="0"/>
                        </a:spcBef>
                        <a:spcAft>
                          <a:spcPts val="0"/>
                        </a:spcAft>
                      </a:pPr>
                      <a:r>
                        <a:rPr lang="en-US" sz="1000" dirty="0">
                          <a:effectLst/>
                        </a:rPr>
                        <a:t>CA-45 –</a:t>
                      </a:r>
                      <a:r>
                        <a:rPr lang="en-US" sz="1000" baseline="0" dirty="0">
                          <a:effectLst/>
                        </a:rPr>
                        <a:t> </a:t>
                      </a:r>
                      <a:r>
                        <a:rPr lang="en-US" sz="1000" dirty="0">
                          <a:effectLst/>
                        </a:rPr>
                        <a:t>Katie Porter</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KS-03 – Sharice Davids</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V-03 – Susie Lee</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TX-32 – Colin Allred</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r h="328662">
                <a:tc>
                  <a:txBody>
                    <a:bodyPr/>
                    <a:lstStyle/>
                    <a:p>
                      <a:pPr marL="0" marR="0" algn="l">
                        <a:lnSpc>
                          <a:spcPct val="107000"/>
                        </a:lnSpc>
                        <a:spcBef>
                          <a:spcPts val="0"/>
                        </a:spcBef>
                        <a:spcAft>
                          <a:spcPts val="0"/>
                        </a:spcAft>
                      </a:pPr>
                      <a:r>
                        <a:rPr lang="en-US" sz="1000" dirty="0">
                          <a:effectLst/>
                        </a:rPr>
                        <a:t>CA-48 – Harley Rouda</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ME-02 – Jared Golden</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V-04 – Steven Horsford</a:t>
                      </a:r>
                      <a:endParaRPr lang="en-US" sz="1000" b="0"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UT-04 – Ben McAdams</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6"/>
                  </a:ext>
                </a:extLst>
              </a:tr>
              <a:tr h="328662">
                <a:tc>
                  <a:txBody>
                    <a:bodyPr/>
                    <a:lstStyle/>
                    <a:p>
                      <a:pPr marL="0" marR="0" algn="l">
                        <a:lnSpc>
                          <a:spcPct val="107000"/>
                        </a:lnSpc>
                        <a:spcBef>
                          <a:spcPts val="0"/>
                        </a:spcBef>
                        <a:spcAft>
                          <a:spcPts val="0"/>
                        </a:spcAft>
                      </a:pPr>
                      <a:r>
                        <a:rPr lang="en-US" sz="1000" dirty="0">
                          <a:effectLst/>
                        </a:rPr>
                        <a:t>CA-49 – Mike Levin</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MI-08 – Elissa Slotkin</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Y-11 – Max Rose</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VA-02 – Elaine Luria</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9"/>
                  </a:ext>
                </a:extLst>
              </a:tr>
              <a:tr h="328662">
                <a:tc>
                  <a:txBody>
                    <a:bodyPr/>
                    <a:lstStyle/>
                    <a:p>
                      <a:pPr marL="0" marR="0" algn="l">
                        <a:lnSpc>
                          <a:spcPct val="107000"/>
                        </a:lnSpc>
                        <a:spcBef>
                          <a:spcPts val="0"/>
                        </a:spcBef>
                        <a:spcAft>
                          <a:spcPts val="0"/>
                        </a:spcAft>
                      </a:pPr>
                      <a:r>
                        <a:rPr lang="en-US" sz="1000" dirty="0">
                          <a:effectLst/>
                        </a:rPr>
                        <a:t>CO-06 – Jason Crow</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MI-11 – Haley Stevens</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Y-19 – Antonio Delgado</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VA-07 – Abigail Spanberger</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7"/>
                  </a:ext>
                </a:extLst>
              </a:tr>
              <a:tr h="328662">
                <a:tc>
                  <a:txBody>
                    <a:bodyPr/>
                    <a:lstStyle/>
                    <a:p>
                      <a:pPr marL="0" marR="0" algn="l">
                        <a:lnSpc>
                          <a:spcPct val="107000"/>
                        </a:lnSpc>
                        <a:spcBef>
                          <a:spcPts val="0"/>
                        </a:spcBef>
                        <a:spcAft>
                          <a:spcPts val="0"/>
                        </a:spcAft>
                      </a:pPr>
                      <a:r>
                        <a:rPr lang="en-US" sz="1000" dirty="0">
                          <a:effectLst/>
                        </a:rPr>
                        <a:t>CT-05 – Jahana Hayes</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MN-02 – Angie Craig</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NY-22 – Anthony Brindisi</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effectLst/>
                        </a:rPr>
                        <a:t>WA-08 – Kim Schrier</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8"/>
                  </a:ext>
                </a:extLst>
              </a:tr>
              <a:tr h="328662">
                <a:tc>
                  <a:txBody>
                    <a:bodyPr/>
                    <a:lstStyle/>
                    <a:p>
                      <a:pPr marL="0" marR="0" algn="l">
                        <a:lnSpc>
                          <a:spcPct val="107000"/>
                        </a:lnSpc>
                        <a:spcBef>
                          <a:spcPts val="0"/>
                        </a:spcBef>
                        <a:spcAft>
                          <a:spcPts val="0"/>
                        </a:spcAft>
                      </a:pPr>
                      <a:r>
                        <a:rPr lang="en-US" sz="1000" dirty="0">
                          <a:effectLst/>
                        </a:rPr>
                        <a:t>FL-26 – Debbie Mucarsel-Powell</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NH-01 – Chris Pappas</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OK-05 – Kendra Horn</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endParaRPr lang="en-US" dirty="0"/>
                    </a:p>
                  </a:txBody>
                  <a:tcPr marL="68580" marR="68580" marT="0" marB="0" anchor="ctr"/>
                </a:tc>
                <a:extLst>
                  <a:ext uri="{0D108BD9-81ED-4DB2-BD59-A6C34878D82A}">
                    <a16:rowId xmlns:a16="http://schemas.microsoft.com/office/drawing/2014/main" val="10010"/>
                  </a:ext>
                </a:extLst>
              </a:tr>
              <a:tr h="32866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GA-06 – Lucy McBath</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NJ-03 – Andy Kim</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rPr>
                        <a:t>PA-07 – Susan Wild</a:t>
                      </a:r>
                      <a:endParaRPr lang="en-US" sz="1000" b="1" dirty="0">
                        <a:solidFill>
                          <a:schemeClr val="tx1"/>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endParaRPr lang="en-US" sz="1000" dirty="0"/>
                    </a:p>
                  </a:txBody>
                  <a:tcPr marL="68580" marR="68580" marT="0" marB="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77101758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Dems Seek Additional Suburban GOP Seats</a:t>
            </a:r>
          </a:p>
        </p:txBody>
      </p:sp>
      <p:sp>
        <p:nvSpPr>
          <p:cNvPr id="5" name="Text Placeholder 4"/>
          <p:cNvSpPr>
            <a:spLocks noGrp="1"/>
          </p:cNvSpPr>
          <p:nvPr>
            <p:ph type="body" sz="quarter" idx="13"/>
          </p:nvPr>
        </p:nvSpPr>
        <p:spPr>
          <a:xfrm>
            <a:off x="457199" y="6023242"/>
            <a:ext cx="8228013" cy="356912"/>
          </a:xfrm>
        </p:spPr>
        <p:txBody>
          <a:bodyPr/>
          <a:lstStyle/>
          <a:p>
            <a:r>
              <a:rPr lang="en-US" dirty="0"/>
              <a:t>Source: Democratic Congressional Campaign Committee </a:t>
            </a:r>
            <a:r>
              <a:rPr lang="en-US" dirty="0">
                <a:hlinkClick r:id="rId2"/>
              </a:rPr>
              <a:t>press release</a:t>
            </a:r>
            <a:r>
              <a:rPr lang="en-US" dirty="0"/>
              <a:t> Jan. 28, 2019, </a:t>
            </a:r>
            <a:r>
              <a:rPr lang="en-US" dirty="0">
                <a:hlinkClick r:id="rId3"/>
              </a:rPr>
              <a:t>press release</a:t>
            </a:r>
            <a:r>
              <a:rPr lang="en-US" dirty="0"/>
              <a:t> Aug. 15, 2019 and </a:t>
            </a:r>
            <a:r>
              <a:rPr lang="en-US" dirty="0">
                <a:hlinkClick r:id="rId4"/>
              </a:rPr>
              <a:t>press release</a:t>
            </a:r>
            <a:r>
              <a:rPr lang="en-US" dirty="0"/>
              <a:t> Jan. 16</a:t>
            </a:r>
          </a:p>
          <a:p>
            <a:r>
              <a:rPr lang="en-US" dirty="0"/>
              <a:t>Note: The DCCC has also identified CA-25 as a battlefield district, which most recently was held by Democrat Katie Hill, who resigned</a:t>
            </a:r>
          </a:p>
        </p:txBody>
      </p:sp>
      <p:sp>
        <p:nvSpPr>
          <p:cNvPr id="6" name="Text Placeholder 2"/>
          <p:cNvSpPr txBox="1">
            <a:spLocks/>
          </p:cNvSpPr>
          <p:nvPr/>
        </p:nvSpPr>
        <p:spPr>
          <a:xfrm>
            <a:off x="457200" y="1270038"/>
            <a:ext cx="8397433" cy="1296181"/>
          </a:xfrm>
          <a:prstGeom prst="rect">
            <a:avLst/>
          </a:prstGeom>
        </p:spPr>
        <p:txBody>
          <a:bodyPr vert="horz" lIns="0" tIns="45720" rIns="0" bIns="45720" rtlCol="0">
            <a:noAutofit/>
          </a:bodyPr>
          <a:lst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a:ln>
                  <a:noFill/>
                </a:ln>
                <a:solidFill>
                  <a:srgbClr val="000000"/>
                </a:solidFill>
                <a:effectLst/>
                <a:uLnTx/>
                <a:uFillTx/>
                <a:latin typeface="Arial" pitchFamily="34" charset="0"/>
                <a:ea typeface="+mn-ea"/>
                <a:cs typeface="Arial" pitchFamily="34" charset="0"/>
              </a:defRPr>
            </a:lvl1pPr>
            <a:lvl2pPr marL="231775" indent="-231775" algn="l" defTabSz="914400" rtl="0" eaLnBrk="1" latinLnBrk="0" hangingPunct="1">
              <a:spcBef>
                <a:spcPts val="0"/>
              </a:spcBef>
              <a:buClr>
                <a:srgbClr val="00C78B"/>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457200" indent="-225425" algn="l" defTabSz="914400" rtl="0" eaLnBrk="1" latinLnBrk="0" hangingPunct="1">
              <a:spcBef>
                <a:spcPts val="0"/>
              </a:spcBef>
              <a:buClr>
                <a:srgbClr val="81DD00"/>
              </a:buClr>
              <a:buFont typeface="Arial" pitchFamily="34" charset="0"/>
              <a:buChar char="•"/>
              <a:defRPr sz="1600" kern="1200">
                <a:solidFill>
                  <a:schemeClr val="tx1"/>
                </a:solidFill>
                <a:latin typeface="Arial" pitchFamily="34" charset="0"/>
                <a:ea typeface="+mn-ea"/>
                <a:cs typeface="Arial" pitchFamily="34" charset="0"/>
              </a:defRPr>
            </a:lvl3pPr>
            <a:lvl4pPr marL="688975" indent="-231775"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914400" indent="-22542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0070C0"/>
              </a:buClr>
            </a:pPr>
            <a:r>
              <a:rPr lang="en-US" sz="1500" dirty="0"/>
              <a:t>House Democrats are focused on flipping more than </a:t>
            </a:r>
            <a:r>
              <a:rPr lang="en-US" sz="1500" dirty="0">
                <a:solidFill>
                  <a:schemeClr val="tx1"/>
                </a:solidFill>
              </a:rPr>
              <a:t>40 </a:t>
            </a:r>
            <a:r>
              <a:rPr lang="en-US" sz="1500" dirty="0"/>
              <a:t>GOP-held or independent districts </a:t>
            </a:r>
          </a:p>
          <a:p>
            <a:pPr>
              <a:buClr>
                <a:srgbClr val="0070C0"/>
              </a:buClr>
            </a:pPr>
            <a:r>
              <a:rPr lang="en-US" sz="1500" dirty="0"/>
              <a:t>Most are suburban and have experienced rapid diverse population growth in recent years</a:t>
            </a:r>
          </a:p>
          <a:p>
            <a:pPr>
              <a:buClr>
                <a:srgbClr val="0070C0"/>
              </a:buClr>
            </a:pPr>
            <a:r>
              <a:rPr lang="en-US" sz="1500" dirty="0"/>
              <a:t>Texas has the most targeted races with seven</a:t>
            </a:r>
          </a:p>
          <a:p>
            <a:pPr>
              <a:buClr>
                <a:srgbClr val="0070C0"/>
              </a:buClr>
            </a:pPr>
            <a:r>
              <a:rPr lang="en-US" sz="1500" dirty="0">
                <a:solidFill>
                  <a:schemeClr val="tx1"/>
                </a:solidFill>
              </a:rPr>
              <a:t>Only three Republicans represent districts won by Hillary Clinton in 2016 (</a:t>
            </a:r>
            <a:r>
              <a:rPr lang="en-US" sz="1500" u="sng" dirty="0">
                <a:solidFill>
                  <a:schemeClr val="tx1"/>
                </a:solidFill>
              </a:rPr>
              <a:t>underlined</a:t>
            </a:r>
            <a:r>
              <a:rPr lang="en-US" sz="1500" dirty="0">
                <a:solidFill>
                  <a:schemeClr val="tx1"/>
                </a:solidFill>
              </a:rPr>
              <a:t>); there were more than 20 of these districts in 2018 </a:t>
            </a:r>
          </a:p>
          <a:p>
            <a:pPr marL="0" indent="0">
              <a:buNone/>
            </a:pPr>
            <a:endParaRPr lang="en-US" sz="1500" dirty="0"/>
          </a:p>
        </p:txBody>
      </p:sp>
      <p:graphicFrame>
        <p:nvGraphicFramePr>
          <p:cNvPr id="7" name="Table 6"/>
          <p:cNvGraphicFramePr>
            <a:graphicFrameLocks noGrp="1"/>
          </p:cNvGraphicFramePr>
          <p:nvPr>
            <p:extLst>
              <p:ext uri="{D42A27DB-BD31-4B8C-83A1-F6EECF244321}">
                <p14:modId xmlns:p14="http://schemas.microsoft.com/office/powerpoint/2010/main" val="1363108057"/>
              </p:ext>
            </p:extLst>
          </p:nvPr>
        </p:nvGraphicFramePr>
        <p:xfrm>
          <a:off x="540890" y="2571368"/>
          <a:ext cx="8230052" cy="3383280"/>
        </p:xfrm>
        <a:graphic>
          <a:graphicData uri="http://schemas.openxmlformats.org/drawingml/2006/table">
            <a:tbl>
              <a:tblPr firstRow="1" bandRow="1">
                <a:tableStyleId>{B301B821-A1FF-4177-AEE7-76D212191A09}</a:tableStyleId>
              </a:tblPr>
              <a:tblGrid>
                <a:gridCol w="2057513">
                  <a:extLst>
                    <a:ext uri="{9D8B030D-6E8A-4147-A177-3AD203B41FA5}">
                      <a16:colId xmlns:a16="http://schemas.microsoft.com/office/drawing/2014/main" val="20000"/>
                    </a:ext>
                  </a:extLst>
                </a:gridCol>
                <a:gridCol w="1880643">
                  <a:extLst>
                    <a:ext uri="{9D8B030D-6E8A-4147-A177-3AD203B41FA5}">
                      <a16:colId xmlns:a16="http://schemas.microsoft.com/office/drawing/2014/main" val="20001"/>
                    </a:ext>
                  </a:extLst>
                </a:gridCol>
                <a:gridCol w="2234383">
                  <a:extLst>
                    <a:ext uri="{9D8B030D-6E8A-4147-A177-3AD203B41FA5}">
                      <a16:colId xmlns:a16="http://schemas.microsoft.com/office/drawing/2014/main" val="20002"/>
                    </a:ext>
                  </a:extLst>
                </a:gridCol>
                <a:gridCol w="2057513">
                  <a:extLst>
                    <a:ext uri="{9D8B030D-6E8A-4147-A177-3AD203B41FA5}">
                      <a16:colId xmlns:a16="http://schemas.microsoft.com/office/drawing/2014/main" val="20003"/>
                    </a:ext>
                  </a:extLst>
                </a:gridCol>
              </a:tblGrid>
              <a:tr h="274320">
                <a:tc gridSpan="4">
                  <a:txBody>
                    <a:bodyPr/>
                    <a:lstStyle/>
                    <a:p>
                      <a:pPr algn="l"/>
                      <a:r>
                        <a:rPr lang="en-US" sz="900" dirty="0">
                          <a:latin typeface="+mn-lt"/>
                        </a:rPr>
                        <a:t>DCCC Offensive Battlefield</a:t>
                      </a:r>
                      <a:endParaRPr lang="en-US" sz="900" dirty="0">
                        <a:solidFill>
                          <a:schemeClr val="tx1"/>
                        </a:solidFill>
                        <a:latin typeface="+mn-lt"/>
                      </a:endParaRPr>
                    </a:p>
                  </a:txBody>
                  <a:tcPr marL="45720" marR="45720"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extLst>
                  <a:ext uri="{0D108BD9-81ED-4DB2-BD59-A6C34878D82A}">
                    <a16:rowId xmlns:a16="http://schemas.microsoft.com/office/drawing/2014/main" val="10000"/>
                  </a:ext>
                </a:extLst>
              </a:tr>
              <a:tr h="274320">
                <a:tc>
                  <a:txBody>
                    <a:bodyPr/>
                    <a:lstStyle/>
                    <a:p>
                      <a:r>
                        <a:rPr lang="en-US" sz="900" dirty="0">
                          <a:latin typeface="+mn-lt"/>
                        </a:rPr>
                        <a:t>AK-AL – Don Young</a:t>
                      </a: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IN-05 – (Susan Brooks,</a:t>
                      </a:r>
                      <a:r>
                        <a:rPr lang="en-US" sz="900" baseline="0" dirty="0">
                          <a:effectLst/>
                          <a:latin typeface="+mn-lt"/>
                        </a:rPr>
                        <a:t> </a:t>
                      </a:r>
                      <a:r>
                        <a:rPr lang="en-US" sz="900" dirty="0">
                          <a:effectLst/>
                          <a:latin typeface="+mn-lt"/>
                        </a:rPr>
                        <a:t>retiring)</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NC-13 – Ted Budd</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PA-16 – Mike Kelly</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01"/>
                  </a:ext>
                </a:extLst>
              </a:tr>
              <a:tr h="27432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dirty="0">
                          <a:latin typeface="+mn-lt"/>
                        </a:rPr>
                        <a:t>AZ-06 – Dave Schweikert</a:t>
                      </a:r>
                      <a:endParaRPr lang="en-US" sz="900" dirty="0">
                        <a:solidFill>
                          <a:schemeClr val="tx1"/>
                        </a:solidFill>
                        <a:latin typeface="+mn-lt"/>
                      </a:endParaRPr>
                    </a:p>
                  </a:txBody>
                  <a:tcPr marL="45720" marR="45720" anchor="ctr"/>
                </a:tc>
                <a:tc>
                  <a:txBody>
                    <a:bodyPr/>
                    <a:lstStyle/>
                    <a:p>
                      <a:pPr marL="0" marR="0" algn="l">
                        <a:lnSpc>
                          <a:spcPct val="107000"/>
                        </a:lnSpc>
                        <a:spcBef>
                          <a:spcPts val="0"/>
                        </a:spcBef>
                        <a:spcAft>
                          <a:spcPts val="0"/>
                        </a:spcAft>
                      </a:pPr>
                      <a:r>
                        <a:rPr lang="en-US" sz="900" dirty="0">
                          <a:solidFill>
                            <a:schemeClr val="tx1"/>
                          </a:solidFill>
                          <a:effectLst/>
                          <a:latin typeface="+mn-lt"/>
                          <a:ea typeface="Calibri" panose="020F0502020204030204" pitchFamily="34" charset="0"/>
                          <a:cs typeface="Times New Roman" panose="02020603050405020304" pitchFamily="18" charset="0"/>
                        </a:rPr>
                        <a:t>KS-02 – Steve Watkins</a:t>
                      </a: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NE-02 – Don Bacon</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r>
                        <a:rPr lang="en-US" sz="900" dirty="0">
                          <a:latin typeface="+mn-lt"/>
                        </a:rPr>
                        <a:t>TX-02 – Dan Crenshaw</a:t>
                      </a:r>
                    </a:p>
                  </a:txBody>
                  <a:tcPr marL="45720" marR="45720" anchor="ctr"/>
                </a:tc>
                <a:extLst>
                  <a:ext uri="{0D108BD9-81ED-4DB2-BD59-A6C34878D82A}">
                    <a16:rowId xmlns:a16="http://schemas.microsoft.com/office/drawing/2014/main" val="10002"/>
                  </a:ext>
                </a:extLst>
              </a:tr>
              <a:tr h="274320">
                <a:tc>
                  <a:txBody>
                    <a:bodyPr/>
                    <a:lstStyle/>
                    <a:p>
                      <a:pPr marL="0" marR="0" algn="l">
                        <a:lnSpc>
                          <a:spcPct val="107000"/>
                        </a:lnSpc>
                        <a:spcBef>
                          <a:spcPts val="0"/>
                        </a:spcBef>
                        <a:spcAft>
                          <a:spcPts val="0"/>
                        </a:spcAft>
                      </a:pPr>
                      <a:r>
                        <a:rPr lang="en-US" sz="900" dirty="0">
                          <a:effectLst/>
                          <a:latin typeface="+mn-lt"/>
                        </a:rPr>
                        <a:t>CA-22 – Devin Nunes</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KY-06 – Andy Barr</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r>
                        <a:rPr lang="en-US" sz="900" dirty="0">
                          <a:latin typeface="+mn-lt"/>
                        </a:rPr>
                        <a:t>NJ-02 – Jeff Van Drew</a:t>
                      </a: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TX-10 – Michael McCaul</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03"/>
                  </a:ext>
                </a:extLst>
              </a:tr>
              <a:tr h="274320">
                <a:tc>
                  <a:txBody>
                    <a:bodyPr/>
                    <a:lstStyle/>
                    <a:p>
                      <a:pPr marL="0" marR="0" algn="l">
                        <a:lnSpc>
                          <a:spcPct val="107000"/>
                        </a:lnSpc>
                        <a:spcBef>
                          <a:spcPts val="0"/>
                        </a:spcBef>
                        <a:spcAft>
                          <a:spcPts val="0"/>
                        </a:spcAft>
                      </a:pPr>
                      <a:r>
                        <a:rPr lang="en-US" sz="900" spc="-40" baseline="0" dirty="0">
                          <a:effectLst/>
                          <a:latin typeface="+mn-lt"/>
                        </a:rPr>
                        <a:t>CA-50 – (Open, Duncan Hunter, resigned)</a:t>
                      </a:r>
                      <a:endParaRPr lang="en-US" sz="900" spc="-40" baseline="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r>
                        <a:rPr lang="en-US" sz="900" dirty="0">
                          <a:latin typeface="+mn-lt"/>
                        </a:rPr>
                        <a:t>MI-03 – Justin</a:t>
                      </a:r>
                      <a:r>
                        <a:rPr lang="en-US" sz="900" baseline="0" dirty="0">
                          <a:latin typeface="+mn-lt"/>
                        </a:rPr>
                        <a:t> Amash (I)</a:t>
                      </a:r>
                      <a:endParaRPr lang="en-US" sz="900" dirty="0">
                        <a:latin typeface="+mn-lt"/>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NY-01 – Lee Zeldin</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TX-21 – Chip Roy</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04"/>
                  </a:ext>
                </a:extLst>
              </a:tr>
              <a:tr h="274320">
                <a:tc>
                  <a:txBody>
                    <a:bodyPr/>
                    <a:lstStyle/>
                    <a:p>
                      <a:pPr marL="0" marR="0" algn="l">
                        <a:lnSpc>
                          <a:spcPct val="107000"/>
                        </a:lnSpc>
                        <a:spcBef>
                          <a:spcPts val="0"/>
                        </a:spcBef>
                        <a:spcAft>
                          <a:spcPts val="0"/>
                        </a:spcAft>
                      </a:pPr>
                      <a:r>
                        <a:rPr lang="en-US" sz="900" dirty="0">
                          <a:effectLst/>
                          <a:latin typeface="+mn-lt"/>
                        </a:rPr>
                        <a:t>CO-03 – Scott Tipton</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MI-06 – Fred Upton</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NY-02 – Peter King</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TX-22 – (Pete Olson,</a:t>
                      </a:r>
                      <a:r>
                        <a:rPr lang="en-US" sz="900" baseline="0" dirty="0">
                          <a:effectLst/>
                          <a:latin typeface="+mn-lt"/>
                        </a:rPr>
                        <a:t> </a:t>
                      </a:r>
                      <a:r>
                        <a:rPr lang="en-US" sz="900" dirty="0">
                          <a:effectLst/>
                          <a:latin typeface="+mn-lt"/>
                        </a:rPr>
                        <a:t>retiring)</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05"/>
                  </a:ext>
                </a:extLst>
              </a:tr>
              <a:tr h="274320">
                <a:tc>
                  <a:txBody>
                    <a:bodyPr/>
                    <a:lstStyle/>
                    <a:p>
                      <a:pPr marL="0" marR="0" algn="l">
                        <a:lnSpc>
                          <a:spcPct val="107000"/>
                        </a:lnSpc>
                        <a:spcBef>
                          <a:spcPts val="0"/>
                        </a:spcBef>
                        <a:spcAft>
                          <a:spcPts val="0"/>
                        </a:spcAft>
                      </a:pPr>
                      <a:r>
                        <a:rPr lang="en-US" sz="900" dirty="0">
                          <a:effectLst/>
                          <a:latin typeface="+mn-lt"/>
                        </a:rPr>
                        <a:t>FL-15 – Ross Spano</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MN-01 – Jim Hagedorn</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u="sng" dirty="0">
                          <a:effectLst/>
                          <a:latin typeface="+mn-lt"/>
                        </a:rPr>
                        <a:t>NY-24 – John Katko</a:t>
                      </a:r>
                      <a:endParaRPr lang="en-US" sz="900" b="0" u="sng"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u="sng" dirty="0">
                          <a:effectLst/>
                          <a:latin typeface="+mn-lt"/>
                        </a:rPr>
                        <a:t>TX-23 – (Will Hurd,</a:t>
                      </a:r>
                      <a:r>
                        <a:rPr lang="en-US" sz="900" u="sng" baseline="0" dirty="0">
                          <a:effectLst/>
                          <a:latin typeface="+mn-lt"/>
                        </a:rPr>
                        <a:t> </a:t>
                      </a:r>
                      <a:r>
                        <a:rPr lang="en-US" sz="900" u="sng" dirty="0">
                          <a:effectLst/>
                          <a:latin typeface="+mn-lt"/>
                        </a:rPr>
                        <a:t>retiring)</a:t>
                      </a:r>
                      <a:endParaRPr lang="en-US" sz="900" b="0" u="sng"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06"/>
                  </a:ext>
                </a:extLst>
              </a:tr>
              <a:tr h="274320">
                <a:tc>
                  <a:txBody>
                    <a:bodyPr/>
                    <a:lstStyle/>
                    <a:p>
                      <a:pPr marL="0" marR="0" algn="l">
                        <a:lnSpc>
                          <a:spcPct val="107000"/>
                        </a:lnSpc>
                        <a:spcBef>
                          <a:spcPts val="0"/>
                        </a:spcBef>
                        <a:spcAft>
                          <a:spcPts val="0"/>
                        </a:spcAft>
                      </a:pPr>
                      <a:r>
                        <a:rPr lang="en-US" sz="900" dirty="0">
                          <a:solidFill>
                            <a:schemeClr val="tx1"/>
                          </a:solidFill>
                          <a:effectLst/>
                          <a:latin typeface="+mn-lt"/>
                          <a:ea typeface="Calibri" panose="020F0502020204030204" pitchFamily="34" charset="0"/>
                          <a:cs typeface="Times New Roman" panose="02020603050405020304" pitchFamily="18" charset="0"/>
                        </a:rPr>
                        <a:t>FL-16 – Vern</a:t>
                      </a:r>
                      <a:r>
                        <a:rPr lang="en-US" sz="900" baseline="0" dirty="0">
                          <a:solidFill>
                            <a:schemeClr val="tx1"/>
                          </a:solidFill>
                          <a:effectLst/>
                          <a:latin typeface="+mn-lt"/>
                          <a:ea typeface="Calibri" panose="020F0502020204030204" pitchFamily="34" charset="0"/>
                          <a:cs typeface="Times New Roman" panose="02020603050405020304" pitchFamily="18" charset="0"/>
                        </a:rPr>
                        <a:t> Buchanan</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MO-02 – Ann Wagner</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NY-27 – (Open, Chris Collins, resigned)</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TX-24 – (Kenny Marchant,</a:t>
                      </a:r>
                      <a:r>
                        <a:rPr lang="en-US" sz="900" baseline="0" dirty="0">
                          <a:effectLst/>
                          <a:latin typeface="+mn-lt"/>
                        </a:rPr>
                        <a:t> </a:t>
                      </a:r>
                      <a:r>
                        <a:rPr lang="en-US" sz="900" dirty="0">
                          <a:effectLst/>
                          <a:latin typeface="+mn-lt"/>
                        </a:rPr>
                        <a:t>retiring)</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09"/>
                  </a:ext>
                </a:extLst>
              </a:tr>
              <a:tr h="27432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FL-18 – Brian Mast</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r>
                        <a:rPr lang="en-US" sz="900" dirty="0">
                          <a:latin typeface="+mn-lt"/>
                        </a:rPr>
                        <a:t>MT-AL – (Greg</a:t>
                      </a:r>
                      <a:r>
                        <a:rPr lang="en-US" sz="900" baseline="0" dirty="0">
                          <a:latin typeface="+mn-lt"/>
                        </a:rPr>
                        <a:t> Gianforte, </a:t>
                      </a:r>
                      <a:br>
                        <a:rPr lang="en-US" sz="900" baseline="0" dirty="0">
                          <a:latin typeface="+mn-lt"/>
                        </a:rPr>
                      </a:br>
                      <a:r>
                        <a:rPr lang="en-US" sz="900" baseline="0" dirty="0">
                          <a:latin typeface="+mn-lt"/>
                        </a:rPr>
                        <a:t>running for governor)</a:t>
                      </a:r>
                      <a:endParaRPr lang="en-US" sz="900" dirty="0">
                        <a:latin typeface="+mn-lt"/>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OH-01 – Steve Chabot</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TX-31 – John Carter</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07"/>
                  </a:ext>
                </a:extLst>
              </a:tr>
              <a:tr h="274320">
                <a:tc>
                  <a:txBody>
                    <a:bodyPr/>
                    <a:lstStyle/>
                    <a:p>
                      <a:pPr marL="0" marR="0" algn="l">
                        <a:lnSpc>
                          <a:spcPct val="107000"/>
                        </a:lnSpc>
                        <a:spcBef>
                          <a:spcPts val="0"/>
                        </a:spcBef>
                        <a:spcAft>
                          <a:spcPts val="0"/>
                        </a:spcAft>
                      </a:pPr>
                      <a:r>
                        <a:rPr lang="en-US" sz="900" dirty="0">
                          <a:effectLst/>
                          <a:latin typeface="+mn-lt"/>
                        </a:rPr>
                        <a:t>GA-07 – (Rob Woodall,</a:t>
                      </a:r>
                      <a:r>
                        <a:rPr lang="en-US" sz="900" baseline="0" dirty="0">
                          <a:effectLst/>
                          <a:latin typeface="+mn-lt"/>
                        </a:rPr>
                        <a:t> </a:t>
                      </a:r>
                      <a:r>
                        <a:rPr lang="en-US" sz="900" dirty="0">
                          <a:effectLst/>
                          <a:latin typeface="+mn-lt"/>
                        </a:rPr>
                        <a:t>retiring)</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NC-02 – (George Holding, retiring)</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r>
                        <a:rPr lang="en-US" sz="900" dirty="0">
                          <a:latin typeface="+mn-lt"/>
                        </a:rPr>
                        <a:t>OH-12</a:t>
                      </a:r>
                      <a:r>
                        <a:rPr lang="en-US" sz="900" baseline="0" dirty="0">
                          <a:latin typeface="+mn-lt"/>
                        </a:rPr>
                        <a:t> – Troy Balderson</a:t>
                      </a:r>
                      <a:endParaRPr lang="en-US" sz="900" dirty="0">
                        <a:latin typeface="+mn-lt"/>
                      </a:endParaRPr>
                    </a:p>
                  </a:txBody>
                  <a:tcPr marL="45720" marR="45720" anchor="ctr"/>
                </a:tc>
                <a:tc>
                  <a:txBody>
                    <a:bodyPr/>
                    <a:lstStyle/>
                    <a:p>
                      <a:pPr marL="0" marR="0" algn="l">
                        <a:lnSpc>
                          <a:spcPct val="107000"/>
                        </a:lnSpc>
                        <a:spcBef>
                          <a:spcPts val="0"/>
                        </a:spcBef>
                        <a:spcAft>
                          <a:spcPts val="0"/>
                        </a:spcAft>
                      </a:pPr>
                      <a:r>
                        <a:rPr lang="en-US" sz="900" dirty="0">
                          <a:solidFill>
                            <a:schemeClr val="tx1"/>
                          </a:solidFill>
                          <a:effectLst/>
                          <a:latin typeface="+mn-lt"/>
                          <a:ea typeface="Calibri" panose="020F0502020204030204" pitchFamily="34" charset="0"/>
                          <a:cs typeface="Times New Roman" panose="02020603050405020304" pitchFamily="18" charset="0"/>
                        </a:rPr>
                        <a:t>VA-05 – Denver Riggleman</a:t>
                      </a:r>
                    </a:p>
                  </a:txBody>
                  <a:tcPr marL="45720" marR="45720" anchor="ctr"/>
                </a:tc>
                <a:extLst>
                  <a:ext uri="{0D108BD9-81ED-4DB2-BD59-A6C34878D82A}">
                    <a16:rowId xmlns:a16="http://schemas.microsoft.com/office/drawing/2014/main" val="10008"/>
                  </a:ext>
                </a:extLst>
              </a:tr>
              <a:tr h="274320">
                <a:tc>
                  <a:txBody>
                    <a:bodyPr/>
                    <a:lstStyle/>
                    <a:p>
                      <a:pPr marL="0" marR="0" algn="l">
                        <a:lnSpc>
                          <a:spcPct val="107000"/>
                        </a:lnSpc>
                        <a:spcBef>
                          <a:spcPts val="0"/>
                        </a:spcBef>
                        <a:spcAft>
                          <a:spcPts val="0"/>
                        </a:spcAft>
                      </a:pPr>
                      <a:r>
                        <a:rPr lang="en-US" sz="900" dirty="0">
                          <a:effectLst/>
                          <a:latin typeface="+mn-lt"/>
                        </a:rPr>
                        <a:t>IA-04 – Steve King</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r>
                        <a:rPr lang="en-US" sz="900" dirty="0">
                          <a:latin typeface="+mn-lt"/>
                        </a:rPr>
                        <a:t>NC-08 – Richard Hudson</a:t>
                      </a:r>
                    </a:p>
                  </a:txBody>
                  <a:tcPr marL="45720" marR="45720" anchor="ctr"/>
                </a:tc>
                <a:tc>
                  <a:txBody>
                    <a:bodyPr/>
                    <a:lstStyle/>
                    <a:p>
                      <a:pPr marL="0" marR="0" algn="l">
                        <a:lnSpc>
                          <a:spcPct val="107000"/>
                        </a:lnSpc>
                        <a:spcBef>
                          <a:spcPts val="0"/>
                        </a:spcBef>
                        <a:spcAft>
                          <a:spcPts val="0"/>
                        </a:spcAft>
                      </a:pPr>
                      <a:r>
                        <a:rPr lang="en-US" sz="900" u="sng" dirty="0">
                          <a:effectLst/>
                          <a:latin typeface="+mn-lt"/>
                        </a:rPr>
                        <a:t>PA-01 – Brian Fitzpatrick</a:t>
                      </a:r>
                      <a:endParaRPr lang="en-US" sz="900" b="0" u="sng"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900" dirty="0">
                          <a:effectLst/>
                          <a:latin typeface="+mn-lt"/>
                        </a:rPr>
                        <a:t>WA-03 – Jaime Herrera Beutler</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10010"/>
                  </a:ext>
                </a:extLst>
              </a:tr>
              <a:tr h="274320">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dirty="0">
                          <a:effectLst/>
                          <a:latin typeface="+mn-lt"/>
                        </a:rPr>
                        <a:t>IL-13 – Rodney Davis</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900" dirty="0">
                          <a:effectLst/>
                          <a:latin typeface="+mn-lt"/>
                        </a:rPr>
                        <a:t>NC-09 – Dan</a:t>
                      </a:r>
                      <a:r>
                        <a:rPr lang="en-US" sz="900" baseline="0" dirty="0">
                          <a:effectLst/>
                          <a:latin typeface="+mn-lt"/>
                        </a:rPr>
                        <a:t> Bishop</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r>
                        <a:rPr lang="en-US" sz="900" dirty="0">
                          <a:effectLst/>
                          <a:latin typeface="+mn-lt"/>
                        </a:rPr>
                        <a:t>PA-10 – Scott Perry</a:t>
                      </a: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tc>
                  <a:txBody>
                    <a:bodyPr/>
                    <a:lstStyle/>
                    <a:p>
                      <a:pPr marL="0" marR="0" algn="l">
                        <a:lnSpc>
                          <a:spcPct val="107000"/>
                        </a:lnSpc>
                        <a:spcBef>
                          <a:spcPts val="0"/>
                        </a:spcBef>
                        <a:spcAft>
                          <a:spcPts val="0"/>
                        </a:spcAft>
                      </a:pPr>
                      <a:endParaRPr lang="en-US" sz="900" dirty="0">
                        <a:solidFill>
                          <a:schemeClr val="tx1"/>
                        </a:solidFill>
                        <a:effectLst/>
                        <a:latin typeface="+mn-lt"/>
                        <a:ea typeface="Calibri" panose="020F0502020204030204" pitchFamily="34" charset="0"/>
                        <a:cs typeface="Times New Roman" panose="02020603050405020304" pitchFamily="18" charset="0"/>
                      </a:endParaRPr>
                    </a:p>
                  </a:txBody>
                  <a:tcPr marL="45720" marR="45720" anchor="ctr"/>
                </a:tc>
                <a:extLst>
                  <a:ext uri="{0D108BD9-81ED-4DB2-BD59-A6C34878D82A}">
                    <a16:rowId xmlns:a16="http://schemas.microsoft.com/office/drawing/2014/main" val="2687895647"/>
                  </a:ext>
                </a:extLst>
              </a:tr>
            </a:tbl>
          </a:graphicData>
        </a:graphic>
      </p:graphicFrame>
    </p:spTree>
    <p:extLst>
      <p:ext uri="{BB962C8B-B14F-4D97-AF65-F5344CB8AC3E}">
        <p14:creationId xmlns:p14="http://schemas.microsoft.com/office/powerpoint/2010/main" val="37979792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69121"/>
            <a:ext cx="8228013" cy="430887"/>
          </a:xfrm>
        </p:spPr>
        <p:txBody>
          <a:bodyPr/>
          <a:lstStyle/>
          <a:p>
            <a:r>
              <a:rPr lang="en-US" dirty="0"/>
              <a:t>House Races: Cook Ratings</a:t>
            </a:r>
          </a:p>
        </p:txBody>
      </p:sp>
      <p:sp>
        <p:nvSpPr>
          <p:cNvPr id="4" name="Text Placeholder 3"/>
          <p:cNvSpPr>
            <a:spLocks noGrp="1"/>
          </p:cNvSpPr>
          <p:nvPr>
            <p:ph type="body" sz="quarter" idx="11"/>
          </p:nvPr>
        </p:nvSpPr>
        <p:spPr>
          <a:xfrm>
            <a:off x="457197" y="1033302"/>
            <a:ext cx="8228013" cy="374939"/>
          </a:xfrm>
        </p:spPr>
        <p:txBody>
          <a:bodyPr/>
          <a:lstStyle/>
          <a:p>
            <a:r>
              <a:rPr lang="en-US" dirty="0"/>
              <a:t>An edge for Democrats to maintain control</a:t>
            </a:r>
          </a:p>
        </p:txBody>
      </p:sp>
      <p:sp>
        <p:nvSpPr>
          <p:cNvPr id="5" name="Text Placeholder 4"/>
          <p:cNvSpPr>
            <a:spLocks noGrp="1"/>
          </p:cNvSpPr>
          <p:nvPr>
            <p:ph type="body" sz="quarter" idx="13"/>
          </p:nvPr>
        </p:nvSpPr>
        <p:spPr>
          <a:xfrm>
            <a:off x="457197" y="6314400"/>
            <a:ext cx="8228013" cy="274320"/>
          </a:xfrm>
        </p:spPr>
        <p:txBody>
          <a:bodyPr/>
          <a:lstStyle/>
          <a:p>
            <a:pPr>
              <a:buClr>
                <a:srgbClr val="FFFFFF"/>
              </a:buClr>
            </a:pPr>
            <a:r>
              <a:rPr lang="en-US" dirty="0"/>
              <a:t>Source: Race ratings from </a:t>
            </a:r>
            <a:r>
              <a:rPr lang="en-US" dirty="0">
                <a:hlinkClick r:id="rId2"/>
              </a:rPr>
              <a:t>Cook Political Report</a:t>
            </a:r>
            <a:r>
              <a:rPr lang="en-US" dirty="0"/>
              <a:t>; as </a:t>
            </a:r>
            <a:r>
              <a:rPr lang="en-US" dirty="0">
                <a:solidFill>
                  <a:schemeClr val="tx1"/>
                </a:solidFill>
              </a:rPr>
              <a:t>of Feb. 28, 2020</a:t>
            </a:r>
          </a:p>
          <a:p>
            <a:pPr>
              <a:buClr>
                <a:srgbClr val="FFFFFF"/>
              </a:buClr>
            </a:pPr>
            <a:r>
              <a:rPr lang="en-US" dirty="0"/>
              <a:t>Note: Italics denote freshman lawmakers</a:t>
            </a:r>
          </a:p>
        </p:txBody>
      </p:sp>
      <p:pic>
        <p:nvPicPr>
          <p:cNvPr id="6" name="Picture 5" descr="A screenshot of a cell phone&#10;&#10;Description automatically generated">
            <a:extLst>
              <a:ext uri="{FF2B5EF4-FFF2-40B4-BE49-F238E27FC236}">
                <a16:creationId xmlns:a16="http://schemas.microsoft.com/office/drawing/2014/main" id="{91101B56-B3F2-4D9B-8A35-BE64763AF7D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11266" y="1556895"/>
            <a:ext cx="7347328" cy="4608851"/>
          </a:xfrm>
          <a:prstGeom prst="rect">
            <a:avLst/>
          </a:prstGeom>
        </p:spPr>
      </p:pic>
    </p:spTree>
    <p:extLst>
      <p:ext uri="{BB962C8B-B14F-4D97-AF65-F5344CB8AC3E}">
        <p14:creationId xmlns:p14="http://schemas.microsoft.com/office/powerpoint/2010/main" val="3337621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77054"/>
          </a:xfrm>
        </p:spPr>
        <p:txBody>
          <a:bodyPr/>
          <a:lstStyle/>
          <a:p>
            <a:r>
              <a:rPr lang="en-US" dirty="0"/>
              <a:t>Big Picture on 2020 Senate Races</a:t>
            </a:r>
          </a:p>
        </p:txBody>
      </p:sp>
      <p:sp>
        <p:nvSpPr>
          <p:cNvPr id="3" name="Text Placeholder 2"/>
          <p:cNvSpPr>
            <a:spLocks noGrp="1"/>
          </p:cNvSpPr>
          <p:nvPr>
            <p:ph type="body" sz="quarter" idx="10"/>
          </p:nvPr>
        </p:nvSpPr>
        <p:spPr>
          <a:xfrm>
            <a:off x="455613" y="1376363"/>
            <a:ext cx="8416382" cy="885141"/>
          </a:xfrm>
        </p:spPr>
        <p:txBody>
          <a:bodyPr/>
          <a:lstStyle/>
          <a:p>
            <a:pPr marL="0" indent="0">
              <a:buNone/>
            </a:pPr>
            <a:r>
              <a:rPr lang="en-US" b="1" dirty="0">
                <a:solidFill>
                  <a:schemeClr val="tx1"/>
                </a:solidFill>
              </a:rPr>
              <a:t>There are 35 Senate seats up for election</a:t>
            </a:r>
          </a:p>
          <a:p>
            <a:pPr marL="0" indent="0">
              <a:buNone/>
            </a:pPr>
            <a:endParaRPr lang="en-US" b="1" dirty="0">
              <a:solidFill>
                <a:schemeClr val="tx1"/>
              </a:solidFill>
            </a:endParaRPr>
          </a:p>
          <a:p>
            <a:pPr>
              <a:buClr>
                <a:srgbClr val="0070C0"/>
              </a:buClr>
            </a:pPr>
            <a:r>
              <a:rPr lang="en-US" dirty="0">
                <a:solidFill>
                  <a:schemeClr val="tx1"/>
                </a:solidFill>
              </a:rPr>
              <a:t>Republicans hold 23 of the seats, Democrats hold 12</a:t>
            </a:r>
          </a:p>
          <a:p>
            <a:pPr>
              <a:buClr>
                <a:srgbClr val="0070C0"/>
              </a:buClr>
            </a:pPr>
            <a:r>
              <a:rPr lang="en-US" dirty="0"/>
              <a:t>President Trump in 2016 carried all but two states where Republicans are defending Senate seats in 2020; he won 15 of those states by at least 14 percentage points</a:t>
            </a:r>
          </a:p>
          <a:p>
            <a:pPr marL="0" indent="0">
              <a:buNone/>
            </a:pPr>
            <a:endParaRPr lang="en-US" dirty="0"/>
          </a:p>
        </p:txBody>
      </p:sp>
      <p:graphicFrame>
        <p:nvGraphicFramePr>
          <p:cNvPr id="9" name="Table 8"/>
          <p:cNvGraphicFramePr>
            <a:graphicFrameLocks noGrp="1"/>
          </p:cNvGraphicFramePr>
          <p:nvPr>
            <p:extLst>
              <p:ext uri="{D42A27DB-BD31-4B8C-83A1-F6EECF244321}">
                <p14:modId xmlns:p14="http://schemas.microsoft.com/office/powerpoint/2010/main" val="1011101145"/>
              </p:ext>
            </p:extLst>
          </p:nvPr>
        </p:nvGraphicFramePr>
        <p:xfrm>
          <a:off x="550955" y="2777998"/>
          <a:ext cx="8321040" cy="3017520"/>
        </p:xfrm>
        <a:graphic>
          <a:graphicData uri="http://schemas.openxmlformats.org/drawingml/2006/table">
            <a:tbl>
              <a:tblPr firstRow="1" bandRow="1">
                <a:tableStyleId>{B301B821-A1FF-4177-AEE7-76D212191A09}</a:tableStyleId>
              </a:tblPr>
              <a:tblGrid>
                <a:gridCol w="2055036">
                  <a:extLst>
                    <a:ext uri="{9D8B030D-6E8A-4147-A177-3AD203B41FA5}">
                      <a16:colId xmlns:a16="http://schemas.microsoft.com/office/drawing/2014/main" val="20000"/>
                    </a:ext>
                  </a:extLst>
                </a:gridCol>
                <a:gridCol w="2055036">
                  <a:extLst>
                    <a:ext uri="{9D8B030D-6E8A-4147-A177-3AD203B41FA5}">
                      <a16:colId xmlns:a16="http://schemas.microsoft.com/office/drawing/2014/main" val="20001"/>
                    </a:ext>
                  </a:extLst>
                </a:gridCol>
                <a:gridCol w="2055036">
                  <a:extLst>
                    <a:ext uri="{9D8B030D-6E8A-4147-A177-3AD203B41FA5}">
                      <a16:colId xmlns:a16="http://schemas.microsoft.com/office/drawing/2014/main" val="20002"/>
                    </a:ext>
                  </a:extLst>
                </a:gridCol>
                <a:gridCol w="2155932">
                  <a:extLst>
                    <a:ext uri="{9D8B030D-6E8A-4147-A177-3AD203B41FA5}">
                      <a16:colId xmlns:a16="http://schemas.microsoft.com/office/drawing/2014/main" val="20003"/>
                    </a:ext>
                  </a:extLst>
                </a:gridCol>
              </a:tblGrid>
              <a:tr h="301752">
                <a:tc gridSpan="4">
                  <a:txBody>
                    <a:bodyPr/>
                    <a:lstStyle/>
                    <a:p>
                      <a:pPr algn="l"/>
                      <a:r>
                        <a:rPr lang="en-US" sz="1000" dirty="0"/>
                        <a:t>Senate Incumbents Up for Re-Election in 2020</a:t>
                      </a:r>
                      <a:endParaRPr lang="en-US" sz="10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extLst>
                  <a:ext uri="{0D108BD9-81ED-4DB2-BD59-A6C34878D82A}">
                    <a16:rowId xmlns:a16="http://schemas.microsoft.com/office/drawing/2014/main" val="10000"/>
                  </a:ext>
                </a:extLst>
              </a:tr>
              <a:tr h="301752">
                <a:tc>
                  <a:txBody>
                    <a:bodyPr/>
                    <a:lstStyle/>
                    <a:p>
                      <a:pPr marL="0" marR="0" algn="l">
                        <a:lnSpc>
                          <a:spcPct val="107000"/>
                        </a:lnSpc>
                        <a:spcBef>
                          <a:spcPts val="0"/>
                        </a:spcBef>
                        <a:spcAft>
                          <a:spcPts val="0"/>
                        </a:spcAft>
                      </a:pPr>
                      <a:r>
                        <a:rPr lang="en-US" sz="1000" dirty="0">
                          <a:solidFill>
                            <a:srgbClr val="0070C0"/>
                          </a:solidFill>
                          <a:effectLst/>
                          <a:latin typeface="+mn-lt"/>
                        </a:rPr>
                        <a:t>Doug Jones (D-Ala.)</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70C0"/>
                          </a:solidFill>
                          <a:effectLst/>
                          <a:latin typeface="+mn-lt"/>
                        </a:rPr>
                        <a:t>Dick Durbin (D-Ill.)</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D22332"/>
                          </a:solidFill>
                          <a:effectLst/>
                          <a:latin typeface="+mn-lt"/>
                        </a:rPr>
                        <a:t>Cindy Hyde-Smith (R-Miss.)</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70C0"/>
                          </a:solidFill>
                          <a:effectLst/>
                          <a:latin typeface="+mn-lt"/>
                        </a:rPr>
                        <a:t>Jack Reed (D-R.I.)</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301752">
                <a:tc>
                  <a:txBody>
                    <a:bodyPr/>
                    <a:lstStyle/>
                    <a:p>
                      <a:pPr marL="0" marR="0" algn="l">
                        <a:lnSpc>
                          <a:spcPct val="107000"/>
                        </a:lnSpc>
                        <a:spcBef>
                          <a:spcPts val="0"/>
                        </a:spcBef>
                        <a:spcAft>
                          <a:spcPts val="0"/>
                        </a:spcAft>
                      </a:pPr>
                      <a:r>
                        <a:rPr lang="en-US" sz="1000" dirty="0">
                          <a:solidFill>
                            <a:srgbClr val="D22332"/>
                          </a:solidFill>
                          <a:effectLst/>
                          <a:latin typeface="+mn-lt"/>
                        </a:rPr>
                        <a:t>Dan Sullivan (R-Alaska)</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Joni Ernst (R-Iowa)</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Steve Daines (R-Mont.)</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Lindsey Graham (R-S.C.)</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301752">
                <a:tc>
                  <a:txBody>
                    <a:bodyPr/>
                    <a:lstStyle/>
                    <a:p>
                      <a:pPr marL="0" marR="0" algn="l">
                        <a:lnSpc>
                          <a:spcPct val="107000"/>
                        </a:lnSpc>
                        <a:spcBef>
                          <a:spcPts val="0"/>
                        </a:spcBef>
                        <a:spcAft>
                          <a:spcPts val="0"/>
                        </a:spcAft>
                      </a:pPr>
                      <a:r>
                        <a:rPr lang="en-US" sz="1000" dirty="0">
                          <a:solidFill>
                            <a:srgbClr val="D22332"/>
                          </a:solidFill>
                          <a:effectLst/>
                          <a:latin typeface="+mn-lt"/>
                        </a:rPr>
                        <a:t>Martha McSally (R-Ariz.)</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Open (R-Kan.)</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Ben Sasse (R-Neb.)</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Mike Rounds (R-S.D.)</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r h="301752">
                <a:tc>
                  <a:txBody>
                    <a:bodyPr/>
                    <a:lstStyle/>
                    <a:p>
                      <a:pPr marL="0" marR="0" algn="l">
                        <a:lnSpc>
                          <a:spcPct val="107000"/>
                        </a:lnSpc>
                        <a:spcBef>
                          <a:spcPts val="0"/>
                        </a:spcBef>
                        <a:spcAft>
                          <a:spcPts val="0"/>
                        </a:spcAft>
                      </a:pPr>
                      <a:r>
                        <a:rPr lang="en-US" sz="1000" dirty="0">
                          <a:solidFill>
                            <a:srgbClr val="D22332"/>
                          </a:solidFill>
                          <a:effectLst/>
                          <a:latin typeface="+mn-lt"/>
                        </a:rPr>
                        <a:t>Tom Cotton (R-Ark.)</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D22332"/>
                          </a:solidFill>
                          <a:effectLst/>
                          <a:latin typeface="+mn-lt"/>
                        </a:rPr>
                        <a:t>Mitch McConnell (R-Ky.)</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0070C0"/>
                          </a:solidFill>
                          <a:effectLst/>
                          <a:latin typeface="+mn-lt"/>
                        </a:rPr>
                        <a:t>Jeanne Shaheen (D-N.H.)</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Open (R-Tenn.)</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4"/>
                  </a:ext>
                </a:extLst>
              </a:tr>
              <a:tr h="301752">
                <a:tc>
                  <a:txBody>
                    <a:bodyPr/>
                    <a:lstStyle/>
                    <a:p>
                      <a:pPr marL="0" marR="0" algn="l">
                        <a:lnSpc>
                          <a:spcPct val="107000"/>
                        </a:lnSpc>
                        <a:spcBef>
                          <a:spcPts val="0"/>
                        </a:spcBef>
                        <a:spcAft>
                          <a:spcPts val="0"/>
                        </a:spcAft>
                      </a:pPr>
                      <a:r>
                        <a:rPr lang="en-US" sz="1000" dirty="0">
                          <a:solidFill>
                            <a:srgbClr val="D22332"/>
                          </a:solidFill>
                          <a:effectLst/>
                          <a:latin typeface="+mn-lt"/>
                        </a:rPr>
                        <a:t>Cory Gardner (R-Colo.)</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Bill Cassidy (R-La.)</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0070C0"/>
                          </a:solidFill>
                          <a:effectLst/>
                          <a:latin typeface="+mn-lt"/>
                        </a:rPr>
                        <a:t>Cory Booker (D-N.J.)</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John Cornyn (R-Texas)</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5"/>
                  </a:ext>
                </a:extLst>
              </a:tr>
              <a:tr h="301752">
                <a:tc>
                  <a:txBody>
                    <a:bodyPr/>
                    <a:lstStyle/>
                    <a:p>
                      <a:pPr marL="0" marR="0" algn="l">
                        <a:lnSpc>
                          <a:spcPct val="107000"/>
                        </a:lnSpc>
                        <a:spcBef>
                          <a:spcPts val="0"/>
                        </a:spcBef>
                        <a:spcAft>
                          <a:spcPts val="0"/>
                        </a:spcAft>
                      </a:pPr>
                      <a:r>
                        <a:rPr lang="en-US" sz="1000" dirty="0">
                          <a:solidFill>
                            <a:srgbClr val="0070C0"/>
                          </a:solidFill>
                          <a:effectLst/>
                          <a:latin typeface="+mn-lt"/>
                        </a:rPr>
                        <a:t>Chris Coons (D-Del.)</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Susan Collins (R-Maine)</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0070C0"/>
                          </a:solidFill>
                          <a:effectLst/>
                          <a:latin typeface="+mn-lt"/>
                        </a:rPr>
                        <a:t>Open (D-N.M.)</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0070C0"/>
                          </a:solidFill>
                          <a:effectLst/>
                          <a:latin typeface="+mn-lt"/>
                        </a:rPr>
                        <a:t>Mark Warner (D-Va.)</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6"/>
                  </a:ext>
                </a:extLst>
              </a:tr>
              <a:tr h="301752">
                <a:tc>
                  <a:txBody>
                    <a:bodyPr/>
                    <a:lstStyle/>
                    <a:p>
                      <a:r>
                        <a:rPr lang="en-US" sz="1000" dirty="0">
                          <a:solidFill>
                            <a:srgbClr val="D22332"/>
                          </a:solidFill>
                          <a:latin typeface="+mn-lt"/>
                        </a:rPr>
                        <a:t>Kelly Loeffler (R-Ga.)</a:t>
                      </a:r>
                    </a:p>
                  </a:txBody>
                  <a:tcPr marL="68580" marR="68580" marT="0" marB="0" anchor="ctr"/>
                </a:tc>
                <a:tc>
                  <a:txBody>
                    <a:bodyPr/>
                    <a:lstStyle/>
                    <a:p>
                      <a:pPr marL="0" marR="0" algn="l">
                        <a:lnSpc>
                          <a:spcPct val="107000"/>
                        </a:lnSpc>
                        <a:spcBef>
                          <a:spcPts val="0"/>
                        </a:spcBef>
                        <a:spcAft>
                          <a:spcPts val="0"/>
                        </a:spcAft>
                      </a:pPr>
                      <a:r>
                        <a:rPr lang="en-US" sz="1000" dirty="0">
                          <a:solidFill>
                            <a:srgbClr val="0070C0"/>
                          </a:solidFill>
                          <a:effectLst/>
                          <a:latin typeface="+mn-lt"/>
                        </a:rPr>
                        <a:t>Ed Markey (D-Mass.)</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Thom Tillis (R-N.C.)</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Shelley Moore Capito (R-W.Va.)</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9"/>
                  </a:ext>
                </a:extLst>
              </a:tr>
              <a:tr h="301752">
                <a:tc>
                  <a:txBody>
                    <a:bodyPr/>
                    <a:lstStyle/>
                    <a:p>
                      <a:pPr marL="0" marR="0" algn="l">
                        <a:lnSpc>
                          <a:spcPct val="107000"/>
                        </a:lnSpc>
                        <a:spcBef>
                          <a:spcPts val="0"/>
                        </a:spcBef>
                        <a:spcAft>
                          <a:spcPts val="0"/>
                        </a:spcAft>
                      </a:pPr>
                      <a:r>
                        <a:rPr lang="en-US" sz="1000" dirty="0">
                          <a:solidFill>
                            <a:srgbClr val="D22332"/>
                          </a:solidFill>
                          <a:effectLst/>
                          <a:latin typeface="+mn-lt"/>
                        </a:rPr>
                        <a:t>David Perdue (R-Ga.)</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0070C0"/>
                          </a:solidFill>
                          <a:effectLst/>
                          <a:latin typeface="+mn-lt"/>
                        </a:rPr>
                        <a:t>Gary Peters (D-Mich.)</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Jim Inhofe (R-Okla.)</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D22332"/>
                          </a:solidFill>
                          <a:effectLst/>
                          <a:latin typeface="+mn-lt"/>
                        </a:rPr>
                        <a:t>Open (R-Wyo.)</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7"/>
                  </a:ext>
                </a:extLst>
              </a:tr>
              <a:tr h="301752">
                <a:tc>
                  <a:txBody>
                    <a:bodyPr/>
                    <a:lstStyle/>
                    <a:p>
                      <a:pPr marL="0" marR="0" algn="l">
                        <a:lnSpc>
                          <a:spcPct val="107000"/>
                        </a:lnSpc>
                        <a:spcBef>
                          <a:spcPts val="0"/>
                        </a:spcBef>
                        <a:spcAft>
                          <a:spcPts val="0"/>
                        </a:spcAft>
                      </a:pPr>
                      <a:r>
                        <a:rPr lang="en-US" sz="1000" dirty="0">
                          <a:solidFill>
                            <a:srgbClr val="D22332"/>
                          </a:solidFill>
                          <a:effectLst/>
                          <a:latin typeface="+mn-lt"/>
                        </a:rPr>
                        <a:t>Jim Risch (R-Idaho)</a:t>
                      </a:r>
                      <a:endParaRPr lang="en-US" sz="1000" dirty="0">
                        <a:solidFill>
                          <a:srgbClr val="D22332"/>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kern="1200" dirty="0">
                          <a:solidFill>
                            <a:srgbClr val="0070C0"/>
                          </a:solidFill>
                          <a:effectLst/>
                          <a:latin typeface="+mn-lt"/>
                        </a:rPr>
                        <a:t>Tina Smith (D-Minn.)</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000" dirty="0">
                          <a:solidFill>
                            <a:srgbClr val="0070C0"/>
                          </a:solidFill>
                          <a:effectLst/>
                          <a:latin typeface="+mn-lt"/>
                        </a:rPr>
                        <a:t>Jeff Merkley (D-Ore.)</a:t>
                      </a:r>
                      <a:endParaRPr lang="en-US" sz="10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endParaRPr lang="en-US" sz="10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8"/>
                  </a:ext>
                </a:extLst>
              </a:tr>
            </a:tbl>
          </a:graphicData>
        </a:graphic>
      </p:graphicFrame>
      <p:sp>
        <p:nvSpPr>
          <p:cNvPr id="10" name="Text Placeholder 5"/>
          <p:cNvSpPr>
            <a:spLocks noGrp="1"/>
          </p:cNvSpPr>
          <p:nvPr>
            <p:ph type="body" sz="quarter" idx="13"/>
          </p:nvPr>
        </p:nvSpPr>
        <p:spPr>
          <a:xfrm>
            <a:off x="550955" y="5955665"/>
            <a:ext cx="8321040" cy="426720"/>
          </a:xfrm>
        </p:spPr>
        <p:txBody>
          <a:bodyPr/>
          <a:lstStyle/>
          <a:p>
            <a:r>
              <a:rPr lang="en-US" dirty="0">
                <a:solidFill>
                  <a:schemeClr val="tx1"/>
                </a:solidFill>
              </a:rPr>
              <a:t>Notes: Pat Roberts (R-Kan.), Tom Udall (D-N.M.), Lamar Alexander (R-Tenn.) and Mike Enzi (R-Wyo.) are retiring;</a:t>
            </a:r>
            <a:r>
              <a:rPr lang="en-US" dirty="0"/>
              <a:t> </a:t>
            </a:r>
            <a:r>
              <a:rPr lang="en-US" dirty="0">
                <a:solidFill>
                  <a:schemeClr val="tx1"/>
                </a:solidFill>
              </a:rPr>
              <a:t>McSally was appointed to fill the remainder of John McCain’s (R) term and is running in a special election that will occur in 2020 and the seat also will be on the ballot in 2022; </a:t>
            </a:r>
            <a:r>
              <a:rPr lang="en-US" dirty="0"/>
              <a:t>Loeffler, who was sworn in Jan. 6 to succeed Johnny Isakson (R), is running in a November 2020 special election to fill the remaining two years of the unexpired term</a:t>
            </a:r>
            <a:endParaRPr lang="en-US" u="sng" dirty="0">
              <a:solidFill>
                <a:schemeClr val="tx1"/>
              </a:solidFill>
            </a:endParaRPr>
          </a:p>
        </p:txBody>
      </p:sp>
    </p:spTree>
    <p:extLst>
      <p:ext uri="{BB962C8B-B14F-4D97-AF65-F5344CB8AC3E}">
        <p14:creationId xmlns:p14="http://schemas.microsoft.com/office/powerpoint/2010/main" val="100000229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69121"/>
            <a:ext cx="8228013" cy="430887"/>
          </a:xfrm>
        </p:spPr>
        <p:txBody>
          <a:bodyPr/>
          <a:lstStyle/>
          <a:p>
            <a:r>
              <a:rPr lang="en-US" dirty="0"/>
              <a:t>Women in the House</a:t>
            </a:r>
          </a:p>
        </p:txBody>
      </p:sp>
      <p:sp>
        <p:nvSpPr>
          <p:cNvPr id="4" name="Text Placeholder 3"/>
          <p:cNvSpPr>
            <a:spLocks noGrp="1"/>
          </p:cNvSpPr>
          <p:nvPr>
            <p:ph type="body" sz="quarter" idx="11"/>
          </p:nvPr>
        </p:nvSpPr>
        <p:spPr>
          <a:xfrm>
            <a:off x="457198" y="1146175"/>
            <a:ext cx="8228013" cy="387350"/>
          </a:xfrm>
        </p:spPr>
        <p:txBody>
          <a:bodyPr/>
          <a:lstStyle/>
          <a:p>
            <a:r>
              <a:rPr lang="en-US" dirty="0"/>
              <a:t>There are 101 women in the House, or 24% of the membership. The number of Democratic women rose to 89 from 64 after the 2018 election, while the number of Republican women fell to 13 from 23. Katie Hill (D-Calif.) resigned last November.</a:t>
            </a:r>
          </a:p>
          <a:p>
            <a:endParaRPr lang="en-US" dirty="0"/>
          </a:p>
        </p:txBody>
      </p:sp>
      <p:sp>
        <p:nvSpPr>
          <p:cNvPr id="5" name="Text Placeholder 4"/>
          <p:cNvSpPr>
            <a:spLocks noGrp="1"/>
          </p:cNvSpPr>
          <p:nvPr>
            <p:ph type="body" sz="quarter" idx="13"/>
          </p:nvPr>
        </p:nvSpPr>
        <p:spPr>
          <a:xfrm>
            <a:off x="457197" y="6314400"/>
            <a:ext cx="8228013" cy="274320"/>
          </a:xfrm>
        </p:spPr>
        <p:txBody>
          <a:bodyPr/>
          <a:lstStyle/>
          <a:p>
            <a:pPr>
              <a:buClr>
                <a:srgbClr val="FFFFFF"/>
              </a:buClr>
            </a:pPr>
            <a:r>
              <a:rPr lang="en-US" dirty="0"/>
              <a:t>Notes: Data as of March 11, reflects impending departure of Mark Meadows (R-N.C.). </a:t>
            </a:r>
          </a:p>
        </p:txBody>
      </p:sp>
      <p:pic>
        <p:nvPicPr>
          <p:cNvPr id="8" name="Picture 7" descr="A picture containing map, text&#10;&#10;Description automatically generated">
            <a:extLst>
              <a:ext uri="{FF2B5EF4-FFF2-40B4-BE49-F238E27FC236}">
                <a16:creationId xmlns:a16="http://schemas.microsoft.com/office/drawing/2014/main" id="{E8D09B5E-6FE2-49B7-9AD2-BEFF2CC5F20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24242" b="13632"/>
          <a:stretch/>
        </p:blipFill>
        <p:spPr>
          <a:xfrm>
            <a:off x="307910" y="2465028"/>
            <a:ext cx="8630817" cy="3558011"/>
          </a:xfrm>
          <a:prstGeom prst="rect">
            <a:avLst/>
          </a:prstGeom>
        </p:spPr>
      </p:pic>
    </p:spTree>
    <p:extLst>
      <p:ext uri="{BB962C8B-B14F-4D97-AF65-F5344CB8AC3E}">
        <p14:creationId xmlns:p14="http://schemas.microsoft.com/office/powerpoint/2010/main" val="36709701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800" dirty="0"/>
              <a:t>Party Fundraising</a:t>
            </a:r>
          </a:p>
        </p:txBody>
      </p:sp>
      <p:sp>
        <p:nvSpPr>
          <p:cNvPr id="5" name="Rectangle 4"/>
          <p:cNvSpPr/>
          <p:nvPr/>
        </p:nvSpPr>
        <p:spPr>
          <a:xfrm rot="16200000">
            <a:off x="5986883" y="1069370"/>
            <a:ext cx="1715512" cy="210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pic>
        <p:nvPicPr>
          <p:cNvPr id="4" name="Picture 3" descr="A screenshot of a cell phone&#10;&#10;Description automatically generated">
            <a:extLst>
              <a:ext uri="{FF2B5EF4-FFF2-40B4-BE49-F238E27FC236}">
                <a16:creationId xmlns:a16="http://schemas.microsoft.com/office/drawing/2014/main" id="{66EB6681-7E46-43E7-9F80-3B0A1660C7E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9141" y="1141413"/>
            <a:ext cx="6070563" cy="5218061"/>
          </a:xfrm>
          <a:prstGeom prst="rect">
            <a:avLst/>
          </a:prstGeom>
        </p:spPr>
      </p:pic>
    </p:spTree>
    <p:extLst>
      <p:ext uri="{BB962C8B-B14F-4D97-AF65-F5344CB8AC3E}">
        <p14:creationId xmlns:p14="http://schemas.microsoft.com/office/powerpoint/2010/main" val="40745406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989" y="344047"/>
            <a:ext cx="8228013" cy="457200"/>
          </a:xfrm>
        </p:spPr>
        <p:txBody>
          <a:bodyPr/>
          <a:lstStyle/>
          <a:p>
            <a:r>
              <a:rPr lang="en-US" dirty="0"/>
              <a:t>Congressional Primaries</a:t>
            </a:r>
          </a:p>
        </p:txBody>
      </p:sp>
      <p:graphicFrame>
        <p:nvGraphicFramePr>
          <p:cNvPr id="6" name="Table 5"/>
          <p:cNvGraphicFramePr>
            <a:graphicFrameLocks noGrp="1"/>
          </p:cNvGraphicFramePr>
          <p:nvPr>
            <p:extLst>
              <p:ext uri="{D42A27DB-BD31-4B8C-83A1-F6EECF244321}">
                <p14:modId xmlns:p14="http://schemas.microsoft.com/office/powerpoint/2010/main" val="271434984"/>
              </p:ext>
            </p:extLst>
          </p:nvPr>
        </p:nvGraphicFramePr>
        <p:xfrm>
          <a:off x="457989" y="839499"/>
          <a:ext cx="7942314" cy="5305549"/>
        </p:xfrm>
        <a:graphic>
          <a:graphicData uri="http://schemas.openxmlformats.org/drawingml/2006/table">
            <a:tbl>
              <a:tblPr firstRow="1" bandRow="1">
                <a:tableStyleId>{B301B821-A1FF-4177-AEE7-76D212191A09}</a:tableStyleId>
              </a:tblPr>
              <a:tblGrid>
                <a:gridCol w="1038301">
                  <a:extLst>
                    <a:ext uri="{9D8B030D-6E8A-4147-A177-3AD203B41FA5}">
                      <a16:colId xmlns:a16="http://schemas.microsoft.com/office/drawing/2014/main" val="20000"/>
                    </a:ext>
                  </a:extLst>
                </a:gridCol>
                <a:gridCol w="1410020">
                  <a:extLst>
                    <a:ext uri="{9D8B030D-6E8A-4147-A177-3AD203B41FA5}">
                      <a16:colId xmlns:a16="http://schemas.microsoft.com/office/drawing/2014/main" val="20001"/>
                    </a:ext>
                  </a:extLst>
                </a:gridCol>
                <a:gridCol w="1522836">
                  <a:extLst>
                    <a:ext uri="{9D8B030D-6E8A-4147-A177-3AD203B41FA5}">
                      <a16:colId xmlns:a16="http://schemas.microsoft.com/office/drawing/2014/main" val="20002"/>
                    </a:ext>
                  </a:extLst>
                </a:gridCol>
                <a:gridCol w="1075066">
                  <a:extLst>
                    <a:ext uri="{9D8B030D-6E8A-4147-A177-3AD203B41FA5}">
                      <a16:colId xmlns:a16="http://schemas.microsoft.com/office/drawing/2014/main" val="20003"/>
                    </a:ext>
                  </a:extLst>
                </a:gridCol>
                <a:gridCol w="1385700">
                  <a:extLst>
                    <a:ext uri="{9D8B030D-6E8A-4147-A177-3AD203B41FA5}">
                      <a16:colId xmlns:a16="http://schemas.microsoft.com/office/drawing/2014/main" val="20004"/>
                    </a:ext>
                  </a:extLst>
                </a:gridCol>
                <a:gridCol w="1510391">
                  <a:extLst>
                    <a:ext uri="{9D8B030D-6E8A-4147-A177-3AD203B41FA5}">
                      <a16:colId xmlns:a16="http://schemas.microsoft.com/office/drawing/2014/main" val="20005"/>
                    </a:ext>
                  </a:extLst>
                </a:gridCol>
              </a:tblGrid>
              <a:tr h="250222">
                <a:tc>
                  <a:txBody>
                    <a:bodyPr/>
                    <a:lstStyle/>
                    <a:p>
                      <a:r>
                        <a:rPr lang="en-US" sz="800" dirty="0"/>
                        <a:t>State</a:t>
                      </a:r>
                      <a:endParaRPr lang="en-US" sz="800" dirty="0">
                        <a:solidFill>
                          <a:schemeClr val="tx1"/>
                        </a:solidFill>
                        <a:latin typeface="+mn-lt"/>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Congressional</a:t>
                      </a:r>
                      <a:r>
                        <a:rPr lang="en-US" sz="800" baseline="0" dirty="0"/>
                        <a:t> </a:t>
                      </a:r>
                      <a:r>
                        <a:rPr lang="en-US" sz="800" dirty="0"/>
                        <a:t>primary</a:t>
                      </a:r>
                      <a:endParaRPr lang="en-US" sz="800" dirty="0">
                        <a:solidFill>
                          <a:schemeClr val="tx1"/>
                        </a:solidFill>
                        <a:latin typeface="+mn-lt"/>
                      </a:endParaRPr>
                    </a:p>
                  </a:txBody>
                  <a:tcPr marT="0" marB="0" anchor="ctr"/>
                </a:tc>
                <a:tc>
                  <a:txBody>
                    <a:bodyPr/>
                    <a:lstStyle/>
                    <a:p>
                      <a:pPr algn="l" fontAlgn="b"/>
                      <a:r>
                        <a:rPr lang="en-US" sz="800" u="none" strike="noStrike" dirty="0">
                          <a:effectLst/>
                        </a:rPr>
                        <a:t>Major-party filing deadline</a:t>
                      </a:r>
                      <a:endParaRPr lang="en-US" sz="800" b="1" i="0" u="none" strike="noStrike" dirty="0">
                        <a:solidFill>
                          <a:srgbClr val="000000"/>
                        </a:solidFill>
                        <a:effectLst/>
                        <a:latin typeface="+mn-lt"/>
                      </a:endParaRPr>
                    </a:p>
                  </a:txBody>
                  <a:tcPr marT="9525" marB="0" anchor="ctr"/>
                </a:tc>
                <a:tc>
                  <a:txBody>
                    <a:bodyPr/>
                    <a:lstStyle/>
                    <a:p>
                      <a:r>
                        <a:rPr lang="en-US" sz="800" dirty="0"/>
                        <a:t>State</a:t>
                      </a:r>
                      <a:endParaRPr lang="en-US" sz="800" dirty="0">
                        <a:solidFill>
                          <a:schemeClr val="tx1"/>
                        </a:solidFill>
                        <a:latin typeface="+mn-lt"/>
                      </a:endParaRPr>
                    </a:p>
                  </a:txBody>
                  <a:tcPr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t>Congressional primary</a:t>
                      </a:r>
                      <a:endParaRPr lang="en-US" sz="800" dirty="0">
                        <a:solidFill>
                          <a:schemeClr val="tx1"/>
                        </a:solidFill>
                        <a:latin typeface="+mn-lt"/>
                      </a:endParaRPr>
                    </a:p>
                  </a:txBody>
                  <a:tcPr marT="0" marB="0" anchor="ctr"/>
                </a:tc>
                <a:tc>
                  <a:txBody>
                    <a:bodyPr/>
                    <a:lstStyle/>
                    <a:p>
                      <a:pPr algn="l" fontAlgn="b"/>
                      <a:r>
                        <a:rPr lang="en-US" sz="800" u="none" strike="noStrike" dirty="0">
                          <a:effectLst/>
                        </a:rPr>
                        <a:t>Major-party filing deadline</a:t>
                      </a:r>
                      <a:endParaRPr lang="en-US" sz="800" b="1"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0"/>
                  </a:ext>
                </a:extLst>
              </a:tr>
              <a:tr h="200177">
                <a:tc>
                  <a:txBody>
                    <a:bodyPr/>
                    <a:lstStyle/>
                    <a:p>
                      <a:pPr algn="l" fontAlgn="b"/>
                      <a:r>
                        <a:rPr lang="en-US" sz="800" u="none" strike="noStrike" dirty="0">
                          <a:effectLst/>
                        </a:rPr>
                        <a:t>Alabam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3</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Nov. 8, 2019</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South Carolin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30</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8"/>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Arkansas</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dirty="0">
                          <a:solidFill>
                            <a:schemeClr val="tx1"/>
                          </a:solidFill>
                          <a:effectLst/>
                          <a:latin typeface="Arial" panose="020B0604020202020204" pitchFamily="34" charset="0"/>
                          <a:ea typeface="Times New Roman" panose="02020603050405020304" pitchFamily="18" charset="0"/>
                        </a:rPr>
                        <a:t>March 3</a:t>
                      </a:r>
                      <a:endParaRPr lang="en-US" sz="1100" dirty="0">
                        <a:solidFill>
                          <a:schemeClr val="tx1"/>
                        </a:solidFill>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dirty="0">
                          <a:solidFill>
                            <a:schemeClr val="tx1"/>
                          </a:solidFill>
                          <a:effectLst/>
                          <a:latin typeface="Arial" panose="020B0604020202020204" pitchFamily="34" charset="0"/>
                          <a:ea typeface="Times New Roman" panose="02020603050405020304" pitchFamily="18" charset="0"/>
                        </a:rPr>
                        <a:t>Nov. 11, 2019</a:t>
                      </a:r>
                      <a:endParaRPr lang="en-US" sz="1100" dirty="0">
                        <a:solidFill>
                          <a:schemeClr val="tx1"/>
                        </a:solidFill>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Virgini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26</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9"/>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California</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rch 3</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Dec. 6, 2019</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New York</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3</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pril 2</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0"/>
                  </a:ext>
                </a:extLst>
              </a:tr>
              <a:tr h="200177">
                <a:tc>
                  <a:txBody>
                    <a:bodyPr/>
                    <a:lstStyle/>
                    <a:p>
                      <a:pPr marL="0" marR="0" fontAlgn="b">
                        <a:lnSpc>
                          <a:spcPct val="107000"/>
                        </a:lnSpc>
                        <a:spcBef>
                          <a:spcPts val="0"/>
                        </a:spcBef>
                        <a:spcAft>
                          <a:spcPts val="0"/>
                        </a:spcAft>
                      </a:pPr>
                      <a:r>
                        <a:rPr lang="en-US" sz="800" kern="1200" dirty="0">
                          <a:solidFill>
                            <a:srgbClr val="000000"/>
                          </a:solidFill>
                          <a:effectLst/>
                          <a:latin typeface="Arial" panose="020B0604020202020204" pitchFamily="34" charset="0"/>
                          <a:ea typeface="Times New Roman" panose="02020603050405020304" pitchFamily="18" charset="0"/>
                        </a:rPr>
                        <a:t>North Carolina</a:t>
                      </a:r>
                      <a:endParaRPr lang="en-US" sz="1100" dirty="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rch 3</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dirty="0">
                          <a:solidFill>
                            <a:srgbClr val="000000"/>
                          </a:solidFill>
                          <a:effectLst/>
                          <a:latin typeface="Arial" panose="020B0604020202020204" pitchFamily="34" charset="0"/>
                          <a:ea typeface="Times New Roman" panose="02020603050405020304" pitchFamily="18" charset="0"/>
                        </a:rPr>
                        <a:t>Dec. 20, 2019</a:t>
                      </a:r>
                      <a:endParaRPr lang="en-US" sz="1100" dirty="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Utah</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3</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9</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1"/>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Texas</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rch 3</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Dec. 9, 2019</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Colorado</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30</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7</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2"/>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ississippi</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rch 10</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Jan. 15</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Oklahom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30</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pril 10</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3"/>
                  </a:ext>
                </a:extLst>
              </a:tr>
              <a:tr h="200177">
                <a:tc>
                  <a:txBody>
                    <a:bodyPr/>
                    <a:lstStyle/>
                    <a:p>
                      <a:pPr marL="0" marR="0" fontAlgn="b">
                        <a:lnSpc>
                          <a:spcPct val="107000"/>
                        </a:lnSpc>
                        <a:spcBef>
                          <a:spcPts val="0"/>
                        </a:spcBef>
                        <a:spcAft>
                          <a:spcPts val="0"/>
                        </a:spcAft>
                      </a:pPr>
                      <a:r>
                        <a:rPr lang="en-US" sz="800" kern="1200" dirty="0">
                          <a:solidFill>
                            <a:srgbClr val="000000"/>
                          </a:solidFill>
                          <a:effectLst/>
                          <a:latin typeface="Arial" panose="020B0604020202020204" pitchFamily="34" charset="0"/>
                          <a:ea typeface="Times New Roman" panose="02020603050405020304" pitchFamily="18" charset="0"/>
                        </a:rPr>
                        <a:t>Ohio</a:t>
                      </a:r>
                      <a:endParaRPr lang="en-US" sz="1100" dirty="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rch 17</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Dec. 18, 2019</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Arizona</a:t>
                      </a:r>
                      <a:endParaRPr lang="en-US" sz="800" b="1" i="0" u="none" strike="noStrike" dirty="0">
                        <a:solidFill>
                          <a:schemeClr val="tx1"/>
                        </a:solidFill>
                        <a:effectLst/>
                        <a:latin typeface="+mn-lt"/>
                      </a:endParaRPr>
                    </a:p>
                  </a:txBody>
                  <a:tcPr marT="0" marB="0" anchor="ctr"/>
                </a:tc>
                <a:tc>
                  <a:txBody>
                    <a:bodyPr/>
                    <a:lstStyle/>
                    <a:p>
                      <a:pPr algn="r" fontAlgn="b"/>
                      <a:r>
                        <a:rPr lang="en-US" sz="800" u="none" strike="noStrike" dirty="0">
                          <a:effectLst/>
                        </a:rPr>
                        <a:t>Aug. 4</a:t>
                      </a:r>
                      <a:endParaRPr lang="en-US" sz="800" b="0" i="0" u="none" strike="noStrike" dirty="0">
                        <a:solidFill>
                          <a:schemeClr val="tx1"/>
                        </a:solidFill>
                        <a:effectLst/>
                        <a:latin typeface="+mn-lt"/>
                      </a:endParaRPr>
                    </a:p>
                  </a:txBody>
                  <a:tcPr marT="0" marB="0" anchor="ctr"/>
                </a:tc>
                <a:tc>
                  <a:txBody>
                    <a:bodyPr/>
                    <a:lstStyle/>
                    <a:p>
                      <a:pPr algn="r" fontAlgn="b"/>
                      <a:r>
                        <a:rPr lang="en-US" sz="800" u="none" strike="noStrike" dirty="0">
                          <a:effectLst/>
                        </a:rPr>
                        <a:t>April 6</a:t>
                      </a:r>
                      <a:endParaRPr lang="en-US" sz="800" b="0" i="0" u="none" strike="noStrike" dirty="0">
                        <a:solidFill>
                          <a:schemeClr val="tx1"/>
                        </a:solidFill>
                        <a:effectLst/>
                        <a:latin typeface="+mn-lt"/>
                      </a:endParaRPr>
                    </a:p>
                  </a:txBody>
                  <a:tcPr marT="9525" marB="0" anchor="ctr"/>
                </a:tc>
                <a:extLst>
                  <a:ext uri="{0D108BD9-81ED-4DB2-BD59-A6C34878D82A}">
                    <a16:rowId xmlns:a16="http://schemas.microsoft.com/office/drawing/2014/main" val="10011"/>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Illinois</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rch 17</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Dec. 2, 2019</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Kansas</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4</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1</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4"/>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ryland</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April 28</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Feb. 5</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Michigan</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4</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pril 21</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2"/>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Pennsylvania</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April 28</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Feb. 18</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Missouri</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4</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31</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5"/>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Indiana</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y 5</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Feb. 7</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Washington</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4</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y 15</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6"/>
                  </a:ext>
                </a:extLst>
              </a:tr>
              <a:tr h="249062">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Nebraska</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y 12</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Feb. 18 (incumbents); </a:t>
                      </a:r>
                      <a:br>
                        <a:rPr lang="en-US" sz="800" kern="1200">
                          <a:solidFill>
                            <a:srgbClr val="000000"/>
                          </a:solidFill>
                          <a:effectLst/>
                          <a:latin typeface="Arial" panose="020B0604020202020204" pitchFamily="34" charset="0"/>
                          <a:ea typeface="Times New Roman" panose="02020603050405020304" pitchFamily="18" charset="0"/>
                        </a:rPr>
                      </a:br>
                      <a:r>
                        <a:rPr lang="en-US" sz="800" kern="1200">
                          <a:solidFill>
                            <a:srgbClr val="000000"/>
                          </a:solidFill>
                          <a:effectLst/>
                          <a:latin typeface="Arial" panose="020B0604020202020204" pitchFamily="34" charset="0"/>
                          <a:ea typeface="Times New Roman" panose="02020603050405020304" pitchFamily="18" charset="0"/>
                        </a:rPr>
                        <a:t>March 2 (non-incumbents)</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Tennessee</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6</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pril 2</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07"/>
                  </a:ext>
                </a:extLst>
              </a:tr>
              <a:tr h="200177">
                <a:tc>
                  <a:txBody>
                    <a:bodyPr/>
                    <a:lstStyle/>
                    <a:p>
                      <a:pPr marL="0" marR="0"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West Virginia</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a:solidFill>
                            <a:srgbClr val="000000"/>
                          </a:solidFill>
                          <a:effectLst/>
                          <a:latin typeface="Arial" panose="020B0604020202020204" pitchFamily="34" charset="0"/>
                          <a:ea typeface="Times New Roman" panose="02020603050405020304" pitchFamily="18" charset="0"/>
                        </a:rPr>
                        <a:t>May 12</a:t>
                      </a:r>
                      <a:endParaRPr lang="en-US" sz="1100">
                        <a:effectLst/>
                        <a:latin typeface="Calibri" panose="020F0502020204030204" pitchFamily="34" charset="0"/>
                        <a:ea typeface="Times New Roman" panose="02020603050405020304" pitchFamily="18" charset="0"/>
                      </a:endParaRPr>
                    </a:p>
                  </a:txBody>
                  <a:tcPr marT="9525" marB="0" anchor="ctr"/>
                </a:tc>
                <a:tc>
                  <a:txBody>
                    <a:bodyPr/>
                    <a:lstStyle/>
                    <a:p>
                      <a:pPr marL="0" marR="0" algn="r" fontAlgn="b">
                        <a:lnSpc>
                          <a:spcPct val="107000"/>
                        </a:lnSpc>
                        <a:spcBef>
                          <a:spcPts val="0"/>
                        </a:spcBef>
                        <a:spcAft>
                          <a:spcPts val="0"/>
                        </a:spcAft>
                      </a:pPr>
                      <a:r>
                        <a:rPr lang="en-US" sz="800" kern="1200" dirty="0">
                          <a:solidFill>
                            <a:srgbClr val="000000"/>
                          </a:solidFill>
                          <a:effectLst/>
                          <a:latin typeface="Arial" panose="020B0604020202020204" pitchFamily="34" charset="0"/>
                          <a:ea typeface="Times New Roman" panose="02020603050405020304" pitchFamily="18" charset="0"/>
                        </a:rPr>
                        <a:t>Jan. 25</a:t>
                      </a:r>
                      <a:endParaRPr lang="en-US" sz="1100" dirty="0">
                        <a:effectLst/>
                        <a:latin typeface="Calibri" panose="020F0502020204030204" pitchFamily="34" charset="0"/>
                        <a:ea typeface="Times New Roman" panose="02020603050405020304" pitchFamily="18" charset="0"/>
                      </a:endParaRPr>
                    </a:p>
                  </a:txBody>
                  <a:tcPr marT="9525" marB="0" anchor="ctr"/>
                </a:tc>
                <a:tc>
                  <a:txBody>
                    <a:bodyPr/>
                    <a:lstStyle/>
                    <a:p>
                      <a:pPr algn="l" fontAlgn="b"/>
                      <a:r>
                        <a:rPr lang="en-US" sz="800" u="none" strike="noStrike" dirty="0">
                          <a:effectLst/>
                        </a:rPr>
                        <a:t>Hawaii</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8</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3"/>
                  </a:ext>
                </a:extLst>
              </a:tr>
              <a:tr h="200177">
                <a:tc>
                  <a:txBody>
                    <a:bodyPr/>
                    <a:lstStyle/>
                    <a:p>
                      <a:pPr algn="l" fontAlgn="b"/>
                      <a:r>
                        <a:rPr lang="en-US" sz="800" u="none" strike="noStrike" dirty="0">
                          <a:effectLst/>
                        </a:rPr>
                        <a:t>Georgi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y 1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6</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Connecticut</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11</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9</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4"/>
                  </a:ext>
                </a:extLst>
              </a:tr>
              <a:tr h="200177">
                <a:tc>
                  <a:txBody>
                    <a:bodyPr/>
                    <a:lstStyle/>
                    <a:p>
                      <a:pPr algn="l" fontAlgn="b"/>
                      <a:r>
                        <a:rPr lang="en-US" sz="800" u="none" strike="noStrike" dirty="0">
                          <a:effectLst/>
                        </a:rPr>
                        <a:t>Idaho</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y 1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3</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Minnesot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11</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5"/>
                  </a:ext>
                </a:extLst>
              </a:tr>
              <a:tr h="200177">
                <a:tc>
                  <a:txBody>
                    <a:bodyPr/>
                    <a:lstStyle/>
                    <a:p>
                      <a:pPr algn="l" fontAlgn="b"/>
                      <a:r>
                        <a:rPr lang="en-US" sz="800" u="none" strike="noStrike" dirty="0">
                          <a:effectLst/>
                        </a:rPr>
                        <a:t>Kentucky</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y 1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an. 28</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Vermont</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11</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y 28</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6"/>
                  </a:ext>
                </a:extLst>
              </a:tr>
              <a:tr h="200177">
                <a:tc>
                  <a:txBody>
                    <a:bodyPr/>
                    <a:lstStyle/>
                    <a:p>
                      <a:pPr algn="l" fontAlgn="b"/>
                      <a:r>
                        <a:rPr lang="en-US" sz="800" u="none" strike="noStrike" dirty="0">
                          <a:effectLst/>
                        </a:rPr>
                        <a:t>Oregon</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y 1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0</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Wisconsin</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11</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1</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7"/>
                  </a:ext>
                </a:extLst>
              </a:tr>
              <a:tr h="200177">
                <a:tc>
                  <a:txBody>
                    <a:bodyPr/>
                    <a:lstStyle/>
                    <a:p>
                      <a:pPr algn="l" fontAlgn="b"/>
                      <a:r>
                        <a:rPr lang="en-US" sz="800" u="none" strike="noStrike" dirty="0">
                          <a:effectLst/>
                        </a:rPr>
                        <a:t>Iow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3</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Alask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18</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1</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8"/>
                  </a:ext>
                </a:extLst>
              </a:tr>
              <a:tr h="200177">
                <a:tc>
                  <a:txBody>
                    <a:bodyPr/>
                    <a:lstStyle/>
                    <a:p>
                      <a:pPr algn="l" fontAlgn="b"/>
                      <a:r>
                        <a:rPr lang="en-US" sz="800" u="none" strike="noStrike" dirty="0">
                          <a:effectLst/>
                        </a:rPr>
                        <a:t>Montan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9</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Florid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ug. 18</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pril 24</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19"/>
                  </a:ext>
                </a:extLst>
              </a:tr>
              <a:tr h="200177">
                <a:tc>
                  <a:txBody>
                    <a:bodyPr/>
                    <a:lstStyle/>
                    <a:p>
                      <a:pPr algn="l" fontAlgn="b"/>
                      <a:r>
                        <a:rPr lang="en-US" sz="800" u="none" strike="noStrike" dirty="0">
                          <a:effectLst/>
                        </a:rPr>
                        <a:t>New Jersey</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30</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Wyoming</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solidFill>
                            <a:schemeClr val="tx1"/>
                          </a:solidFill>
                          <a:effectLst/>
                        </a:rPr>
                        <a:t>Aug. 18</a:t>
                      </a:r>
                      <a:endParaRPr lang="en-US" sz="800" b="0" i="0" u="none" strike="noStrike" dirty="0">
                        <a:solidFill>
                          <a:schemeClr val="tx1"/>
                        </a:solidFill>
                        <a:effectLst/>
                        <a:latin typeface="+mn-lt"/>
                      </a:endParaRPr>
                    </a:p>
                  </a:txBody>
                  <a:tcPr marT="0" marB="0" anchor="ctr"/>
                </a:tc>
                <a:tc>
                  <a:txBody>
                    <a:bodyPr/>
                    <a:lstStyle/>
                    <a:p>
                      <a:pPr algn="r" fontAlgn="b"/>
                      <a:r>
                        <a:rPr lang="en-US" sz="800" u="none" strike="noStrike" dirty="0">
                          <a:solidFill>
                            <a:schemeClr val="tx1"/>
                          </a:solidFill>
                          <a:effectLst/>
                        </a:rPr>
                        <a:t>May 29</a:t>
                      </a:r>
                      <a:endParaRPr lang="en-US" sz="800" b="0" i="0" u="none" strike="noStrike" dirty="0">
                        <a:solidFill>
                          <a:schemeClr val="tx1"/>
                        </a:solidFill>
                        <a:effectLst/>
                        <a:latin typeface="+mn-lt"/>
                      </a:endParaRPr>
                    </a:p>
                  </a:txBody>
                  <a:tcPr marT="9525" marB="0" anchor="ctr"/>
                </a:tc>
                <a:extLst>
                  <a:ext uri="{0D108BD9-81ED-4DB2-BD59-A6C34878D82A}">
                    <a16:rowId xmlns:a16="http://schemas.microsoft.com/office/drawing/2014/main" val="10020"/>
                  </a:ext>
                </a:extLst>
              </a:tr>
              <a:tr h="200177">
                <a:tc>
                  <a:txBody>
                    <a:bodyPr/>
                    <a:lstStyle/>
                    <a:p>
                      <a:pPr algn="l" fontAlgn="b"/>
                      <a:r>
                        <a:rPr lang="en-US" sz="800" u="none" strike="noStrike" dirty="0">
                          <a:effectLst/>
                        </a:rPr>
                        <a:t>New Mexico</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0</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Massachusetts</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Sept.1</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y 5</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21"/>
                  </a:ext>
                </a:extLst>
              </a:tr>
              <a:tr h="200177">
                <a:tc>
                  <a:txBody>
                    <a:bodyPr/>
                    <a:lstStyle/>
                    <a:p>
                      <a:pPr algn="l" fontAlgn="b"/>
                      <a:r>
                        <a:rPr lang="en-US" sz="800" u="none" strike="noStrike" dirty="0">
                          <a:effectLst/>
                        </a:rPr>
                        <a:t>South Dakot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31</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New Hampshire</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Sept. 8</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12</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22"/>
                  </a:ext>
                </a:extLst>
              </a:tr>
              <a:tr h="200177">
                <a:tc>
                  <a:txBody>
                    <a:bodyPr/>
                    <a:lstStyle/>
                    <a:p>
                      <a:pPr algn="l" fontAlgn="b"/>
                      <a:r>
                        <a:rPr lang="en-US" sz="800" u="none" strike="noStrike" dirty="0">
                          <a:effectLst/>
                        </a:rPr>
                        <a:t>Maine</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6</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Rhode Island</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Sept. 8</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24</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23"/>
                  </a:ext>
                </a:extLst>
              </a:tr>
              <a:tr h="200177">
                <a:tc>
                  <a:txBody>
                    <a:bodyPr/>
                    <a:lstStyle/>
                    <a:p>
                      <a:pPr algn="l" fontAlgn="b"/>
                      <a:r>
                        <a:rPr lang="en-US" sz="800" u="none" strike="noStrike" dirty="0">
                          <a:effectLst/>
                        </a:rPr>
                        <a:t>Nevad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March 13</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Delaware</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Sept. 15</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ly 14</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24"/>
                  </a:ext>
                </a:extLst>
              </a:tr>
              <a:tr h="200177">
                <a:tc>
                  <a:txBody>
                    <a:bodyPr/>
                    <a:lstStyle/>
                    <a:p>
                      <a:pPr algn="l" fontAlgn="b"/>
                      <a:r>
                        <a:rPr lang="en-US" sz="800" u="none" strike="noStrike" dirty="0">
                          <a:effectLst/>
                        </a:rPr>
                        <a:t>North Dakot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ne 9</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April 6</a:t>
                      </a:r>
                      <a:endParaRPr lang="en-US" sz="800" b="0" i="0" u="none" strike="noStrike" dirty="0">
                        <a:solidFill>
                          <a:schemeClr val="tx1">
                            <a:lumMod val="75000"/>
                            <a:lumOff val="25000"/>
                          </a:schemeClr>
                        </a:solidFill>
                        <a:effectLst/>
                        <a:latin typeface="+mn-lt"/>
                      </a:endParaRPr>
                    </a:p>
                  </a:txBody>
                  <a:tcPr marT="9525" marB="0" anchor="ctr"/>
                </a:tc>
                <a:tc>
                  <a:txBody>
                    <a:bodyPr/>
                    <a:lstStyle/>
                    <a:p>
                      <a:pPr algn="l" fontAlgn="b"/>
                      <a:r>
                        <a:rPr lang="en-US" sz="800" u="none" strike="noStrike" dirty="0">
                          <a:effectLst/>
                        </a:rPr>
                        <a:t>Louisiana</a:t>
                      </a:r>
                      <a:endParaRPr lang="en-US" sz="800" b="1"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Nov. 3</a:t>
                      </a:r>
                      <a:endParaRPr lang="en-US" sz="800" b="0" i="0" u="none" strike="noStrike" dirty="0">
                        <a:solidFill>
                          <a:srgbClr val="000000"/>
                        </a:solidFill>
                        <a:effectLst/>
                        <a:latin typeface="+mn-lt"/>
                      </a:endParaRPr>
                    </a:p>
                  </a:txBody>
                  <a:tcPr marT="0" marB="0" anchor="ctr"/>
                </a:tc>
                <a:tc>
                  <a:txBody>
                    <a:bodyPr/>
                    <a:lstStyle/>
                    <a:p>
                      <a:pPr algn="r" fontAlgn="b"/>
                      <a:r>
                        <a:rPr lang="en-US" sz="800" u="none" strike="noStrike" dirty="0">
                          <a:effectLst/>
                        </a:rPr>
                        <a:t>July 17</a:t>
                      </a:r>
                      <a:endParaRPr lang="en-US" sz="800" b="0" i="0" u="none" strike="noStrike" dirty="0">
                        <a:solidFill>
                          <a:srgbClr val="000000"/>
                        </a:solidFill>
                        <a:effectLst/>
                        <a:latin typeface="+mn-lt"/>
                      </a:endParaRPr>
                    </a:p>
                  </a:txBody>
                  <a:tcPr marT="9525" marB="0" anchor="ctr"/>
                </a:tc>
                <a:extLst>
                  <a:ext uri="{0D108BD9-81ED-4DB2-BD59-A6C34878D82A}">
                    <a16:rowId xmlns:a16="http://schemas.microsoft.com/office/drawing/2014/main" val="10025"/>
                  </a:ext>
                </a:extLst>
              </a:tr>
            </a:tbl>
          </a:graphicData>
        </a:graphic>
      </p:graphicFrame>
      <p:sp>
        <p:nvSpPr>
          <p:cNvPr id="3" name="Text Placeholder 2"/>
          <p:cNvSpPr>
            <a:spLocks noGrp="1"/>
          </p:cNvSpPr>
          <p:nvPr>
            <p:ph type="body" sz="quarter" idx="13"/>
          </p:nvPr>
        </p:nvSpPr>
        <p:spPr>
          <a:xfrm>
            <a:off x="457989" y="6065444"/>
            <a:ext cx="8402982" cy="274320"/>
          </a:xfrm>
        </p:spPr>
        <p:txBody>
          <a:bodyPr/>
          <a:lstStyle/>
          <a:p>
            <a:r>
              <a:rPr lang="en-US" sz="800" dirty="0"/>
              <a:t>Source: </a:t>
            </a:r>
            <a:r>
              <a:rPr lang="en-US" sz="800" dirty="0">
                <a:hlinkClick r:id="rId2"/>
              </a:rPr>
              <a:t>Bloomberg Government</a:t>
            </a:r>
            <a:r>
              <a:rPr lang="en-US" sz="800" dirty="0">
                <a:solidFill>
                  <a:schemeClr val="tx1"/>
                </a:solidFill>
              </a:rPr>
              <a:t>; dates are 2020 unless otherwise noted; filing deadlines are for major party candidates unless otherwise noted; dates are subject to change</a:t>
            </a:r>
          </a:p>
        </p:txBody>
      </p:sp>
    </p:spTree>
    <p:extLst>
      <p:ext uri="{BB962C8B-B14F-4D97-AF65-F5344CB8AC3E}">
        <p14:creationId xmlns:p14="http://schemas.microsoft.com/office/powerpoint/2010/main" val="40338057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Bonus Look Ahead: House Reapportionment</a:t>
            </a:r>
          </a:p>
        </p:txBody>
      </p:sp>
      <p:sp>
        <p:nvSpPr>
          <p:cNvPr id="3" name="Text Placeholder 2"/>
          <p:cNvSpPr>
            <a:spLocks noGrp="1"/>
          </p:cNvSpPr>
          <p:nvPr>
            <p:ph type="body" sz="quarter" idx="10"/>
          </p:nvPr>
        </p:nvSpPr>
        <p:spPr>
          <a:xfrm>
            <a:off x="455612" y="1240685"/>
            <a:ext cx="8429596" cy="2051155"/>
          </a:xfrm>
        </p:spPr>
        <p:txBody>
          <a:bodyPr/>
          <a:lstStyle/>
          <a:p>
            <a:pPr marL="0" indent="0">
              <a:buClr>
                <a:srgbClr val="0070C0"/>
              </a:buClr>
              <a:buNone/>
            </a:pPr>
            <a:r>
              <a:rPr lang="en-US" sz="1400" b="1" dirty="0">
                <a:solidFill>
                  <a:schemeClr val="tx1"/>
                </a:solidFill>
              </a:rPr>
              <a:t>Texas, Florida and North Carolina will likely </a:t>
            </a:r>
            <a:r>
              <a:rPr lang="en-US" sz="1400" b="1" dirty="0">
                <a:solidFill>
                  <a:schemeClr val="tx1"/>
                </a:solidFill>
                <a:hlinkClick r:id="rId2"/>
              </a:rPr>
              <a:t>gain House seats</a:t>
            </a:r>
            <a:r>
              <a:rPr lang="en-US" sz="1400" b="1" dirty="0">
                <a:solidFill>
                  <a:schemeClr val="tx1"/>
                </a:solidFill>
              </a:rPr>
              <a:t> in the 2022 elections, while Michigan, Ohio and Pennsylvania will continue to lose political clout, according to an analysis by Election Data Services Inc. based on the </a:t>
            </a:r>
            <a:r>
              <a:rPr lang="en-US" sz="1400" b="1" dirty="0" err="1">
                <a:solidFill>
                  <a:schemeClr val="tx1"/>
                </a:solidFill>
              </a:rPr>
              <a:t>lastest</a:t>
            </a:r>
            <a:r>
              <a:rPr lang="en-US" sz="1400" b="1" dirty="0">
                <a:solidFill>
                  <a:schemeClr val="tx1"/>
                </a:solidFill>
              </a:rPr>
              <a:t> Census Bureau </a:t>
            </a:r>
            <a:r>
              <a:rPr lang="en-US" sz="1400" b="1" dirty="0"/>
              <a:t>population count </a:t>
            </a:r>
            <a:r>
              <a:rPr lang="en-US" sz="1400" b="1" dirty="0">
                <a:solidFill>
                  <a:schemeClr val="tx1"/>
                </a:solidFill>
              </a:rPr>
              <a:t>data</a:t>
            </a:r>
          </a:p>
          <a:p>
            <a:pPr marL="0" indent="0">
              <a:buClr>
                <a:srgbClr val="0070C0"/>
              </a:buClr>
              <a:buNone/>
            </a:pPr>
            <a:endParaRPr lang="en-US" sz="1400" b="1" dirty="0">
              <a:solidFill>
                <a:schemeClr val="tx1"/>
              </a:solidFill>
            </a:endParaRPr>
          </a:p>
          <a:p>
            <a:pPr>
              <a:buClr>
                <a:srgbClr val="0070C0"/>
              </a:buClr>
            </a:pPr>
            <a:r>
              <a:rPr lang="en-US" sz="1400" dirty="0">
                <a:solidFill>
                  <a:schemeClr val="tx1"/>
                </a:solidFill>
              </a:rPr>
              <a:t>17</a:t>
            </a:r>
            <a:r>
              <a:rPr lang="en-US" sz="1400" dirty="0"/>
              <a:t> states’ House representation may be affected by the once-a-decade census, according to estimates</a:t>
            </a:r>
            <a:endParaRPr lang="en-US" sz="1400" dirty="0">
              <a:solidFill>
                <a:schemeClr val="tx1"/>
              </a:solidFill>
            </a:endParaRPr>
          </a:p>
          <a:p>
            <a:pPr>
              <a:buClr>
                <a:srgbClr val="0070C0"/>
              </a:buClr>
            </a:pPr>
            <a:r>
              <a:rPr lang="en-US" sz="1400" dirty="0"/>
              <a:t>Continues </a:t>
            </a:r>
            <a:r>
              <a:rPr lang="en-US" sz="1400" dirty="0">
                <a:hlinkClick r:id="rId3"/>
              </a:rPr>
              <a:t>decades-long trend</a:t>
            </a:r>
            <a:r>
              <a:rPr lang="en-US" sz="1400" dirty="0"/>
              <a:t> of the South and West expanding more rapidly than other regions</a:t>
            </a:r>
            <a:endParaRPr lang="en-US" sz="1400" dirty="0">
              <a:solidFill>
                <a:schemeClr val="tx1"/>
              </a:solidFill>
            </a:endParaRPr>
          </a:p>
          <a:p>
            <a:pPr>
              <a:buClr>
                <a:srgbClr val="0070C0"/>
              </a:buClr>
            </a:pPr>
            <a:r>
              <a:rPr lang="en-US" sz="1400" dirty="0"/>
              <a:t>California – projected to lose one of its 53 seats – would shrink its House representation for the first time</a:t>
            </a:r>
          </a:p>
          <a:p>
            <a:pPr>
              <a:buClr>
                <a:srgbClr val="0070C0"/>
              </a:buClr>
            </a:pPr>
            <a:r>
              <a:rPr lang="en-US" sz="1400" dirty="0"/>
              <a:t>Florida is projected to have a larger delegation (29 seats) than New York (26 seats)</a:t>
            </a:r>
          </a:p>
          <a:p>
            <a:pPr>
              <a:buClr>
                <a:srgbClr val="0070C0"/>
              </a:buClr>
            </a:pPr>
            <a:r>
              <a:rPr lang="en-US" sz="1400" dirty="0"/>
              <a:t>Reapportionment would be released in December 2020 after the census and in effect for 2022 elections </a:t>
            </a:r>
          </a:p>
          <a:p>
            <a:pPr>
              <a:buClr>
                <a:srgbClr val="0070C0"/>
              </a:buClr>
            </a:pPr>
            <a:endParaRPr lang="en-US" dirty="0"/>
          </a:p>
        </p:txBody>
      </p:sp>
      <p:pic>
        <p:nvPicPr>
          <p:cNvPr id="6" name="Picture 5">
            <a:extLst>
              <a:ext uri="{FF2B5EF4-FFF2-40B4-BE49-F238E27FC236}">
                <a16:creationId xmlns:a16="http://schemas.microsoft.com/office/drawing/2014/main" id="{AC664C85-D013-4D99-8EF7-E9307F48DBD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70234" y="3352307"/>
            <a:ext cx="3925709" cy="3229567"/>
          </a:xfrm>
          <a:prstGeom prst="rect">
            <a:avLst/>
          </a:prstGeom>
        </p:spPr>
      </p:pic>
    </p:spTree>
    <p:extLst>
      <p:ext uri="{BB962C8B-B14F-4D97-AF65-F5344CB8AC3E}">
        <p14:creationId xmlns:p14="http://schemas.microsoft.com/office/powerpoint/2010/main" val="37806330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3FC654-81B2-49B8-B7F1-52CE962A496F}"/>
              </a:ext>
            </a:extLst>
          </p:cNvPr>
          <p:cNvSpPr>
            <a:spLocks noGrp="1"/>
          </p:cNvSpPr>
          <p:nvPr>
            <p:ph type="title"/>
          </p:nvPr>
        </p:nvSpPr>
        <p:spPr>
          <a:xfrm>
            <a:off x="457993" y="684213"/>
            <a:ext cx="8453094" cy="457200"/>
          </a:xfrm>
        </p:spPr>
        <p:txBody>
          <a:bodyPr/>
          <a:lstStyle/>
          <a:p>
            <a:r>
              <a:rPr lang="en-US" dirty="0"/>
              <a:t>Biden Has Taken Commanding Lead in Delegates</a:t>
            </a:r>
          </a:p>
        </p:txBody>
      </p:sp>
      <p:sp>
        <p:nvSpPr>
          <p:cNvPr id="3" name="Text Placeholder 2">
            <a:extLst>
              <a:ext uri="{FF2B5EF4-FFF2-40B4-BE49-F238E27FC236}">
                <a16:creationId xmlns:a16="http://schemas.microsoft.com/office/drawing/2014/main" id="{A81EFA38-4F98-47FB-BC99-EF10466F5CCD}"/>
              </a:ext>
            </a:extLst>
          </p:cNvPr>
          <p:cNvSpPr>
            <a:spLocks noGrp="1"/>
          </p:cNvSpPr>
          <p:nvPr>
            <p:ph type="body" sz="quarter" idx="10"/>
          </p:nvPr>
        </p:nvSpPr>
        <p:spPr>
          <a:xfrm>
            <a:off x="457993" y="1230313"/>
            <a:ext cx="8695426" cy="620964"/>
          </a:xfrm>
        </p:spPr>
        <p:txBody>
          <a:bodyPr/>
          <a:lstStyle/>
          <a:p>
            <a:r>
              <a:rPr lang="en-US" dirty="0"/>
              <a:t>Lead could grow on March 17 (Arizona, Florida, Illinois, Ohio) and March 24 (Georgia)</a:t>
            </a:r>
          </a:p>
        </p:txBody>
      </p:sp>
      <p:pic>
        <p:nvPicPr>
          <p:cNvPr id="6" name="Picture 5" descr="A screenshot of a cell phone&#10;&#10;Description automatically generated">
            <a:extLst>
              <a:ext uri="{FF2B5EF4-FFF2-40B4-BE49-F238E27FC236}">
                <a16:creationId xmlns:a16="http://schemas.microsoft.com/office/drawing/2014/main" id="{92B1D80D-C494-4C96-93CC-2409AD4D7F6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4079" y="1540795"/>
            <a:ext cx="7100637" cy="4756086"/>
          </a:xfrm>
          <a:prstGeom prst="rect">
            <a:avLst/>
          </a:prstGeom>
        </p:spPr>
      </p:pic>
      <p:sp>
        <p:nvSpPr>
          <p:cNvPr id="4" name="Text Placeholder 3">
            <a:extLst>
              <a:ext uri="{FF2B5EF4-FFF2-40B4-BE49-F238E27FC236}">
                <a16:creationId xmlns:a16="http://schemas.microsoft.com/office/drawing/2014/main" id="{5261AED4-3129-4B38-B2C7-E50EC9ECD859}"/>
              </a:ext>
            </a:extLst>
          </p:cNvPr>
          <p:cNvSpPr>
            <a:spLocks noGrp="1"/>
          </p:cNvSpPr>
          <p:nvPr>
            <p:ph type="body" sz="quarter" idx="13"/>
          </p:nvPr>
        </p:nvSpPr>
        <p:spPr/>
        <p:txBody>
          <a:bodyPr/>
          <a:lstStyle/>
          <a:p>
            <a:r>
              <a:rPr lang="en-US" dirty="0"/>
              <a:t>Note: Data as of March 11</a:t>
            </a:r>
          </a:p>
          <a:p>
            <a:r>
              <a:rPr lang="en-US" dirty="0"/>
              <a:t>Source: Bloomberg News </a:t>
            </a:r>
            <a:r>
              <a:rPr lang="en-US" dirty="0">
                <a:hlinkClick r:id="rId3"/>
              </a:rPr>
              <a:t>“Who’s Winning the 2020 Presidential Delegate Count?” </a:t>
            </a:r>
            <a:endParaRPr lang="en-US" dirty="0"/>
          </a:p>
        </p:txBody>
      </p:sp>
    </p:spTree>
    <p:extLst>
      <p:ext uri="{BB962C8B-B14F-4D97-AF65-F5344CB8AC3E}">
        <p14:creationId xmlns:p14="http://schemas.microsoft.com/office/powerpoint/2010/main" val="33250994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3E4E73-A3AE-427F-BE49-B0A072D84FAC}"/>
              </a:ext>
            </a:extLst>
          </p:cNvPr>
          <p:cNvSpPr>
            <a:spLocks noGrp="1"/>
          </p:cNvSpPr>
          <p:nvPr>
            <p:ph type="title"/>
          </p:nvPr>
        </p:nvSpPr>
        <p:spPr>
          <a:xfrm>
            <a:off x="457993" y="684213"/>
            <a:ext cx="8358203" cy="457200"/>
          </a:xfrm>
        </p:spPr>
        <p:txBody>
          <a:bodyPr/>
          <a:lstStyle/>
          <a:p>
            <a:r>
              <a:rPr lang="en-US" dirty="0"/>
              <a:t>Where Biden, Sanders Stand on Nomination Path</a:t>
            </a:r>
          </a:p>
        </p:txBody>
      </p:sp>
      <p:sp>
        <p:nvSpPr>
          <p:cNvPr id="3" name="Text Placeholder 2">
            <a:extLst>
              <a:ext uri="{FF2B5EF4-FFF2-40B4-BE49-F238E27FC236}">
                <a16:creationId xmlns:a16="http://schemas.microsoft.com/office/drawing/2014/main" id="{DC0166EA-5875-4261-A124-C569370B0131}"/>
              </a:ext>
            </a:extLst>
          </p:cNvPr>
          <p:cNvSpPr>
            <a:spLocks noGrp="1"/>
          </p:cNvSpPr>
          <p:nvPr>
            <p:ph type="body" sz="quarter" idx="10"/>
          </p:nvPr>
        </p:nvSpPr>
        <p:spPr>
          <a:xfrm>
            <a:off x="457993" y="1242754"/>
            <a:ext cx="8228013" cy="365760"/>
          </a:xfrm>
        </p:spPr>
        <p:txBody>
          <a:bodyPr/>
          <a:lstStyle/>
          <a:p>
            <a:r>
              <a:rPr lang="en-US" dirty="0"/>
              <a:t>A few big primary days are ahead, as Biden closes in on the 50% of delegates line</a:t>
            </a:r>
          </a:p>
        </p:txBody>
      </p:sp>
      <p:sp>
        <p:nvSpPr>
          <p:cNvPr id="4" name="Text Placeholder 3">
            <a:extLst>
              <a:ext uri="{FF2B5EF4-FFF2-40B4-BE49-F238E27FC236}">
                <a16:creationId xmlns:a16="http://schemas.microsoft.com/office/drawing/2014/main" id="{05CF790A-7878-4571-8D84-18C1AF60DF39}"/>
              </a:ext>
            </a:extLst>
          </p:cNvPr>
          <p:cNvSpPr>
            <a:spLocks noGrp="1"/>
          </p:cNvSpPr>
          <p:nvPr>
            <p:ph type="body" sz="quarter" idx="13"/>
          </p:nvPr>
        </p:nvSpPr>
        <p:spPr/>
        <p:txBody>
          <a:bodyPr/>
          <a:lstStyle/>
          <a:p>
            <a:r>
              <a:rPr lang="en-US" dirty="0"/>
              <a:t>Note: The dotted line indicates the median of awarded delegates; data as of March 11</a:t>
            </a:r>
          </a:p>
          <a:p>
            <a:r>
              <a:rPr lang="en-US" dirty="0"/>
              <a:t>Source: Bloomberg News </a:t>
            </a:r>
            <a:r>
              <a:rPr lang="en-US" dirty="0">
                <a:hlinkClick r:id="rId2"/>
              </a:rPr>
              <a:t>“Who’s Winning the 2020 Presidential Delegate Count?” </a:t>
            </a:r>
            <a:endParaRPr lang="en-US" dirty="0"/>
          </a:p>
        </p:txBody>
      </p:sp>
      <p:pic>
        <p:nvPicPr>
          <p:cNvPr id="6" name="Picture 5" descr="A picture containing light, green, traffic, white&#10;&#10;Description automatically generated">
            <a:extLst>
              <a:ext uri="{FF2B5EF4-FFF2-40B4-BE49-F238E27FC236}">
                <a16:creationId xmlns:a16="http://schemas.microsoft.com/office/drawing/2014/main" id="{E92A3C48-B19F-42E1-93E5-6052C6514BB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497622" y="1646738"/>
            <a:ext cx="5843457" cy="4427489"/>
          </a:xfrm>
          <a:prstGeom prst="rect">
            <a:avLst/>
          </a:prstGeom>
        </p:spPr>
      </p:pic>
    </p:spTree>
    <p:extLst>
      <p:ext uri="{BB962C8B-B14F-4D97-AF65-F5344CB8AC3E}">
        <p14:creationId xmlns:p14="http://schemas.microsoft.com/office/powerpoint/2010/main" val="34464753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957109-5FC3-48F3-AE27-BE852B3270EB}"/>
              </a:ext>
            </a:extLst>
          </p:cNvPr>
          <p:cNvSpPr>
            <a:spLocks noGrp="1"/>
          </p:cNvSpPr>
          <p:nvPr>
            <p:ph type="title"/>
          </p:nvPr>
        </p:nvSpPr>
        <p:spPr/>
        <p:txBody>
          <a:bodyPr/>
          <a:lstStyle/>
          <a:p>
            <a:r>
              <a:rPr lang="en-US" dirty="0"/>
              <a:t>How the Delegates Were Allocated in Each State</a:t>
            </a:r>
          </a:p>
        </p:txBody>
      </p:sp>
      <p:pic>
        <p:nvPicPr>
          <p:cNvPr id="6" name="Picture 5" descr="A close up of a map&#10;&#10;Description automatically generated">
            <a:extLst>
              <a:ext uri="{FF2B5EF4-FFF2-40B4-BE49-F238E27FC236}">
                <a16:creationId xmlns:a16="http://schemas.microsoft.com/office/drawing/2014/main" id="{38079D1D-14B9-4D69-86F3-E88E58B44DD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9219" y="1141413"/>
            <a:ext cx="7165560" cy="5251996"/>
          </a:xfrm>
          <a:prstGeom prst="rect">
            <a:avLst/>
          </a:prstGeom>
        </p:spPr>
      </p:pic>
      <p:sp>
        <p:nvSpPr>
          <p:cNvPr id="4" name="Text Placeholder 3">
            <a:extLst>
              <a:ext uri="{FF2B5EF4-FFF2-40B4-BE49-F238E27FC236}">
                <a16:creationId xmlns:a16="http://schemas.microsoft.com/office/drawing/2014/main" id="{F7336693-FCBB-4FEE-9884-9EFBE675DB85}"/>
              </a:ext>
            </a:extLst>
          </p:cNvPr>
          <p:cNvSpPr>
            <a:spLocks noGrp="1"/>
          </p:cNvSpPr>
          <p:nvPr>
            <p:ph type="body" sz="quarter" idx="13"/>
          </p:nvPr>
        </p:nvSpPr>
        <p:spPr>
          <a:xfrm>
            <a:off x="518379" y="6297421"/>
            <a:ext cx="5675388" cy="274320"/>
          </a:xfrm>
        </p:spPr>
        <p:txBody>
          <a:bodyPr/>
          <a:lstStyle/>
          <a:p>
            <a:r>
              <a:rPr lang="en-US" dirty="0"/>
              <a:t>Note: Data as of March 11</a:t>
            </a:r>
          </a:p>
          <a:p>
            <a:r>
              <a:rPr lang="en-US" dirty="0"/>
              <a:t>Source: Bloomberg News </a:t>
            </a:r>
            <a:r>
              <a:rPr lang="en-US" dirty="0">
                <a:hlinkClick r:id="rId3"/>
              </a:rPr>
              <a:t>“Who’s Winning the 2020 Presidential Delegate Count?” </a:t>
            </a:r>
            <a:endParaRPr lang="en-US" dirty="0"/>
          </a:p>
        </p:txBody>
      </p:sp>
    </p:spTree>
    <p:extLst>
      <p:ext uri="{BB962C8B-B14F-4D97-AF65-F5344CB8AC3E}">
        <p14:creationId xmlns:p14="http://schemas.microsoft.com/office/powerpoint/2010/main" val="269008627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60985-87B9-4436-B045-4FCB67BF629E}"/>
              </a:ext>
            </a:extLst>
          </p:cNvPr>
          <p:cNvSpPr>
            <a:spLocks noGrp="1"/>
          </p:cNvSpPr>
          <p:nvPr>
            <p:ph type="title"/>
          </p:nvPr>
        </p:nvSpPr>
        <p:spPr>
          <a:xfrm>
            <a:off x="457200" y="688975"/>
            <a:ext cx="6435305" cy="519351"/>
          </a:xfrm>
        </p:spPr>
        <p:txBody>
          <a:bodyPr/>
          <a:lstStyle/>
          <a:p>
            <a:r>
              <a:rPr lang="en-US" dirty="0"/>
              <a:t>Major Dates on Presidential Calendar</a:t>
            </a:r>
          </a:p>
        </p:txBody>
      </p:sp>
      <p:sp>
        <p:nvSpPr>
          <p:cNvPr id="4" name="Text Placeholder 3"/>
          <p:cNvSpPr>
            <a:spLocks noGrp="1"/>
          </p:cNvSpPr>
          <p:nvPr>
            <p:ph type="body" sz="quarter" idx="10"/>
          </p:nvPr>
        </p:nvSpPr>
        <p:spPr/>
        <p:txBody>
          <a:bodyPr/>
          <a:lstStyle/>
          <a:p>
            <a:r>
              <a:rPr lang="en-US" b="1" dirty="0"/>
              <a:t>March 15: </a:t>
            </a:r>
            <a:r>
              <a:rPr lang="en-US" dirty="0"/>
              <a:t>11th Democratic debate (Phoenix, Ariz.; hosted by CNN/Univision)</a:t>
            </a:r>
          </a:p>
          <a:p>
            <a:endParaRPr lang="en-US" dirty="0"/>
          </a:p>
          <a:p>
            <a:r>
              <a:rPr lang="en-US" b="1" dirty="0"/>
              <a:t>June 6: </a:t>
            </a:r>
            <a:r>
              <a:rPr lang="en-US" dirty="0"/>
              <a:t>Last Democratic primary or caucus (Virgin Islands)</a:t>
            </a:r>
          </a:p>
          <a:p>
            <a:endParaRPr lang="en-US" dirty="0"/>
          </a:p>
          <a:p>
            <a:r>
              <a:rPr lang="en-US" b="1" dirty="0"/>
              <a:t>July 13-16: </a:t>
            </a:r>
            <a:r>
              <a:rPr lang="en-US" dirty="0"/>
              <a:t>Democratic National Convention (Milwaukee, Wis.)</a:t>
            </a:r>
          </a:p>
          <a:p>
            <a:endParaRPr lang="en-US" dirty="0"/>
          </a:p>
          <a:p>
            <a:r>
              <a:rPr lang="en-US" b="1" dirty="0"/>
              <a:t>Aug. 24-27: </a:t>
            </a:r>
            <a:r>
              <a:rPr lang="en-US" dirty="0"/>
              <a:t>Republican National Convention (Charlotte, N.C.)</a:t>
            </a:r>
          </a:p>
          <a:p>
            <a:endParaRPr lang="en-US" dirty="0"/>
          </a:p>
          <a:p>
            <a:r>
              <a:rPr lang="en-US" b="1" dirty="0"/>
              <a:t>Sept. 29: </a:t>
            </a:r>
            <a:r>
              <a:rPr lang="en-US" dirty="0"/>
              <a:t>1st presidential debate (Notre Dame, Ind.)</a:t>
            </a:r>
          </a:p>
          <a:p>
            <a:endParaRPr lang="en-US" dirty="0"/>
          </a:p>
          <a:p>
            <a:r>
              <a:rPr lang="en-US" b="1" dirty="0"/>
              <a:t>Oct. 7: </a:t>
            </a:r>
            <a:r>
              <a:rPr lang="en-US" dirty="0"/>
              <a:t>Vice presidential debate (Salt Lake City, Utah)</a:t>
            </a:r>
          </a:p>
          <a:p>
            <a:endParaRPr lang="en-US" dirty="0"/>
          </a:p>
          <a:p>
            <a:r>
              <a:rPr lang="en-US" b="1" dirty="0"/>
              <a:t>Oct. 15: </a:t>
            </a:r>
            <a:r>
              <a:rPr lang="en-US" dirty="0"/>
              <a:t>2nd presidential debate (Ann Arbor, Mich.)</a:t>
            </a:r>
          </a:p>
          <a:p>
            <a:endParaRPr lang="en-US" dirty="0"/>
          </a:p>
          <a:p>
            <a:r>
              <a:rPr lang="en-US" b="1" dirty="0"/>
              <a:t>Oct. 22: </a:t>
            </a:r>
            <a:r>
              <a:rPr lang="en-US" dirty="0"/>
              <a:t>3rd presidential debate (Nashville, Tenn.)</a:t>
            </a:r>
          </a:p>
          <a:p>
            <a:endParaRPr lang="en-US" dirty="0"/>
          </a:p>
          <a:p>
            <a:r>
              <a:rPr lang="en-US" b="1" dirty="0"/>
              <a:t>Nov. 3: </a:t>
            </a:r>
            <a:r>
              <a:rPr lang="en-US" dirty="0"/>
              <a:t>Election Day</a:t>
            </a:r>
          </a:p>
          <a:p>
            <a:endParaRPr lang="en-US" dirty="0"/>
          </a:p>
        </p:txBody>
      </p:sp>
    </p:spTree>
    <p:extLst>
      <p:ext uri="{BB962C8B-B14F-4D97-AF65-F5344CB8AC3E}">
        <p14:creationId xmlns:p14="http://schemas.microsoft.com/office/powerpoint/2010/main" val="15282459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69886" y="6324600"/>
            <a:ext cx="5987782" cy="228600"/>
          </a:xfrm>
          <a:prstGeom prst="rect">
            <a:avLst/>
          </a:prstGeom>
          <a:noFill/>
        </p:spPr>
        <p:txBody>
          <a:bodyPr wrap="square" lIns="0" tIns="45720" rIns="0" bIns="45720" rtlCol="0">
            <a:noAutofit/>
          </a:bodyPr>
          <a:lstStyle/>
          <a:p>
            <a:pPr>
              <a:buClr>
                <a:srgbClr val="FFFFFF"/>
              </a:buClr>
            </a:pPr>
            <a:r>
              <a:rPr lang="en-US" sz="1000" dirty="0">
                <a:solidFill>
                  <a:srgbClr val="000000"/>
                </a:solidFill>
                <a:latin typeface="Arial" pitchFamily="34" charset="0"/>
                <a:cs typeface="Arial" pitchFamily="34" charset="0"/>
              </a:rPr>
              <a:t>Source: Nominees need 270 electoral votes to win; race ratings from </a:t>
            </a:r>
            <a:r>
              <a:rPr lang="en-US" sz="1000" dirty="0">
                <a:solidFill>
                  <a:srgbClr val="000000"/>
                </a:solidFill>
                <a:latin typeface="Arial" pitchFamily="34" charset="0"/>
                <a:cs typeface="Arial" pitchFamily="34" charset="0"/>
                <a:hlinkClick r:id="rId2"/>
              </a:rPr>
              <a:t>Cook Political </a:t>
            </a:r>
            <a:r>
              <a:rPr lang="en-US" sz="1000" dirty="0">
                <a:solidFill>
                  <a:srgbClr val="000000"/>
                </a:solidFill>
                <a:latin typeface="Arial" pitchFamily="34" charset="0"/>
                <a:cs typeface="Arial" pitchFamily="34" charset="0"/>
                <a:hlinkClick r:id="rId3"/>
              </a:rPr>
              <a:t>Report</a:t>
            </a:r>
            <a:r>
              <a:rPr lang="en-US" sz="1000" dirty="0">
                <a:solidFill>
                  <a:srgbClr val="000000"/>
                </a:solidFill>
                <a:latin typeface="Arial" pitchFamily="34" charset="0"/>
                <a:cs typeface="Arial" pitchFamily="34" charset="0"/>
              </a:rPr>
              <a:t> as of March 11</a:t>
            </a:r>
          </a:p>
        </p:txBody>
      </p:sp>
      <p:sp>
        <p:nvSpPr>
          <p:cNvPr id="1182" name="Title 1"/>
          <p:cNvSpPr>
            <a:spLocks noGrp="1"/>
          </p:cNvSpPr>
          <p:nvPr>
            <p:ph type="title"/>
          </p:nvPr>
        </p:nvSpPr>
        <p:spPr>
          <a:xfrm>
            <a:off x="457200" y="732517"/>
            <a:ext cx="8228013" cy="477054"/>
          </a:xfrm>
        </p:spPr>
        <p:txBody>
          <a:bodyPr/>
          <a:lstStyle/>
          <a:p>
            <a:r>
              <a:rPr lang="en-US" sz="2800" dirty="0"/>
              <a:t>Electoral College Math Matters Most</a:t>
            </a:r>
          </a:p>
        </p:txBody>
      </p:sp>
      <p:sp>
        <p:nvSpPr>
          <p:cNvPr id="9" name="Text Placeholder 3"/>
          <p:cNvSpPr txBox="1">
            <a:spLocks/>
          </p:cNvSpPr>
          <p:nvPr/>
        </p:nvSpPr>
        <p:spPr>
          <a:xfrm>
            <a:off x="369886" y="1206707"/>
            <a:ext cx="8676347" cy="387350"/>
          </a:xfrm>
          <a:prstGeom prst="rect">
            <a:avLst/>
          </a:prstGeom>
        </p:spPr>
        <p:txBody>
          <a:bodyPr/>
          <a:lstStyle>
            <a:lvl1pPr marL="231775" indent="-231775" algn="l" defTabSz="914400" rtl="0" eaLnBrk="1" latinLnBrk="0" hangingPunct="1">
              <a:spcBef>
                <a:spcPts val="0"/>
              </a:spcBef>
              <a:buClr>
                <a:srgbClr val="81DD00"/>
              </a:buClr>
              <a:buFont typeface="Arial" panose="020B0604020202020204" pitchFamily="34" charset="0"/>
              <a:buChar char="•"/>
              <a:defRPr kumimoji="0" lang="en-US" sz="1600" b="0" i="0" u="none" strike="noStrike" kern="1200" cap="none" spc="0" normalizeH="0" baseline="0" dirty="0" smtClean="0">
                <a:ln>
                  <a:noFill/>
                </a:ln>
                <a:solidFill>
                  <a:srgbClr val="000000"/>
                </a:solidFill>
                <a:effectLst/>
                <a:uLnTx/>
                <a:uFillTx/>
                <a:latin typeface="Arial" pitchFamily="34" charset="0"/>
                <a:ea typeface="+mn-ea"/>
                <a:cs typeface="Arial" pitchFamily="34" charset="0"/>
              </a:defRPr>
            </a:lvl1pPr>
            <a:lvl2pPr marL="457200" indent="-228600" algn="l" defTabSz="914400" rtl="0" eaLnBrk="1" latinLnBrk="0" hangingPunct="1">
              <a:spcBef>
                <a:spcPts val="0"/>
              </a:spcBef>
              <a:buClr>
                <a:srgbClr val="81DD00"/>
              </a:buClr>
              <a:buFont typeface="Arial" panose="020B0604020202020204" pitchFamily="34" charset="0"/>
              <a:buChar char="•"/>
              <a:defRPr sz="1600" kern="1200">
                <a:solidFill>
                  <a:schemeClr val="tx1"/>
                </a:solidFill>
                <a:latin typeface="Arial" pitchFamily="34" charset="0"/>
                <a:ea typeface="+mn-ea"/>
                <a:cs typeface="Arial" pitchFamily="34" charset="0"/>
              </a:defRPr>
            </a:lvl2pPr>
            <a:lvl3pPr marL="685800" indent="-228600" algn="l" defTabSz="914400" rtl="0" eaLnBrk="1" latinLnBrk="0" hangingPunct="1">
              <a:spcBef>
                <a:spcPts val="0"/>
              </a:spcBef>
              <a:buClr>
                <a:srgbClr val="81DD00"/>
              </a:buClr>
              <a:buFont typeface="Arial" pitchFamily="34" charset="0"/>
              <a:buChar char="•"/>
              <a:defRPr sz="1400" kern="1200">
                <a:solidFill>
                  <a:schemeClr val="tx1"/>
                </a:solidFill>
                <a:latin typeface="Arial" pitchFamily="34" charset="0"/>
                <a:ea typeface="+mn-ea"/>
                <a:cs typeface="Arial" pitchFamily="34" charset="0"/>
              </a:defRPr>
            </a:lvl3pPr>
            <a:lvl4pPr marL="914400" indent="-228600" algn="l" defTabSz="914400" rtl="0" eaLnBrk="1" latinLnBrk="0" hangingPunct="1">
              <a:spcBef>
                <a:spcPts val="0"/>
              </a:spcBef>
              <a:buClr>
                <a:srgbClr val="81DD00"/>
              </a:buClr>
              <a:buFont typeface="Arial" panose="020B0604020202020204" pitchFamily="34" charset="0"/>
              <a:buChar char="•"/>
              <a:tabLst/>
              <a:defRPr sz="1400" kern="1200">
                <a:solidFill>
                  <a:schemeClr val="tx1"/>
                </a:solidFill>
                <a:latin typeface="Arial" pitchFamily="34" charset="0"/>
                <a:ea typeface="+mn-ea"/>
                <a:cs typeface="Arial" pitchFamily="34" charset="0"/>
              </a:defRPr>
            </a:lvl4pPr>
            <a:lvl5pPr marL="1146175" indent="-231775" algn="l" defTabSz="914400" rtl="0" eaLnBrk="1" latinLnBrk="0" hangingPunct="1">
              <a:spcBef>
                <a:spcPts val="0"/>
              </a:spcBef>
              <a:buClr>
                <a:srgbClr val="81DD00"/>
              </a:buClr>
              <a:buFont typeface="Arial" pitchFamily="34" charset="0"/>
              <a:buChar char="•"/>
              <a:defRPr sz="1400" kern="1200" baseline="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a:solidFill>
                  <a:schemeClr val="tx2"/>
                </a:solidFill>
              </a:rPr>
              <a:t>Trump won the electoral vote 304 to 227, but lost the popular vote by 2.1 percentage points</a:t>
            </a:r>
          </a:p>
          <a:p>
            <a:pPr marL="0" indent="0">
              <a:buNone/>
            </a:pPr>
            <a:endParaRPr lang="en-US" dirty="0">
              <a:solidFill>
                <a:schemeClr val="tx2"/>
              </a:solidFill>
            </a:endParaRPr>
          </a:p>
        </p:txBody>
      </p:sp>
      <p:sp>
        <p:nvSpPr>
          <p:cNvPr id="10" name="Title 1"/>
          <p:cNvSpPr txBox="1">
            <a:spLocks/>
          </p:cNvSpPr>
          <p:nvPr/>
        </p:nvSpPr>
        <p:spPr>
          <a:xfrm>
            <a:off x="1083673" y="1934410"/>
            <a:ext cx="6385449" cy="274929"/>
          </a:xfrm>
          <a:prstGeom prst="rect">
            <a:avLst/>
          </a:prstGeom>
        </p:spPr>
        <p:txBody>
          <a:bodyPr vert="horz" lIns="0" tIns="0" rIns="0" bIns="0" rtlCol="0" anchor="t" anchorCtr="0">
            <a:noAutofit/>
          </a:bodyPr>
          <a:lstStyle>
            <a:lvl1pPr algn="l" defTabSz="914400" rtl="0" eaLnBrk="1" latinLnBrk="0" hangingPunct="1">
              <a:spcBef>
                <a:spcPct val="0"/>
              </a:spcBef>
              <a:buNone/>
              <a:defRPr sz="2200" b="1" kern="1200" cap="none" baseline="0">
                <a:solidFill>
                  <a:schemeClr val="tx1"/>
                </a:solidFill>
                <a:latin typeface="Arial" pitchFamily="34" charset="0"/>
                <a:ea typeface="+mj-ea"/>
                <a:cs typeface="Arial" pitchFamily="34" charset="0"/>
              </a:defRPr>
            </a:lvl1pPr>
          </a:lstStyle>
          <a:p>
            <a:r>
              <a:rPr lang="en-US" sz="1200" dirty="0"/>
              <a:t>Cook’s Latest Scenario: </a:t>
            </a:r>
            <a:r>
              <a:rPr lang="en-US" sz="1200" dirty="0">
                <a:solidFill>
                  <a:srgbClr val="0070C0"/>
                </a:solidFill>
              </a:rPr>
              <a:t>232 - Democratic pick</a:t>
            </a:r>
            <a:r>
              <a:rPr lang="en-US" sz="1200" dirty="0"/>
              <a:t> | </a:t>
            </a:r>
            <a:r>
              <a:rPr lang="en-US" sz="1200" dirty="0">
                <a:solidFill>
                  <a:schemeClr val="tx2"/>
                </a:solidFill>
              </a:rPr>
              <a:t>102 - Toss Up </a:t>
            </a:r>
            <a:r>
              <a:rPr lang="en-US" sz="1200" dirty="0"/>
              <a:t>| </a:t>
            </a:r>
            <a:r>
              <a:rPr lang="en-US" sz="1200" dirty="0">
                <a:solidFill>
                  <a:srgbClr val="FF0000"/>
                </a:solidFill>
              </a:rPr>
              <a:t>204 - Trump/Republican</a:t>
            </a:r>
            <a:endParaRPr lang="en-US" sz="1200" dirty="0">
              <a:solidFill>
                <a:schemeClr val="tx2"/>
              </a:solidFill>
            </a:endParaRPr>
          </a:p>
        </p:txBody>
      </p:sp>
      <p:pic>
        <p:nvPicPr>
          <p:cNvPr id="2" name="Picture 1">
            <a:extLst>
              <a:ext uri="{FF2B5EF4-FFF2-40B4-BE49-F238E27FC236}">
                <a16:creationId xmlns:a16="http://schemas.microsoft.com/office/drawing/2014/main" id="{A2E865F9-C01A-4B5D-B163-4D1EE0B69D92}"/>
              </a:ext>
            </a:extLst>
          </p:cNvPr>
          <p:cNvPicPr>
            <a:picLocks noChangeAspect="1"/>
          </p:cNvPicPr>
          <p:nvPr/>
        </p:nvPicPr>
        <p:blipFill>
          <a:blip r:embed="rId4"/>
          <a:stretch>
            <a:fillRect/>
          </a:stretch>
        </p:blipFill>
        <p:spPr>
          <a:xfrm>
            <a:off x="1083673" y="2339995"/>
            <a:ext cx="6223320" cy="3238666"/>
          </a:xfrm>
          <a:prstGeom prst="rect">
            <a:avLst/>
          </a:prstGeom>
        </p:spPr>
      </p:pic>
    </p:spTree>
    <p:extLst>
      <p:ext uri="{BB962C8B-B14F-4D97-AF65-F5344CB8AC3E}">
        <p14:creationId xmlns:p14="http://schemas.microsoft.com/office/powerpoint/2010/main" val="21172982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Governors’ 2020 Races</a:t>
            </a:r>
          </a:p>
        </p:txBody>
      </p:sp>
      <p:sp>
        <p:nvSpPr>
          <p:cNvPr id="3" name="Text Placeholder 2"/>
          <p:cNvSpPr>
            <a:spLocks noGrp="1"/>
          </p:cNvSpPr>
          <p:nvPr>
            <p:ph type="body" sz="quarter" idx="10"/>
          </p:nvPr>
        </p:nvSpPr>
        <p:spPr>
          <a:xfrm>
            <a:off x="457200" y="1676400"/>
            <a:ext cx="8452598" cy="1915478"/>
          </a:xfrm>
        </p:spPr>
        <p:txBody>
          <a:bodyPr/>
          <a:lstStyle/>
          <a:p>
            <a:pPr marL="0" indent="0">
              <a:buNone/>
            </a:pPr>
            <a:r>
              <a:rPr lang="en-US" b="1" dirty="0"/>
              <a:t>There are 11 </a:t>
            </a:r>
            <a:r>
              <a:rPr lang="en-US" b="1" dirty="0">
                <a:solidFill>
                  <a:schemeClr val="tx1"/>
                </a:solidFill>
              </a:rPr>
              <a:t>governorships</a:t>
            </a:r>
            <a:r>
              <a:rPr lang="en-US" b="1" dirty="0"/>
              <a:t> up for election in 2020; considerably fewer than in 2018</a:t>
            </a:r>
          </a:p>
          <a:p>
            <a:pPr>
              <a:buClr>
                <a:srgbClr val="0070C0"/>
              </a:buClr>
            </a:pPr>
            <a:r>
              <a:rPr lang="en-US" dirty="0"/>
              <a:t>Seven are held by Republicans; four are held by Democrats</a:t>
            </a:r>
          </a:p>
          <a:p>
            <a:pPr>
              <a:buClr>
                <a:srgbClr val="0070C0"/>
              </a:buClr>
            </a:pPr>
            <a:r>
              <a:rPr lang="en-US" dirty="0"/>
              <a:t>Each party is defending one open seat, with no incumbent</a:t>
            </a:r>
          </a:p>
          <a:p>
            <a:pPr lvl="2">
              <a:buClr>
                <a:srgbClr val="0070C0"/>
              </a:buClr>
            </a:pPr>
            <a:r>
              <a:rPr lang="en-US" dirty="0"/>
              <a:t>Montana: </a:t>
            </a:r>
            <a:r>
              <a:rPr lang="en-US" b="1" dirty="0"/>
              <a:t>Steve Bullock</a:t>
            </a:r>
            <a:r>
              <a:rPr lang="en-US" dirty="0"/>
              <a:t> (D) is term-limited; Rep. Greg Gianforte (R) is running</a:t>
            </a:r>
          </a:p>
          <a:p>
            <a:pPr lvl="2">
              <a:buClr>
                <a:srgbClr val="0070C0"/>
              </a:buClr>
            </a:pPr>
            <a:r>
              <a:rPr lang="en-US" dirty="0"/>
              <a:t>Utah: </a:t>
            </a:r>
            <a:r>
              <a:rPr lang="en-US" b="1" dirty="0"/>
              <a:t>Gary Herbert</a:t>
            </a:r>
            <a:r>
              <a:rPr lang="en-US" dirty="0"/>
              <a:t> (R) is retiring; ex-Gov. Jon Huntsman (R) is running</a:t>
            </a:r>
          </a:p>
          <a:p>
            <a:pPr>
              <a:buClr>
                <a:srgbClr val="0070C0"/>
              </a:buClr>
            </a:pPr>
            <a:r>
              <a:rPr lang="en-US" dirty="0"/>
              <a:t>West Virginia’s incumbent, </a:t>
            </a:r>
            <a:r>
              <a:rPr lang="en-US" b="1" dirty="0"/>
              <a:t>Jim Justice</a:t>
            </a:r>
            <a:r>
              <a:rPr lang="en-US" dirty="0"/>
              <a:t>, was elected in 2016 as a Democrat, but changed party affiliation, is running for re-election as a Republican, and faces a May 12 primary; Sen. Joe Manchin (D) declined to run for his old job</a:t>
            </a:r>
          </a:p>
          <a:p>
            <a:endParaRPr lang="en-US" dirty="0"/>
          </a:p>
          <a:p>
            <a:pPr marL="0" indent="0">
              <a:buNone/>
            </a:pPr>
            <a:endParaRPr lang="en-US" dirty="0"/>
          </a:p>
          <a:p>
            <a:endParaRPr lang="en-US" dirty="0"/>
          </a:p>
          <a:p>
            <a:pPr marL="0" indent="0">
              <a:buNone/>
            </a:pPr>
            <a:endParaRPr lang="en-US" dirty="0"/>
          </a:p>
          <a:p>
            <a:endParaRPr lang="en-US" dirty="0"/>
          </a:p>
          <a:p>
            <a:pPr marL="0" indent="0">
              <a:buNone/>
            </a:pPr>
            <a:endParaRPr lang="en-US" dirty="0"/>
          </a:p>
          <a:p>
            <a:pPr marL="0" indent="0">
              <a:buNone/>
            </a:pPr>
            <a:endParaRPr lang="en-US" dirty="0"/>
          </a:p>
        </p:txBody>
      </p:sp>
      <p:graphicFrame>
        <p:nvGraphicFramePr>
          <p:cNvPr id="4" name="Table 3"/>
          <p:cNvGraphicFramePr>
            <a:graphicFrameLocks noGrp="1"/>
          </p:cNvGraphicFramePr>
          <p:nvPr>
            <p:extLst>
              <p:ext uri="{D42A27DB-BD31-4B8C-83A1-F6EECF244321}">
                <p14:modId xmlns:p14="http://schemas.microsoft.com/office/powerpoint/2010/main" val="395692011"/>
              </p:ext>
            </p:extLst>
          </p:nvPr>
        </p:nvGraphicFramePr>
        <p:xfrm>
          <a:off x="484907" y="3691237"/>
          <a:ext cx="8321040" cy="1316736"/>
        </p:xfrm>
        <a:graphic>
          <a:graphicData uri="http://schemas.openxmlformats.org/drawingml/2006/table">
            <a:tbl>
              <a:tblPr firstRow="1" bandRow="1">
                <a:tableStyleId>{B301B821-A1FF-4177-AEE7-76D212191A09}</a:tableStyleId>
              </a:tblPr>
              <a:tblGrid>
                <a:gridCol w="2055036">
                  <a:extLst>
                    <a:ext uri="{9D8B030D-6E8A-4147-A177-3AD203B41FA5}">
                      <a16:colId xmlns:a16="http://schemas.microsoft.com/office/drawing/2014/main" val="20000"/>
                    </a:ext>
                  </a:extLst>
                </a:gridCol>
                <a:gridCol w="2055036">
                  <a:extLst>
                    <a:ext uri="{9D8B030D-6E8A-4147-A177-3AD203B41FA5}">
                      <a16:colId xmlns:a16="http://schemas.microsoft.com/office/drawing/2014/main" val="20001"/>
                    </a:ext>
                  </a:extLst>
                </a:gridCol>
                <a:gridCol w="2055036">
                  <a:extLst>
                    <a:ext uri="{9D8B030D-6E8A-4147-A177-3AD203B41FA5}">
                      <a16:colId xmlns:a16="http://schemas.microsoft.com/office/drawing/2014/main" val="20002"/>
                    </a:ext>
                  </a:extLst>
                </a:gridCol>
                <a:gridCol w="2155932">
                  <a:extLst>
                    <a:ext uri="{9D8B030D-6E8A-4147-A177-3AD203B41FA5}">
                      <a16:colId xmlns:a16="http://schemas.microsoft.com/office/drawing/2014/main" val="20003"/>
                    </a:ext>
                  </a:extLst>
                </a:gridCol>
              </a:tblGrid>
              <a:tr h="329184">
                <a:tc gridSpan="4">
                  <a:txBody>
                    <a:bodyPr/>
                    <a:lstStyle/>
                    <a:p>
                      <a:pPr algn="l"/>
                      <a:r>
                        <a:rPr lang="en-US" sz="1100" dirty="0"/>
                        <a:t>Gubernatorial Incumbents 2020</a:t>
                      </a:r>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tc hMerge="1">
                  <a:txBody>
                    <a:bodyPr/>
                    <a:lstStyle/>
                    <a:p>
                      <a:pPr algn="l"/>
                      <a:endParaRPr lang="en-US" sz="1100" dirty="0">
                        <a:solidFill>
                          <a:schemeClr val="tx1"/>
                        </a:solidFill>
                        <a:latin typeface="+mn-lt"/>
                      </a:endParaRPr>
                    </a:p>
                  </a:txBody>
                  <a:tcPr marT="36576" marB="36576" anchor="ctr"/>
                </a:tc>
                <a:extLst>
                  <a:ext uri="{0D108BD9-81ED-4DB2-BD59-A6C34878D82A}">
                    <a16:rowId xmlns:a16="http://schemas.microsoft.com/office/drawing/2014/main" val="10000"/>
                  </a:ext>
                </a:extLst>
              </a:tr>
              <a:tr h="329184">
                <a:tc>
                  <a:txBody>
                    <a:bodyPr/>
                    <a:lstStyle/>
                    <a:p>
                      <a:pPr marL="0" marR="0" algn="l">
                        <a:lnSpc>
                          <a:spcPct val="107000"/>
                        </a:lnSpc>
                        <a:spcBef>
                          <a:spcPts val="0"/>
                        </a:spcBef>
                        <a:spcAft>
                          <a:spcPts val="0"/>
                        </a:spcAft>
                      </a:pPr>
                      <a:r>
                        <a:rPr lang="en-US" sz="1100" dirty="0">
                          <a:solidFill>
                            <a:srgbClr val="0070C0"/>
                          </a:solidFill>
                          <a:effectLst/>
                        </a:rPr>
                        <a:t>John Carney Jr. (D-Del.)</a:t>
                      </a:r>
                      <a:endParaRPr lang="en-US" sz="11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100" dirty="0">
                          <a:solidFill>
                            <a:srgbClr val="0070C0"/>
                          </a:solidFill>
                          <a:effectLst/>
                        </a:rPr>
                        <a:t>Open</a:t>
                      </a:r>
                      <a:r>
                        <a:rPr lang="en-US" sz="1100" baseline="0" dirty="0">
                          <a:solidFill>
                            <a:srgbClr val="0070C0"/>
                          </a:solidFill>
                          <a:effectLst/>
                        </a:rPr>
                        <a:t> (D-Mont.)</a:t>
                      </a:r>
                      <a:endParaRPr lang="en-US" sz="11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100" dirty="0">
                          <a:solidFill>
                            <a:srgbClr val="C00000"/>
                          </a:solidFill>
                          <a:effectLst/>
                        </a:rPr>
                        <a:t>Doug Burgum (R-N.D.)</a:t>
                      </a:r>
                      <a:endParaRPr lang="en-US" sz="1100" dirty="0">
                        <a:solidFill>
                          <a:srgbClr val="C0000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100" dirty="0">
                          <a:solidFill>
                            <a:srgbClr val="0070C0"/>
                          </a:solidFill>
                          <a:effectLst/>
                        </a:rPr>
                        <a:t>Jay Inslee (D-Wash.)</a:t>
                      </a:r>
                      <a:endParaRPr lang="en-US" sz="11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329184">
                <a:tc>
                  <a:txBody>
                    <a:bodyPr/>
                    <a:lstStyle/>
                    <a:p>
                      <a:pPr marL="0" marR="0" algn="l">
                        <a:lnSpc>
                          <a:spcPct val="107000"/>
                        </a:lnSpc>
                        <a:spcBef>
                          <a:spcPts val="0"/>
                        </a:spcBef>
                        <a:spcAft>
                          <a:spcPts val="0"/>
                        </a:spcAft>
                      </a:pPr>
                      <a:r>
                        <a:rPr lang="en-US" sz="1100" dirty="0">
                          <a:solidFill>
                            <a:srgbClr val="C00000"/>
                          </a:solidFill>
                          <a:effectLst/>
                        </a:rPr>
                        <a:t>Eric Holcomb</a:t>
                      </a:r>
                      <a:r>
                        <a:rPr lang="en-US" sz="1100" baseline="0" dirty="0">
                          <a:solidFill>
                            <a:srgbClr val="C00000"/>
                          </a:solidFill>
                          <a:effectLst/>
                        </a:rPr>
                        <a:t> (R-Ind.)</a:t>
                      </a:r>
                      <a:endParaRPr lang="en-US" sz="1100" dirty="0">
                        <a:solidFill>
                          <a:srgbClr val="C0000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100" dirty="0">
                          <a:solidFill>
                            <a:srgbClr val="C00000"/>
                          </a:solidFill>
                          <a:effectLst/>
                        </a:rPr>
                        <a:t>Chris Sununu (R-N.H.)</a:t>
                      </a:r>
                      <a:endParaRPr lang="en-US" sz="1100" dirty="0">
                        <a:solidFill>
                          <a:srgbClr val="C0000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100" dirty="0">
                          <a:solidFill>
                            <a:srgbClr val="C00000"/>
                          </a:solidFill>
                          <a:effectLst/>
                        </a:rPr>
                        <a:t>Open</a:t>
                      </a:r>
                      <a:r>
                        <a:rPr lang="en-US" sz="1100" baseline="0" dirty="0">
                          <a:solidFill>
                            <a:srgbClr val="C00000"/>
                          </a:solidFill>
                          <a:effectLst/>
                        </a:rPr>
                        <a:t> (R-Utah)</a:t>
                      </a:r>
                      <a:endParaRPr lang="en-US" sz="1100" dirty="0">
                        <a:solidFill>
                          <a:srgbClr val="C0000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100" dirty="0">
                          <a:solidFill>
                            <a:srgbClr val="C00000"/>
                          </a:solidFill>
                          <a:effectLst/>
                        </a:rPr>
                        <a:t>Jim Justice (R-W.Va.)</a:t>
                      </a:r>
                      <a:endParaRPr lang="en-US" sz="1100" dirty="0">
                        <a:solidFill>
                          <a:srgbClr val="C00000"/>
                        </a:solidFill>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2"/>
                  </a:ext>
                </a:extLst>
              </a:tr>
              <a:tr h="329184">
                <a:tc>
                  <a:txBody>
                    <a:bodyPr/>
                    <a:lstStyle/>
                    <a:p>
                      <a:pPr marL="0" marR="0" algn="l">
                        <a:lnSpc>
                          <a:spcPct val="107000"/>
                        </a:lnSpc>
                        <a:spcBef>
                          <a:spcPts val="0"/>
                        </a:spcBef>
                        <a:spcAft>
                          <a:spcPts val="0"/>
                        </a:spcAft>
                      </a:pPr>
                      <a:r>
                        <a:rPr lang="en-US" sz="1100" dirty="0">
                          <a:solidFill>
                            <a:srgbClr val="C00000"/>
                          </a:solidFill>
                          <a:effectLst/>
                        </a:rPr>
                        <a:t>Mike Parson</a:t>
                      </a:r>
                      <a:r>
                        <a:rPr lang="en-US" sz="1100" baseline="0" dirty="0">
                          <a:solidFill>
                            <a:srgbClr val="C00000"/>
                          </a:solidFill>
                          <a:effectLst/>
                        </a:rPr>
                        <a:t> (R-Mo.)</a:t>
                      </a:r>
                      <a:endParaRPr lang="en-US" sz="1100" dirty="0">
                        <a:solidFill>
                          <a:srgbClr val="C0000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rgbClr val="0070C0"/>
                          </a:solidFill>
                          <a:effectLst/>
                        </a:rPr>
                        <a:t>Roy Cooper (D-N.C.)</a:t>
                      </a:r>
                      <a:endParaRPr lang="en-US" sz="1100" dirty="0">
                        <a:solidFill>
                          <a:srgbClr val="0070C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r>
                        <a:rPr lang="en-US" sz="1100" dirty="0">
                          <a:solidFill>
                            <a:srgbClr val="C00000"/>
                          </a:solidFill>
                          <a:effectLst/>
                        </a:rPr>
                        <a:t>Phil Scott (R-Vt.)</a:t>
                      </a:r>
                      <a:endParaRPr lang="en-US" sz="1100" dirty="0">
                        <a:solidFill>
                          <a:srgbClr val="C00000"/>
                        </a:solidFill>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marL="0" marR="0" algn="l">
                        <a:lnSpc>
                          <a:spcPct val="107000"/>
                        </a:lnSpc>
                        <a:spcBef>
                          <a:spcPts val="0"/>
                        </a:spcBef>
                        <a:spcAft>
                          <a:spcPts val="0"/>
                        </a:spcAft>
                      </a:pPr>
                      <a:endParaRPr lang="en-US" sz="1100" dirty="0">
                        <a:effectLst/>
                        <a:latin typeface="+mn-lt"/>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0003"/>
                  </a:ext>
                </a:extLst>
              </a:tr>
            </a:tbl>
          </a:graphicData>
        </a:graphic>
      </p:graphicFrame>
      <p:sp>
        <p:nvSpPr>
          <p:cNvPr id="5" name="Text Placeholder 2"/>
          <p:cNvSpPr>
            <a:spLocks noGrp="1"/>
          </p:cNvSpPr>
          <p:nvPr>
            <p:ph type="body" sz="quarter" idx="10"/>
          </p:nvPr>
        </p:nvSpPr>
        <p:spPr>
          <a:xfrm>
            <a:off x="455613" y="5107332"/>
            <a:ext cx="8379629" cy="748611"/>
          </a:xfrm>
        </p:spPr>
        <p:txBody>
          <a:bodyPr/>
          <a:lstStyle/>
          <a:p>
            <a:pPr marL="0" indent="0">
              <a:buNone/>
            </a:pPr>
            <a:r>
              <a:rPr lang="en-US" b="1" dirty="0"/>
              <a:t>In 2018, Democrats picked up seven governor seats previously held by Republicans; the GOP picked up one (in Alaska) previously held by an independent </a:t>
            </a:r>
          </a:p>
          <a:p>
            <a:endParaRPr lang="en-US" dirty="0">
              <a:solidFill>
                <a:srgbClr val="FF0000"/>
              </a:solidFill>
            </a:endParaRPr>
          </a:p>
          <a:p>
            <a:endParaRPr lang="en-US" dirty="0"/>
          </a:p>
          <a:p>
            <a:endParaRPr lang="en-US" dirty="0"/>
          </a:p>
          <a:p>
            <a:pPr marL="0" indent="0">
              <a:buNone/>
            </a:pPr>
            <a:endParaRPr lang="en-US" dirty="0"/>
          </a:p>
          <a:p>
            <a:endParaRPr lang="en-US" dirty="0"/>
          </a:p>
          <a:p>
            <a:pPr marL="0" indent="0">
              <a:buNone/>
            </a:pPr>
            <a:endParaRPr lang="en-US" dirty="0"/>
          </a:p>
          <a:p>
            <a:endParaRPr lang="en-US" dirty="0"/>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6573336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States With Senate Races in 2020</a:t>
            </a:r>
          </a:p>
        </p:txBody>
      </p:sp>
      <p:sp>
        <p:nvSpPr>
          <p:cNvPr id="5" name="Text Placeholder 4"/>
          <p:cNvSpPr>
            <a:spLocks noGrp="1"/>
          </p:cNvSpPr>
          <p:nvPr>
            <p:ph type="body" sz="quarter" idx="13"/>
          </p:nvPr>
        </p:nvSpPr>
        <p:spPr>
          <a:xfrm>
            <a:off x="457200" y="6122369"/>
            <a:ext cx="8228013" cy="274320"/>
          </a:xfrm>
        </p:spPr>
        <p:txBody>
          <a:bodyPr/>
          <a:lstStyle/>
          <a:p>
            <a:r>
              <a:rPr lang="en-US" dirty="0"/>
              <a:t>Source: U.S. Senate; Bloomberg Government</a:t>
            </a:r>
          </a:p>
          <a:p>
            <a:r>
              <a:rPr lang="en-US" dirty="0"/>
              <a:t>Note</a:t>
            </a:r>
            <a:r>
              <a:rPr lang="en-US" dirty="0">
                <a:solidFill>
                  <a:schemeClr val="tx1"/>
                </a:solidFill>
              </a:rPr>
              <a:t>: Georgia has one regularly scheduled election and one special election; Arizona has a special election</a:t>
            </a:r>
          </a:p>
        </p:txBody>
      </p:sp>
      <p:sp>
        <p:nvSpPr>
          <p:cNvPr id="310" name="Freeform 751"/>
          <p:cNvSpPr>
            <a:spLocks noChangeAspect="1"/>
          </p:cNvSpPr>
          <p:nvPr/>
        </p:nvSpPr>
        <p:spPr bwMode="auto">
          <a:xfrm>
            <a:off x="5841252" y="4939118"/>
            <a:ext cx="1158716" cy="882967"/>
          </a:xfrm>
          <a:custGeom>
            <a:avLst/>
            <a:gdLst>
              <a:gd name="T0" fmla="*/ 10 w 811"/>
              <a:gd name="T1" fmla="*/ 79 h 618"/>
              <a:gd name="T2" fmla="*/ 247 w 811"/>
              <a:gd name="T3" fmla="*/ 24 h 618"/>
              <a:gd name="T4" fmla="*/ 519 w 811"/>
              <a:gd name="T5" fmla="*/ 41 h 618"/>
              <a:gd name="T6" fmla="*/ 538 w 811"/>
              <a:gd name="T7" fmla="*/ 28 h 618"/>
              <a:gd name="T8" fmla="*/ 545 w 811"/>
              <a:gd name="T9" fmla="*/ 0 h 618"/>
              <a:gd name="T10" fmla="*/ 585 w 811"/>
              <a:gd name="T11" fmla="*/ 7 h 618"/>
              <a:gd name="T12" fmla="*/ 598 w 811"/>
              <a:gd name="T13" fmla="*/ 34 h 618"/>
              <a:gd name="T14" fmla="*/ 626 w 811"/>
              <a:gd name="T15" fmla="*/ 103 h 618"/>
              <a:gd name="T16" fmla="*/ 717 w 811"/>
              <a:gd name="T17" fmla="*/ 235 h 618"/>
              <a:gd name="T18" fmla="*/ 726 w 811"/>
              <a:gd name="T19" fmla="*/ 284 h 618"/>
              <a:gd name="T20" fmla="*/ 715 w 811"/>
              <a:gd name="T21" fmla="*/ 239 h 618"/>
              <a:gd name="T22" fmla="*/ 694 w 811"/>
              <a:gd name="T23" fmla="*/ 215 h 618"/>
              <a:gd name="T24" fmla="*/ 702 w 811"/>
              <a:gd name="T25" fmla="*/ 254 h 618"/>
              <a:gd name="T26" fmla="*/ 773 w 811"/>
              <a:gd name="T27" fmla="*/ 373 h 618"/>
              <a:gd name="T28" fmla="*/ 794 w 811"/>
              <a:gd name="T29" fmla="*/ 403 h 618"/>
              <a:gd name="T30" fmla="*/ 809 w 811"/>
              <a:gd name="T31" fmla="*/ 494 h 618"/>
              <a:gd name="T32" fmla="*/ 807 w 811"/>
              <a:gd name="T33" fmla="*/ 524 h 618"/>
              <a:gd name="T34" fmla="*/ 798 w 811"/>
              <a:gd name="T35" fmla="*/ 558 h 618"/>
              <a:gd name="T36" fmla="*/ 796 w 811"/>
              <a:gd name="T37" fmla="*/ 599 h 618"/>
              <a:gd name="T38" fmla="*/ 773 w 811"/>
              <a:gd name="T39" fmla="*/ 605 h 618"/>
              <a:gd name="T40" fmla="*/ 726 w 811"/>
              <a:gd name="T41" fmla="*/ 618 h 618"/>
              <a:gd name="T42" fmla="*/ 739 w 811"/>
              <a:gd name="T43" fmla="*/ 607 h 618"/>
              <a:gd name="T44" fmla="*/ 709 w 811"/>
              <a:gd name="T45" fmla="*/ 578 h 618"/>
              <a:gd name="T46" fmla="*/ 675 w 811"/>
              <a:gd name="T47" fmla="*/ 539 h 618"/>
              <a:gd name="T48" fmla="*/ 656 w 811"/>
              <a:gd name="T49" fmla="*/ 533 h 618"/>
              <a:gd name="T50" fmla="*/ 615 w 811"/>
              <a:gd name="T51" fmla="*/ 484 h 618"/>
              <a:gd name="T52" fmla="*/ 619 w 811"/>
              <a:gd name="T53" fmla="*/ 462 h 618"/>
              <a:gd name="T54" fmla="*/ 602 w 811"/>
              <a:gd name="T55" fmla="*/ 465 h 618"/>
              <a:gd name="T56" fmla="*/ 602 w 811"/>
              <a:gd name="T57" fmla="*/ 431 h 618"/>
              <a:gd name="T58" fmla="*/ 590 w 811"/>
              <a:gd name="T59" fmla="*/ 443 h 618"/>
              <a:gd name="T60" fmla="*/ 564 w 811"/>
              <a:gd name="T61" fmla="*/ 435 h 618"/>
              <a:gd name="T62" fmla="*/ 526 w 811"/>
              <a:gd name="T63" fmla="*/ 386 h 618"/>
              <a:gd name="T64" fmla="*/ 538 w 811"/>
              <a:gd name="T65" fmla="*/ 365 h 618"/>
              <a:gd name="T66" fmla="*/ 534 w 811"/>
              <a:gd name="T67" fmla="*/ 330 h 618"/>
              <a:gd name="T68" fmla="*/ 526 w 811"/>
              <a:gd name="T69" fmla="*/ 339 h 618"/>
              <a:gd name="T70" fmla="*/ 509 w 811"/>
              <a:gd name="T71" fmla="*/ 347 h 618"/>
              <a:gd name="T72" fmla="*/ 509 w 811"/>
              <a:gd name="T73" fmla="*/ 318 h 618"/>
              <a:gd name="T74" fmla="*/ 511 w 811"/>
              <a:gd name="T75" fmla="*/ 237 h 618"/>
              <a:gd name="T76" fmla="*/ 496 w 811"/>
              <a:gd name="T77" fmla="*/ 209 h 618"/>
              <a:gd name="T78" fmla="*/ 451 w 811"/>
              <a:gd name="T79" fmla="*/ 188 h 618"/>
              <a:gd name="T80" fmla="*/ 404 w 811"/>
              <a:gd name="T81" fmla="*/ 145 h 618"/>
              <a:gd name="T82" fmla="*/ 353 w 811"/>
              <a:gd name="T83" fmla="*/ 111 h 618"/>
              <a:gd name="T84" fmla="*/ 323 w 811"/>
              <a:gd name="T85" fmla="*/ 130 h 618"/>
              <a:gd name="T86" fmla="*/ 313 w 811"/>
              <a:gd name="T87" fmla="*/ 139 h 618"/>
              <a:gd name="T88" fmla="*/ 268 w 811"/>
              <a:gd name="T89" fmla="*/ 162 h 618"/>
              <a:gd name="T90" fmla="*/ 236 w 811"/>
              <a:gd name="T91" fmla="*/ 173 h 618"/>
              <a:gd name="T92" fmla="*/ 230 w 811"/>
              <a:gd name="T93" fmla="*/ 171 h 618"/>
              <a:gd name="T94" fmla="*/ 217 w 811"/>
              <a:gd name="T95" fmla="*/ 145 h 618"/>
              <a:gd name="T96" fmla="*/ 196 w 811"/>
              <a:gd name="T97" fmla="*/ 128 h 618"/>
              <a:gd name="T98" fmla="*/ 210 w 811"/>
              <a:gd name="T99" fmla="*/ 126 h 618"/>
              <a:gd name="T100" fmla="*/ 202 w 811"/>
              <a:gd name="T101" fmla="*/ 105 h 618"/>
              <a:gd name="T102" fmla="*/ 187 w 811"/>
              <a:gd name="T103" fmla="*/ 122 h 618"/>
              <a:gd name="T104" fmla="*/ 121 w 811"/>
              <a:gd name="T105" fmla="*/ 107 h 618"/>
              <a:gd name="T106" fmla="*/ 144 w 811"/>
              <a:gd name="T107" fmla="*/ 105 h 618"/>
              <a:gd name="T108" fmla="*/ 121 w 811"/>
              <a:gd name="T109" fmla="*/ 100 h 618"/>
              <a:gd name="T110" fmla="*/ 59 w 811"/>
              <a:gd name="T111" fmla="*/ 115 h 618"/>
              <a:gd name="T112" fmla="*/ 61 w 811"/>
              <a:gd name="T113" fmla="*/ 98 h 618"/>
              <a:gd name="T114" fmla="*/ 47 w 811"/>
              <a:gd name="T115" fmla="*/ 100 h 618"/>
              <a:gd name="T116" fmla="*/ 32 w 811"/>
              <a:gd name="T117" fmla="*/ 126 h 618"/>
              <a:gd name="T118" fmla="*/ 29 w 811"/>
              <a:gd name="T119" fmla="*/ 109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1" h="618">
                <a:moveTo>
                  <a:pt x="23" y="107"/>
                </a:moveTo>
                <a:lnTo>
                  <a:pt x="21" y="100"/>
                </a:lnTo>
                <a:lnTo>
                  <a:pt x="23" y="90"/>
                </a:lnTo>
                <a:lnTo>
                  <a:pt x="17" y="83"/>
                </a:lnTo>
                <a:lnTo>
                  <a:pt x="10" y="79"/>
                </a:lnTo>
                <a:lnTo>
                  <a:pt x="0" y="64"/>
                </a:lnTo>
                <a:lnTo>
                  <a:pt x="2" y="56"/>
                </a:lnTo>
                <a:lnTo>
                  <a:pt x="8" y="49"/>
                </a:lnTo>
                <a:lnTo>
                  <a:pt x="98" y="41"/>
                </a:lnTo>
                <a:lnTo>
                  <a:pt x="247" y="24"/>
                </a:lnTo>
                <a:lnTo>
                  <a:pt x="257" y="39"/>
                </a:lnTo>
                <a:lnTo>
                  <a:pt x="259" y="45"/>
                </a:lnTo>
                <a:lnTo>
                  <a:pt x="266" y="54"/>
                </a:lnTo>
                <a:lnTo>
                  <a:pt x="513" y="34"/>
                </a:lnTo>
                <a:lnTo>
                  <a:pt x="519" y="41"/>
                </a:lnTo>
                <a:lnTo>
                  <a:pt x="526" y="54"/>
                </a:lnTo>
                <a:lnTo>
                  <a:pt x="532" y="56"/>
                </a:lnTo>
                <a:lnTo>
                  <a:pt x="538" y="49"/>
                </a:lnTo>
                <a:lnTo>
                  <a:pt x="541" y="34"/>
                </a:lnTo>
                <a:lnTo>
                  <a:pt x="538" y="28"/>
                </a:lnTo>
                <a:lnTo>
                  <a:pt x="534" y="22"/>
                </a:lnTo>
                <a:lnTo>
                  <a:pt x="534" y="13"/>
                </a:lnTo>
                <a:lnTo>
                  <a:pt x="536" y="7"/>
                </a:lnTo>
                <a:lnTo>
                  <a:pt x="538" y="7"/>
                </a:lnTo>
                <a:lnTo>
                  <a:pt x="545" y="0"/>
                </a:lnTo>
                <a:lnTo>
                  <a:pt x="553" y="5"/>
                </a:lnTo>
                <a:lnTo>
                  <a:pt x="570" y="9"/>
                </a:lnTo>
                <a:lnTo>
                  <a:pt x="579" y="9"/>
                </a:lnTo>
                <a:lnTo>
                  <a:pt x="581" y="9"/>
                </a:lnTo>
                <a:lnTo>
                  <a:pt x="585" y="7"/>
                </a:lnTo>
                <a:lnTo>
                  <a:pt x="594" y="11"/>
                </a:lnTo>
                <a:lnTo>
                  <a:pt x="592" y="24"/>
                </a:lnTo>
                <a:lnTo>
                  <a:pt x="587" y="19"/>
                </a:lnTo>
                <a:lnTo>
                  <a:pt x="592" y="28"/>
                </a:lnTo>
                <a:lnTo>
                  <a:pt x="598" y="34"/>
                </a:lnTo>
                <a:lnTo>
                  <a:pt x="602" y="41"/>
                </a:lnTo>
                <a:lnTo>
                  <a:pt x="604" y="54"/>
                </a:lnTo>
                <a:lnTo>
                  <a:pt x="613" y="68"/>
                </a:lnTo>
                <a:lnTo>
                  <a:pt x="615" y="77"/>
                </a:lnTo>
                <a:lnTo>
                  <a:pt x="626" y="103"/>
                </a:lnTo>
                <a:lnTo>
                  <a:pt x="636" y="124"/>
                </a:lnTo>
                <a:lnTo>
                  <a:pt x="660" y="162"/>
                </a:lnTo>
                <a:lnTo>
                  <a:pt x="700" y="213"/>
                </a:lnTo>
                <a:lnTo>
                  <a:pt x="713" y="228"/>
                </a:lnTo>
                <a:lnTo>
                  <a:pt x="717" y="235"/>
                </a:lnTo>
                <a:lnTo>
                  <a:pt x="722" y="243"/>
                </a:lnTo>
                <a:lnTo>
                  <a:pt x="717" y="250"/>
                </a:lnTo>
                <a:lnTo>
                  <a:pt x="717" y="264"/>
                </a:lnTo>
                <a:lnTo>
                  <a:pt x="722" y="277"/>
                </a:lnTo>
                <a:lnTo>
                  <a:pt x="726" y="284"/>
                </a:lnTo>
                <a:lnTo>
                  <a:pt x="741" y="305"/>
                </a:lnTo>
                <a:lnTo>
                  <a:pt x="734" y="298"/>
                </a:lnTo>
                <a:lnTo>
                  <a:pt x="719" y="275"/>
                </a:lnTo>
                <a:lnTo>
                  <a:pt x="715" y="254"/>
                </a:lnTo>
                <a:lnTo>
                  <a:pt x="715" y="239"/>
                </a:lnTo>
                <a:lnTo>
                  <a:pt x="715" y="230"/>
                </a:lnTo>
                <a:lnTo>
                  <a:pt x="709" y="226"/>
                </a:lnTo>
                <a:lnTo>
                  <a:pt x="700" y="228"/>
                </a:lnTo>
                <a:lnTo>
                  <a:pt x="694" y="222"/>
                </a:lnTo>
                <a:lnTo>
                  <a:pt x="694" y="215"/>
                </a:lnTo>
                <a:lnTo>
                  <a:pt x="687" y="211"/>
                </a:lnTo>
                <a:lnTo>
                  <a:pt x="685" y="211"/>
                </a:lnTo>
                <a:lnTo>
                  <a:pt x="690" y="226"/>
                </a:lnTo>
                <a:lnTo>
                  <a:pt x="698" y="247"/>
                </a:lnTo>
                <a:lnTo>
                  <a:pt x="702" y="254"/>
                </a:lnTo>
                <a:lnTo>
                  <a:pt x="724" y="288"/>
                </a:lnTo>
                <a:lnTo>
                  <a:pt x="751" y="328"/>
                </a:lnTo>
                <a:lnTo>
                  <a:pt x="764" y="354"/>
                </a:lnTo>
                <a:lnTo>
                  <a:pt x="773" y="367"/>
                </a:lnTo>
                <a:lnTo>
                  <a:pt x="773" y="373"/>
                </a:lnTo>
                <a:lnTo>
                  <a:pt x="773" y="377"/>
                </a:lnTo>
                <a:lnTo>
                  <a:pt x="775" y="375"/>
                </a:lnTo>
                <a:lnTo>
                  <a:pt x="781" y="379"/>
                </a:lnTo>
                <a:lnTo>
                  <a:pt x="792" y="394"/>
                </a:lnTo>
                <a:lnTo>
                  <a:pt x="794" y="403"/>
                </a:lnTo>
                <a:lnTo>
                  <a:pt x="798" y="405"/>
                </a:lnTo>
                <a:lnTo>
                  <a:pt x="807" y="431"/>
                </a:lnTo>
                <a:lnTo>
                  <a:pt x="807" y="465"/>
                </a:lnTo>
                <a:lnTo>
                  <a:pt x="809" y="473"/>
                </a:lnTo>
                <a:lnTo>
                  <a:pt x="809" y="494"/>
                </a:lnTo>
                <a:lnTo>
                  <a:pt x="809" y="509"/>
                </a:lnTo>
                <a:lnTo>
                  <a:pt x="811" y="518"/>
                </a:lnTo>
                <a:lnTo>
                  <a:pt x="811" y="524"/>
                </a:lnTo>
                <a:lnTo>
                  <a:pt x="809" y="518"/>
                </a:lnTo>
                <a:lnTo>
                  <a:pt x="807" y="524"/>
                </a:lnTo>
                <a:lnTo>
                  <a:pt x="807" y="531"/>
                </a:lnTo>
                <a:lnTo>
                  <a:pt x="802" y="537"/>
                </a:lnTo>
                <a:lnTo>
                  <a:pt x="800" y="546"/>
                </a:lnTo>
                <a:lnTo>
                  <a:pt x="798" y="552"/>
                </a:lnTo>
                <a:lnTo>
                  <a:pt x="798" y="558"/>
                </a:lnTo>
                <a:lnTo>
                  <a:pt x="796" y="563"/>
                </a:lnTo>
                <a:lnTo>
                  <a:pt x="802" y="578"/>
                </a:lnTo>
                <a:lnTo>
                  <a:pt x="796" y="584"/>
                </a:lnTo>
                <a:lnTo>
                  <a:pt x="794" y="592"/>
                </a:lnTo>
                <a:lnTo>
                  <a:pt x="796" y="599"/>
                </a:lnTo>
                <a:lnTo>
                  <a:pt x="788" y="595"/>
                </a:lnTo>
                <a:lnTo>
                  <a:pt x="792" y="599"/>
                </a:lnTo>
                <a:lnTo>
                  <a:pt x="783" y="595"/>
                </a:lnTo>
                <a:lnTo>
                  <a:pt x="777" y="599"/>
                </a:lnTo>
                <a:lnTo>
                  <a:pt x="773" y="605"/>
                </a:lnTo>
                <a:lnTo>
                  <a:pt x="764" y="609"/>
                </a:lnTo>
                <a:lnTo>
                  <a:pt x="758" y="609"/>
                </a:lnTo>
                <a:lnTo>
                  <a:pt x="749" y="607"/>
                </a:lnTo>
                <a:lnTo>
                  <a:pt x="741" y="614"/>
                </a:lnTo>
                <a:lnTo>
                  <a:pt x="726" y="618"/>
                </a:lnTo>
                <a:lnTo>
                  <a:pt x="719" y="609"/>
                </a:lnTo>
                <a:lnTo>
                  <a:pt x="717" y="603"/>
                </a:lnTo>
                <a:lnTo>
                  <a:pt x="722" y="597"/>
                </a:lnTo>
                <a:lnTo>
                  <a:pt x="730" y="603"/>
                </a:lnTo>
                <a:lnTo>
                  <a:pt x="739" y="607"/>
                </a:lnTo>
                <a:lnTo>
                  <a:pt x="743" y="599"/>
                </a:lnTo>
                <a:lnTo>
                  <a:pt x="736" y="595"/>
                </a:lnTo>
                <a:lnTo>
                  <a:pt x="728" y="595"/>
                </a:lnTo>
                <a:lnTo>
                  <a:pt x="722" y="592"/>
                </a:lnTo>
                <a:lnTo>
                  <a:pt x="709" y="578"/>
                </a:lnTo>
                <a:lnTo>
                  <a:pt x="707" y="571"/>
                </a:lnTo>
                <a:lnTo>
                  <a:pt x="696" y="558"/>
                </a:lnTo>
                <a:lnTo>
                  <a:pt x="690" y="552"/>
                </a:lnTo>
                <a:lnTo>
                  <a:pt x="687" y="546"/>
                </a:lnTo>
                <a:lnTo>
                  <a:pt x="675" y="539"/>
                </a:lnTo>
                <a:lnTo>
                  <a:pt x="670" y="539"/>
                </a:lnTo>
                <a:lnTo>
                  <a:pt x="662" y="539"/>
                </a:lnTo>
                <a:lnTo>
                  <a:pt x="656" y="541"/>
                </a:lnTo>
                <a:lnTo>
                  <a:pt x="647" y="537"/>
                </a:lnTo>
                <a:lnTo>
                  <a:pt x="656" y="533"/>
                </a:lnTo>
                <a:lnTo>
                  <a:pt x="649" y="533"/>
                </a:lnTo>
                <a:lnTo>
                  <a:pt x="636" y="520"/>
                </a:lnTo>
                <a:lnTo>
                  <a:pt x="630" y="492"/>
                </a:lnTo>
                <a:lnTo>
                  <a:pt x="624" y="486"/>
                </a:lnTo>
                <a:lnTo>
                  <a:pt x="615" y="484"/>
                </a:lnTo>
                <a:lnTo>
                  <a:pt x="615" y="480"/>
                </a:lnTo>
                <a:lnTo>
                  <a:pt x="621" y="473"/>
                </a:lnTo>
                <a:lnTo>
                  <a:pt x="621" y="465"/>
                </a:lnTo>
                <a:lnTo>
                  <a:pt x="630" y="454"/>
                </a:lnTo>
                <a:lnTo>
                  <a:pt x="619" y="462"/>
                </a:lnTo>
                <a:lnTo>
                  <a:pt x="619" y="469"/>
                </a:lnTo>
                <a:lnTo>
                  <a:pt x="611" y="477"/>
                </a:lnTo>
                <a:lnTo>
                  <a:pt x="604" y="477"/>
                </a:lnTo>
                <a:lnTo>
                  <a:pt x="604" y="473"/>
                </a:lnTo>
                <a:lnTo>
                  <a:pt x="602" y="465"/>
                </a:lnTo>
                <a:lnTo>
                  <a:pt x="600" y="458"/>
                </a:lnTo>
                <a:lnTo>
                  <a:pt x="600" y="443"/>
                </a:lnTo>
                <a:lnTo>
                  <a:pt x="596" y="437"/>
                </a:lnTo>
                <a:lnTo>
                  <a:pt x="604" y="431"/>
                </a:lnTo>
                <a:lnTo>
                  <a:pt x="602" y="431"/>
                </a:lnTo>
                <a:lnTo>
                  <a:pt x="590" y="437"/>
                </a:lnTo>
                <a:lnTo>
                  <a:pt x="585" y="433"/>
                </a:lnTo>
                <a:lnTo>
                  <a:pt x="579" y="431"/>
                </a:lnTo>
                <a:lnTo>
                  <a:pt x="585" y="437"/>
                </a:lnTo>
                <a:lnTo>
                  <a:pt x="590" y="443"/>
                </a:lnTo>
                <a:lnTo>
                  <a:pt x="592" y="450"/>
                </a:lnTo>
                <a:lnTo>
                  <a:pt x="590" y="450"/>
                </a:lnTo>
                <a:lnTo>
                  <a:pt x="581" y="450"/>
                </a:lnTo>
                <a:lnTo>
                  <a:pt x="575" y="448"/>
                </a:lnTo>
                <a:lnTo>
                  <a:pt x="564" y="435"/>
                </a:lnTo>
                <a:lnTo>
                  <a:pt x="560" y="428"/>
                </a:lnTo>
                <a:lnTo>
                  <a:pt x="543" y="403"/>
                </a:lnTo>
                <a:lnTo>
                  <a:pt x="545" y="401"/>
                </a:lnTo>
                <a:lnTo>
                  <a:pt x="541" y="392"/>
                </a:lnTo>
                <a:lnTo>
                  <a:pt x="526" y="386"/>
                </a:lnTo>
                <a:lnTo>
                  <a:pt x="521" y="379"/>
                </a:lnTo>
                <a:lnTo>
                  <a:pt x="528" y="384"/>
                </a:lnTo>
                <a:lnTo>
                  <a:pt x="528" y="379"/>
                </a:lnTo>
                <a:lnTo>
                  <a:pt x="536" y="377"/>
                </a:lnTo>
                <a:lnTo>
                  <a:pt x="538" y="365"/>
                </a:lnTo>
                <a:lnTo>
                  <a:pt x="549" y="343"/>
                </a:lnTo>
                <a:lnTo>
                  <a:pt x="549" y="337"/>
                </a:lnTo>
                <a:lnTo>
                  <a:pt x="543" y="330"/>
                </a:lnTo>
                <a:lnTo>
                  <a:pt x="536" y="337"/>
                </a:lnTo>
                <a:lnTo>
                  <a:pt x="534" y="330"/>
                </a:lnTo>
                <a:lnTo>
                  <a:pt x="517" y="322"/>
                </a:lnTo>
                <a:lnTo>
                  <a:pt x="517" y="324"/>
                </a:lnTo>
                <a:lnTo>
                  <a:pt x="523" y="330"/>
                </a:lnTo>
                <a:lnTo>
                  <a:pt x="523" y="337"/>
                </a:lnTo>
                <a:lnTo>
                  <a:pt x="526" y="339"/>
                </a:lnTo>
                <a:lnTo>
                  <a:pt x="532" y="339"/>
                </a:lnTo>
                <a:lnTo>
                  <a:pt x="528" y="352"/>
                </a:lnTo>
                <a:lnTo>
                  <a:pt x="523" y="360"/>
                </a:lnTo>
                <a:lnTo>
                  <a:pt x="523" y="356"/>
                </a:lnTo>
                <a:lnTo>
                  <a:pt x="509" y="347"/>
                </a:lnTo>
                <a:lnTo>
                  <a:pt x="517" y="358"/>
                </a:lnTo>
                <a:lnTo>
                  <a:pt x="509" y="352"/>
                </a:lnTo>
                <a:lnTo>
                  <a:pt x="504" y="343"/>
                </a:lnTo>
                <a:lnTo>
                  <a:pt x="509" y="333"/>
                </a:lnTo>
                <a:lnTo>
                  <a:pt x="509" y="318"/>
                </a:lnTo>
                <a:lnTo>
                  <a:pt x="506" y="311"/>
                </a:lnTo>
                <a:lnTo>
                  <a:pt x="513" y="275"/>
                </a:lnTo>
                <a:lnTo>
                  <a:pt x="513" y="267"/>
                </a:lnTo>
                <a:lnTo>
                  <a:pt x="511" y="258"/>
                </a:lnTo>
                <a:lnTo>
                  <a:pt x="511" y="237"/>
                </a:lnTo>
                <a:lnTo>
                  <a:pt x="509" y="235"/>
                </a:lnTo>
                <a:lnTo>
                  <a:pt x="509" y="226"/>
                </a:lnTo>
                <a:lnTo>
                  <a:pt x="500" y="222"/>
                </a:lnTo>
                <a:lnTo>
                  <a:pt x="496" y="215"/>
                </a:lnTo>
                <a:lnTo>
                  <a:pt x="496" y="209"/>
                </a:lnTo>
                <a:lnTo>
                  <a:pt x="483" y="198"/>
                </a:lnTo>
                <a:lnTo>
                  <a:pt x="470" y="201"/>
                </a:lnTo>
                <a:lnTo>
                  <a:pt x="462" y="198"/>
                </a:lnTo>
                <a:lnTo>
                  <a:pt x="457" y="192"/>
                </a:lnTo>
                <a:lnTo>
                  <a:pt x="451" y="188"/>
                </a:lnTo>
                <a:lnTo>
                  <a:pt x="445" y="179"/>
                </a:lnTo>
                <a:lnTo>
                  <a:pt x="423" y="166"/>
                </a:lnTo>
                <a:lnTo>
                  <a:pt x="423" y="160"/>
                </a:lnTo>
                <a:lnTo>
                  <a:pt x="419" y="152"/>
                </a:lnTo>
                <a:lnTo>
                  <a:pt x="404" y="145"/>
                </a:lnTo>
                <a:lnTo>
                  <a:pt x="394" y="130"/>
                </a:lnTo>
                <a:lnTo>
                  <a:pt x="381" y="122"/>
                </a:lnTo>
                <a:lnTo>
                  <a:pt x="372" y="120"/>
                </a:lnTo>
                <a:lnTo>
                  <a:pt x="357" y="111"/>
                </a:lnTo>
                <a:lnTo>
                  <a:pt x="353" y="111"/>
                </a:lnTo>
                <a:lnTo>
                  <a:pt x="345" y="113"/>
                </a:lnTo>
                <a:lnTo>
                  <a:pt x="332" y="115"/>
                </a:lnTo>
                <a:lnTo>
                  <a:pt x="325" y="120"/>
                </a:lnTo>
                <a:lnTo>
                  <a:pt x="321" y="128"/>
                </a:lnTo>
                <a:lnTo>
                  <a:pt x="323" y="130"/>
                </a:lnTo>
                <a:lnTo>
                  <a:pt x="315" y="128"/>
                </a:lnTo>
                <a:lnTo>
                  <a:pt x="323" y="132"/>
                </a:lnTo>
                <a:lnTo>
                  <a:pt x="325" y="139"/>
                </a:lnTo>
                <a:lnTo>
                  <a:pt x="319" y="137"/>
                </a:lnTo>
                <a:lnTo>
                  <a:pt x="313" y="139"/>
                </a:lnTo>
                <a:lnTo>
                  <a:pt x="306" y="141"/>
                </a:lnTo>
                <a:lnTo>
                  <a:pt x="285" y="160"/>
                </a:lnTo>
                <a:lnTo>
                  <a:pt x="276" y="160"/>
                </a:lnTo>
                <a:lnTo>
                  <a:pt x="276" y="156"/>
                </a:lnTo>
                <a:lnTo>
                  <a:pt x="268" y="162"/>
                </a:lnTo>
                <a:lnTo>
                  <a:pt x="268" y="166"/>
                </a:lnTo>
                <a:lnTo>
                  <a:pt x="259" y="166"/>
                </a:lnTo>
                <a:lnTo>
                  <a:pt x="245" y="171"/>
                </a:lnTo>
                <a:lnTo>
                  <a:pt x="242" y="173"/>
                </a:lnTo>
                <a:lnTo>
                  <a:pt x="236" y="173"/>
                </a:lnTo>
                <a:lnTo>
                  <a:pt x="228" y="171"/>
                </a:lnTo>
                <a:lnTo>
                  <a:pt x="225" y="164"/>
                </a:lnTo>
                <a:lnTo>
                  <a:pt x="225" y="156"/>
                </a:lnTo>
                <a:lnTo>
                  <a:pt x="228" y="162"/>
                </a:lnTo>
                <a:lnTo>
                  <a:pt x="230" y="171"/>
                </a:lnTo>
                <a:lnTo>
                  <a:pt x="236" y="169"/>
                </a:lnTo>
                <a:lnTo>
                  <a:pt x="236" y="162"/>
                </a:lnTo>
                <a:lnTo>
                  <a:pt x="232" y="154"/>
                </a:lnTo>
                <a:lnTo>
                  <a:pt x="223" y="147"/>
                </a:lnTo>
                <a:lnTo>
                  <a:pt x="217" y="145"/>
                </a:lnTo>
                <a:lnTo>
                  <a:pt x="210" y="141"/>
                </a:lnTo>
                <a:lnTo>
                  <a:pt x="213" y="141"/>
                </a:lnTo>
                <a:lnTo>
                  <a:pt x="210" y="139"/>
                </a:lnTo>
                <a:lnTo>
                  <a:pt x="202" y="134"/>
                </a:lnTo>
                <a:lnTo>
                  <a:pt x="196" y="128"/>
                </a:lnTo>
                <a:lnTo>
                  <a:pt x="210" y="132"/>
                </a:lnTo>
                <a:lnTo>
                  <a:pt x="217" y="139"/>
                </a:lnTo>
                <a:lnTo>
                  <a:pt x="221" y="132"/>
                </a:lnTo>
                <a:lnTo>
                  <a:pt x="215" y="134"/>
                </a:lnTo>
                <a:lnTo>
                  <a:pt x="210" y="126"/>
                </a:lnTo>
                <a:lnTo>
                  <a:pt x="202" y="128"/>
                </a:lnTo>
                <a:lnTo>
                  <a:pt x="191" y="122"/>
                </a:lnTo>
                <a:lnTo>
                  <a:pt x="196" y="115"/>
                </a:lnTo>
                <a:lnTo>
                  <a:pt x="202" y="113"/>
                </a:lnTo>
                <a:lnTo>
                  <a:pt x="202" y="105"/>
                </a:lnTo>
                <a:lnTo>
                  <a:pt x="191" y="113"/>
                </a:lnTo>
                <a:lnTo>
                  <a:pt x="185" y="111"/>
                </a:lnTo>
                <a:lnTo>
                  <a:pt x="179" y="111"/>
                </a:lnTo>
                <a:lnTo>
                  <a:pt x="181" y="117"/>
                </a:lnTo>
                <a:lnTo>
                  <a:pt x="187" y="122"/>
                </a:lnTo>
                <a:lnTo>
                  <a:pt x="189" y="128"/>
                </a:lnTo>
                <a:lnTo>
                  <a:pt x="174" y="120"/>
                </a:lnTo>
                <a:lnTo>
                  <a:pt x="157" y="113"/>
                </a:lnTo>
                <a:lnTo>
                  <a:pt x="127" y="107"/>
                </a:lnTo>
                <a:lnTo>
                  <a:pt x="121" y="107"/>
                </a:lnTo>
                <a:lnTo>
                  <a:pt x="115" y="105"/>
                </a:lnTo>
                <a:lnTo>
                  <a:pt x="127" y="107"/>
                </a:lnTo>
                <a:lnTo>
                  <a:pt x="130" y="103"/>
                </a:lnTo>
                <a:lnTo>
                  <a:pt x="136" y="100"/>
                </a:lnTo>
                <a:lnTo>
                  <a:pt x="144" y="105"/>
                </a:lnTo>
                <a:lnTo>
                  <a:pt x="151" y="105"/>
                </a:lnTo>
                <a:lnTo>
                  <a:pt x="147" y="100"/>
                </a:lnTo>
                <a:lnTo>
                  <a:pt x="134" y="94"/>
                </a:lnTo>
                <a:lnTo>
                  <a:pt x="127" y="96"/>
                </a:lnTo>
                <a:lnTo>
                  <a:pt x="121" y="100"/>
                </a:lnTo>
                <a:lnTo>
                  <a:pt x="119" y="94"/>
                </a:lnTo>
                <a:lnTo>
                  <a:pt x="104" y="107"/>
                </a:lnTo>
                <a:lnTo>
                  <a:pt x="100" y="107"/>
                </a:lnTo>
                <a:lnTo>
                  <a:pt x="81" y="109"/>
                </a:lnTo>
                <a:lnTo>
                  <a:pt x="59" y="115"/>
                </a:lnTo>
                <a:lnTo>
                  <a:pt x="51" y="115"/>
                </a:lnTo>
                <a:lnTo>
                  <a:pt x="53" y="113"/>
                </a:lnTo>
                <a:lnTo>
                  <a:pt x="64" y="111"/>
                </a:lnTo>
                <a:lnTo>
                  <a:pt x="70" y="105"/>
                </a:lnTo>
                <a:lnTo>
                  <a:pt x="61" y="98"/>
                </a:lnTo>
                <a:lnTo>
                  <a:pt x="61" y="90"/>
                </a:lnTo>
                <a:lnTo>
                  <a:pt x="59" y="98"/>
                </a:lnTo>
                <a:lnTo>
                  <a:pt x="55" y="105"/>
                </a:lnTo>
                <a:lnTo>
                  <a:pt x="51" y="96"/>
                </a:lnTo>
                <a:lnTo>
                  <a:pt x="47" y="100"/>
                </a:lnTo>
                <a:lnTo>
                  <a:pt x="47" y="100"/>
                </a:lnTo>
                <a:lnTo>
                  <a:pt x="49" y="103"/>
                </a:lnTo>
                <a:lnTo>
                  <a:pt x="44" y="111"/>
                </a:lnTo>
                <a:lnTo>
                  <a:pt x="38" y="122"/>
                </a:lnTo>
                <a:lnTo>
                  <a:pt x="32" y="126"/>
                </a:lnTo>
                <a:lnTo>
                  <a:pt x="25" y="128"/>
                </a:lnTo>
                <a:lnTo>
                  <a:pt x="21" y="128"/>
                </a:lnTo>
                <a:lnTo>
                  <a:pt x="23" y="120"/>
                </a:lnTo>
                <a:lnTo>
                  <a:pt x="32" y="113"/>
                </a:lnTo>
                <a:lnTo>
                  <a:pt x="29" y="109"/>
                </a:lnTo>
                <a:lnTo>
                  <a:pt x="23" y="107"/>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11" name="Text Placeholder 2"/>
          <p:cNvSpPr>
            <a:spLocks noGrp="1"/>
          </p:cNvSpPr>
          <p:nvPr>
            <p:ph type="body" sz="quarter" idx="10"/>
          </p:nvPr>
        </p:nvSpPr>
        <p:spPr>
          <a:xfrm>
            <a:off x="272138" y="1203792"/>
            <a:ext cx="8228013" cy="466637"/>
          </a:xfrm>
        </p:spPr>
        <p:txBody>
          <a:bodyPr tIns="0" bIns="0"/>
          <a:lstStyle/>
          <a:p>
            <a:pPr marL="0" indent="0">
              <a:buNone/>
            </a:pPr>
            <a:r>
              <a:rPr lang="en-US" sz="1050" dirty="0">
                <a:solidFill>
                  <a:schemeClr val="tx1"/>
                </a:solidFill>
              </a:rPr>
              <a:t>             Democratic-held seat    			       Republican-held seat </a:t>
            </a:r>
          </a:p>
          <a:p>
            <a:pPr marL="0" indent="0">
              <a:buNone/>
            </a:pPr>
            <a:r>
              <a:rPr lang="en-US" sz="1050" dirty="0">
                <a:solidFill>
                  <a:schemeClr val="tx1"/>
                </a:solidFill>
              </a:rPr>
              <a:t>             Democratic-held seat – state won by Trump in 2016		       Republican-held seat – state won by Clinton in 2016</a:t>
            </a:r>
          </a:p>
        </p:txBody>
      </p:sp>
      <p:sp>
        <p:nvSpPr>
          <p:cNvPr id="312" name="Freeform 671"/>
          <p:cNvSpPr>
            <a:spLocks noChangeAspect="1"/>
          </p:cNvSpPr>
          <p:nvPr/>
        </p:nvSpPr>
        <p:spPr bwMode="auto">
          <a:xfrm>
            <a:off x="1333535" y="2201431"/>
            <a:ext cx="1018698" cy="850106"/>
          </a:xfrm>
          <a:custGeom>
            <a:avLst/>
            <a:gdLst>
              <a:gd name="T0" fmla="*/ 0 w 713"/>
              <a:gd name="T1" fmla="*/ 409 h 595"/>
              <a:gd name="T2" fmla="*/ 11 w 713"/>
              <a:gd name="T3" fmla="*/ 384 h 595"/>
              <a:gd name="T4" fmla="*/ 9 w 713"/>
              <a:gd name="T5" fmla="*/ 347 h 595"/>
              <a:gd name="T6" fmla="*/ 38 w 713"/>
              <a:gd name="T7" fmla="*/ 307 h 595"/>
              <a:gd name="T8" fmla="*/ 49 w 713"/>
              <a:gd name="T9" fmla="*/ 296 h 595"/>
              <a:gd name="T10" fmla="*/ 49 w 713"/>
              <a:gd name="T11" fmla="*/ 296 h 595"/>
              <a:gd name="T12" fmla="*/ 47 w 713"/>
              <a:gd name="T13" fmla="*/ 294 h 595"/>
              <a:gd name="T14" fmla="*/ 64 w 713"/>
              <a:gd name="T15" fmla="*/ 267 h 595"/>
              <a:gd name="T16" fmla="*/ 64 w 713"/>
              <a:gd name="T17" fmla="*/ 267 h 595"/>
              <a:gd name="T18" fmla="*/ 83 w 713"/>
              <a:gd name="T19" fmla="*/ 215 h 595"/>
              <a:gd name="T20" fmla="*/ 96 w 713"/>
              <a:gd name="T21" fmla="*/ 190 h 595"/>
              <a:gd name="T22" fmla="*/ 102 w 713"/>
              <a:gd name="T23" fmla="*/ 166 h 595"/>
              <a:gd name="T24" fmla="*/ 119 w 713"/>
              <a:gd name="T25" fmla="*/ 124 h 595"/>
              <a:gd name="T26" fmla="*/ 130 w 713"/>
              <a:gd name="T27" fmla="*/ 96 h 595"/>
              <a:gd name="T28" fmla="*/ 136 w 713"/>
              <a:gd name="T29" fmla="*/ 77 h 595"/>
              <a:gd name="T30" fmla="*/ 141 w 713"/>
              <a:gd name="T31" fmla="*/ 64 h 595"/>
              <a:gd name="T32" fmla="*/ 145 w 713"/>
              <a:gd name="T33" fmla="*/ 45 h 595"/>
              <a:gd name="T34" fmla="*/ 149 w 713"/>
              <a:gd name="T35" fmla="*/ 30 h 595"/>
              <a:gd name="T36" fmla="*/ 160 w 713"/>
              <a:gd name="T37" fmla="*/ 0 h 595"/>
              <a:gd name="T38" fmla="*/ 170 w 713"/>
              <a:gd name="T39" fmla="*/ 9 h 595"/>
              <a:gd name="T40" fmla="*/ 173 w 713"/>
              <a:gd name="T41" fmla="*/ 5 h 595"/>
              <a:gd name="T42" fmla="*/ 190 w 713"/>
              <a:gd name="T43" fmla="*/ 7 h 595"/>
              <a:gd name="T44" fmla="*/ 202 w 713"/>
              <a:gd name="T45" fmla="*/ 19 h 595"/>
              <a:gd name="T46" fmla="*/ 221 w 713"/>
              <a:gd name="T47" fmla="*/ 22 h 595"/>
              <a:gd name="T48" fmla="*/ 236 w 713"/>
              <a:gd name="T49" fmla="*/ 49 h 595"/>
              <a:gd name="T50" fmla="*/ 247 w 713"/>
              <a:gd name="T51" fmla="*/ 94 h 595"/>
              <a:gd name="T52" fmla="*/ 266 w 713"/>
              <a:gd name="T53" fmla="*/ 105 h 595"/>
              <a:gd name="T54" fmla="*/ 294 w 713"/>
              <a:gd name="T55" fmla="*/ 103 h 595"/>
              <a:gd name="T56" fmla="*/ 315 w 713"/>
              <a:gd name="T57" fmla="*/ 103 h 595"/>
              <a:gd name="T58" fmla="*/ 343 w 713"/>
              <a:gd name="T59" fmla="*/ 109 h 595"/>
              <a:gd name="T60" fmla="*/ 366 w 713"/>
              <a:gd name="T61" fmla="*/ 120 h 595"/>
              <a:gd name="T62" fmla="*/ 402 w 713"/>
              <a:gd name="T63" fmla="*/ 120 h 595"/>
              <a:gd name="T64" fmla="*/ 424 w 713"/>
              <a:gd name="T65" fmla="*/ 126 h 595"/>
              <a:gd name="T66" fmla="*/ 475 w 713"/>
              <a:gd name="T67" fmla="*/ 122 h 595"/>
              <a:gd name="T68" fmla="*/ 505 w 713"/>
              <a:gd name="T69" fmla="*/ 122 h 595"/>
              <a:gd name="T70" fmla="*/ 528 w 713"/>
              <a:gd name="T71" fmla="*/ 120 h 595"/>
              <a:gd name="T72" fmla="*/ 690 w 713"/>
              <a:gd name="T73" fmla="*/ 166 h 595"/>
              <a:gd name="T74" fmla="*/ 711 w 713"/>
              <a:gd name="T75" fmla="*/ 190 h 595"/>
              <a:gd name="T76" fmla="*/ 692 w 713"/>
              <a:gd name="T77" fmla="*/ 230 h 595"/>
              <a:gd name="T78" fmla="*/ 669 w 713"/>
              <a:gd name="T79" fmla="*/ 273 h 595"/>
              <a:gd name="T80" fmla="*/ 645 w 713"/>
              <a:gd name="T81" fmla="*/ 294 h 595"/>
              <a:gd name="T82" fmla="*/ 626 w 713"/>
              <a:gd name="T83" fmla="*/ 339 h 595"/>
              <a:gd name="T84" fmla="*/ 641 w 713"/>
              <a:gd name="T85" fmla="*/ 350 h 595"/>
              <a:gd name="T86" fmla="*/ 639 w 713"/>
              <a:gd name="T87" fmla="*/ 373 h 595"/>
              <a:gd name="T88" fmla="*/ 628 w 713"/>
              <a:gd name="T89" fmla="*/ 396 h 595"/>
              <a:gd name="T90" fmla="*/ 343 w 713"/>
              <a:gd name="T91" fmla="*/ 541 h 595"/>
              <a:gd name="T92" fmla="*/ 6 w 713"/>
              <a:gd name="T93" fmla="*/ 45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3" h="595">
                <a:moveTo>
                  <a:pt x="6" y="452"/>
                </a:moveTo>
                <a:lnTo>
                  <a:pt x="0" y="437"/>
                </a:lnTo>
                <a:lnTo>
                  <a:pt x="0" y="409"/>
                </a:lnTo>
                <a:lnTo>
                  <a:pt x="4" y="399"/>
                </a:lnTo>
                <a:lnTo>
                  <a:pt x="4" y="392"/>
                </a:lnTo>
                <a:lnTo>
                  <a:pt x="11" y="384"/>
                </a:lnTo>
                <a:lnTo>
                  <a:pt x="13" y="377"/>
                </a:lnTo>
                <a:lnTo>
                  <a:pt x="9" y="362"/>
                </a:lnTo>
                <a:lnTo>
                  <a:pt x="9" y="347"/>
                </a:lnTo>
                <a:lnTo>
                  <a:pt x="23" y="330"/>
                </a:lnTo>
                <a:lnTo>
                  <a:pt x="36" y="301"/>
                </a:lnTo>
                <a:lnTo>
                  <a:pt x="38" y="307"/>
                </a:lnTo>
                <a:lnTo>
                  <a:pt x="43" y="301"/>
                </a:lnTo>
                <a:lnTo>
                  <a:pt x="49" y="296"/>
                </a:lnTo>
                <a:lnTo>
                  <a:pt x="49" y="296"/>
                </a:lnTo>
                <a:lnTo>
                  <a:pt x="51" y="301"/>
                </a:lnTo>
                <a:lnTo>
                  <a:pt x="53" y="296"/>
                </a:lnTo>
                <a:lnTo>
                  <a:pt x="49" y="296"/>
                </a:lnTo>
                <a:lnTo>
                  <a:pt x="49" y="294"/>
                </a:lnTo>
                <a:lnTo>
                  <a:pt x="49" y="296"/>
                </a:lnTo>
                <a:lnTo>
                  <a:pt x="47" y="294"/>
                </a:lnTo>
                <a:lnTo>
                  <a:pt x="49" y="288"/>
                </a:lnTo>
                <a:lnTo>
                  <a:pt x="58" y="273"/>
                </a:lnTo>
                <a:lnTo>
                  <a:pt x="64" y="267"/>
                </a:lnTo>
                <a:lnTo>
                  <a:pt x="70" y="267"/>
                </a:lnTo>
                <a:lnTo>
                  <a:pt x="70" y="264"/>
                </a:lnTo>
                <a:lnTo>
                  <a:pt x="64" y="267"/>
                </a:lnTo>
                <a:lnTo>
                  <a:pt x="66" y="260"/>
                </a:lnTo>
                <a:lnTo>
                  <a:pt x="68" y="252"/>
                </a:lnTo>
                <a:lnTo>
                  <a:pt x="83" y="215"/>
                </a:lnTo>
                <a:lnTo>
                  <a:pt x="87" y="201"/>
                </a:lnTo>
                <a:lnTo>
                  <a:pt x="92" y="194"/>
                </a:lnTo>
                <a:lnTo>
                  <a:pt x="96" y="190"/>
                </a:lnTo>
                <a:lnTo>
                  <a:pt x="98" y="188"/>
                </a:lnTo>
                <a:lnTo>
                  <a:pt x="96" y="179"/>
                </a:lnTo>
                <a:lnTo>
                  <a:pt x="102" y="166"/>
                </a:lnTo>
                <a:lnTo>
                  <a:pt x="104" y="152"/>
                </a:lnTo>
                <a:lnTo>
                  <a:pt x="117" y="130"/>
                </a:lnTo>
                <a:lnTo>
                  <a:pt x="119" y="124"/>
                </a:lnTo>
                <a:lnTo>
                  <a:pt x="126" y="111"/>
                </a:lnTo>
                <a:lnTo>
                  <a:pt x="128" y="105"/>
                </a:lnTo>
                <a:lnTo>
                  <a:pt x="130" y="96"/>
                </a:lnTo>
                <a:lnTo>
                  <a:pt x="132" y="90"/>
                </a:lnTo>
                <a:lnTo>
                  <a:pt x="134" y="81"/>
                </a:lnTo>
                <a:lnTo>
                  <a:pt x="136" y="77"/>
                </a:lnTo>
                <a:lnTo>
                  <a:pt x="143" y="79"/>
                </a:lnTo>
                <a:lnTo>
                  <a:pt x="138" y="73"/>
                </a:lnTo>
                <a:lnTo>
                  <a:pt x="141" y="64"/>
                </a:lnTo>
                <a:lnTo>
                  <a:pt x="147" y="58"/>
                </a:lnTo>
                <a:lnTo>
                  <a:pt x="145" y="51"/>
                </a:lnTo>
                <a:lnTo>
                  <a:pt x="145" y="45"/>
                </a:lnTo>
                <a:lnTo>
                  <a:pt x="147" y="39"/>
                </a:lnTo>
                <a:lnTo>
                  <a:pt x="149" y="30"/>
                </a:lnTo>
                <a:lnTo>
                  <a:pt x="149" y="30"/>
                </a:lnTo>
                <a:lnTo>
                  <a:pt x="155" y="22"/>
                </a:lnTo>
                <a:lnTo>
                  <a:pt x="158" y="9"/>
                </a:lnTo>
                <a:lnTo>
                  <a:pt x="160" y="0"/>
                </a:lnTo>
                <a:lnTo>
                  <a:pt x="166" y="7"/>
                </a:lnTo>
                <a:lnTo>
                  <a:pt x="168" y="9"/>
                </a:lnTo>
                <a:lnTo>
                  <a:pt x="170" y="9"/>
                </a:lnTo>
                <a:lnTo>
                  <a:pt x="166" y="5"/>
                </a:lnTo>
                <a:lnTo>
                  <a:pt x="168" y="2"/>
                </a:lnTo>
                <a:lnTo>
                  <a:pt x="173" y="5"/>
                </a:lnTo>
                <a:lnTo>
                  <a:pt x="175" y="7"/>
                </a:lnTo>
                <a:lnTo>
                  <a:pt x="183" y="9"/>
                </a:lnTo>
                <a:lnTo>
                  <a:pt x="190" y="7"/>
                </a:lnTo>
                <a:lnTo>
                  <a:pt x="196" y="11"/>
                </a:lnTo>
                <a:lnTo>
                  <a:pt x="200" y="17"/>
                </a:lnTo>
                <a:lnTo>
                  <a:pt x="202" y="19"/>
                </a:lnTo>
                <a:lnTo>
                  <a:pt x="209" y="22"/>
                </a:lnTo>
                <a:lnTo>
                  <a:pt x="215" y="19"/>
                </a:lnTo>
                <a:lnTo>
                  <a:pt x="221" y="22"/>
                </a:lnTo>
                <a:lnTo>
                  <a:pt x="226" y="28"/>
                </a:lnTo>
                <a:lnTo>
                  <a:pt x="234" y="34"/>
                </a:lnTo>
                <a:lnTo>
                  <a:pt x="236" y="49"/>
                </a:lnTo>
                <a:lnTo>
                  <a:pt x="232" y="85"/>
                </a:lnTo>
                <a:lnTo>
                  <a:pt x="236" y="90"/>
                </a:lnTo>
                <a:lnTo>
                  <a:pt x="247" y="94"/>
                </a:lnTo>
                <a:lnTo>
                  <a:pt x="253" y="100"/>
                </a:lnTo>
                <a:lnTo>
                  <a:pt x="258" y="100"/>
                </a:lnTo>
                <a:lnTo>
                  <a:pt x="266" y="105"/>
                </a:lnTo>
                <a:lnTo>
                  <a:pt x="273" y="107"/>
                </a:lnTo>
                <a:lnTo>
                  <a:pt x="287" y="105"/>
                </a:lnTo>
                <a:lnTo>
                  <a:pt x="294" y="103"/>
                </a:lnTo>
                <a:lnTo>
                  <a:pt x="302" y="98"/>
                </a:lnTo>
                <a:lnTo>
                  <a:pt x="309" y="98"/>
                </a:lnTo>
                <a:lnTo>
                  <a:pt x="315" y="103"/>
                </a:lnTo>
                <a:lnTo>
                  <a:pt x="328" y="103"/>
                </a:lnTo>
                <a:lnTo>
                  <a:pt x="334" y="107"/>
                </a:lnTo>
                <a:lnTo>
                  <a:pt x="343" y="109"/>
                </a:lnTo>
                <a:lnTo>
                  <a:pt x="349" y="113"/>
                </a:lnTo>
                <a:lnTo>
                  <a:pt x="351" y="120"/>
                </a:lnTo>
                <a:lnTo>
                  <a:pt x="366" y="120"/>
                </a:lnTo>
                <a:lnTo>
                  <a:pt x="373" y="122"/>
                </a:lnTo>
                <a:lnTo>
                  <a:pt x="394" y="117"/>
                </a:lnTo>
                <a:lnTo>
                  <a:pt x="402" y="120"/>
                </a:lnTo>
                <a:lnTo>
                  <a:pt x="409" y="126"/>
                </a:lnTo>
                <a:lnTo>
                  <a:pt x="417" y="128"/>
                </a:lnTo>
                <a:lnTo>
                  <a:pt x="424" y="126"/>
                </a:lnTo>
                <a:lnTo>
                  <a:pt x="439" y="124"/>
                </a:lnTo>
                <a:lnTo>
                  <a:pt x="454" y="122"/>
                </a:lnTo>
                <a:lnTo>
                  <a:pt x="475" y="122"/>
                </a:lnTo>
                <a:lnTo>
                  <a:pt x="483" y="117"/>
                </a:lnTo>
                <a:lnTo>
                  <a:pt x="488" y="120"/>
                </a:lnTo>
                <a:lnTo>
                  <a:pt x="505" y="122"/>
                </a:lnTo>
                <a:lnTo>
                  <a:pt x="513" y="124"/>
                </a:lnTo>
                <a:lnTo>
                  <a:pt x="520" y="124"/>
                </a:lnTo>
                <a:lnTo>
                  <a:pt x="528" y="120"/>
                </a:lnTo>
                <a:lnTo>
                  <a:pt x="598" y="137"/>
                </a:lnTo>
                <a:lnTo>
                  <a:pt x="690" y="156"/>
                </a:lnTo>
                <a:lnTo>
                  <a:pt x="690" y="166"/>
                </a:lnTo>
                <a:lnTo>
                  <a:pt x="694" y="173"/>
                </a:lnTo>
                <a:lnTo>
                  <a:pt x="696" y="177"/>
                </a:lnTo>
                <a:lnTo>
                  <a:pt x="711" y="190"/>
                </a:lnTo>
                <a:lnTo>
                  <a:pt x="713" y="205"/>
                </a:lnTo>
                <a:lnTo>
                  <a:pt x="709" y="211"/>
                </a:lnTo>
                <a:lnTo>
                  <a:pt x="692" y="230"/>
                </a:lnTo>
                <a:lnTo>
                  <a:pt x="681" y="254"/>
                </a:lnTo>
                <a:lnTo>
                  <a:pt x="669" y="267"/>
                </a:lnTo>
                <a:lnTo>
                  <a:pt x="669" y="273"/>
                </a:lnTo>
                <a:lnTo>
                  <a:pt x="664" y="281"/>
                </a:lnTo>
                <a:lnTo>
                  <a:pt x="658" y="288"/>
                </a:lnTo>
                <a:lnTo>
                  <a:pt x="645" y="294"/>
                </a:lnTo>
                <a:lnTo>
                  <a:pt x="637" y="309"/>
                </a:lnTo>
                <a:lnTo>
                  <a:pt x="630" y="316"/>
                </a:lnTo>
                <a:lnTo>
                  <a:pt x="626" y="339"/>
                </a:lnTo>
                <a:lnTo>
                  <a:pt x="628" y="343"/>
                </a:lnTo>
                <a:lnTo>
                  <a:pt x="635" y="345"/>
                </a:lnTo>
                <a:lnTo>
                  <a:pt x="641" y="350"/>
                </a:lnTo>
                <a:lnTo>
                  <a:pt x="645" y="356"/>
                </a:lnTo>
                <a:lnTo>
                  <a:pt x="641" y="365"/>
                </a:lnTo>
                <a:lnTo>
                  <a:pt x="639" y="373"/>
                </a:lnTo>
                <a:lnTo>
                  <a:pt x="632" y="388"/>
                </a:lnTo>
                <a:lnTo>
                  <a:pt x="630" y="390"/>
                </a:lnTo>
                <a:lnTo>
                  <a:pt x="628" y="396"/>
                </a:lnTo>
                <a:lnTo>
                  <a:pt x="586" y="595"/>
                </a:lnTo>
                <a:lnTo>
                  <a:pt x="486" y="573"/>
                </a:lnTo>
                <a:lnTo>
                  <a:pt x="343" y="541"/>
                </a:lnTo>
                <a:lnTo>
                  <a:pt x="192" y="501"/>
                </a:lnTo>
                <a:lnTo>
                  <a:pt x="11" y="452"/>
                </a:lnTo>
                <a:lnTo>
                  <a:pt x="6" y="452"/>
                </a:lnTo>
              </a:path>
            </a:pathLst>
          </a:custGeom>
          <a:solidFill>
            <a:srgbClr val="194196"/>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Ore.</a:t>
            </a:r>
          </a:p>
        </p:txBody>
      </p:sp>
      <p:sp>
        <p:nvSpPr>
          <p:cNvPr id="313" name="Freeform 677"/>
          <p:cNvSpPr>
            <a:spLocks noChangeAspect="1"/>
          </p:cNvSpPr>
          <p:nvPr/>
        </p:nvSpPr>
        <p:spPr bwMode="auto">
          <a:xfrm>
            <a:off x="1713611" y="2975135"/>
            <a:ext cx="805815" cy="1251585"/>
          </a:xfrm>
          <a:custGeom>
            <a:avLst/>
            <a:gdLst>
              <a:gd name="T0" fmla="*/ 17 w 564"/>
              <a:gd name="T1" fmla="*/ 254 h 876"/>
              <a:gd name="T2" fmla="*/ 79 w 564"/>
              <a:gd name="T3" fmla="*/ 0 h 876"/>
              <a:gd name="T4" fmla="*/ 222 w 564"/>
              <a:gd name="T5" fmla="*/ 32 h 876"/>
              <a:gd name="T6" fmla="*/ 322 w 564"/>
              <a:gd name="T7" fmla="*/ 54 h 876"/>
              <a:gd name="T8" fmla="*/ 454 w 564"/>
              <a:gd name="T9" fmla="*/ 81 h 876"/>
              <a:gd name="T10" fmla="*/ 564 w 564"/>
              <a:gd name="T11" fmla="*/ 103 h 876"/>
              <a:gd name="T12" fmla="*/ 464 w 564"/>
              <a:gd name="T13" fmla="*/ 661 h 876"/>
              <a:gd name="T14" fmla="*/ 449 w 564"/>
              <a:gd name="T15" fmla="*/ 748 h 876"/>
              <a:gd name="T16" fmla="*/ 441 w 564"/>
              <a:gd name="T17" fmla="*/ 759 h 876"/>
              <a:gd name="T18" fmla="*/ 432 w 564"/>
              <a:gd name="T19" fmla="*/ 767 h 876"/>
              <a:gd name="T20" fmla="*/ 426 w 564"/>
              <a:gd name="T21" fmla="*/ 765 h 876"/>
              <a:gd name="T22" fmla="*/ 424 w 564"/>
              <a:gd name="T23" fmla="*/ 756 h 876"/>
              <a:gd name="T24" fmla="*/ 417 w 564"/>
              <a:gd name="T25" fmla="*/ 750 h 876"/>
              <a:gd name="T26" fmla="*/ 409 w 564"/>
              <a:gd name="T27" fmla="*/ 750 h 876"/>
              <a:gd name="T28" fmla="*/ 403 w 564"/>
              <a:gd name="T29" fmla="*/ 746 h 876"/>
              <a:gd name="T30" fmla="*/ 394 w 564"/>
              <a:gd name="T31" fmla="*/ 746 h 876"/>
              <a:gd name="T32" fmla="*/ 385 w 564"/>
              <a:gd name="T33" fmla="*/ 752 h 876"/>
              <a:gd name="T34" fmla="*/ 381 w 564"/>
              <a:gd name="T35" fmla="*/ 761 h 876"/>
              <a:gd name="T36" fmla="*/ 388 w 564"/>
              <a:gd name="T37" fmla="*/ 776 h 876"/>
              <a:gd name="T38" fmla="*/ 383 w 564"/>
              <a:gd name="T39" fmla="*/ 782 h 876"/>
              <a:gd name="T40" fmla="*/ 381 w 564"/>
              <a:gd name="T41" fmla="*/ 790 h 876"/>
              <a:gd name="T42" fmla="*/ 383 w 564"/>
              <a:gd name="T43" fmla="*/ 803 h 876"/>
              <a:gd name="T44" fmla="*/ 381 w 564"/>
              <a:gd name="T45" fmla="*/ 814 h 876"/>
              <a:gd name="T46" fmla="*/ 379 w 564"/>
              <a:gd name="T47" fmla="*/ 822 h 876"/>
              <a:gd name="T48" fmla="*/ 383 w 564"/>
              <a:gd name="T49" fmla="*/ 835 h 876"/>
              <a:gd name="T50" fmla="*/ 381 w 564"/>
              <a:gd name="T51" fmla="*/ 852 h 876"/>
              <a:gd name="T52" fmla="*/ 373 w 564"/>
              <a:gd name="T53" fmla="*/ 859 h 876"/>
              <a:gd name="T54" fmla="*/ 373 w 564"/>
              <a:gd name="T55" fmla="*/ 876 h 876"/>
              <a:gd name="T56" fmla="*/ 262 w 564"/>
              <a:gd name="T57" fmla="*/ 712 h 876"/>
              <a:gd name="T58" fmla="*/ 0 w 564"/>
              <a:gd name="T59" fmla="*/ 328 h 876"/>
              <a:gd name="T60" fmla="*/ 17 w 564"/>
              <a:gd name="T61" fmla="*/ 25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4" h="876">
                <a:moveTo>
                  <a:pt x="17" y="254"/>
                </a:moveTo>
                <a:lnTo>
                  <a:pt x="79" y="0"/>
                </a:lnTo>
                <a:lnTo>
                  <a:pt x="222" y="32"/>
                </a:lnTo>
                <a:lnTo>
                  <a:pt x="322" y="54"/>
                </a:lnTo>
                <a:lnTo>
                  <a:pt x="454" y="81"/>
                </a:lnTo>
                <a:lnTo>
                  <a:pt x="564" y="103"/>
                </a:lnTo>
                <a:lnTo>
                  <a:pt x="464" y="661"/>
                </a:lnTo>
                <a:lnTo>
                  <a:pt x="449" y="748"/>
                </a:lnTo>
                <a:lnTo>
                  <a:pt x="441" y="759"/>
                </a:lnTo>
                <a:lnTo>
                  <a:pt x="432" y="767"/>
                </a:lnTo>
                <a:lnTo>
                  <a:pt x="426" y="765"/>
                </a:lnTo>
                <a:lnTo>
                  <a:pt x="424" y="756"/>
                </a:lnTo>
                <a:lnTo>
                  <a:pt x="417" y="750"/>
                </a:lnTo>
                <a:lnTo>
                  <a:pt x="409" y="750"/>
                </a:lnTo>
                <a:lnTo>
                  <a:pt x="403" y="746"/>
                </a:lnTo>
                <a:lnTo>
                  <a:pt x="394" y="746"/>
                </a:lnTo>
                <a:lnTo>
                  <a:pt x="385" y="752"/>
                </a:lnTo>
                <a:lnTo>
                  <a:pt x="381" y="761"/>
                </a:lnTo>
                <a:lnTo>
                  <a:pt x="388" y="776"/>
                </a:lnTo>
                <a:lnTo>
                  <a:pt x="383" y="782"/>
                </a:lnTo>
                <a:lnTo>
                  <a:pt x="381" y="790"/>
                </a:lnTo>
                <a:lnTo>
                  <a:pt x="383" y="803"/>
                </a:lnTo>
                <a:lnTo>
                  <a:pt x="381" y="814"/>
                </a:lnTo>
                <a:lnTo>
                  <a:pt x="379" y="822"/>
                </a:lnTo>
                <a:lnTo>
                  <a:pt x="383" y="835"/>
                </a:lnTo>
                <a:lnTo>
                  <a:pt x="381" y="852"/>
                </a:lnTo>
                <a:lnTo>
                  <a:pt x="373" y="859"/>
                </a:lnTo>
                <a:lnTo>
                  <a:pt x="373" y="876"/>
                </a:lnTo>
                <a:lnTo>
                  <a:pt x="262" y="712"/>
                </a:lnTo>
                <a:lnTo>
                  <a:pt x="0" y="328"/>
                </a:lnTo>
                <a:lnTo>
                  <a:pt x="17" y="254"/>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Nev.</a:t>
            </a:r>
          </a:p>
        </p:txBody>
      </p:sp>
      <p:sp>
        <p:nvSpPr>
          <p:cNvPr id="314" name="Freeform 678"/>
          <p:cNvSpPr>
            <a:spLocks noChangeAspect="1"/>
          </p:cNvSpPr>
          <p:nvPr/>
        </p:nvSpPr>
        <p:spPr bwMode="auto">
          <a:xfrm>
            <a:off x="2160896" y="3918688"/>
            <a:ext cx="857250" cy="1002984"/>
          </a:xfrm>
          <a:custGeom>
            <a:avLst/>
            <a:gdLst>
              <a:gd name="T0" fmla="*/ 14 w 600"/>
              <a:gd name="T1" fmla="*/ 464 h 702"/>
              <a:gd name="T2" fmla="*/ 21 w 600"/>
              <a:gd name="T3" fmla="*/ 466 h 702"/>
              <a:gd name="T4" fmla="*/ 31 w 600"/>
              <a:gd name="T5" fmla="*/ 460 h 702"/>
              <a:gd name="T6" fmla="*/ 38 w 600"/>
              <a:gd name="T7" fmla="*/ 443 h 702"/>
              <a:gd name="T8" fmla="*/ 31 w 600"/>
              <a:gd name="T9" fmla="*/ 432 h 702"/>
              <a:gd name="T10" fmla="*/ 21 w 600"/>
              <a:gd name="T11" fmla="*/ 423 h 702"/>
              <a:gd name="T12" fmla="*/ 25 w 600"/>
              <a:gd name="T13" fmla="*/ 408 h 702"/>
              <a:gd name="T14" fmla="*/ 27 w 600"/>
              <a:gd name="T15" fmla="*/ 394 h 702"/>
              <a:gd name="T16" fmla="*/ 46 w 600"/>
              <a:gd name="T17" fmla="*/ 372 h 702"/>
              <a:gd name="T18" fmla="*/ 53 w 600"/>
              <a:gd name="T19" fmla="*/ 355 h 702"/>
              <a:gd name="T20" fmla="*/ 57 w 600"/>
              <a:gd name="T21" fmla="*/ 330 h 702"/>
              <a:gd name="T22" fmla="*/ 68 w 600"/>
              <a:gd name="T23" fmla="*/ 317 h 702"/>
              <a:gd name="T24" fmla="*/ 98 w 600"/>
              <a:gd name="T25" fmla="*/ 298 h 702"/>
              <a:gd name="T26" fmla="*/ 80 w 600"/>
              <a:gd name="T27" fmla="*/ 276 h 702"/>
              <a:gd name="T28" fmla="*/ 78 w 600"/>
              <a:gd name="T29" fmla="*/ 259 h 702"/>
              <a:gd name="T30" fmla="*/ 74 w 600"/>
              <a:gd name="T31" fmla="*/ 244 h 702"/>
              <a:gd name="T32" fmla="*/ 66 w 600"/>
              <a:gd name="T33" fmla="*/ 221 h 702"/>
              <a:gd name="T34" fmla="*/ 68 w 600"/>
              <a:gd name="T35" fmla="*/ 198 h 702"/>
              <a:gd name="T36" fmla="*/ 78 w 600"/>
              <a:gd name="T37" fmla="*/ 174 h 702"/>
              <a:gd name="T38" fmla="*/ 76 w 600"/>
              <a:gd name="T39" fmla="*/ 153 h 702"/>
              <a:gd name="T40" fmla="*/ 76 w 600"/>
              <a:gd name="T41" fmla="*/ 129 h 702"/>
              <a:gd name="T42" fmla="*/ 83 w 600"/>
              <a:gd name="T43" fmla="*/ 115 h 702"/>
              <a:gd name="T44" fmla="*/ 80 w 600"/>
              <a:gd name="T45" fmla="*/ 91 h 702"/>
              <a:gd name="T46" fmla="*/ 98 w 600"/>
              <a:gd name="T47" fmla="*/ 85 h 702"/>
              <a:gd name="T48" fmla="*/ 112 w 600"/>
              <a:gd name="T49" fmla="*/ 89 h 702"/>
              <a:gd name="T50" fmla="*/ 121 w 600"/>
              <a:gd name="T51" fmla="*/ 104 h 702"/>
              <a:gd name="T52" fmla="*/ 136 w 600"/>
              <a:gd name="T53" fmla="*/ 98 h 702"/>
              <a:gd name="T54" fmla="*/ 159 w 600"/>
              <a:gd name="T55" fmla="*/ 0 h 702"/>
              <a:gd name="T56" fmla="*/ 362 w 600"/>
              <a:gd name="T57" fmla="*/ 34 h 702"/>
              <a:gd name="T58" fmla="*/ 600 w 600"/>
              <a:gd name="T59" fmla="*/ 66 h 702"/>
              <a:gd name="T60" fmla="*/ 519 w 600"/>
              <a:gd name="T61" fmla="*/ 702 h 702"/>
              <a:gd name="T62" fmla="*/ 330 w 600"/>
              <a:gd name="T63" fmla="*/ 677 h 702"/>
              <a:gd name="T64" fmla="*/ 21 w 600"/>
              <a:gd name="T65" fmla="*/ 500 h 702"/>
              <a:gd name="T66" fmla="*/ 2 w 600"/>
              <a:gd name="T67" fmla="*/ 47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0" h="702">
                <a:moveTo>
                  <a:pt x="12" y="464"/>
                </a:moveTo>
                <a:lnTo>
                  <a:pt x="14" y="464"/>
                </a:lnTo>
                <a:lnTo>
                  <a:pt x="19" y="464"/>
                </a:lnTo>
                <a:lnTo>
                  <a:pt x="21" y="466"/>
                </a:lnTo>
                <a:lnTo>
                  <a:pt x="29" y="466"/>
                </a:lnTo>
                <a:lnTo>
                  <a:pt x="31" y="460"/>
                </a:lnTo>
                <a:lnTo>
                  <a:pt x="38" y="455"/>
                </a:lnTo>
                <a:lnTo>
                  <a:pt x="38" y="443"/>
                </a:lnTo>
                <a:lnTo>
                  <a:pt x="38" y="436"/>
                </a:lnTo>
                <a:lnTo>
                  <a:pt x="31" y="432"/>
                </a:lnTo>
                <a:lnTo>
                  <a:pt x="23" y="430"/>
                </a:lnTo>
                <a:lnTo>
                  <a:pt x="21" y="423"/>
                </a:lnTo>
                <a:lnTo>
                  <a:pt x="25" y="415"/>
                </a:lnTo>
                <a:lnTo>
                  <a:pt x="25" y="408"/>
                </a:lnTo>
                <a:lnTo>
                  <a:pt x="23" y="400"/>
                </a:lnTo>
                <a:lnTo>
                  <a:pt x="27" y="394"/>
                </a:lnTo>
                <a:lnTo>
                  <a:pt x="34" y="387"/>
                </a:lnTo>
                <a:lnTo>
                  <a:pt x="46" y="372"/>
                </a:lnTo>
                <a:lnTo>
                  <a:pt x="49" y="364"/>
                </a:lnTo>
                <a:lnTo>
                  <a:pt x="53" y="355"/>
                </a:lnTo>
                <a:lnTo>
                  <a:pt x="55" y="342"/>
                </a:lnTo>
                <a:lnTo>
                  <a:pt x="57" y="330"/>
                </a:lnTo>
                <a:lnTo>
                  <a:pt x="63" y="325"/>
                </a:lnTo>
                <a:lnTo>
                  <a:pt x="68" y="317"/>
                </a:lnTo>
                <a:lnTo>
                  <a:pt x="93" y="304"/>
                </a:lnTo>
                <a:lnTo>
                  <a:pt x="98" y="298"/>
                </a:lnTo>
                <a:lnTo>
                  <a:pt x="93" y="291"/>
                </a:lnTo>
                <a:lnTo>
                  <a:pt x="80" y="276"/>
                </a:lnTo>
                <a:lnTo>
                  <a:pt x="80" y="268"/>
                </a:lnTo>
                <a:lnTo>
                  <a:pt x="78" y="259"/>
                </a:lnTo>
                <a:lnTo>
                  <a:pt x="76" y="253"/>
                </a:lnTo>
                <a:lnTo>
                  <a:pt x="74" y="244"/>
                </a:lnTo>
                <a:lnTo>
                  <a:pt x="66" y="227"/>
                </a:lnTo>
                <a:lnTo>
                  <a:pt x="66" y="221"/>
                </a:lnTo>
                <a:lnTo>
                  <a:pt x="68" y="215"/>
                </a:lnTo>
                <a:lnTo>
                  <a:pt x="68" y="198"/>
                </a:lnTo>
                <a:lnTo>
                  <a:pt x="76" y="191"/>
                </a:lnTo>
                <a:lnTo>
                  <a:pt x="78" y="174"/>
                </a:lnTo>
                <a:lnTo>
                  <a:pt x="74" y="161"/>
                </a:lnTo>
                <a:lnTo>
                  <a:pt x="76" y="153"/>
                </a:lnTo>
                <a:lnTo>
                  <a:pt x="78" y="142"/>
                </a:lnTo>
                <a:lnTo>
                  <a:pt x="76" y="129"/>
                </a:lnTo>
                <a:lnTo>
                  <a:pt x="78" y="121"/>
                </a:lnTo>
                <a:lnTo>
                  <a:pt x="83" y="115"/>
                </a:lnTo>
                <a:lnTo>
                  <a:pt x="76" y="100"/>
                </a:lnTo>
                <a:lnTo>
                  <a:pt x="80" y="91"/>
                </a:lnTo>
                <a:lnTo>
                  <a:pt x="89" y="85"/>
                </a:lnTo>
                <a:lnTo>
                  <a:pt x="98" y="85"/>
                </a:lnTo>
                <a:lnTo>
                  <a:pt x="104" y="89"/>
                </a:lnTo>
                <a:lnTo>
                  <a:pt x="112" y="89"/>
                </a:lnTo>
                <a:lnTo>
                  <a:pt x="119" y="95"/>
                </a:lnTo>
                <a:lnTo>
                  <a:pt x="121" y="104"/>
                </a:lnTo>
                <a:lnTo>
                  <a:pt x="127" y="106"/>
                </a:lnTo>
                <a:lnTo>
                  <a:pt x="136" y="98"/>
                </a:lnTo>
                <a:lnTo>
                  <a:pt x="144" y="87"/>
                </a:lnTo>
                <a:lnTo>
                  <a:pt x="159" y="0"/>
                </a:lnTo>
                <a:lnTo>
                  <a:pt x="240" y="14"/>
                </a:lnTo>
                <a:lnTo>
                  <a:pt x="362" y="34"/>
                </a:lnTo>
                <a:lnTo>
                  <a:pt x="479" y="51"/>
                </a:lnTo>
                <a:lnTo>
                  <a:pt x="600" y="66"/>
                </a:lnTo>
                <a:lnTo>
                  <a:pt x="519" y="698"/>
                </a:lnTo>
                <a:lnTo>
                  <a:pt x="519" y="702"/>
                </a:lnTo>
                <a:lnTo>
                  <a:pt x="472" y="696"/>
                </a:lnTo>
                <a:lnTo>
                  <a:pt x="330" y="677"/>
                </a:lnTo>
                <a:lnTo>
                  <a:pt x="208" y="609"/>
                </a:lnTo>
                <a:lnTo>
                  <a:pt x="21" y="500"/>
                </a:lnTo>
                <a:lnTo>
                  <a:pt x="0" y="487"/>
                </a:lnTo>
                <a:lnTo>
                  <a:pt x="2" y="479"/>
                </a:lnTo>
                <a:lnTo>
                  <a:pt x="12" y="464"/>
                </a:lnTo>
                <a:close/>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Ariz.*</a:t>
            </a:r>
          </a:p>
        </p:txBody>
      </p:sp>
      <p:sp>
        <p:nvSpPr>
          <p:cNvPr id="315" name="Freeform 681"/>
          <p:cNvSpPr>
            <a:spLocks noChangeAspect="1"/>
          </p:cNvSpPr>
          <p:nvPr/>
        </p:nvSpPr>
        <p:spPr bwMode="auto">
          <a:xfrm>
            <a:off x="2173426" y="1953423"/>
            <a:ext cx="754380" cy="1223010"/>
          </a:xfrm>
          <a:custGeom>
            <a:avLst/>
            <a:gdLst>
              <a:gd name="T0" fmla="*/ 42 w 528"/>
              <a:gd name="T1" fmla="*/ 570 h 856"/>
              <a:gd name="T2" fmla="*/ 46 w 528"/>
              <a:gd name="T3" fmla="*/ 562 h 856"/>
              <a:gd name="T4" fmla="*/ 55 w 528"/>
              <a:gd name="T5" fmla="*/ 539 h 856"/>
              <a:gd name="T6" fmla="*/ 55 w 528"/>
              <a:gd name="T7" fmla="*/ 524 h 856"/>
              <a:gd name="T8" fmla="*/ 42 w 528"/>
              <a:gd name="T9" fmla="*/ 517 h 856"/>
              <a:gd name="T10" fmla="*/ 44 w 528"/>
              <a:gd name="T11" fmla="*/ 490 h 856"/>
              <a:gd name="T12" fmla="*/ 59 w 528"/>
              <a:gd name="T13" fmla="*/ 468 h 856"/>
              <a:gd name="T14" fmla="*/ 78 w 528"/>
              <a:gd name="T15" fmla="*/ 455 h 856"/>
              <a:gd name="T16" fmla="*/ 83 w 528"/>
              <a:gd name="T17" fmla="*/ 441 h 856"/>
              <a:gd name="T18" fmla="*/ 106 w 528"/>
              <a:gd name="T19" fmla="*/ 404 h 856"/>
              <a:gd name="T20" fmla="*/ 127 w 528"/>
              <a:gd name="T21" fmla="*/ 379 h 856"/>
              <a:gd name="T22" fmla="*/ 110 w 528"/>
              <a:gd name="T23" fmla="*/ 351 h 856"/>
              <a:gd name="T24" fmla="*/ 104 w 528"/>
              <a:gd name="T25" fmla="*/ 340 h 856"/>
              <a:gd name="T26" fmla="*/ 102 w 528"/>
              <a:gd name="T27" fmla="*/ 323 h 856"/>
              <a:gd name="T28" fmla="*/ 100 w 528"/>
              <a:gd name="T29" fmla="*/ 285 h 856"/>
              <a:gd name="T30" fmla="*/ 106 w 528"/>
              <a:gd name="T31" fmla="*/ 255 h 856"/>
              <a:gd name="T32" fmla="*/ 161 w 528"/>
              <a:gd name="T33" fmla="*/ 0 h 856"/>
              <a:gd name="T34" fmla="*/ 234 w 528"/>
              <a:gd name="T35" fmla="*/ 15 h 856"/>
              <a:gd name="T36" fmla="*/ 210 w 528"/>
              <a:gd name="T37" fmla="*/ 125 h 856"/>
              <a:gd name="T38" fmla="*/ 223 w 528"/>
              <a:gd name="T39" fmla="*/ 151 h 856"/>
              <a:gd name="T40" fmla="*/ 230 w 528"/>
              <a:gd name="T41" fmla="*/ 172 h 856"/>
              <a:gd name="T42" fmla="*/ 232 w 528"/>
              <a:gd name="T43" fmla="*/ 187 h 856"/>
              <a:gd name="T44" fmla="*/ 236 w 528"/>
              <a:gd name="T45" fmla="*/ 202 h 856"/>
              <a:gd name="T46" fmla="*/ 249 w 528"/>
              <a:gd name="T47" fmla="*/ 215 h 856"/>
              <a:gd name="T48" fmla="*/ 255 w 528"/>
              <a:gd name="T49" fmla="*/ 230 h 856"/>
              <a:gd name="T50" fmla="*/ 268 w 528"/>
              <a:gd name="T51" fmla="*/ 251 h 856"/>
              <a:gd name="T52" fmla="*/ 272 w 528"/>
              <a:gd name="T53" fmla="*/ 262 h 856"/>
              <a:gd name="T54" fmla="*/ 281 w 528"/>
              <a:gd name="T55" fmla="*/ 277 h 856"/>
              <a:gd name="T56" fmla="*/ 291 w 528"/>
              <a:gd name="T57" fmla="*/ 283 h 856"/>
              <a:gd name="T58" fmla="*/ 296 w 528"/>
              <a:gd name="T59" fmla="*/ 294 h 856"/>
              <a:gd name="T60" fmla="*/ 313 w 528"/>
              <a:gd name="T61" fmla="*/ 296 h 856"/>
              <a:gd name="T62" fmla="*/ 298 w 528"/>
              <a:gd name="T63" fmla="*/ 332 h 856"/>
              <a:gd name="T64" fmla="*/ 289 w 528"/>
              <a:gd name="T65" fmla="*/ 347 h 856"/>
              <a:gd name="T66" fmla="*/ 289 w 528"/>
              <a:gd name="T67" fmla="*/ 362 h 856"/>
              <a:gd name="T68" fmla="*/ 289 w 528"/>
              <a:gd name="T69" fmla="*/ 383 h 856"/>
              <a:gd name="T70" fmla="*/ 279 w 528"/>
              <a:gd name="T71" fmla="*/ 392 h 856"/>
              <a:gd name="T72" fmla="*/ 276 w 528"/>
              <a:gd name="T73" fmla="*/ 406 h 856"/>
              <a:gd name="T74" fmla="*/ 283 w 528"/>
              <a:gd name="T75" fmla="*/ 417 h 856"/>
              <a:gd name="T76" fmla="*/ 296 w 528"/>
              <a:gd name="T77" fmla="*/ 426 h 856"/>
              <a:gd name="T78" fmla="*/ 325 w 528"/>
              <a:gd name="T79" fmla="*/ 415 h 856"/>
              <a:gd name="T80" fmla="*/ 334 w 528"/>
              <a:gd name="T81" fmla="*/ 436 h 856"/>
              <a:gd name="T82" fmla="*/ 342 w 528"/>
              <a:gd name="T83" fmla="*/ 470 h 856"/>
              <a:gd name="T84" fmla="*/ 349 w 528"/>
              <a:gd name="T85" fmla="*/ 485 h 856"/>
              <a:gd name="T86" fmla="*/ 347 w 528"/>
              <a:gd name="T87" fmla="*/ 502 h 856"/>
              <a:gd name="T88" fmla="*/ 353 w 528"/>
              <a:gd name="T89" fmla="*/ 517 h 856"/>
              <a:gd name="T90" fmla="*/ 370 w 528"/>
              <a:gd name="T91" fmla="*/ 521 h 856"/>
              <a:gd name="T92" fmla="*/ 372 w 528"/>
              <a:gd name="T93" fmla="*/ 541 h 856"/>
              <a:gd name="T94" fmla="*/ 374 w 528"/>
              <a:gd name="T95" fmla="*/ 556 h 856"/>
              <a:gd name="T96" fmla="*/ 385 w 528"/>
              <a:gd name="T97" fmla="*/ 570 h 856"/>
              <a:gd name="T98" fmla="*/ 389 w 528"/>
              <a:gd name="T99" fmla="*/ 560 h 856"/>
              <a:gd name="T100" fmla="*/ 411 w 528"/>
              <a:gd name="T101" fmla="*/ 560 h 856"/>
              <a:gd name="T102" fmla="*/ 425 w 528"/>
              <a:gd name="T103" fmla="*/ 562 h 856"/>
              <a:gd name="T104" fmla="*/ 436 w 528"/>
              <a:gd name="T105" fmla="*/ 556 h 856"/>
              <a:gd name="T106" fmla="*/ 466 w 528"/>
              <a:gd name="T107" fmla="*/ 560 h 856"/>
              <a:gd name="T108" fmla="*/ 481 w 528"/>
              <a:gd name="T109" fmla="*/ 562 h 856"/>
              <a:gd name="T110" fmla="*/ 494 w 528"/>
              <a:gd name="T111" fmla="*/ 562 h 856"/>
              <a:gd name="T112" fmla="*/ 513 w 528"/>
              <a:gd name="T113" fmla="*/ 549 h 856"/>
              <a:gd name="T114" fmla="*/ 521 w 528"/>
              <a:gd name="T115" fmla="*/ 570 h 856"/>
              <a:gd name="T116" fmla="*/ 487 w 528"/>
              <a:gd name="T117" fmla="*/ 856 h 856"/>
              <a:gd name="T118" fmla="*/ 274 w 528"/>
              <a:gd name="T119" fmla="*/ 822 h 856"/>
              <a:gd name="T120" fmla="*/ 132 w 528"/>
              <a:gd name="T121" fmla="*/ 7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856">
                <a:moveTo>
                  <a:pt x="0" y="769"/>
                </a:moveTo>
                <a:lnTo>
                  <a:pt x="42" y="570"/>
                </a:lnTo>
                <a:lnTo>
                  <a:pt x="44" y="564"/>
                </a:lnTo>
                <a:lnTo>
                  <a:pt x="46" y="562"/>
                </a:lnTo>
                <a:lnTo>
                  <a:pt x="53" y="547"/>
                </a:lnTo>
                <a:lnTo>
                  <a:pt x="55" y="539"/>
                </a:lnTo>
                <a:lnTo>
                  <a:pt x="59" y="530"/>
                </a:lnTo>
                <a:lnTo>
                  <a:pt x="55" y="524"/>
                </a:lnTo>
                <a:lnTo>
                  <a:pt x="49" y="519"/>
                </a:lnTo>
                <a:lnTo>
                  <a:pt x="42" y="517"/>
                </a:lnTo>
                <a:lnTo>
                  <a:pt x="40" y="513"/>
                </a:lnTo>
                <a:lnTo>
                  <a:pt x="44" y="490"/>
                </a:lnTo>
                <a:lnTo>
                  <a:pt x="51" y="483"/>
                </a:lnTo>
                <a:lnTo>
                  <a:pt x="59" y="468"/>
                </a:lnTo>
                <a:lnTo>
                  <a:pt x="72" y="462"/>
                </a:lnTo>
                <a:lnTo>
                  <a:pt x="78" y="455"/>
                </a:lnTo>
                <a:lnTo>
                  <a:pt x="83" y="447"/>
                </a:lnTo>
                <a:lnTo>
                  <a:pt x="83" y="441"/>
                </a:lnTo>
                <a:lnTo>
                  <a:pt x="95" y="428"/>
                </a:lnTo>
                <a:lnTo>
                  <a:pt x="106" y="404"/>
                </a:lnTo>
                <a:lnTo>
                  <a:pt x="123" y="385"/>
                </a:lnTo>
                <a:lnTo>
                  <a:pt x="127" y="379"/>
                </a:lnTo>
                <a:lnTo>
                  <a:pt x="125" y="364"/>
                </a:lnTo>
                <a:lnTo>
                  <a:pt x="110" y="351"/>
                </a:lnTo>
                <a:lnTo>
                  <a:pt x="108" y="347"/>
                </a:lnTo>
                <a:lnTo>
                  <a:pt x="104" y="340"/>
                </a:lnTo>
                <a:lnTo>
                  <a:pt x="104" y="330"/>
                </a:lnTo>
                <a:lnTo>
                  <a:pt x="102" y="323"/>
                </a:lnTo>
                <a:lnTo>
                  <a:pt x="104" y="300"/>
                </a:lnTo>
                <a:lnTo>
                  <a:pt x="100" y="285"/>
                </a:lnTo>
                <a:lnTo>
                  <a:pt x="104" y="279"/>
                </a:lnTo>
                <a:lnTo>
                  <a:pt x="106" y="255"/>
                </a:lnTo>
                <a:lnTo>
                  <a:pt x="159" y="4"/>
                </a:lnTo>
                <a:lnTo>
                  <a:pt x="161" y="0"/>
                </a:lnTo>
                <a:lnTo>
                  <a:pt x="217" y="12"/>
                </a:lnTo>
                <a:lnTo>
                  <a:pt x="234" y="15"/>
                </a:lnTo>
                <a:lnTo>
                  <a:pt x="232" y="19"/>
                </a:lnTo>
                <a:lnTo>
                  <a:pt x="210" y="125"/>
                </a:lnTo>
                <a:lnTo>
                  <a:pt x="223" y="147"/>
                </a:lnTo>
                <a:lnTo>
                  <a:pt x="223" y="151"/>
                </a:lnTo>
                <a:lnTo>
                  <a:pt x="230" y="166"/>
                </a:lnTo>
                <a:lnTo>
                  <a:pt x="230" y="172"/>
                </a:lnTo>
                <a:lnTo>
                  <a:pt x="227" y="181"/>
                </a:lnTo>
                <a:lnTo>
                  <a:pt x="232" y="187"/>
                </a:lnTo>
                <a:lnTo>
                  <a:pt x="223" y="189"/>
                </a:lnTo>
                <a:lnTo>
                  <a:pt x="236" y="202"/>
                </a:lnTo>
                <a:lnTo>
                  <a:pt x="238" y="208"/>
                </a:lnTo>
                <a:lnTo>
                  <a:pt x="249" y="215"/>
                </a:lnTo>
                <a:lnTo>
                  <a:pt x="251" y="223"/>
                </a:lnTo>
                <a:lnTo>
                  <a:pt x="255" y="230"/>
                </a:lnTo>
                <a:lnTo>
                  <a:pt x="259" y="236"/>
                </a:lnTo>
                <a:lnTo>
                  <a:pt x="268" y="251"/>
                </a:lnTo>
                <a:lnTo>
                  <a:pt x="274" y="257"/>
                </a:lnTo>
                <a:lnTo>
                  <a:pt x="272" y="262"/>
                </a:lnTo>
                <a:lnTo>
                  <a:pt x="274" y="270"/>
                </a:lnTo>
                <a:lnTo>
                  <a:pt x="281" y="277"/>
                </a:lnTo>
                <a:lnTo>
                  <a:pt x="285" y="283"/>
                </a:lnTo>
                <a:lnTo>
                  <a:pt x="291" y="283"/>
                </a:lnTo>
                <a:lnTo>
                  <a:pt x="289" y="289"/>
                </a:lnTo>
                <a:lnTo>
                  <a:pt x="296" y="294"/>
                </a:lnTo>
                <a:lnTo>
                  <a:pt x="306" y="294"/>
                </a:lnTo>
                <a:lnTo>
                  <a:pt x="313" y="296"/>
                </a:lnTo>
                <a:lnTo>
                  <a:pt x="306" y="317"/>
                </a:lnTo>
                <a:lnTo>
                  <a:pt x="298" y="332"/>
                </a:lnTo>
                <a:lnTo>
                  <a:pt x="296" y="340"/>
                </a:lnTo>
                <a:lnTo>
                  <a:pt x="289" y="347"/>
                </a:lnTo>
                <a:lnTo>
                  <a:pt x="291" y="353"/>
                </a:lnTo>
                <a:lnTo>
                  <a:pt x="289" y="362"/>
                </a:lnTo>
                <a:lnTo>
                  <a:pt x="293" y="368"/>
                </a:lnTo>
                <a:lnTo>
                  <a:pt x="289" y="383"/>
                </a:lnTo>
                <a:lnTo>
                  <a:pt x="283" y="385"/>
                </a:lnTo>
                <a:lnTo>
                  <a:pt x="279" y="392"/>
                </a:lnTo>
                <a:lnTo>
                  <a:pt x="281" y="400"/>
                </a:lnTo>
                <a:lnTo>
                  <a:pt x="276" y="406"/>
                </a:lnTo>
                <a:lnTo>
                  <a:pt x="274" y="413"/>
                </a:lnTo>
                <a:lnTo>
                  <a:pt x="283" y="417"/>
                </a:lnTo>
                <a:lnTo>
                  <a:pt x="289" y="426"/>
                </a:lnTo>
                <a:lnTo>
                  <a:pt x="296" y="426"/>
                </a:lnTo>
                <a:lnTo>
                  <a:pt x="325" y="409"/>
                </a:lnTo>
                <a:lnTo>
                  <a:pt x="325" y="415"/>
                </a:lnTo>
                <a:lnTo>
                  <a:pt x="334" y="421"/>
                </a:lnTo>
                <a:lnTo>
                  <a:pt x="334" y="436"/>
                </a:lnTo>
                <a:lnTo>
                  <a:pt x="336" y="455"/>
                </a:lnTo>
                <a:lnTo>
                  <a:pt x="342" y="470"/>
                </a:lnTo>
                <a:lnTo>
                  <a:pt x="347" y="477"/>
                </a:lnTo>
                <a:lnTo>
                  <a:pt x="349" y="485"/>
                </a:lnTo>
                <a:lnTo>
                  <a:pt x="349" y="492"/>
                </a:lnTo>
                <a:lnTo>
                  <a:pt x="347" y="502"/>
                </a:lnTo>
                <a:lnTo>
                  <a:pt x="349" y="509"/>
                </a:lnTo>
                <a:lnTo>
                  <a:pt x="353" y="517"/>
                </a:lnTo>
                <a:lnTo>
                  <a:pt x="362" y="515"/>
                </a:lnTo>
                <a:lnTo>
                  <a:pt x="370" y="521"/>
                </a:lnTo>
                <a:lnTo>
                  <a:pt x="374" y="534"/>
                </a:lnTo>
                <a:lnTo>
                  <a:pt x="372" y="541"/>
                </a:lnTo>
                <a:lnTo>
                  <a:pt x="374" y="549"/>
                </a:lnTo>
                <a:lnTo>
                  <a:pt x="374" y="556"/>
                </a:lnTo>
                <a:lnTo>
                  <a:pt x="379" y="562"/>
                </a:lnTo>
                <a:lnTo>
                  <a:pt x="385" y="570"/>
                </a:lnTo>
                <a:lnTo>
                  <a:pt x="387" y="568"/>
                </a:lnTo>
                <a:lnTo>
                  <a:pt x="389" y="560"/>
                </a:lnTo>
                <a:lnTo>
                  <a:pt x="396" y="558"/>
                </a:lnTo>
                <a:lnTo>
                  <a:pt x="411" y="560"/>
                </a:lnTo>
                <a:lnTo>
                  <a:pt x="419" y="562"/>
                </a:lnTo>
                <a:lnTo>
                  <a:pt x="425" y="562"/>
                </a:lnTo>
                <a:lnTo>
                  <a:pt x="432" y="556"/>
                </a:lnTo>
                <a:lnTo>
                  <a:pt x="436" y="556"/>
                </a:lnTo>
                <a:lnTo>
                  <a:pt x="451" y="560"/>
                </a:lnTo>
                <a:lnTo>
                  <a:pt x="466" y="560"/>
                </a:lnTo>
                <a:lnTo>
                  <a:pt x="472" y="564"/>
                </a:lnTo>
                <a:lnTo>
                  <a:pt x="481" y="562"/>
                </a:lnTo>
                <a:lnTo>
                  <a:pt x="494" y="566"/>
                </a:lnTo>
                <a:lnTo>
                  <a:pt x="494" y="562"/>
                </a:lnTo>
                <a:lnTo>
                  <a:pt x="506" y="547"/>
                </a:lnTo>
                <a:lnTo>
                  <a:pt x="513" y="549"/>
                </a:lnTo>
                <a:lnTo>
                  <a:pt x="517" y="562"/>
                </a:lnTo>
                <a:lnTo>
                  <a:pt x="521" y="570"/>
                </a:lnTo>
                <a:lnTo>
                  <a:pt x="528" y="577"/>
                </a:lnTo>
                <a:lnTo>
                  <a:pt x="487" y="856"/>
                </a:lnTo>
                <a:lnTo>
                  <a:pt x="391" y="843"/>
                </a:lnTo>
                <a:lnTo>
                  <a:pt x="274" y="822"/>
                </a:lnTo>
                <a:lnTo>
                  <a:pt x="242" y="818"/>
                </a:lnTo>
                <a:lnTo>
                  <a:pt x="132" y="796"/>
                </a:lnTo>
                <a:lnTo>
                  <a:pt x="0" y="769"/>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chemeClr val="tx2"/>
              </a:solidFill>
            </a:endParaRPr>
          </a:p>
          <a:p>
            <a:pPr algn="ctr"/>
            <a:endParaRPr lang="en-US" sz="1000" b="1" dirty="0">
              <a:solidFill>
                <a:schemeClr val="tx2"/>
              </a:solidFill>
            </a:endParaRPr>
          </a:p>
          <a:p>
            <a:pPr algn="ctr"/>
            <a:endParaRPr lang="en-US" sz="1000" b="1" dirty="0">
              <a:solidFill>
                <a:schemeClr val="tx2"/>
              </a:solidFill>
            </a:endParaRPr>
          </a:p>
          <a:p>
            <a:pPr algn="ctr"/>
            <a:endParaRPr lang="en-US" sz="1000" b="1" dirty="0">
              <a:solidFill>
                <a:schemeClr val="tx2"/>
              </a:solidFill>
            </a:endParaRPr>
          </a:p>
          <a:p>
            <a:pPr algn="ctr"/>
            <a:r>
              <a:rPr lang="en-US" sz="1000" b="1" dirty="0">
                <a:solidFill>
                  <a:schemeClr val="bg1"/>
                </a:solidFill>
              </a:rPr>
              <a:t>Idaho</a:t>
            </a:r>
          </a:p>
        </p:txBody>
      </p:sp>
      <p:sp>
        <p:nvSpPr>
          <p:cNvPr id="316" name="Freeform 683"/>
          <p:cNvSpPr>
            <a:spLocks noChangeAspect="1"/>
          </p:cNvSpPr>
          <p:nvPr/>
        </p:nvSpPr>
        <p:spPr bwMode="auto">
          <a:xfrm>
            <a:off x="2377318" y="3120900"/>
            <a:ext cx="708660" cy="891539"/>
          </a:xfrm>
          <a:custGeom>
            <a:avLst/>
            <a:gdLst>
              <a:gd name="T0" fmla="*/ 0 w 496"/>
              <a:gd name="T1" fmla="*/ 558 h 624"/>
              <a:gd name="T2" fmla="*/ 100 w 496"/>
              <a:gd name="T3" fmla="*/ 0 h 624"/>
              <a:gd name="T4" fmla="*/ 132 w 496"/>
              <a:gd name="T5" fmla="*/ 4 h 624"/>
              <a:gd name="T6" fmla="*/ 249 w 496"/>
              <a:gd name="T7" fmla="*/ 25 h 624"/>
              <a:gd name="T8" fmla="*/ 345 w 496"/>
              <a:gd name="T9" fmla="*/ 38 h 624"/>
              <a:gd name="T10" fmla="*/ 328 w 496"/>
              <a:gd name="T11" fmla="*/ 151 h 624"/>
              <a:gd name="T12" fmla="*/ 496 w 496"/>
              <a:gd name="T13" fmla="*/ 174 h 624"/>
              <a:gd name="T14" fmla="*/ 441 w 496"/>
              <a:gd name="T15" fmla="*/ 624 h 624"/>
              <a:gd name="T16" fmla="*/ 320 w 496"/>
              <a:gd name="T17" fmla="*/ 609 h 624"/>
              <a:gd name="T18" fmla="*/ 203 w 496"/>
              <a:gd name="T19" fmla="*/ 592 h 624"/>
              <a:gd name="T20" fmla="*/ 81 w 496"/>
              <a:gd name="T21" fmla="*/ 572 h 624"/>
              <a:gd name="T22" fmla="*/ 0 w 496"/>
              <a:gd name="T23" fmla="*/ 55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6" h="624">
                <a:moveTo>
                  <a:pt x="0" y="558"/>
                </a:moveTo>
                <a:lnTo>
                  <a:pt x="100" y="0"/>
                </a:lnTo>
                <a:lnTo>
                  <a:pt x="132" y="4"/>
                </a:lnTo>
                <a:lnTo>
                  <a:pt x="249" y="25"/>
                </a:lnTo>
                <a:lnTo>
                  <a:pt x="345" y="38"/>
                </a:lnTo>
                <a:lnTo>
                  <a:pt x="328" y="151"/>
                </a:lnTo>
                <a:lnTo>
                  <a:pt x="496" y="174"/>
                </a:lnTo>
                <a:lnTo>
                  <a:pt x="441" y="624"/>
                </a:lnTo>
                <a:lnTo>
                  <a:pt x="320" y="609"/>
                </a:lnTo>
                <a:lnTo>
                  <a:pt x="203" y="592"/>
                </a:lnTo>
                <a:lnTo>
                  <a:pt x="81" y="572"/>
                </a:lnTo>
                <a:lnTo>
                  <a:pt x="0" y="558"/>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Utah</a:t>
            </a:r>
          </a:p>
        </p:txBody>
      </p:sp>
      <p:sp>
        <p:nvSpPr>
          <p:cNvPr id="317" name="Freeform 685"/>
          <p:cNvSpPr>
            <a:spLocks noChangeAspect="1"/>
          </p:cNvSpPr>
          <p:nvPr/>
        </p:nvSpPr>
        <p:spPr bwMode="auto">
          <a:xfrm>
            <a:off x="2473373" y="1974415"/>
            <a:ext cx="1305877" cy="811530"/>
          </a:xfrm>
          <a:custGeom>
            <a:avLst/>
            <a:gdLst>
              <a:gd name="T0" fmla="*/ 20 w 914"/>
              <a:gd name="T1" fmla="*/ 157 h 568"/>
              <a:gd name="T2" fmla="*/ 13 w 914"/>
              <a:gd name="T3" fmla="*/ 136 h 568"/>
              <a:gd name="T4" fmla="*/ 0 w 914"/>
              <a:gd name="T5" fmla="*/ 110 h 568"/>
              <a:gd name="T6" fmla="*/ 24 w 914"/>
              <a:gd name="T7" fmla="*/ 0 h 568"/>
              <a:gd name="T8" fmla="*/ 324 w 914"/>
              <a:gd name="T9" fmla="*/ 55 h 568"/>
              <a:gd name="T10" fmla="*/ 601 w 914"/>
              <a:gd name="T11" fmla="*/ 91 h 568"/>
              <a:gd name="T12" fmla="*/ 861 w 914"/>
              <a:gd name="T13" fmla="*/ 119 h 568"/>
              <a:gd name="T14" fmla="*/ 914 w 914"/>
              <a:gd name="T15" fmla="*/ 125 h 568"/>
              <a:gd name="T16" fmla="*/ 884 w 914"/>
              <a:gd name="T17" fmla="*/ 560 h 568"/>
              <a:gd name="T18" fmla="*/ 775 w 914"/>
              <a:gd name="T19" fmla="*/ 560 h 568"/>
              <a:gd name="T20" fmla="*/ 477 w 914"/>
              <a:gd name="T21" fmla="*/ 528 h 568"/>
              <a:gd name="T22" fmla="*/ 326 w 914"/>
              <a:gd name="T23" fmla="*/ 513 h 568"/>
              <a:gd name="T24" fmla="*/ 311 w 914"/>
              <a:gd name="T25" fmla="*/ 555 h 568"/>
              <a:gd name="T26" fmla="*/ 303 w 914"/>
              <a:gd name="T27" fmla="*/ 534 h 568"/>
              <a:gd name="T28" fmla="*/ 284 w 914"/>
              <a:gd name="T29" fmla="*/ 547 h 568"/>
              <a:gd name="T30" fmla="*/ 271 w 914"/>
              <a:gd name="T31" fmla="*/ 547 h 568"/>
              <a:gd name="T32" fmla="*/ 256 w 914"/>
              <a:gd name="T33" fmla="*/ 545 h 568"/>
              <a:gd name="T34" fmla="*/ 226 w 914"/>
              <a:gd name="T35" fmla="*/ 541 h 568"/>
              <a:gd name="T36" fmla="*/ 215 w 914"/>
              <a:gd name="T37" fmla="*/ 547 h 568"/>
              <a:gd name="T38" fmla="*/ 201 w 914"/>
              <a:gd name="T39" fmla="*/ 545 h 568"/>
              <a:gd name="T40" fmla="*/ 179 w 914"/>
              <a:gd name="T41" fmla="*/ 545 h 568"/>
              <a:gd name="T42" fmla="*/ 175 w 914"/>
              <a:gd name="T43" fmla="*/ 555 h 568"/>
              <a:gd name="T44" fmla="*/ 164 w 914"/>
              <a:gd name="T45" fmla="*/ 541 h 568"/>
              <a:gd name="T46" fmla="*/ 162 w 914"/>
              <a:gd name="T47" fmla="*/ 526 h 568"/>
              <a:gd name="T48" fmla="*/ 160 w 914"/>
              <a:gd name="T49" fmla="*/ 506 h 568"/>
              <a:gd name="T50" fmla="*/ 143 w 914"/>
              <a:gd name="T51" fmla="*/ 502 h 568"/>
              <a:gd name="T52" fmla="*/ 137 w 914"/>
              <a:gd name="T53" fmla="*/ 487 h 568"/>
              <a:gd name="T54" fmla="*/ 139 w 914"/>
              <a:gd name="T55" fmla="*/ 470 h 568"/>
              <a:gd name="T56" fmla="*/ 132 w 914"/>
              <a:gd name="T57" fmla="*/ 455 h 568"/>
              <a:gd name="T58" fmla="*/ 124 w 914"/>
              <a:gd name="T59" fmla="*/ 421 h 568"/>
              <a:gd name="T60" fmla="*/ 115 w 914"/>
              <a:gd name="T61" fmla="*/ 400 h 568"/>
              <a:gd name="T62" fmla="*/ 86 w 914"/>
              <a:gd name="T63" fmla="*/ 411 h 568"/>
              <a:gd name="T64" fmla="*/ 73 w 914"/>
              <a:gd name="T65" fmla="*/ 402 h 568"/>
              <a:gd name="T66" fmla="*/ 66 w 914"/>
              <a:gd name="T67" fmla="*/ 391 h 568"/>
              <a:gd name="T68" fmla="*/ 69 w 914"/>
              <a:gd name="T69" fmla="*/ 377 h 568"/>
              <a:gd name="T70" fmla="*/ 79 w 914"/>
              <a:gd name="T71" fmla="*/ 368 h 568"/>
              <a:gd name="T72" fmla="*/ 79 w 914"/>
              <a:gd name="T73" fmla="*/ 347 h 568"/>
              <a:gd name="T74" fmla="*/ 79 w 914"/>
              <a:gd name="T75" fmla="*/ 332 h 568"/>
              <a:gd name="T76" fmla="*/ 88 w 914"/>
              <a:gd name="T77" fmla="*/ 317 h 568"/>
              <a:gd name="T78" fmla="*/ 103 w 914"/>
              <a:gd name="T79" fmla="*/ 281 h 568"/>
              <a:gd name="T80" fmla="*/ 86 w 914"/>
              <a:gd name="T81" fmla="*/ 279 h 568"/>
              <a:gd name="T82" fmla="*/ 81 w 914"/>
              <a:gd name="T83" fmla="*/ 268 h 568"/>
              <a:gd name="T84" fmla="*/ 71 w 914"/>
              <a:gd name="T85" fmla="*/ 262 h 568"/>
              <a:gd name="T86" fmla="*/ 62 w 914"/>
              <a:gd name="T87" fmla="*/ 247 h 568"/>
              <a:gd name="T88" fmla="*/ 58 w 914"/>
              <a:gd name="T89" fmla="*/ 236 h 568"/>
              <a:gd name="T90" fmla="*/ 45 w 914"/>
              <a:gd name="T91" fmla="*/ 215 h 568"/>
              <a:gd name="T92" fmla="*/ 39 w 914"/>
              <a:gd name="T93" fmla="*/ 200 h 568"/>
              <a:gd name="T94" fmla="*/ 26 w 914"/>
              <a:gd name="T95" fmla="*/ 187 h 568"/>
              <a:gd name="T96" fmla="*/ 22 w 914"/>
              <a:gd name="T97" fmla="*/ 172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4" h="568">
                <a:moveTo>
                  <a:pt x="17" y="166"/>
                </a:moveTo>
                <a:lnTo>
                  <a:pt x="20" y="157"/>
                </a:lnTo>
                <a:lnTo>
                  <a:pt x="20" y="151"/>
                </a:lnTo>
                <a:lnTo>
                  <a:pt x="13" y="136"/>
                </a:lnTo>
                <a:lnTo>
                  <a:pt x="13" y="132"/>
                </a:lnTo>
                <a:lnTo>
                  <a:pt x="0" y="110"/>
                </a:lnTo>
                <a:lnTo>
                  <a:pt x="22" y="4"/>
                </a:lnTo>
                <a:lnTo>
                  <a:pt x="24" y="0"/>
                </a:lnTo>
                <a:lnTo>
                  <a:pt x="132" y="21"/>
                </a:lnTo>
                <a:lnTo>
                  <a:pt x="324" y="55"/>
                </a:lnTo>
                <a:lnTo>
                  <a:pt x="492" y="78"/>
                </a:lnTo>
                <a:lnTo>
                  <a:pt x="601" y="91"/>
                </a:lnTo>
                <a:lnTo>
                  <a:pt x="716" y="104"/>
                </a:lnTo>
                <a:lnTo>
                  <a:pt x="861" y="119"/>
                </a:lnTo>
                <a:lnTo>
                  <a:pt x="914" y="121"/>
                </a:lnTo>
                <a:lnTo>
                  <a:pt x="914" y="125"/>
                </a:lnTo>
                <a:lnTo>
                  <a:pt x="890" y="462"/>
                </a:lnTo>
                <a:lnTo>
                  <a:pt x="884" y="560"/>
                </a:lnTo>
                <a:lnTo>
                  <a:pt x="882" y="568"/>
                </a:lnTo>
                <a:lnTo>
                  <a:pt x="775" y="560"/>
                </a:lnTo>
                <a:lnTo>
                  <a:pt x="618" y="545"/>
                </a:lnTo>
                <a:lnTo>
                  <a:pt x="477" y="528"/>
                </a:lnTo>
                <a:lnTo>
                  <a:pt x="333" y="509"/>
                </a:lnTo>
                <a:lnTo>
                  <a:pt x="326" y="513"/>
                </a:lnTo>
                <a:lnTo>
                  <a:pt x="318" y="562"/>
                </a:lnTo>
                <a:lnTo>
                  <a:pt x="311" y="555"/>
                </a:lnTo>
                <a:lnTo>
                  <a:pt x="307" y="547"/>
                </a:lnTo>
                <a:lnTo>
                  <a:pt x="303" y="534"/>
                </a:lnTo>
                <a:lnTo>
                  <a:pt x="296" y="532"/>
                </a:lnTo>
                <a:lnTo>
                  <a:pt x="284" y="547"/>
                </a:lnTo>
                <a:lnTo>
                  <a:pt x="284" y="551"/>
                </a:lnTo>
                <a:lnTo>
                  <a:pt x="271" y="547"/>
                </a:lnTo>
                <a:lnTo>
                  <a:pt x="262" y="549"/>
                </a:lnTo>
                <a:lnTo>
                  <a:pt x="256" y="545"/>
                </a:lnTo>
                <a:lnTo>
                  <a:pt x="241" y="545"/>
                </a:lnTo>
                <a:lnTo>
                  <a:pt x="226" y="541"/>
                </a:lnTo>
                <a:lnTo>
                  <a:pt x="222" y="541"/>
                </a:lnTo>
                <a:lnTo>
                  <a:pt x="215" y="547"/>
                </a:lnTo>
                <a:lnTo>
                  <a:pt x="209" y="547"/>
                </a:lnTo>
                <a:lnTo>
                  <a:pt x="201" y="545"/>
                </a:lnTo>
                <a:lnTo>
                  <a:pt x="186" y="543"/>
                </a:lnTo>
                <a:lnTo>
                  <a:pt x="179" y="545"/>
                </a:lnTo>
                <a:lnTo>
                  <a:pt x="177" y="553"/>
                </a:lnTo>
                <a:lnTo>
                  <a:pt x="175" y="555"/>
                </a:lnTo>
                <a:lnTo>
                  <a:pt x="169" y="547"/>
                </a:lnTo>
                <a:lnTo>
                  <a:pt x="164" y="541"/>
                </a:lnTo>
                <a:lnTo>
                  <a:pt x="164" y="534"/>
                </a:lnTo>
                <a:lnTo>
                  <a:pt x="162" y="526"/>
                </a:lnTo>
                <a:lnTo>
                  <a:pt x="164" y="519"/>
                </a:lnTo>
                <a:lnTo>
                  <a:pt x="160" y="506"/>
                </a:lnTo>
                <a:lnTo>
                  <a:pt x="152" y="500"/>
                </a:lnTo>
                <a:lnTo>
                  <a:pt x="143" y="502"/>
                </a:lnTo>
                <a:lnTo>
                  <a:pt x="139" y="494"/>
                </a:lnTo>
                <a:lnTo>
                  <a:pt x="137" y="487"/>
                </a:lnTo>
                <a:lnTo>
                  <a:pt x="139" y="477"/>
                </a:lnTo>
                <a:lnTo>
                  <a:pt x="139" y="470"/>
                </a:lnTo>
                <a:lnTo>
                  <a:pt x="137" y="462"/>
                </a:lnTo>
                <a:lnTo>
                  <a:pt x="132" y="455"/>
                </a:lnTo>
                <a:lnTo>
                  <a:pt x="126" y="440"/>
                </a:lnTo>
                <a:lnTo>
                  <a:pt x="124" y="421"/>
                </a:lnTo>
                <a:lnTo>
                  <a:pt x="124" y="406"/>
                </a:lnTo>
                <a:lnTo>
                  <a:pt x="115" y="400"/>
                </a:lnTo>
                <a:lnTo>
                  <a:pt x="115" y="394"/>
                </a:lnTo>
                <a:lnTo>
                  <a:pt x="86" y="411"/>
                </a:lnTo>
                <a:lnTo>
                  <a:pt x="79" y="411"/>
                </a:lnTo>
                <a:lnTo>
                  <a:pt x="73" y="402"/>
                </a:lnTo>
                <a:lnTo>
                  <a:pt x="64" y="398"/>
                </a:lnTo>
                <a:lnTo>
                  <a:pt x="66" y="391"/>
                </a:lnTo>
                <a:lnTo>
                  <a:pt x="71" y="385"/>
                </a:lnTo>
                <a:lnTo>
                  <a:pt x="69" y="377"/>
                </a:lnTo>
                <a:lnTo>
                  <a:pt x="73" y="370"/>
                </a:lnTo>
                <a:lnTo>
                  <a:pt x="79" y="368"/>
                </a:lnTo>
                <a:lnTo>
                  <a:pt x="83" y="353"/>
                </a:lnTo>
                <a:lnTo>
                  <a:pt x="79" y="347"/>
                </a:lnTo>
                <a:lnTo>
                  <a:pt x="81" y="338"/>
                </a:lnTo>
                <a:lnTo>
                  <a:pt x="79" y="332"/>
                </a:lnTo>
                <a:lnTo>
                  <a:pt x="86" y="325"/>
                </a:lnTo>
                <a:lnTo>
                  <a:pt x="88" y="317"/>
                </a:lnTo>
                <a:lnTo>
                  <a:pt x="96" y="302"/>
                </a:lnTo>
                <a:lnTo>
                  <a:pt x="103" y="281"/>
                </a:lnTo>
                <a:lnTo>
                  <a:pt x="96" y="279"/>
                </a:lnTo>
                <a:lnTo>
                  <a:pt x="86" y="279"/>
                </a:lnTo>
                <a:lnTo>
                  <a:pt x="79" y="274"/>
                </a:lnTo>
                <a:lnTo>
                  <a:pt x="81" y="268"/>
                </a:lnTo>
                <a:lnTo>
                  <a:pt x="75" y="268"/>
                </a:lnTo>
                <a:lnTo>
                  <a:pt x="71" y="262"/>
                </a:lnTo>
                <a:lnTo>
                  <a:pt x="64" y="255"/>
                </a:lnTo>
                <a:lnTo>
                  <a:pt x="62" y="247"/>
                </a:lnTo>
                <a:lnTo>
                  <a:pt x="64" y="242"/>
                </a:lnTo>
                <a:lnTo>
                  <a:pt x="58" y="236"/>
                </a:lnTo>
                <a:lnTo>
                  <a:pt x="49" y="221"/>
                </a:lnTo>
                <a:lnTo>
                  <a:pt x="45" y="215"/>
                </a:lnTo>
                <a:lnTo>
                  <a:pt x="41" y="208"/>
                </a:lnTo>
                <a:lnTo>
                  <a:pt x="39" y="200"/>
                </a:lnTo>
                <a:lnTo>
                  <a:pt x="28" y="193"/>
                </a:lnTo>
                <a:lnTo>
                  <a:pt x="26" y="187"/>
                </a:lnTo>
                <a:lnTo>
                  <a:pt x="13" y="174"/>
                </a:lnTo>
                <a:lnTo>
                  <a:pt x="22" y="172"/>
                </a:lnTo>
                <a:lnTo>
                  <a:pt x="17" y="166"/>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Mont.</a:t>
            </a:r>
            <a:endParaRPr lang="en-US" sz="1000" b="1" dirty="0">
              <a:solidFill>
                <a:srgbClr val="5A5A5A"/>
              </a:solidFill>
            </a:endParaRPr>
          </a:p>
        </p:txBody>
      </p:sp>
      <p:sp>
        <p:nvSpPr>
          <p:cNvPr id="318" name="Freeform 687"/>
          <p:cNvSpPr>
            <a:spLocks noChangeAspect="1"/>
          </p:cNvSpPr>
          <p:nvPr/>
        </p:nvSpPr>
        <p:spPr bwMode="auto">
          <a:xfrm>
            <a:off x="2848699" y="2702463"/>
            <a:ext cx="888684" cy="727235"/>
          </a:xfrm>
          <a:custGeom>
            <a:avLst/>
            <a:gdLst>
              <a:gd name="T0" fmla="*/ 17 w 622"/>
              <a:gd name="T1" fmla="*/ 332 h 509"/>
              <a:gd name="T2" fmla="*/ 58 w 622"/>
              <a:gd name="T3" fmla="*/ 53 h 509"/>
              <a:gd name="T4" fmla="*/ 66 w 622"/>
              <a:gd name="T5" fmla="*/ 4 h 509"/>
              <a:gd name="T6" fmla="*/ 73 w 622"/>
              <a:gd name="T7" fmla="*/ 0 h 509"/>
              <a:gd name="T8" fmla="*/ 217 w 622"/>
              <a:gd name="T9" fmla="*/ 19 h 509"/>
              <a:gd name="T10" fmla="*/ 358 w 622"/>
              <a:gd name="T11" fmla="*/ 36 h 509"/>
              <a:gd name="T12" fmla="*/ 515 w 622"/>
              <a:gd name="T13" fmla="*/ 51 h 509"/>
              <a:gd name="T14" fmla="*/ 622 w 622"/>
              <a:gd name="T15" fmla="*/ 59 h 509"/>
              <a:gd name="T16" fmla="*/ 605 w 622"/>
              <a:gd name="T17" fmla="*/ 283 h 509"/>
              <a:gd name="T18" fmla="*/ 590 w 622"/>
              <a:gd name="T19" fmla="*/ 509 h 509"/>
              <a:gd name="T20" fmla="*/ 458 w 622"/>
              <a:gd name="T21" fmla="*/ 500 h 509"/>
              <a:gd name="T22" fmla="*/ 386 w 622"/>
              <a:gd name="T23" fmla="*/ 492 h 509"/>
              <a:gd name="T24" fmla="*/ 249 w 622"/>
              <a:gd name="T25" fmla="*/ 477 h 509"/>
              <a:gd name="T26" fmla="*/ 168 w 622"/>
              <a:gd name="T27" fmla="*/ 468 h 509"/>
              <a:gd name="T28" fmla="*/ 0 w 622"/>
              <a:gd name="T29" fmla="*/ 445 h 509"/>
              <a:gd name="T30" fmla="*/ 17 w 622"/>
              <a:gd name="T31" fmla="*/ 33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2" h="509">
                <a:moveTo>
                  <a:pt x="17" y="332"/>
                </a:moveTo>
                <a:lnTo>
                  <a:pt x="58" y="53"/>
                </a:lnTo>
                <a:lnTo>
                  <a:pt x="66" y="4"/>
                </a:lnTo>
                <a:lnTo>
                  <a:pt x="73" y="0"/>
                </a:lnTo>
                <a:lnTo>
                  <a:pt x="217" y="19"/>
                </a:lnTo>
                <a:lnTo>
                  <a:pt x="358" y="36"/>
                </a:lnTo>
                <a:lnTo>
                  <a:pt x="515" y="51"/>
                </a:lnTo>
                <a:lnTo>
                  <a:pt x="622" y="59"/>
                </a:lnTo>
                <a:lnTo>
                  <a:pt x="605" y="283"/>
                </a:lnTo>
                <a:lnTo>
                  <a:pt x="590" y="509"/>
                </a:lnTo>
                <a:lnTo>
                  <a:pt x="458" y="500"/>
                </a:lnTo>
                <a:lnTo>
                  <a:pt x="386" y="492"/>
                </a:lnTo>
                <a:lnTo>
                  <a:pt x="249" y="477"/>
                </a:lnTo>
                <a:lnTo>
                  <a:pt x="168" y="468"/>
                </a:lnTo>
                <a:lnTo>
                  <a:pt x="0" y="445"/>
                </a:lnTo>
                <a:lnTo>
                  <a:pt x="17" y="332"/>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Wyo.</a:t>
            </a:r>
          </a:p>
        </p:txBody>
      </p:sp>
      <p:sp>
        <p:nvSpPr>
          <p:cNvPr id="319" name="Freeform 689"/>
          <p:cNvSpPr>
            <a:spLocks noChangeAspect="1"/>
          </p:cNvSpPr>
          <p:nvPr/>
        </p:nvSpPr>
        <p:spPr bwMode="auto">
          <a:xfrm>
            <a:off x="2894102" y="4015261"/>
            <a:ext cx="878682" cy="921545"/>
          </a:xfrm>
          <a:custGeom>
            <a:avLst/>
            <a:gdLst>
              <a:gd name="T0" fmla="*/ 0 w 615"/>
              <a:gd name="T1" fmla="*/ 636 h 645"/>
              <a:gd name="T2" fmla="*/ 0 w 615"/>
              <a:gd name="T3" fmla="*/ 632 h 645"/>
              <a:gd name="T4" fmla="*/ 81 w 615"/>
              <a:gd name="T5" fmla="*/ 0 h 645"/>
              <a:gd name="T6" fmla="*/ 228 w 615"/>
              <a:gd name="T7" fmla="*/ 17 h 645"/>
              <a:gd name="T8" fmla="*/ 358 w 615"/>
              <a:gd name="T9" fmla="*/ 32 h 645"/>
              <a:gd name="T10" fmla="*/ 515 w 615"/>
              <a:gd name="T11" fmla="*/ 44 h 645"/>
              <a:gd name="T12" fmla="*/ 615 w 615"/>
              <a:gd name="T13" fmla="*/ 51 h 645"/>
              <a:gd name="T14" fmla="*/ 613 w 615"/>
              <a:gd name="T15" fmla="*/ 106 h 645"/>
              <a:gd name="T16" fmla="*/ 609 w 615"/>
              <a:gd name="T17" fmla="*/ 108 h 645"/>
              <a:gd name="T18" fmla="*/ 607 w 615"/>
              <a:gd name="T19" fmla="*/ 117 h 645"/>
              <a:gd name="T20" fmla="*/ 590 w 615"/>
              <a:gd name="T21" fmla="*/ 387 h 645"/>
              <a:gd name="T22" fmla="*/ 581 w 615"/>
              <a:gd name="T23" fmla="*/ 489 h 645"/>
              <a:gd name="T24" fmla="*/ 575 w 615"/>
              <a:gd name="T25" fmla="*/ 607 h 645"/>
              <a:gd name="T26" fmla="*/ 569 w 615"/>
              <a:gd name="T27" fmla="*/ 615 h 645"/>
              <a:gd name="T28" fmla="*/ 564 w 615"/>
              <a:gd name="T29" fmla="*/ 615 h 645"/>
              <a:gd name="T30" fmla="*/ 481 w 615"/>
              <a:gd name="T31" fmla="*/ 609 h 645"/>
              <a:gd name="T32" fmla="*/ 398 w 615"/>
              <a:gd name="T33" fmla="*/ 602 h 645"/>
              <a:gd name="T34" fmla="*/ 307 w 615"/>
              <a:gd name="T35" fmla="*/ 594 h 645"/>
              <a:gd name="T36" fmla="*/ 234 w 615"/>
              <a:gd name="T37" fmla="*/ 587 h 645"/>
              <a:gd name="T38" fmla="*/ 234 w 615"/>
              <a:gd name="T39" fmla="*/ 590 h 645"/>
              <a:gd name="T40" fmla="*/ 239 w 615"/>
              <a:gd name="T41" fmla="*/ 604 h 645"/>
              <a:gd name="T42" fmla="*/ 243 w 615"/>
              <a:gd name="T43" fmla="*/ 609 h 645"/>
              <a:gd name="T44" fmla="*/ 243 w 615"/>
              <a:gd name="T45" fmla="*/ 613 h 645"/>
              <a:gd name="T46" fmla="*/ 241 w 615"/>
              <a:gd name="T47" fmla="*/ 613 h 645"/>
              <a:gd name="T48" fmla="*/ 87 w 615"/>
              <a:gd name="T49" fmla="*/ 596 h 645"/>
              <a:gd name="T50" fmla="*/ 83 w 615"/>
              <a:gd name="T51" fmla="*/ 604 h 645"/>
              <a:gd name="T52" fmla="*/ 81 w 615"/>
              <a:gd name="T53" fmla="*/ 643 h 645"/>
              <a:gd name="T54" fmla="*/ 73 w 615"/>
              <a:gd name="T55" fmla="*/ 645 h 645"/>
              <a:gd name="T56" fmla="*/ 0 w 615"/>
              <a:gd name="T57" fmla="*/ 63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5" h="645">
                <a:moveTo>
                  <a:pt x="0" y="636"/>
                </a:moveTo>
                <a:lnTo>
                  <a:pt x="0" y="632"/>
                </a:lnTo>
                <a:lnTo>
                  <a:pt x="81" y="0"/>
                </a:lnTo>
                <a:lnTo>
                  <a:pt x="228" y="17"/>
                </a:lnTo>
                <a:lnTo>
                  <a:pt x="358" y="32"/>
                </a:lnTo>
                <a:lnTo>
                  <a:pt x="515" y="44"/>
                </a:lnTo>
                <a:lnTo>
                  <a:pt x="615" y="51"/>
                </a:lnTo>
                <a:lnTo>
                  <a:pt x="613" y="106"/>
                </a:lnTo>
                <a:lnTo>
                  <a:pt x="609" y="108"/>
                </a:lnTo>
                <a:lnTo>
                  <a:pt x="607" y="117"/>
                </a:lnTo>
                <a:lnTo>
                  <a:pt x="590" y="387"/>
                </a:lnTo>
                <a:lnTo>
                  <a:pt x="581" y="489"/>
                </a:lnTo>
                <a:lnTo>
                  <a:pt x="575" y="607"/>
                </a:lnTo>
                <a:lnTo>
                  <a:pt x="569" y="615"/>
                </a:lnTo>
                <a:lnTo>
                  <a:pt x="564" y="615"/>
                </a:lnTo>
                <a:lnTo>
                  <a:pt x="481" y="609"/>
                </a:lnTo>
                <a:lnTo>
                  <a:pt x="398" y="602"/>
                </a:lnTo>
                <a:lnTo>
                  <a:pt x="307" y="594"/>
                </a:lnTo>
                <a:lnTo>
                  <a:pt x="234" y="587"/>
                </a:lnTo>
                <a:lnTo>
                  <a:pt x="234" y="590"/>
                </a:lnTo>
                <a:lnTo>
                  <a:pt x="239" y="604"/>
                </a:lnTo>
                <a:lnTo>
                  <a:pt x="243" y="609"/>
                </a:lnTo>
                <a:lnTo>
                  <a:pt x="243" y="613"/>
                </a:lnTo>
                <a:lnTo>
                  <a:pt x="241" y="613"/>
                </a:lnTo>
                <a:lnTo>
                  <a:pt x="87" y="596"/>
                </a:lnTo>
                <a:lnTo>
                  <a:pt x="83" y="604"/>
                </a:lnTo>
                <a:lnTo>
                  <a:pt x="81" y="643"/>
                </a:lnTo>
                <a:lnTo>
                  <a:pt x="73" y="645"/>
                </a:lnTo>
                <a:lnTo>
                  <a:pt x="0" y="636"/>
                </a:lnTo>
              </a:path>
            </a:pathLst>
          </a:custGeom>
          <a:solidFill>
            <a:srgbClr val="194196"/>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N.M.</a:t>
            </a:r>
          </a:p>
        </p:txBody>
      </p:sp>
      <p:sp>
        <p:nvSpPr>
          <p:cNvPr id="320" name="Freeform 691"/>
          <p:cNvSpPr>
            <a:spLocks noChangeAspect="1"/>
          </p:cNvSpPr>
          <p:nvPr/>
        </p:nvSpPr>
        <p:spPr bwMode="auto">
          <a:xfrm>
            <a:off x="3010656" y="3371431"/>
            <a:ext cx="921545" cy="721518"/>
          </a:xfrm>
          <a:custGeom>
            <a:avLst/>
            <a:gdLst>
              <a:gd name="T0" fmla="*/ 0 w 645"/>
              <a:gd name="T1" fmla="*/ 450 h 505"/>
              <a:gd name="T2" fmla="*/ 55 w 645"/>
              <a:gd name="T3" fmla="*/ 0 h 505"/>
              <a:gd name="T4" fmla="*/ 136 w 645"/>
              <a:gd name="T5" fmla="*/ 9 h 505"/>
              <a:gd name="T6" fmla="*/ 273 w 645"/>
              <a:gd name="T7" fmla="*/ 24 h 505"/>
              <a:gd name="T8" fmla="*/ 345 w 645"/>
              <a:gd name="T9" fmla="*/ 32 h 505"/>
              <a:gd name="T10" fmla="*/ 477 w 645"/>
              <a:gd name="T11" fmla="*/ 41 h 505"/>
              <a:gd name="T12" fmla="*/ 554 w 645"/>
              <a:gd name="T13" fmla="*/ 47 h 505"/>
              <a:gd name="T14" fmla="*/ 637 w 645"/>
              <a:gd name="T15" fmla="*/ 51 h 505"/>
              <a:gd name="T16" fmla="*/ 645 w 645"/>
              <a:gd name="T17" fmla="*/ 56 h 505"/>
              <a:gd name="T18" fmla="*/ 639 w 645"/>
              <a:gd name="T19" fmla="*/ 164 h 505"/>
              <a:gd name="T20" fmla="*/ 622 w 645"/>
              <a:gd name="T21" fmla="*/ 505 h 505"/>
              <a:gd name="T22" fmla="*/ 534 w 645"/>
              <a:gd name="T23" fmla="*/ 501 h 505"/>
              <a:gd name="T24" fmla="*/ 434 w 645"/>
              <a:gd name="T25" fmla="*/ 494 h 505"/>
              <a:gd name="T26" fmla="*/ 277 w 645"/>
              <a:gd name="T27" fmla="*/ 482 h 505"/>
              <a:gd name="T28" fmla="*/ 147 w 645"/>
              <a:gd name="T29" fmla="*/ 467 h 505"/>
              <a:gd name="T30" fmla="*/ 0 w 645"/>
              <a:gd name="T31" fmla="*/ 4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5" h="505">
                <a:moveTo>
                  <a:pt x="0" y="450"/>
                </a:moveTo>
                <a:lnTo>
                  <a:pt x="55" y="0"/>
                </a:lnTo>
                <a:lnTo>
                  <a:pt x="136" y="9"/>
                </a:lnTo>
                <a:lnTo>
                  <a:pt x="273" y="24"/>
                </a:lnTo>
                <a:lnTo>
                  <a:pt x="345" y="32"/>
                </a:lnTo>
                <a:lnTo>
                  <a:pt x="477" y="41"/>
                </a:lnTo>
                <a:lnTo>
                  <a:pt x="554" y="47"/>
                </a:lnTo>
                <a:lnTo>
                  <a:pt x="637" y="51"/>
                </a:lnTo>
                <a:lnTo>
                  <a:pt x="645" y="56"/>
                </a:lnTo>
                <a:lnTo>
                  <a:pt x="639" y="164"/>
                </a:lnTo>
                <a:lnTo>
                  <a:pt x="622" y="505"/>
                </a:lnTo>
                <a:lnTo>
                  <a:pt x="534" y="501"/>
                </a:lnTo>
                <a:lnTo>
                  <a:pt x="434" y="494"/>
                </a:lnTo>
                <a:lnTo>
                  <a:pt x="277" y="482"/>
                </a:lnTo>
                <a:lnTo>
                  <a:pt x="147" y="467"/>
                </a:lnTo>
                <a:lnTo>
                  <a:pt x="0" y="450"/>
                </a:lnTo>
              </a:path>
            </a:pathLst>
          </a:custGeom>
          <a:solidFill>
            <a:srgbClr val="E69696"/>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Colo.</a:t>
            </a:r>
          </a:p>
        </p:txBody>
      </p:sp>
      <p:sp>
        <p:nvSpPr>
          <p:cNvPr id="321" name="Freeform 693"/>
          <p:cNvSpPr>
            <a:spLocks noChangeAspect="1"/>
          </p:cNvSpPr>
          <p:nvPr/>
        </p:nvSpPr>
        <p:spPr bwMode="auto">
          <a:xfrm>
            <a:off x="3695016" y="3101796"/>
            <a:ext cx="1050132" cy="517207"/>
          </a:xfrm>
          <a:custGeom>
            <a:avLst/>
            <a:gdLst>
              <a:gd name="T0" fmla="*/ 15 w 735"/>
              <a:gd name="T1" fmla="*/ 0 h 362"/>
              <a:gd name="T2" fmla="*/ 241 w 735"/>
              <a:gd name="T3" fmla="*/ 15 h 362"/>
              <a:gd name="T4" fmla="*/ 468 w 735"/>
              <a:gd name="T5" fmla="*/ 21 h 362"/>
              <a:gd name="T6" fmla="*/ 509 w 735"/>
              <a:gd name="T7" fmla="*/ 47 h 362"/>
              <a:gd name="T8" fmla="*/ 522 w 735"/>
              <a:gd name="T9" fmla="*/ 36 h 362"/>
              <a:gd name="T10" fmla="*/ 569 w 735"/>
              <a:gd name="T11" fmla="*/ 36 h 362"/>
              <a:gd name="T12" fmla="*/ 588 w 735"/>
              <a:gd name="T13" fmla="*/ 47 h 362"/>
              <a:gd name="T14" fmla="*/ 596 w 735"/>
              <a:gd name="T15" fmla="*/ 51 h 362"/>
              <a:gd name="T16" fmla="*/ 609 w 735"/>
              <a:gd name="T17" fmla="*/ 57 h 362"/>
              <a:gd name="T18" fmla="*/ 620 w 735"/>
              <a:gd name="T19" fmla="*/ 68 h 362"/>
              <a:gd name="T20" fmla="*/ 635 w 735"/>
              <a:gd name="T21" fmla="*/ 77 h 362"/>
              <a:gd name="T22" fmla="*/ 641 w 735"/>
              <a:gd name="T23" fmla="*/ 87 h 362"/>
              <a:gd name="T24" fmla="*/ 645 w 735"/>
              <a:gd name="T25" fmla="*/ 100 h 362"/>
              <a:gd name="T26" fmla="*/ 645 w 735"/>
              <a:gd name="T27" fmla="*/ 113 h 362"/>
              <a:gd name="T28" fmla="*/ 654 w 735"/>
              <a:gd name="T29" fmla="*/ 128 h 362"/>
              <a:gd name="T30" fmla="*/ 662 w 735"/>
              <a:gd name="T31" fmla="*/ 147 h 362"/>
              <a:gd name="T32" fmla="*/ 669 w 735"/>
              <a:gd name="T33" fmla="*/ 162 h 362"/>
              <a:gd name="T34" fmla="*/ 666 w 735"/>
              <a:gd name="T35" fmla="*/ 177 h 362"/>
              <a:gd name="T36" fmla="*/ 669 w 735"/>
              <a:gd name="T37" fmla="*/ 185 h 362"/>
              <a:gd name="T38" fmla="*/ 675 w 735"/>
              <a:gd name="T39" fmla="*/ 194 h 362"/>
              <a:gd name="T40" fmla="*/ 681 w 735"/>
              <a:gd name="T41" fmla="*/ 204 h 362"/>
              <a:gd name="T42" fmla="*/ 684 w 735"/>
              <a:gd name="T43" fmla="*/ 221 h 362"/>
              <a:gd name="T44" fmla="*/ 688 w 735"/>
              <a:gd name="T45" fmla="*/ 234 h 362"/>
              <a:gd name="T46" fmla="*/ 690 w 735"/>
              <a:gd name="T47" fmla="*/ 260 h 362"/>
              <a:gd name="T48" fmla="*/ 694 w 735"/>
              <a:gd name="T49" fmla="*/ 285 h 362"/>
              <a:gd name="T50" fmla="*/ 696 w 735"/>
              <a:gd name="T51" fmla="*/ 300 h 362"/>
              <a:gd name="T52" fmla="*/ 707 w 735"/>
              <a:gd name="T53" fmla="*/ 321 h 362"/>
              <a:gd name="T54" fmla="*/ 720 w 735"/>
              <a:gd name="T55" fmla="*/ 332 h 362"/>
              <a:gd name="T56" fmla="*/ 728 w 735"/>
              <a:gd name="T57" fmla="*/ 347 h 362"/>
              <a:gd name="T58" fmla="*/ 735 w 735"/>
              <a:gd name="T59" fmla="*/ 360 h 362"/>
              <a:gd name="T60" fmla="*/ 481 w 735"/>
              <a:gd name="T61" fmla="*/ 362 h 362"/>
              <a:gd name="T62" fmla="*/ 162 w 735"/>
              <a:gd name="T63" fmla="*/ 349 h 362"/>
              <a:gd name="T64" fmla="*/ 160 w 735"/>
              <a:gd name="T65" fmla="*/ 236 h 362"/>
              <a:gd name="T66" fmla="*/ 0 w 735"/>
              <a:gd name="T67" fmla="*/ 22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5" h="362">
                <a:moveTo>
                  <a:pt x="0" y="226"/>
                </a:moveTo>
                <a:lnTo>
                  <a:pt x="15" y="0"/>
                </a:lnTo>
                <a:lnTo>
                  <a:pt x="100" y="6"/>
                </a:lnTo>
                <a:lnTo>
                  <a:pt x="241" y="15"/>
                </a:lnTo>
                <a:lnTo>
                  <a:pt x="379" y="19"/>
                </a:lnTo>
                <a:lnTo>
                  <a:pt x="468" y="21"/>
                </a:lnTo>
                <a:lnTo>
                  <a:pt x="479" y="30"/>
                </a:lnTo>
                <a:lnTo>
                  <a:pt x="509" y="47"/>
                </a:lnTo>
                <a:lnTo>
                  <a:pt x="515" y="45"/>
                </a:lnTo>
                <a:lnTo>
                  <a:pt x="522" y="36"/>
                </a:lnTo>
                <a:lnTo>
                  <a:pt x="537" y="38"/>
                </a:lnTo>
                <a:lnTo>
                  <a:pt x="569" y="36"/>
                </a:lnTo>
                <a:lnTo>
                  <a:pt x="579" y="45"/>
                </a:lnTo>
                <a:lnTo>
                  <a:pt x="588" y="47"/>
                </a:lnTo>
                <a:lnTo>
                  <a:pt x="594" y="49"/>
                </a:lnTo>
                <a:lnTo>
                  <a:pt x="596" y="51"/>
                </a:lnTo>
                <a:lnTo>
                  <a:pt x="603" y="51"/>
                </a:lnTo>
                <a:lnTo>
                  <a:pt x="609" y="57"/>
                </a:lnTo>
                <a:lnTo>
                  <a:pt x="618" y="62"/>
                </a:lnTo>
                <a:lnTo>
                  <a:pt x="620" y="68"/>
                </a:lnTo>
                <a:lnTo>
                  <a:pt x="628" y="74"/>
                </a:lnTo>
                <a:lnTo>
                  <a:pt x="635" y="77"/>
                </a:lnTo>
                <a:lnTo>
                  <a:pt x="641" y="79"/>
                </a:lnTo>
                <a:lnTo>
                  <a:pt x="641" y="87"/>
                </a:lnTo>
                <a:lnTo>
                  <a:pt x="641" y="91"/>
                </a:lnTo>
                <a:lnTo>
                  <a:pt x="645" y="100"/>
                </a:lnTo>
                <a:lnTo>
                  <a:pt x="647" y="106"/>
                </a:lnTo>
                <a:lnTo>
                  <a:pt x="645" y="113"/>
                </a:lnTo>
                <a:lnTo>
                  <a:pt x="652" y="121"/>
                </a:lnTo>
                <a:lnTo>
                  <a:pt x="654" y="128"/>
                </a:lnTo>
                <a:lnTo>
                  <a:pt x="662" y="140"/>
                </a:lnTo>
                <a:lnTo>
                  <a:pt x="662" y="147"/>
                </a:lnTo>
                <a:lnTo>
                  <a:pt x="666" y="155"/>
                </a:lnTo>
                <a:lnTo>
                  <a:pt x="669" y="162"/>
                </a:lnTo>
                <a:lnTo>
                  <a:pt x="666" y="168"/>
                </a:lnTo>
                <a:lnTo>
                  <a:pt x="666" y="177"/>
                </a:lnTo>
                <a:lnTo>
                  <a:pt x="669" y="183"/>
                </a:lnTo>
                <a:lnTo>
                  <a:pt x="669" y="185"/>
                </a:lnTo>
                <a:lnTo>
                  <a:pt x="675" y="185"/>
                </a:lnTo>
                <a:lnTo>
                  <a:pt x="675" y="194"/>
                </a:lnTo>
                <a:lnTo>
                  <a:pt x="681" y="196"/>
                </a:lnTo>
                <a:lnTo>
                  <a:pt x="681" y="204"/>
                </a:lnTo>
                <a:lnTo>
                  <a:pt x="686" y="211"/>
                </a:lnTo>
                <a:lnTo>
                  <a:pt x="684" y="221"/>
                </a:lnTo>
                <a:lnTo>
                  <a:pt x="688" y="228"/>
                </a:lnTo>
                <a:lnTo>
                  <a:pt x="688" y="234"/>
                </a:lnTo>
                <a:lnTo>
                  <a:pt x="688" y="245"/>
                </a:lnTo>
                <a:lnTo>
                  <a:pt x="690" y="260"/>
                </a:lnTo>
                <a:lnTo>
                  <a:pt x="688" y="281"/>
                </a:lnTo>
                <a:lnTo>
                  <a:pt x="694" y="285"/>
                </a:lnTo>
                <a:lnTo>
                  <a:pt x="696" y="292"/>
                </a:lnTo>
                <a:lnTo>
                  <a:pt x="696" y="300"/>
                </a:lnTo>
                <a:lnTo>
                  <a:pt x="703" y="307"/>
                </a:lnTo>
                <a:lnTo>
                  <a:pt x="707" y="321"/>
                </a:lnTo>
                <a:lnTo>
                  <a:pt x="713" y="328"/>
                </a:lnTo>
                <a:lnTo>
                  <a:pt x="720" y="332"/>
                </a:lnTo>
                <a:lnTo>
                  <a:pt x="722" y="341"/>
                </a:lnTo>
                <a:lnTo>
                  <a:pt x="728" y="347"/>
                </a:lnTo>
                <a:lnTo>
                  <a:pt x="726" y="353"/>
                </a:lnTo>
                <a:lnTo>
                  <a:pt x="735" y="360"/>
                </a:lnTo>
                <a:lnTo>
                  <a:pt x="592" y="362"/>
                </a:lnTo>
                <a:lnTo>
                  <a:pt x="481" y="362"/>
                </a:lnTo>
                <a:lnTo>
                  <a:pt x="270" y="356"/>
                </a:lnTo>
                <a:lnTo>
                  <a:pt x="162" y="349"/>
                </a:lnTo>
                <a:lnTo>
                  <a:pt x="168" y="241"/>
                </a:lnTo>
                <a:lnTo>
                  <a:pt x="160" y="236"/>
                </a:lnTo>
                <a:lnTo>
                  <a:pt x="77" y="232"/>
                </a:lnTo>
                <a:lnTo>
                  <a:pt x="0" y="226"/>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Neb.</a:t>
            </a:r>
          </a:p>
        </p:txBody>
      </p:sp>
      <p:sp>
        <p:nvSpPr>
          <p:cNvPr id="322" name="Freeform 695"/>
          <p:cNvSpPr>
            <a:spLocks noChangeAspect="1"/>
          </p:cNvSpPr>
          <p:nvPr/>
        </p:nvSpPr>
        <p:spPr bwMode="auto">
          <a:xfrm>
            <a:off x="3716337" y="2628861"/>
            <a:ext cx="888684" cy="581502"/>
          </a:xfrm>
          <a:custGeom>
            <a:avLst/>
            <a:gdLst>
              <a:gd name="T0" fmla="*/ 0 w 622"/>
              <a:gd name="T1" fmla="*/ 330 h 407"/>
              <a:gd name="T2" fmla="*/ 17 w 622"/>
              <a:gd name="T3" fmla="*/ 106 h 407"/>
              <a:gd name="T4" fmla="*/ 19 w 622"/>
              <a:gd name="T5" fmla="*/ 98 h 407"/>
              <a:gd name="T6" fmla="*/ 25 w 622"/>
              <a:gd name="T7" fmla="*/ 0 h 407"/>
              <a:gd name="T8" fmla="*/ 166 w 622"/>
              <a:gd name="T9" fmla="*/ 10 h 407"/>
              <a:gd name="T10" fmla="*/ 321 w 622"/>
              <a:gd name="T11" fmla="*/ 17 h 407"/>
              <a:gd name="T12" fmla="*/ 464 w 622"/>
              <a:gd name="T13" fmla="*/ 19 h 407"/>
              <a:gd name="T14" fmla="*/ 611 w 622"/>
              <a:gd name="T15" fmla="*/ 21 h 407"/>
              <a:gd name="T16" fmla="*/ 607 w 622"/>
              <a:gd name="T17" fmla="*/ 36 h 407"/>
              <a:gd name="T18" fmla="*/ 603 w 622"/>
              <a:gd name="T19" fmla="*/ 42 h 407"/>
              <a:gd name="T20" fmla="*/ 596 w 622"/>
              <a:gd name="T21" fmla="*/ 47 h 407"/>
              <a:gd name="T22" fmla="*/ 590 w 622"/>
              <a:gd name="T23" fmla="*/ 53 h 407"/>
              <a:gd name="T24" fmla="*/ 588 w 622"/>
              <a:gd name="T25" fmla="*/ 59 h 407"/>
              <a:gd name="T26" fmla="*/ 592 w 622"/>
              <a:gd name="T27" fmla="*/ 66 h 407"/>
              <a:gd name="T28" fmla="*/ 600 w 622"/>
              <a:gd name="T29" fmla="*/ 81 h 407"/>
              <a:gd name="T30" fmla="*/ 609 w 622"/>
              <a:gd name="T31" fmla="*/ 81 h 407"/>
              <a:gd name="T32" fmla="*/ 615 w 622"/>
              <a:gd name="T33" fmla="*/ 85 h 407"/>
              <a:gd name="T34" fmla="*/ 620 w 622"/>
              <a:gd name="T35" fmla="*/ 93 h 407"/>
              <a:gd name="T36" fmla="*/ 622 w 622"/>
              <a:gd name="T37" fmla="*/ 296 h 407"/>
              <a:gd name="T38" fmla="*/ 609 w 622"/>
              <a:gd name="T39" fmla="*/ 296 h 407"/>
              <a:gd name="T40" fmla="*/ 611 w 622"/>
              <a:gd name="T41" fmla="*/ 304 h 407"/>
              <a:gd name="T42" fmla="*/ 615 w 622"/>
              <a:gd name="T43" fmla="*/ 311 h 407"/>
              <a:gd name="T44" fmla="*/ 613 w 622"/>
              <a:gd name="T45" fmla="*/ 317 h 407"/>
              <a:gd name="T46" fmla="*/ 611 w 622"/>
              <a:gd name="T47" fmla="*/ 319 h 407"/>
              <a:gd name="T48" fmla="*/ 613 w 622"/>
              <a:gd name="T49" fmla="*/ 328 h 407"/>
              <a:gd name="T50" fmla="*/ 620 w 622"/>
              <a:gd name="T51" fmla="*/ 334 h 407"/>
              <a:gd name="T52" fmla="*/ 620 w 622"/>
              <a:gd name="T53" fmla="*/ 341 h 407"/>
              <a:gd name="T54" fmla="*/ 615 w 622"/>
              <a:gd name="T55" fmla="*/ 347 h 407"/>
              <a:gd name="T56" fmla="*/ 617 w 622"/>
              <a:gd name="T57" fmla="*/ 355 h 407"/>
              <a:gd name="T58" fmla="*/ 613 w 622"/>
              <a:gd name="T59" fmla="*/ 370 h 407"/>
              <a:gd name="T60" fmla="*/ 611 w 622"/>
              <a:gd name="T61" fmla="*/ 370 h 407"/>
              <a:gd name="T62" fmla="*/ 607 w 622"/>
              <a:gd name="T63" fmla="*/ 377 h 407"/>
              <a:gd name="T64" fmla="*/ 609 w 622"/>
              <a:gd name="T65" fmla="*/ 385 h 407"/>
              <a:gd name="T66" fmla="*/ 615 w 622"/>
              <a:gd name="T67" fmla="*/ 392 h 407"/>
              <a:gd name="T68" fmla="*/ 620 w 622"/>
              <a:gd name="T69" fmla="*/ 407 h 407"/>
              <a:gd name="T70" fmla="*/ 613 w 622"/>
              <a:gd name="T71" fmla="*/ 404 h 407"/>
              <a:gd name="T72" fmla="*/ 605 w 622"/>
              <a:gd name="T73" fmla="*/ 398 h 407"/>
              <a:gd name="T74" fmla="*/ 603 w 622"/>
              <a:gd name="T75" fmla="*/ 392 h 407"/>
              <a:gd name="T76" fmla="*/ 594 w 622"/>
              <a:gd name="T77" fmla="*/ 387 h 407"/>
              <a:gd name="T78" fmla="*/ 588 w 622"/>
              <a:gd name="T79" fmla="*/ 381 h 407"/>
              <a:gd name="T80" fmla="*/ 581 w 622"/>
              <a:gd name="T81" fmla="*/ 381 h 407"/>
              <a:gd name="T82" fmla="*/ 579 w 622"/>
              <a:gd name="T83" fmla="*/ 379 h 407"/>
              <a:gd name="T84" fmla="*/ 573 w 622"/>
              <a:gd name="T85" fmla="*/ 377 h 407"/>
              <a:gd name="T86" fmla="*/ 564 w 622"/>
              <a:gd name="T87" fmla="*/ 375 h 407"/>
              <a:gd name="T88" fmla="*/ 554 w 622"/>
              <a:gd name="T89" fmla="*/ 366 h 407"/>
              <a:gd name="T90" fmla="*/ 522 w 622"/>
              <a:gd name="T91" fmla="*/ 368 h 407"/>
              <a:gd name="T92" fmla="*/ 507 w 622"/>
              <a:gd name="T93" fmla="*/ 366 h 407"/>
              <a:gd name="T94" fmla="*/ 500 w 622"/>
              <a:gd name="T95" fmla="*/ 375 h 407"/>
              <a:gd name="T96" fmla="*/ 494 w 622"/>
              <a:gd name="T97" fmla="*/ 377 h 407"/>
              <a:gd name="T98" fmla="*/ 464 w 622"/>
              <a:gd name="T99" fmla="*/ 360 h 407"/>
              <a:gd name="T100" fmla="*/ 453 w 622"/>
              <a:gd name="T101" fmla="*/ 351 h 407"/>
              <a:gd name="T102" fmla="*/ 364 w 622"/>
              <a:gd name="T103" fmla="*/ 349 h 407"/>
              <a:gd name="T104" fmla="*/ 226 w 622"/>
              <a:gd name="T105" fmla="*/ 345 h 407"/>
              <a:gd name="T106" fmla="*/ 85 w 622"/>
              <a:gd name="T107" fmla="*/ 336 h 407"/>
              <a:gd name="T108" fmla="*/ 0 w 622"/>
              <a:gd name="T109" fmla="*/ 3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2" h="407">
                <a:moveTo>
                  <a:pt x="0" y="330"/>
                </a:moveTo>
                <a:lnTo>
                  <a:pt x="17" y="106"/>
                </a:lnTo>
                <a:lnTo>
                  <a:pt x="19" y="98"/>
                </a:lnTo>
                <a:lnTo>
                  <a:pt x="25" y="0"/>
                </a:lnTo>
                <a:lnTo>
                  <a:pt x="166" y="10"/>
                </a:lnTo>
                <a:lnTo>
                  <a:pt x="321" y="17"/>
                </a:lnTo>
                <a:lnTo>
                  <a:pt x="464" y="19"/>
                </a:lnTo>
                <a:lnTo>
                  <a:pt x="611" y="21"/>
                </a:lnTo>
                <a:lnTo>
                  <a:pt x="607" y="36"/>
                </a:lnTo>
                <a:lnTo>
                  <a:pt x="603" y="42"/>
                </a:lnTo>
                <a:lnTo>
                  <a:pt x="596" y="47"/>
                </a:lnTo>
                <a:lnTo>
                  <a:pt x="590" y="53"/>
                </a:lnTo>
                <a:lnTo>
                  <a:pt x="588" y="59"/>
                </a:lnTo>
                <a:lnTo>
                  <a:pt x="592" y="66"/>
                </a:lnTo>
                <a:lnTo>
                  <a:pt x="600" y="81"/>
                </a:lnTo>
                <a:lnTo>
                  <a:pt x="609" y="81"/>
                </a:lnTo>
                <a:lnTo>
                  <a:pt x="615" y="85"/>
                </a:lnTo>
                <a:lnTo>
                  <a:pt x="620" y="93"/>
                </a:lnTo>
                <a:lnTo>
                  <a:pt x="622" y="296"/>
                </a:lnTo>
                <a:lnTo>
                  <a:pt x="609" y="296"/>
                </a:lnTo>
                <a:lnTo>
                  <a:pt x="611" y="304"/>
                </a:lnTo>
                <a:lnTo>
                  <a:pt x="615" y="311"/>
                </a:lnTo>
                <a:lnTo>
                  <a:pt x="613" y="317"/>
                </a:lnTo>
                <a:lnTo>
                  <a:pt x="611" y="319"/>
                </a:lnTo>
                <a:lnTo>
                  <a:pt x="613" y="328"/>
                </a:lnTo>
                <a:lnTo>
                  <a:pt x="620" y="334"/>
                </a:lnTo>
                <a:lnTo>
                  <a:pt x="620" y="341"/>
                </a:lnTo>
                <a:lnTo>
                  <a:pt x="615" y="347"/>
                </a:lnTo>
                <a:lnTo>
                  <a:pt x="617" y="355"/>
                </a:lnTo>
                <a:lnTo>
                  <a:pt x="613" y="370"/>
                </a:lnTo>
                <a:lnTo>
                  <a:pt x="611" y="370"/>
                </a:lnTo>
                <a:lnTo>
                  <a:pt x="607" y="377"/>
                </a:lnTo>
                <a:lnTo>
                  <a:pt x="609" y="385"/>
                </a:lnTo>
                <a:lnTo>
                  <a:pt x="615" y="392"/>
                </a:lnTo>
                <a:lnTo>
                  <a:pt x="620" y="407"/>
                </a:lnTo>
                <a:lnTo>
                  <a:pt x="613" y="404"/>
                </a:lnTo>
                <a:lnTo>
                  <a:pt x="605" y="398"/>
                </a:lnTo>
                <a:lnTo>
                  <a:pt x="603" y="392"/>
                </a:lnTo>
                <a:lnTo>
                  <a:pt x="594" y="387"/>
                </a:lnTo>
                <a:lnTo>
                  <a:pt x="588" y="381"/>
                </a:lnTo>
                <a:lnTo>
                  <a:pt x="581" y="381"/>
                </a:lnTo>
                <a:lnTo>
                  <a:pt x="579" y="379"/>
                </a:lnTo>
                <a:lnTo>
                  <a:pt x="573" y="377"/>
                </a:lnTo>
                <a:lnTo>
                  <a:pt x="564" y="375"/>
                </a:lnTo>
                <a:lnTo>
                  <a:pt x="554" y="366"/>
                </a:lnTo>
                <a:lnTo>
                  <a:pt x="522" y="368"/>
                </a:lnTo>
                <a:lnTo>
                  <a:pt x="507" y="366"/>
                </a:lnTo>
                <a:lnTo>
                  <a:pt x="500" y="375"/>
                </a:lnTo>
                <a:lnTo>
                  <a:pt x="494" y="377"/>
                </a:lnTo>
                <a:lnTo>
                  <a:pt x="464" y="360"/>
                </a:lnTo>
                <a:lnTo>
                  <a:pt x="453" y="351"/>
                </a:lnTo>
                <a:lnTo>
                  <a:pt x="364" y="349"/>
                </a:lnTo>
                <a:lnTo>
                  <a:pt x="226" y="345"/>
                </a:lnTo>
                <a:lnTo>
                  <a:pt x="85" y="336"/>
                </a:lnTo>
                <a:lnTo>
                  <a:pt x="0" y="330"/>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S.D.</a:t>
            </a:r>
          </a:p>
        </p:txBody>
      </p:sp>
      <p:sp>
        <p:nvSpPr>
          <p:cNvPr id="323" name="Freeform 697"/>
          <p:cNvSpPr>
            <a:spLocks noChangeAspect="1"/>
          </p:cNvSpPr>
          <p:nvPr/>
        </p:nvSpPr>
        <p:spPr bwMode="auto">
          <a:xfrm>
            <a:off x="3750026" y="2145214"/>
            <a:ext cx="837246" cy="517207"/>
          </a:xfrm>
          <a:custGeom>
            <a:avLst/>
            <a:gdLst>
              <a:gd name="T0" fmla="*/ 0 w 586"/>
              <a:gd name="T1" fmla="*/ 341 h 362"/>
              <a:gd name="T2" fmla="*/ 24 w 586"/>
              <a:gd name="T3" fmla="*/ 4 h 362"/>
              <a:gd name="T4" fmla="*/ 24 w 586"/>
              <a:gd name="T5" fmla="*/ 0 h 362"/>
              <a:gd name="T6" fmla="*/ 141 w 586"/>
              <a:gd name="T7" fmla="*/ 8 h 362"/>
              <a:gd name="T8" fmla="*/ 318 w 586"/>
              <a:gd name="T9" fmla="*/ 17 h 362"/>
              <a:gd name="T10" fmla="*/ 469 w 586"/>
              <a:gd name="T11" fmla="*/ 19 h 362"/>
              <a:gd name="T12" fmla="*/ 535 w 586"/>
              <a:gd name="T13" fmla="*/ 19 h 362"/>
              <a:gd name="T14" fmla="*/ 533 w 586"/>
              <a:gd name="T15" fmla="*/ 23 h 362"/>
              <a:gd name="T16" fmla="*/ 533 w 586"/>
              <a:gd name="T17" fmla="*/ 23 h 362"/>
              <a:gd name="T18" fmla="*/ 537 w 586"/>
              <a:gd name="T19" fmla="*/ 30 h 362"/>
              <a:gd name="T20" fmla="*/ 541 w 586"/>
              <a:gd name="T21" fmla="*/ 51 h 362"/>
              <a:gd name="T22" fmla="*/ 543 w 586"/>
              <a:gd name="T23" fmla="*/ 57 h 362"/>
              <a:gd name="T24" fmla="*/ 539 w 586"/>
              <a:gd name="T25" fmla="*/ 70 h 362"/>
              <a:gd name="T26" fmla="*/ 541 w 586"/>
              <a:gd name="T27" fmla="*/ 85 h 362"/>
              <a:gd name="T28" fmla="*/ 541 w 586"/>
              <a:gd name="T29" fmla="*/ 92 h 362"/>
              <a:gd name="T30" fmla="*/ 541 w 586"/>
              <a:gd name="T31" fmla="*/ 96 h 362"/>
              <a:gd name="T32" fmla="*/ 541 w 586"/>
              <a:gd name="T33" fmla="*/ 109 h 362"/>
              <a:gd name="T34" fmla="*/ 543 w 586"/>
              <a:gd name="T35" fmla="*/ 117 h 362"/>
              <a:gd name="T36" fmla="*/ 552 w 586"/>
              <a:gd name="T37" fmla="*/ 141 h 362"/>
              <a:gd name="T38" fmla="*/ 550 w 586"/>
              <a:gd name="T39" fmla="*/ 145 h 362"/>
              <a:gd name="T40" fmla="*/ 558 w 586"/>
              <a:gd name="T41" fmla="*/ 166 h 362"/>
              <a:gd name="T42" fmla="*/ 563 w 586"/>
              <a:gd name="T43" fmla="*/ 181 h 362"/>
              <a:gd name="T44" fmla="*/ 563 w 586"/>
              <a:gd name="T45" fmla="*/ 190 h 362"/>
              <a:gd name="T46" fmla="*/ 560 w 586"/>
              <a:gd name="T47" fmla="*/ 196 h 362"/>
              <a:gd name="T48" fmla="*/ 563 w 586"/>
              <a:gd name="T49" fmla="*/ 202 h 362"/>
              <a:gd name="T50" fmla="*/ 563 w 586"/>
              <a:gd name="T51" fmla="*/ 217 h 362"/>
              <a:gd name="T52" fmla="*/ 565 w 586"/>
              <a:gd name="T53" fmla="*/ 232 h 362"/>
              <a:gd name="T54" fmla="*/ 565 w 586"/>
              <a:gd name="T55" fmla="*/ 243 h 362"/>
              <a:gd name="T56" fmla="*/ 569 w 586"/>
              <a:gd name="T57" fmla="*/ 251 h 362"/>
              <a:gd name="T58" fmla="*/ 567 w 586"/>
              <a:gd name="T59" fmla="*/ 258 h 362"/>
              <a:gd name="T60" fmla="*/ 569 w 586"/>
              <a:gd name="T61" fmla="*/ 285 h 362"/>
              <a:gd name="T62" fmla="*/ 571 w 586"/>
              <a:gd name="T63" fmla="*/ 292 h 362"/>
              <a:gd name="T64" fmla="*/ 571 w 586"/>
              <a:gd name="T65" fmla="*/ 298 h 362"/>
              <a:gd name="T66" fmla="*/ 573 w 586"/>
              <a:gd name="T67" fmla="*/ 307 h 362"/>
              <a:gd name="T68" fmla="*/ 582 w 586"/>
              <a:gd name="T69" fmla="*/ 317 h 362"/>
              <a:gd name="T70" fmla="*/ 584 w 586"/>
              <a:gd name="T71" fmla="*/ 326 h 362"/>
              <a:gd name="T72" fmla="*/ 584 w 586"/>
              <a:gd name="T73" fmla="*/ 332 h 362"/>
              <a:gd name="T74" fmla="*/ 586 w 586"/>
              <a:gd name="T75" fmla="*/ 347 h 362"/>
              <a:gd name="T76" fmla="*/ 586 w 586"/>
              <a:gd name="T77" fmla="*/ 354 h 362"/>
              <a:gd name="T78" fmla="*/ 586 w 586"/>
              <a:gd name="T79" fmla="*/ 362 h 362"/>
              <a:gd name="T80" fmla="*/ 439 w 586"/>
              <a:gd name="T81" fmla="*/ 360 h 362"/>
              <a:gd name="T82" fmla="*/ 296 w 586"/>
              <a:gd name="T83" fmla="*/ 358 h 362"/>
              <a:gd name="T84" fmla="*/ 141 w 586"/>
              <a:gd name="T85" fmla="*/ 351 h 362"/>
              <a:gd name="T86" fmla="*/ 0 w 586"/>
              <a:gd name="T87" fmla="*/ 34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6" h="362">
                <a:moveTo>
                  <a:pt x="0" y="341"/>
                </a:moveTo>
                <a:lnTo>
                  <a:pt x="24" y="4"/>
                </a:lnTo>
                <a:lnTo>
                  <a:pt x="24" y="0"/>
                </a:lnTo>
                <a:lnTo>
                  <a:pt x="141" y="8"/>
                </a:lnTo>
                <a:lnTo>
                  <a:pt x="318" y="17"/>
                </a:lnTo>
                <a:lnTo>
                  <a:pt x="469" y="19"/>
                </a:lnTo>
                <a:lnTo>
                  <a:pt x="535" y="19"/>
                </a:lnTo>
                <a:lnTo>
                  <a:pt x="533" y="23"/>
                </a:lnTo>
                <a:lnTo>
                  <a:pt x="533" y="23"/>
                </a:lnTo>
                <a:lnTo>
                  <a:pt x="537" y="30"/>
                </a:lnTo>
                <a:lnTo>
                  <a:pt x="541" y="51"/>
                </a:lnTo>
                <a:lnTo>
                  <a:pt x="543" y="57"/>
                </a:lnTo>
                <a:lnTo>
                  <a:pt x="539" y="70"/>
                </a:lnTo>
                <a:lnTo>
                  <a:pt x="541" y="85"/>
                </a:lnTo>
                <a:lnTo>
                  <a:pt x="541" y="92"/>
                </a:lnTo>
                <a:lnTo>
                  <a:pt x="541" y="96"/>
                </a:lnTo>
                <a:lnTo>
                  <a:pt x="541" y="109"/>
                </a:lnTo>
                <a:lnTo>
                  <a:pt x="543" y="117"/>
                </a:lnTo>
                <a:lnTo>
                  <a:pt x="552" y="141"/>
                </a:lnTo>
                <a:lnTo>
                  <a:pt x="550" y="145"/>
                </a:lnTo>
                <a:lnTo>
                  <a:pt x="558" y="166"/>
                </a:lnTo>
                <a:lnTo>
                  <a:pt x="563" y="181"/>
                </a:lnTo>
                <a:lnTo>
                  <a:pt x="563" y="190"/>
                </a:lnTo>
                <a:lnTo>
                  <a:pt x="560" y="196"/>
                </a:lnTo>
                <a:lnTo>
                  <a:pt x="563" y="202"/>
                </a:lnTo>
                <a:lnTo>
                  <a:pt x="563" y="217"/>
                </a:lnTo>
                <a:lnTo>
                  <a:pt x="565" y="232"/>
                </a:lnTo>
                <a:lnTo>
                  <a:pt x="565" y="243"/>
                </a:lnTo>
                <a:lnTo>
                  <a:pt x="569" y="251"/>
                </a:lnTo>
                <a:lnTo>
                  <a:pt x="567" y="258"/>
                </a:lnTo>
                <a:lnTo>
                  <a:pt x="569" y="285"/>
                </a:lnTo>
                <a:lnTo>
                  <a:pt x="571" y="292"/>
                </a:lnTo>
                <a:lnTo>
                  <a:pt x="571" y="298"/>
                </a:lnTo>
                <a:lnTo>
                  <a:pt x="573" y="307"/>
                </a:lnTo>
                <a:lnTo>
                  <a:pt x="582" y="317"/>
                </a:lnTo>
                <a:lnTo>
                  <a:pt x="584" y="326"/>
                </a:lnTo>
                <a:lnTo>
                  <a:pt x="584" y="332"/>
                </a:lnTo>
                <a:lnTo>
                  <a:pt x="586" y="347"/>
                </a:lnTo>
                <a:lnTo>
                  <a:pt x="586" y="354"/>
                </a:lnTo>
                <a:lnTo>
                  <a:pt x="586" y="362"/>
                </a:lnTo>
                <a:lnTo>
                  <a:pt x="439" y="360"/>
                </a:lnTo>
                <a:lnTo>
                  <a:pt x="296" y="358"/>
                </a:lnTo>
                <a:lnTo>
                  <a:pt x="141" y="351"/>
                </a:lnTo>
                <a:lnTo>
                  <a:pt x="0" y="341"/>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N.D.</a:t>
            </a:r>
          </a:p>
        </p:txBody>
      </p:sp>
      <p:sp>
        <p:nvSpPr>
          <p:cNvPr id="324" name="Freeform 699"/>
          <p:cNvSpPr>
            <a:spLocks noChangeAspect="1"/>
          </p:cNvSpPr>
          <p:nvPr/>
        </p:nvSpPr>
        <p:spPr bwMode="auto">
          <a:xfrm>
            <a:off x="3779854" y="4086929"/>
            <a:ext cx="1101565" cy="562927"/>
          </a:xfrm>
          <a:custGeom>
            <a:avLst/>
            <a:gdLst>
              <a:gd name="T0" fmla="*/ 2 w 771"/>
              <a:gd name="T1" fmla="*/ 0 h 394"/>
              <a:gd name="T2" fmla="*/ 232 w 771"/>
              <a:gd name="T3" fmla="*/ 10 h 394"/>
              <a:gd name="T4" fmla="*/ 637 w 771"/>
              <a:gd name="T5" fmla="*/ 15 h 394"/>
              <a:gd name="T6" fmla="*/ 750 w 771"/>
              <a:gd name="T7" fmla="*/ 70 h 394"/>
              <a:gd name="T8" fmla="*/ 769 w 771"/>
              <a:gd name="T9" fmla="*/ 196 h 394"/>
              <a:gd name="T10" fmla="*/ 750 w 771"/>
              <a:gd name="T11" fmla="*/ 389 h 394"/>
              <a:gd name="T12" fmla="*/ 735 w 771"/>
              <a:gd name="T13" fmla="*/ 381 h 394"/>
              <a:gd name="T14" fmla="*/ 705 w 771"/>
              <a:gd name="T15" fmla="*/ 360 h 394"/>
              <a:gd name="T16" fmla="*/ 695 w 771"/>
              <a:gd name="T17" fmla="*/ 368 h 394"/>
              <a:gd name="T18" fmla="*/ 682 w 771"/>
              <a:gd name="T19" fmla="*/ 370 h 394"/>
              <a:gd name="T20" fmla="*/ 669 w 771"/>
              <a:gd name="T21" fmla="*/ 362 h 394"/>
              <a:gd name="T22" fmla="*/ 650 w 771"/>
              <a:gd name="T23" fmla="*/ 372 h 394"/>
              <a:gd name="T24" fmla="*/ 635 w 771"/>
              <a:gd name="T25" fmla="*/ 368 h 394"/>
              <a:gd name="T26" fmla="*/ 620 w 771"/>
              <a:gd name="T27" fmla="*/ 372 h 394"/>
              <a:gd name="T28" fmla="*/ 603 w 771"/>
              <a:gd name="T29" fmla="*/ 383 h 394"/>
              <a:gd name="T30" fmla="*/ 594 w 771"/>
              <a:gd name="T31" fmla="*/ 383 h 394"/>
              <a:gd name="T32" fmla="*/ 580 w 771"/>
              <a:gd name="T33" fmla="*/ 377 h 394"/>
              <a:gd name="T34" fmla="*/ 567 w 771"/>
              <a:gd name="T35" fmla="*/ 368 h 394"/>
              <a:gd name="T36" fmla="*/ 554 w 771"/>
              <a:gd name="T37" fmla="*/ 370 h 394"/>
              <a:gd name="T38" fmla="*/ 541 w 771"/>
              <a:gd name="T39" fmla="*/ 362 h 394"/>
              <a:gd name="T40" fmla="*/ 537 w 771"/>
              <a:gd name="T41" fmla="*/ 368 h 394"/>
              <a:gd name="T42" fmla="*/ 526 w 771"/>
              <a:gd name="T43" fmla="*/ 385 h 394"/>
              <a:gd name="T44" fmla="*/ 520 w 771"/>
              <a:gd name="T45" fmla="*/ 385 h 394"/>
              <a:gd name="T46" fmla="*/ 520 w 771"/>
              <a:gd name="T47" fmla="*/ 370 h 394"/>
              <a:gd name="T48" fmla="*/ 501 w 771"/>
              <a:gd name="T49" fmla="*/ 375 h 394"/>
              <a:gd name="T50" fmla="*/ 492 w 771"/>
              <a:gd name="T51" fmla="*/ 368 h 394"/>
              <a:gd name="T52" fmla="*/ 482 w 771"/>
              <a:gd name="T53" fmla="*/ 360 h 394"/>
              <a:gd name="T54" fmla="*/ 462 w 771"/>
              <a:gd name="T55" fmla="*/ 368 h 394"/>
              <a:gd name="T56" fmla="*/ 450 w 771"/>
              <a:gd name="T57" fmla="*/ 370 h 394"/>
              <a:gd name="T58" fmla="*/ 448 w 771"/>
              <a:gd name="T59" fmla="*/ 355 h 394"/>
              <a:gd name="T60" fmla="*/ 435 w 771"/>
              <a:gd name="T61" fmla="*/ 347 h 394"/>
              <a:gd name="T62" fmla="*/ 428 w 771"/>
              <a:gd name="T63" fmla="*/ 340 h 394"/>
              <a:gd name="T64" fmla="*/ 407 w 771"/>
              <a:gd name="T65" fmla="*/ 345 h 394"/>
              <a:gd name="T66" fmla="*/ 394 w 771"/>
              <a:gd name="T67" fmla="*/ 343 h 394"/>
              <a:gd name="T68" fmla="*/ 384 w 771"/>
              <a:gd name="T69" fmla="*/ 338 h 394"/>
              <a:gd name="T70" fmla="*/ 362 w 771"/>
              <a:gd name="T71" fmla="*/ 334 h 394"/>
              <a:gd name="T72" fmla="*/ 347 w 771"/>
              <a:gd name="T73" fmla="*/ 332 h 394"/>
              <a:gd name="T74" fmla="*/ 335 w 771"/>
              <a:gd name="T75" fmla="*/ 330 h 394"/>
              <a:gd name="T76" fmla="*/ 335 w 771"/>
              <a:gd name="T77" fmla="*/ 315 h 394"/>
              <a:gd name="T78" fmla="*/ 322 w 771"/>
              <a:gd name="T79" fmla="*/ 304 h 394"/>
              <a:gd name="T80" fmla="*/ 316 w 771"/>
              <a:gd name="T81" fmla="*/ 309 h 394"/>
              <a:gd name="T82" fmla="*/ 303 w 771"/>
              <a:gd name="T83" fmla="*/ 306 h 394"/>
              <a:gd name="T84" fmla="*/ 288 w 771"/>
              <a:gd name="T85" fmla="*/ 306 h 394"/>
              <a:gd name="T86" fmla="*/ 269 w 771"/>
              <a:gd name="T87" fmla="*/ 287 h 394"/>
              <a:gd name="T88" fmla="*/ 262 w 771"/>
              <a:gd name="T89" fmla="*/ 274 h 394"/>
              <a:gd name="T90" fmla="*/ 260 w 771"/>
              <a:gd name="T91" fmla="*/ 68 h 394"/>
              <a:gd name="T92" fmla="*/ 215 w 771"/>
              <a:gd name="T93" fmla="*/ 68 h 394"/>
              <a:gd name="T94" fmla="*/ 0 w 771"/>
              <a:gd name="T95" fmla="*/ 5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1" h="394">
                <a:moveTo>
                  <a:pt x="0" y="55"/>
                </a:moveTo>
                <a:lnTo>
                  <a:pt x="2" y="0"/>
                </a:lnTo>
                <a:lnTo>
                  <a:pt x="90" y="4"/>
                </a:lnTo>
                <a:lnTo>
                  <a:pt x="232" y="10"/>
                </a:lnTo>
                <a:lnTo>
                  <a:pt x="435" y="15"/>
                </a:lnTo>
                <a:lnTo>
                  <a:pt x="637" y="15"/>
                </a:lnTo>
                <a:lnTo>
                  <a:pt x="748" y="15"/>
                </a:lnTo>
                <a:lnTo>
                  <a:pt x="750" y="70"/>
                </a:lnTo>
                <a:lnTo>
                  <a:pt x="765" y="166"/>
                </a:lnTo>
                <a:lnTo>
                  <a:pt x="769" y="196"/>
                </a:lnTo>
                <a:lnTo>
                  <a:pt x="771" y="394"/>
                </a:lnTo>
                <a:lnTo>
                  <a:pt x="750" y="389"/>
                </a:lnTo>
                <a:lnTo>
                  <a:pt x="744" y="383"/>
                </a:lnTo>
                <a:lnTo>
                  <a:pt x="735" y="381"/>
                </a:lnTo>
                <a:lnTo>
                  <a:pt x="722" y="370"/>
                </a:lnTo>
                <a:lnTo>
                  <a:pt x="705" y="360"/>
                </a:lnTo>
                <a:lnTo>
                  <a:pt x="699" y="360"/>
                </a:lnTo>
                <a:lnTo>
                  <a:pt x="695" y="368"/>
                </a:lnTo>
                <a:lnTo>
                  <a:pt x="690" y="370"/>
                </a:lnTo>
                <a:lnTo>
                  <a:pt x="682" y="370"/>
                </a:lnTo>
                <a:lnTo>
                  <a:pt x="678" y="368"/>
                </a:lnTo>
                <a:lnTo>
                  <a:pt x="669" y="362"/>
                </a:lnTo>
                <a:lnTo>
                  <a:pt x="656" y="368"/>
                </a:lnTo>
                <a:lnTo>
                  <a:pt x="650" y="372"/>
                </a:lnTo>
                <a:lnTo>
                  <a:pt x="641" y="372"/>
                </a:lnTo>
                <a:lnTo>
                  <a:pt x="635" y="368"/>
                </a:lnTo>
                <a:lnTo>
                  <a:pt x="629" y="372"/>
                </a:lnTo>
                <a:lnTo>
                  <a:pt x="620" y="372"/>
                </a:lnTo>
                <a:lnTo>
                  <a:pt x="611" y="383"/>
                </a:lnTo>
                <a:lnTo>
                  <a:pt x="603" y="383"/>
                </a:lnTo>
                <a:lnTo>
                  <a:pt x="601" y="389"/>
                </a:lnTo>
                <a:lnTo>
                  <a:pt x="594" y="383"/>
                </a:lnTo>
                <a:lnTo>
                  <a:pt x="586" y="381"/>
                </a:lnTo>
                <a:lnTo>
                  <a:pt x="580" y="377"/>
                </a:lnTo>
                <a:lnTo>
                  <a:pt x="573" y="368"/>
                </a:lnTo>
                <a:lnTo>
                  <a:pt x="567" y="368"/>
                </a:lnTo>
                <a:lnTo>
                  <a:pt x="560" y="372"/>
                </a:lnTo>
                <a:lnTo>
                  <a:pt x="554" y="370"/>
                </a:lnTo>
                <a:lnTo>
                  <a:pt x="548" y="364"/>
                </a:lnTo>
                <a:lnTo>
                  <a:pt x="541" y="362"/>
                </a:lnTo>
                <a:lnTo>
                  <a:pt x="539" y="362"/>
                </a:lnTo>
                <a:lnTo>
                  <a:pt x="537" y="368"/>
                </a:lnTo>
                <a:lnTo>
                  <a:pt x="531" y="372"/>
                </a:lnTo>
                <a:lnTo>
                  <a:pt x="526" y="385"/>
                </a:lnTo>
                <a:lnTo>
                  <a:pt x="522" y="387"/>
                </a:lnTo>
                <a:lnTo>
                  <a:pt x="520" y="385"/>
                </a:lnTo>
                <a:lnTo>
                  <a:pt x="518" y="377"/>
                </a:lnTo>
                <a:lnTo>
                  <a:pt x="520" y="370"/>
                </a:lnTo>
                <a:lnTo>
                  <a:pt x="514" y="370"/>
                </a:lnTo>
                <a:lnTo>
                  <a:pt x="501" y="375"/>
                </a:lnTo>
                <a:lnTo>
                  <a:pt x="494" y="375"/>
                </a:lnTo>
                <a:lnTo>
                  <a:pt x="492" y="368"/>
                </a:lnTo>
                <a:lnTo>
                  <a:pt x="484" y="368"/>
                </a:lnTo>
                <a:lnTo>
                  <a:pt x="482" y="360"/>
                </a:lnTo>
                <a:lnTo>
                  <a:pt x="475" y="358"/>
                </a:lnTo>
                <a:lnTo>
                  <a:pt x="462" y="368"/>
                </a:lnTo>
                <a:lnTo>
                  <a:pt x="456" y="372"/>
                </a:lnTo>
                <a:lnTo>
                  <a:pt x="450" y="370"/>
                </a:lnTo>
                <a:lnTo>
                  <a:pt x="450" y="360"/>
                </a:lnTo>
                <a:lnTo>
                  <a:pt x="448" y="355"/>
                </a:lnTo>
                <a:lnTo>
                  <a:pt x="439" y="355"/>
                </a:lnTo>
                <a:lnTo>
                  <a:pt x="435" y="347"/>
                </a:lnTo>
                <a:lnTo>
                  <a:pt x="437" y="340"/>
                </a:lnTo>
                <a:lnTo>
                  <a:pt x="428" y="340"/>
                </a:lnTo>
                <a:lnTo>
                  <a:pt x="413" y="340"/>
                </a:lnTo>
                <a:lnTo>
                  <a:pt x="407" y="345"/>
                </a:lnTo>
                <a:lnTo>
                  <a:pt x="399" y="347"/>
                </a:lnTo>
                <a:lnTo>
                  <a:pt x="394" y="343"/>
                </a:lnTo>
                <a:lnTo>
                  <a:pt x="390" y="338"/>
                </a:lnTo>
                <a:lnTo>
                  <a:pt x="384" y="338"/>
                </a:lnTo>
                <a:lnTo>
                  <a:pt x="375" y="338"/>
                </a:lnTo>
                <a:lnTo>
                  <a:pt x="362" y="334"/>
                </a:lnTo>
                <a:lnTo>
                  <a:pt x="354" y="330"/>
                </a:lnTo>
                <a:lnTo>
                  <a:pt x="347" y="332"/>
                </a:lnTo>
                <a:lnTo>
                  <a:pt x="343" y="330"/>
                </a:lnTo>
                <a:lnTo>
                  <a:pt x="335" y="330"/>
                </a:lnTo>
                <a:lnTo>
                  <a:pt x="335" y="321"/>
                </a:lnTo>
                <a:lnTo>
                  <a:pt x="335" y="315"/>
                </a:lnTo>
                <a:lnTo>
                  <a:pt x="328" y="309"/>
                </a:lnTo>
                <a:lnTo>
                  <a:pt x="322" y="304"/>
                </a:lnTo>
                <a:lnTo>
                  <a:pt x="320" y="300"/>
                </a:lnTo>
                <a:lnTo>
                  <a:pt x="316" y="309"/>
                </a:lnTo>
                <a:lnTo>
                  <a:pt x="309" y="309"/>
                </a:lnTo>
                <a:lnTo>
                  <a:pt x="303" y="306"/>
                </a:lnTo>
                <a:lnTo>
                  <a:pt x="294" y="311"/>
                </a:lnTo>
                <a:lnTo>
                  <a:pt x="288" y="306"/>
                </a:lnTo>
                <a:lnTo>
                  <a:pt x="275" y="291"/>
                </a:lnTo>
                <a:lnTo>
                  <a:pt x="269" y="287"/>
                </a:lnTo>
                <a:lnTo>
                  <a:pt x="260" y="285"/>
                </a:lnTo>
                <a:lnTo>
                  <a:pt x="262" y="274"/>
                </a:lnTo>
                <a:lnTo>
                  <a:pt x="269" y="72"/>
                </a:lnTo>
                <a:lnTo>
                  <a:pt x="260" y="68"/>
                </a:lnTo>
                <a:lnTo>
                  <a:pt x="252" y="68"/>
                </a:lnTo>
                <a:lnTo>
                  <a:pt x="215" y="68"/>
                </a:lnTo>
                <a:lnTo>
                  <a:pt x="122" y="64"/>
                </a:lnTo>
                <a:lnTo>
                  <a:pt x="0" y="55"/>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dirty="0">
                <a:solidFill>
                  <a:schemeClr val="bg1"/>
                </a:solidFill>
              </a:rPr>
              <a:t>            </a:t>
            </a:r>
            <a:r>
              <a:rPr lang="en-US" sz="1000" b="1" dirty="0">
                <a:solidFill>
                  <a:schemeClr val="bg1"/>
                </a:solidFill>
              </a:rPr>
              <a:t>Okla.</a:t>
            </a:r>
          </a:p>
        </p:txBody>
      </p:sp>
      <p:sp>
        <p:nvSpPr>
          <p:cNvPr id="325" name="Freeform 701"/>
          <p:cNvSpPr>
            <a:spLocks noChangeAspect="1"/>
          </p:cNvSpPr>
          <p:nvPr/>
        </p:nvSpPr>
        <p:spPr bwMode="auto">
          <a:xfrm>
            <a:off x="3902487" y="3605603"/>
            <a:ext cx="940117" cy="502921"/>
          </a:xfrm>
          <a:custGeom>
            <a:avLst/>
            <a:gdLst>
              <a:gd name="T0" fmla="*/ 0 w 658"/>
              <a:gd name="T1" fmla="*/ 341 h 352"/>
              <a:gd name="T2" fmla="*/ 17 w 658"/>
              <a:gd name="T3" fmla="*/ 0 h 352"/>
              <a:gd name="T4" fmla="*/ 125 w 658"/>
              <a:gd name="T5" fmla="*/ 7 h 352"/>
              <a:gd name="T6" fmla="*/ 336 w 658"/>
              <a:gd name="T7" fmla="*/ 13 h 352"/>
              <a:gd name="T8" fmla="*/ 447 w 658"/>
              <a:gd name="T9" fmla="*/ 13 h 352"/>
              <a:gd name="T10" fmla="*/ 590 w 658"/>
              <a:gd name="T11" fmla="*/ 11 h 352"/>
              <a:gd name="T12" fmla="*/ 611 w 658"/>
              <a:gd name="T13" fmla="*/ 26 h 352"/>
              <a:gd name="T14" fmla="*/ 617 w 658"/>
              <a:gd name="T15" fmla="*/ 21 h 352"/>
              <a:gd name="T16" fmla="*/ 624 w 658"/>
              <a:gd name="T17" fmla="*/ 24 h 352"/>
              <a:gd name="T18" fmla="*/ 628 w 658"/>
              <a:gd name="T19" fmla="*/ 32 h 352"/>
              <a:gd name="T20" fmla="*/ 630 w 658"/>
              <a:gd name="T21" fmla="*/ 39 h 352"/>
              <a:gd name="T22" fmla="*/ 628 w 658"/>
              <a:gd name="T23" fmla="*/ 41 h 352"/>
              <a:gd name="T24" fmla="*/ 622 w 658"/>
              <a:gd name="T25" fmla="*/ 41 h 352"/>
              <a:gd name="T26" fmla="*/ 617 w 658"/>
              <a:gd name="T27" fmla="*/ 47 h 352"/>
              <a:gd name="T28" fmla="*/ 609 w 658"/>
              <a:gd name="T29" fmla="*/ 60 h 352"/>
              <a:gd name="T30" fmla="*/ 613 w 658"/>
              <a:gd name="T31" fmla="*/ 66 h 352"/>
              <a:gd name="T32" fmla="*/ 619 w 658"/>
              <a:gd name="T33" fmla="*/ 75 h 352"/>
              <a:gd name="T34" fmla="*/ 628 w 658"/>
              <a:gd name="T35" fmla="*/ 81 h 352"/>
              <a:gd name="T36" fmla="*/ 628 w 658"/>
              <a:gd name="T37" fmla="*/ 87 h 352"/>
              <a:gd name="T38" fmla="*/ 639 w 658"/>
              <a:gd name="T39" fmla="*/ 102 h 352"/>
              <a:gd name="T40" fmla="*/ 645 w 658"/>
              <a:gd name="T41" fmla="*/ 105 h 352"/>
              <a:gd name="T42" fmla="*/ 654 w 658"/>
              <a:gd name="T43" fmla="*/ 111 h 352"/>
              <a:gd name="T44" fmla="*/ 658 w 658"/>
              <a:gd name="T45" fmla="*/ 352 h 352"/>
              <a:gd name="T46" fmla="*/ 547 w 658"/>
              <a:gd name="T47" fmla="*/ 352 h 352"/>
              <a:gd name="T48" fmla="*/ 345 w 658"/>
              <a:gd name="T49" fmla="*/ 352 h 352"/>
              <a:gd name="T50" fmla="*/ 142 w 658"/>
              <a:gd name="T51" fmla="*/ 347 h 352"/>
              <a:gd name="T52" fmla="*/ 0 w 658"/>
              <a:gd name="T53" fmla="*/ 34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8" h="352">
                <a:moveTo>
                  <a:pt x="0" y="341"/>
                </a:moveTo>
                <a:lnTo>
                  <a:pt x="17" y="0"/>
                </a:lnTo>
                <a:lnTo>
                  <a:pt x="125" y="7"/>
                </a:lnTo>
                <a:lnTo>
                  <a:pt x="336" y="13"/>
                </a:lnTo>
                <a:lnTo>
                  <a:pt x="447" y="13"/>
                </a:lnTo>
                <a:lnTo>
                  <a:pt x="590" y="11"/>
                </a:lnTo>
                <a:lnTo>
                  <a:pt x="611" y="26"/>
                </a:lnTo>
                <a:lnTo>
                  <a:pt x="617" y="21"/>
                </a:lnTo>
                <a:lnTo>
                  <a:pt x="624" y="24"/>
                </a:lnTo>
                <a:lnTo>
                  <a:pt x="628" y="32"/>
                </a:lnTo>
                <a:lnTo>
                  <a:pt x="630" y="39"/>
                </a:lnTo>
                <a:lnTo>
                  <a:pt x="628" y="41"/>
                </a:lnTo>
                <a:lnTo>
                  <a:pt x="622" y="41"/>
                </a:lnTo>
                <a:lnTo>
                  <a:pt x="617" y="47"/>
                </a:lnTo>
                <a:lnTo>
                  <a:pt x="609" y="60"/>
                </a:lnTo>
                <a:lnTo>
                  <a:pt x="613" y="66"/>
                </a:lnTo>
                <a:lnTo>
                  <a:pt x="619" y="75"/>
                </a:lnTo>
                <a:lnTo>
                  <a:pt x="628" y="81"/>
                </a:lnTo>
                <a:lnTo>
                  <a:pt x="628" y="87"/>
                </a:lnTo>
                <a:lnTo>
                  <a:pt x="639" y="102"/>
                </a:lnTo>
                <a:lnTo>
                  <a:pt x="645" y="105"/>
                </a:lnTo>
                <a:lnTo>
                  <a:pt x="654" y="111"/>
                </a:lnTo>
                <a:lnTo>
                  <a:pt x="658" y="352"/>
                </a:lnTo>
                <a:lnTo>
                  <a:pt x="547" y="352"/>
                </a:lnTo>
                <a:lnTo>
                  <a:pt x="345" y="352"/>
                </a:lnTo>
                <a:lnTo>
                  <a:pt x="142" y="347"/>
                </a:lnTo>
                <a:lnTo>
                  <a:pt x="0" y="341"/>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Kan</a:t>
            </a:r>
            <a:r>
              <a:rPr lang="en-US" sz="1000" dirty="0">
                <a:solidFill>
                  <a:schemeClr val="bg1"/>
                </a:solidFill>
              </a:rPr>
              <a:t>.</a:t>
            </a:r>
          </a:p>
        </p:txBody>
      </p:sp>
      <p:sp>
        <p:nvSpPr>
          <p:cNvPr id="326" name="Freeform 706"/>
          <p:cNvSpPr>
            <a:spLocks noChangeAspect="1"/>
          </p:cNvSpPr>
          <p:nvPr/>
        </p:nvSpPr>
        <p:spPr bwMode="auto">
          <a:xfrm>
            <a:off x="7932059" y="3490861"/>
            <a:ext cx="8573" cy="30006"/>
          </a:xfrm>
          <a:custGeom>
            <a:avLst/>
            <a:gdLst>
              <a:gd name="T0" fmla="*/ 0 w 6"/>
              <a:gd name="T1" fmla="*/ 21 h 21"/>
              <a:gd name="T2" fmla="*/ 6 w 6"/>
              <a:gd name="T3" fmla="*/ 6 h 21"/>
              <a:gd name="T4" fmla="*/ 6 w 6"/>
              <a:gd name="T5" fmla="*/ 0 h 21"/>
              <a:gd name="T6" fmla="*/ 0 w 6"/>
              <a:gd name="T7" fmla="*/ 21 h 21"/>
            </a:gdLst>
            <a:ahLst/>
            <a:cxnLst>
              <a:cxn ang="0">
                <a:pos x="T0" y="T1"/>
              </a:cxn>
              <a:cxn ang="0">
                <a:pos x="T2" y="T3"/>
              </a:cxn>
              <a:cxn ang="0">
                <a:pos x="T4" y="T5"/>
              </a:cxn>
              <a:cxn ang="0">
                <a:pos x="T6" y="T7"/>
              </a:cxn>
            </a:cxnLst>
            <a:rect l="0" t="0" r="r" b="b"/>
            <a:pathLst>
              <a:path w="6" h="21">
                <a:moveTo>
                  <a:pt x="0" y="21"/>
                </a:moveTo>
                <a:lnTo>
                  <a:pt x="6" y="6"/>
                </a:lnTo>
                <a:lnTo>
                  <a:pt x="6" y="0"/>
                </a:lnTo>
                <a:lnTo>
                  <a:pt x="0" y="2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7" name="Freeform 707"/>
          <p:cNvSpPr>
            <a:spLocks noChangeAspect="1"/>
          </p:cNvSpPr>
          <p:nvPr/>
        </p:nvSpPr>
        <p:spPr bwMode="auto">
          <a:xfrm>
            <a:off x="7932059" y="3490861"/>
            <a:ext cx="8573" cy="30006"/>
          </a:xfrm>
          <a:custGeom>
            <a:avLst/>
            <a:gdLst>
              <a:gd name="T0" fmla="*/ 0 w 6"/>
              <a:gd name="T1" fmla="*/ 21 h 21"/>
              <a:gd name="T2" fmla="*/ 6 w 6"/>
              <a:gd name="T3" fmla="*/ 6 h 21"/>
              <a:gd name="T4" fmla="*/ 6 w 6"/>
              <a:gd name="T5" fmla="*/ 0 h 21"/>
              <a:gd name="T6" fmla="*/ 0 w 6"/>
              <a:gd name="T7" fmla="*/ 21 h 21"/>
            </a:gdLst>
            <a:ahLst/>
            <a:cxnLst>
              <a:cxn ang="0">
                <a:pos x="T0" y="T1"/>
              </a:cxn>
              <a:cxn ang="0">
                <a:pos x="T2" y="T3"/>
              </a:cxn>
              <a:cxn ang="0">
                <a:pos x="T4" y="T5"/>
              </a:cxn>
              <a:cxn ang="0">
                <a:pos x="T6" y="T7"/>
              </a:cxn>
            </a:cxnLst>
            <a:rect l="0" t="0" r="r" b="b"/>
            <a:pathLst>
              <a:path w="6" h="21">
                <a:moveTo>
                  <a:pt x="0" y="21"/>
                </a:moveTo>
                <a:lnTo>
                  <a:pt x="6" y="6"/>
                </a:lnTo>
                <a:lnTo>
                  <a:pt x="6" y="0"/>
                </a:lnTo>
                <a:lnTo>
                  <a:pt x="0" y="21"/>
                </a:lnTo>
              </a:path>
            </a:pathLst>
          </a:custGeom>
          <a:solidFill>
            <a:schemeClr val="bg2"/>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28" name="Freeform 709"/>
          <p:cNvSpPr>
            <a:spLocks noChangeAspect="1"/>
          </p:cNvSpPr>
          <p:nvPr/>
        </p:nvSpPr>
        <p:spPr bwMode="auto">
          <a:xfrm>
            <a:off x="4514957" y="2110149"/>
            <a:ext cx="832962" cy="942975"/>
          </a:xfrm>
          <a:custGeom>
            <a:avLst/>
            <a:gdLst>
              <a:gd name="T0" fmla="*/ 155 w 583"/>
              <a:gd name="T1" fmla="*/ 42 h 660"/>
              <a:gd name="T2" fmla="*/ 162 w 583"/>
              <a:gd name="T3" fmla="*/ 2 h 660"/>
              <a:gd name="T4" fmla="*/ 185 w 583"/>
              <a:gd name="T5" fmla="*/ 31 h 660"/>
              <a:gd name="T6" fmla="*/ 198 w 583"/>
              <a:gd name="T7" fmla="*/ 70 h 660"/>
              <a:gd name="T8" fmla="*/ 226 w 583"/>
              <a:gd name="T9" fmla="*/ 78 h 660"/>
              <a:gd name="T10" fmla="*/ 266 w 583"/>
              <a:gd name="T11" fmla="*/ 93 h 660"/>
              <a:gd name="T12" fmla="*/ 294 w 583"/>
              <a:gd name="T13" fmla="*/ 80 h 660"/>
              <a:gd name="T14" fmla="*/ 304 w 583"/>
              <a:gd name="T15" fmla="*/ 78 h 660"/>
              <a:gd name="T16" fmla="*/ 347 w 583"/>
              <a:gd name="T17" fmla="*/ 98 h 660"/>
              <a:gd name="T18" fmla="*/ 362 w 583"/>
              <a:gd name="T19" fmla="*/ 110 h 660"/>
              <a:gd name="T20" fmla="*/ 377 w 583"/>
              <a:gd name="T21" fmla="*/ 108 h 660"/>
              <a:gd name="T22" fmla="*/ 398 w 583"/>
              <a:gd name="T23" fmla="*/ 115 h 660"/>
              <a:gd name="T24" fmla="*/ 434 w 583"/>
              <a:gd name="T25" fmla="*/ 136 h 660"/>
              <a:gd name="T26" fmla="*/ 464 w 583"/>
              <a:gd name="T27" fmla="*/ 123 h 660"/>
              <a:gd name="T28" fmla="*/ 485 w 583"/>
              <a:gd name="T29" fmla="*/ 119 h 660"/>
              <a:gd name="T30" fmla="*/ 498 w 583"/>
              <a:gd name="T31" fmla="*/ 127 h 660"/>
              <a:gd name="T32" fmla="*/ 528 w 583"/>
              <a:gd name="T33" fmla="*/ 123 h 660"/>
              <a:gd name="T34" fmla="*/ 551 w 583"/>
              <a:gd name="T35" fmla="*/ 132 h 660"/>
              <a:gd name="T36" fmla="*/ 583 w 583"/>
              <a:gd name="T37" fmla="*/ 132 h 660"/>
              <a:gd name="T38" fmla="*/ 562 w 583"/>
              <a:gd name="T39" fmla="*/ 146 h 660"/>
              <a:gd name="T40" fmla="*/ 517 w 583"/>
              <a:gd name="T41" fmla="*/ 168 h 660"/>
              <a:gd name="T42" fmla="*/ 460 w 583"/>
              <a:gd name="T43" fmla="*/ 219 h 660"/>
              <a:gd name="T44" fmla="*/ 430 w 583"/>
              <a:gd name="T45" fmla="*/ 253 h 660"/>
              <a:gd name="T46" fmla="*/ 398 w 583"/>
              <a:gd name="T47" fmla="*/ 283 h 660"/>
              <a:gd name="T48" fmla="*/ 389 w 583"/>
              <a:gd name="T49" fmla="*/ 293 h 660"/>
              <a:gd name="T50" fmla="*/ 385 w 583"/>
              <a:gd name="T51" fmla="*/ 359 h 660"/>
              <a:gd name="T52" fmla="*/ 353 w 583"/>
              <a:gd name="T53" fmla="*/ 383 h 660"/>
              <a:gd name="T54" fmla="*/ 343 w 583"/>
              <a:gd name="T55" fmla="*/ 404 h 660"/>
              <a:gd name="T56" fmla="*/ 353 w 583"/>
              <a:gd name="T57" fmla="*/ 421 h 660"/>
              <a:gd name="T58" fmla="*/ 355 w 583"/>
              <a:gd name="T59" fmla="*/ 468 h 660"/>
              <a:gd name="T60" fmla="*/ 355 w 583"/>
              <a:gd name="T61" fmla="*/ 502 h 660"/>
              <a:gd name="T62" fmla="*/ 370 w 583"/>
              <a:gd name="T63" fmla="*/ 526 h 660"/>
              <a:gd name="T64" fmla="*/ 396 w 583"/>
              <a:gd name="T65" fmla="*/ 538 h 660"/>
              <a:gd name="T66" fmla="*/ 424 w 583"/>
              <a:gd name="T67" fmla="*/ 553 h 660"/>
              <a:gd name="T68" fmla="*/ 453 w 583"/>
              <a:gd name="T69" fmla="*/ 585 h 660"/>
              <a:gd name="T70" fmla="*/ 475 w 583"/>
              <a:gd name="T71" fmla="*/ 598 h 660"/>
              <a:gd name="T72" fmla="*/ 485 w 583"/>
              <a:gd name="T73" fmla="*/ 634 h 660"/>
              <a:gd name="T74" fmla="*/ 404 w 583"/>
              <a:gd name="T75" fmla="*/ 649 h 660"/>
              <a:gd name="T76" fmla="*/ 64 w 583"/>
              <a:gd name="T77" fmla="*/ 660 h 660"/>
              <a:gd name="T78" fmla="*/ 51 w 583"/>
              <a:gd name="T79" fmla="*/ 445 h 660"/>
              <a:gd name="T80" fmla="*/ 30 w 583"/>
              <a:gd name="T81" fmla="*/ 423 h 660"/>
              <a:gd name="T82" fmla="*/ 45 w 583"/>
              <a:gd name="T83" fmla="*/ 406 h 660"/>
              <a:gd name="T84" fmla="*/ 53 w 583"/>
              <a:gd name="T85" fmla="*/ 377 h 660"/>
              <a:gd name="T86" fmla="*/ 51 w 583"/>
              <a:gd name="T87" fmla="*/ 349 h 660"/>
              <a:gd name="T88" fmla="*/ 38 w 583"/>
              <a:gd name="T89" fmla="*/ 321 h 660"/>
              <a:gd name="T90" fmla="*/ 34 w 583"/>
              <a:gd name="T91" fmla="*/ 281 h 660"/>
              <a:gd name="T92" fmla="*/ 32 w 583"/>
              <a:gd name="T93" fmla="*/ 255 h 660"/>
              <a:gd name="T94" fmla="*/ 27 w 583"/>
              <a:gd name="T95" fmla="*/ 219 h 660"/>
              <a:gd name="T96" fmla="*/ 25 w 583"/>
              <a:gd name="T97" fmla="*/ 189 h 660"/>
              <a:gd name="T98" fmla="*/ 10 w 583"/>
              <a:gd name="T99" fmla="*/ 140 h 660"/>
              <a:gd name="T100" fmla="*/ 8 w 583"/>
              <a:gd name="T101" fmla="*/ 115 h 660"/>
              <a:gd name="T102" fmla="*/ 10 w 583"/>
              <a:gd name="T103" fmla="*/ 80 h 660"/>
              <a:gd name="T104" fmla="*/ 0 w 583"/>
              <a:gd name="T105" fmla="*/ 4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3" h="660">
                <a:moveTo>
                  <a:pt x="2" y="42"/>
                </a:moveTo>
                <a:lnTo>
                  <a:pt x="98" y="42"/>
                </a:lnTo>
                <a:lnTo>
                  <a:pt x="155" y="42"/>
                </a:lnTo>
                <a:lnTo>
                  <a:pt x="157" y="34"/>
                </a:lnTo>
                <a:lnTo>
                  <a:pt x="155" y="0"/>
                </a:lnTo>
                <a:lnTo>
                  <a:pt x="162" y="2"/>
                </a:lnTo>
                <a:lnTo>
                  <a:pt x="174" y="4"/>
                </a:lnTo>
                <a:lnTo>
                  <a:pt x="181" y="10"/>
                </a:lnTo>
                <a:lnTo>
                  <a:pt x="185" y="31"/>
                </a:lnTo>
                <a:lnTo>
                  <a:pt x="191" y="53"/>
                </a:lnTo>
                <a:lnTo>
                  <a:pt x="191" y="63"/>
                </a:lnTo>
                <a:lnTo>
                  <a:pt x="198" y="70"/>
                </a:lnTo>
                <a:lnTo>
                  <a:pt x="204" y="74"/>
                </a:lnTo>
                <a:lnTo>
                  <a:pt x="219" y="74"/>
                </a:lnTo>
                <a:lnTo>
                  <a:pt x="226" y="78"/>
                </a:lnTo>
                <a:lnTo>
                  <a:pt x="257" y="83"/>
                </a:lnTo>
                <a:lnTo>
                  <a:pt x="260" y="89"/>
                </a:lnTo>
                <a:lnTo>
                  <a:pt x="266" y="93"/>
                </a:lnTo>
                <a:lnTo>
                  <a:pt x="285" y="89"/>
                </a:lnTo>
                <a:lnTo>
                  <a:pt x="289" y="83"/>
                </a:lnTo>
                <a:lnTo>
                  <a:pt x="294" y="80"/>
                </a:lnTo>
                <a:lnTo>
                  <a:pt x="296" y="80"/>
                </a:lnTo>
                <a:lnTo>
                  <a:pt x="298" y="78"/>
                </a:lnTo>
                <a:lnTo>
                  <a:pt x="304" y="78"/>
                </a:lnTo>
                <a:lnTo>
                  <a:pt x="321" y="78"/>
                </a:lnTo>
                <a:lnTo>
                  <a:pt x="349" y="89"/>
                </a:lnTo>
                <a:lnTo>
                  <a:pt x="347" y="98"/>
                </a:lnTo>
                <a:lnTo>
                  <a:pt x="355" y="98"/>
                </a:lnTo>
                <a:lnTo>
                  <a:pt x="362" y="104"/>
                </a:lnTo>
                <a:lnTo>
                  <a:pt x="362" y="110"/>
                </a:lnTo>
                <a:lnTo>
                  <a:pt x="366" y="115"/>
                </a:lnTo>
                <a:lnTo>
                  <a:pt x="375" y="119"/>
                </a:lnTo>
                <a:lnTo>
                  <a:pt x="377" y="108"/>
                </a:lnTo>
                <a:lnTo>
                  <a:pt x="387" y="106"/>
                </a:lnTo>
                <a:lnTo>
                  <a:pt x="396" y="108"/>
                </a:lnTo>
                <a:lnTo>
                  <a:pt x="398" y="115"/>
                </a:lnTo>
                <a:lnTo>
                  <a:pt x="419" y="123"/>
                </a:lnTo>
                <a:lnTo>
                  <a:pt x="419" y="129"/>
                </a:lnTo>
                <a:lnTo>
                  <a:pt x="434" y="136"/>
                </a:lnTo>
                <a:lnTo>
                  <a:pt x="443" y="138"/>
                </a:lnTo>
                <a:lnTo>
                  <a:pt x="458" y="132"/>
                </a:lnTo>
                <a:lnTo>
                  <a:pt x="464" y="123"/>
                </a:lnTo>
                <a:lnTo>
                  <a:pt x="479" y="115"/>
                </a:lnTo>
                <a:lnTo>
                  <a:pt x="485" y="112"/>
                </a:lnTo>
                <a:lnTo>
                  <a:pt x="485" y="119"/>
                </a:lnTo>
                <a:lnTo>
                  <a:pt x="490" y="121"/>
                </a:lnTo>
                <a:lnTo>
                  <a:pt x="492" y="127"/>
                </a:lnTo>
                <a:lnTo>
                  <a:pt x="498" y="127"/>
                </a:lnTo>
                <a:lnTo>
                  <a:pt x="507" y="125"/>
                </a:lnTo>
                <a:lnTo>
                  <a:pt x="521" y="125"/>
                </a:lnTo>
                <a:lnTo>
                  <a:pt x="528" y="123"/>
                </a:lnTo>
                <a:lnTo>
                  <a:pt x="543" y="123"/>
                </a:lnTo>
                <a:lnTo>
                  <a:pt x="549" y="129"/>
                </a:lnTo>
                <a:lnTo>
                  <a:pt x="551" y="132"/>
                </a:lnTo>
                <a:lnTo>
                  <a:pt x="558" y="136"/>
                </a:lnTo>
                <a:lnTo>
                  <a:pt x="564" y="132"/>
                </a:lnTo>
                <a:lnTo>
                  <a:pt x="583" y="132"/>
                </a:lnTo>
                <a:lnTo>
                  <a:pt x="575" y="136"/>
                </a:lnTo>
                <a:lnTo>
                  <a:pt x="568" y="142"/>
                </a:lnTo>
                <a:lnTo>
                  <a:pt x="562" y="146"/>
                </a:lnTo>
                <a:lnTo>
                  <a:pt x="539" y="159"/>
                </a:lnTo>
                <a:lnTo>
                  <a:pt x="530" y="161"/>
                </a:lnTo>
                <a:lnTo>
                  <a:pt x="517" y="168"/>
                </a:lnTo>
                <a:lnTo>
                  <a:pt x="494" y="181"/>
                </a:lnTo>
                <a:lnTo>
                  <a:pt x="468" y="208"/>
                </a:lnTo>
                <a:lnTo>
                  <a:pt x="460" y="219"/>
                </a:lnTo>
                <a:lnTo>
                  <a:pt x="441" y="240"/>
                </a:lnTo>
                <a:lnTo>
                  <a:pt x="434" y="247"/>
                </a:lnTo>
                <a:lnTo>
                  <a:pt x="430" y="253"/>
                </a:lnTo>
                <a:lnTo>
                  <a:pt x="421" y="259"/>
                </a:lnTo>
                <a:lnTo>
                  <a:pt x="400" y="276"/>
                </a:lnTo>
                <a:lnTo>
                  <a:pt x="398" y="283"/>
                </a:lnTo>
                <a:lnTo>
                  <a:pt x="394" y="285"/>
                </a:lnTo>
                <a:lnTo>
                  <a:pt x="394" y="287"/>
                </a:lnTo>
                <a:lnTo>
                  <a:pt x="389" y="293"/>
                </a:lnTo>
                <a:lnTo>
                  <a:pt x="383" y="293"/>
                </a:lnTo>
                <a:lnTo>
                  <a:pt x="387" y="351"/>
                </a:lnTo>
                <a:lnTo>
                  <a:pt x="385" y="359"/>
                </a:lnTo>
                <a:lnTo>
                  <a:pt x="381" y="366"/>
                </a:lnTo>
                <a:lnTo>
                  <a:pt x="368" y="374"/>
                </a:lnTo>
                <a:lnTo>
                  <a:pt x="353" y="383"/>
                </a:lnTo>
                <a:lnTo>
                  <a:pt x="351" y="391"/>
                </a:lnTo>
                <a:lnTo>
                  <a:pt x="347" y="398"/>
                </a:lnTo>
                <a:lnTo>
                  <a:pt x="343" y="404"/>
                </a:lnTo>
                <a:lnTo>
                  <a:pt x="343" y="413"/>
                </a:lnTo>
                <a:lnTo>
                  <a:pt x="347" y="419"/>
                </a:lnTo>
                <a:lnTo>
                  <a:pt x="353" y="421"/>
                </a:lnTo>
                <a:lnTo>
                  <a:pt x="362" y="436"/>
                </a:lnTo>
                <a:lnTo>
                  <a:pt x="353" y="453"/>
                </a:lnTo>
                <a:lnTo>
                  <a:pt x="355" y="468"/>
                </a:lnTo>
                <a:lnTo>
                  <a:pt x="353" y="474"/>
                </a:lnTo>
                <a:lnTo>
                  <a:pt x="355" y="492"/>
                </a:lnTo>
                <a:lnTo>
                  <a:pt x="355" y="502"/>
                </a:lnTo>
                <a:lnTo>
                  <a:pt x="353" y="511"/>
                </a:lnTo>
                <a:lnTo>
                  <a:pt x="364" y="519"/>
                </a:lnTo>
                <a:lnTo>
                  <a:pt x="370" y="526"/>
                </a:lnTo>
                <a:lnTo>
                  <a:pt x="379" y="530"/>
                </a:lnTo>
                <a:lnTo>
                  <a:pt x="392" y="532"/>
                </a:lnTo>
                <a:lnTo>
                  <a:pt x="396" y="538"/>
                </a:lnTo>
                <a:lnTo>
                  <a:pt x="402" y="543"/>
                </a:lnTo>
                <a:lnTo>
                  <a:pt x="413" y="547"/>
                </a:lnTo>
                <a:lnTo>
                  <a:pt x="424" y="553"/>
                </a:lnTo>
                <a:lnTo>
                  <a:pt x="432" y="568"/>
                </a:lnTo>
                <a:lnTo>
                  <a:pt x="447" y="581"/>
                </a:lnTo>
                <a:lnTo>
                  <a:pt x="453" y="585"/>
                </a:lnTo>
                <a:lnTo>
                  <a:pt x="462" y="587"/>
                </a:lnTo>
                <a:lnTo>
                  <a:pt x="468" y="592"/>
                </a:lnTo>
                <a:lnTo>
                  <a:pt x="475" y="598"/>
                </a:lnTo>
                <a:lnTo>
                  <a:pt x="481" y="609"/>
                </a:lnTo>
                <a:lnTo>
                  <a:pt x="483" y="628"/>
                </a:lnTo>
                <a:lnTo>
                  <a:pt x="485" y="634"/>
                </a:lnTo>
                <a:lnTo>
                  <a:pt x="485" y="638"/>
                </a:lnTo>
                <a:lnTo>
                  <a:pt x="487" y="645"/>
                </a:lnTo>
                <a:lnTo>
                  <a:pt x="404" y="649"/>
                </a:lnTo>
                <a:lnTo>
                  <a:pt x="287" y="656"/>
                </a:lnTo>
                <a:lnTo>
                  <a:pt x="147" y="658"/>
                </a:lnTo>
                <a:lnTo>
                  <a:pt x="64" y="660"/>
                </a:lnTo>
                <a:lnTo>
                  <a:pt x="62" y="457"/>
                </a:lnTo>
                <a:lnTo>
                  <a:pt x="57" y="449"/>
                </a:lnTo>
                <a:lnTo>
                  <a:pt x="51" y="445"/>
                </a:lnTo>
                <a:lnTo>
                  <a:pt x="42" y="445"/>
                </a:lnTo>
                <a:lnTo>
                  <a:pt x="34" y="430"/>
                </a:lnTo>
                <a:lnTo>
                  <a:pt x="30" y="423"/>
                </a:lnTo>
                <a:lnTo>
                  <a:pt x="32" y="417"/>
                </a:lnTo>
                <a:lnTo>
                  <a:pt x="38" y="411"/>
                </a:lnTo>
                <a:lnTo>
                  <a:pt x="45" y="406"/>
                </a:lnTo>
                <a:lnTo>
                  <a:pt x="49" y="400"/>
                </a:lnTo>
                <a:lnTo>
                  <a:pt x="53" y="385"/>
                </a:lnTo>
                <a:lnTo>
                  <a:pt x="53" y="377"/>
                </a:lnTo>
                <a:lnTo>
                  <a:pt x="53" y="370"/>
                </a:lnTo>
                <a:lnTo>
                  <a:pt x="51" y="355"/>
                </a:lnTo>
                <a:lnTo>
                  <a:pt x="51" y="349"/>
                </a:lnTo>
                <a:lnTo>
                  <a:pt x="49" y="340"/>
                </a:lnTo>
                <a:lnTo>
                  <a:pt x="40" y="330"/>
                </a:lnTo>
                <a:lnTo>
                  <a:pt x="38" y="321"/>
                </a:lnTo>
                <a:lnTo>
                  <a:pt x="38" y="315"/>
                </a:lnTo>
                <a:lnTo>
                  <a:pt x="36" y="308"/>
                </a:lnTo>
                <a:lnTo>
                  <a:pt x="34" y="281"/>
                </a:lnTo>
                <a:lnTo>
                  <a:pt x="36" y="274"/>
                </a:lnTo>
                <a:lnTo>
                  <a:pt x="32" y="266"/>
                </a:lnTo>
                <a:lnTo>
                  <a:pt x="32" y="255"/>
                </a:lnTo>
                <a:lnTo>
                  <a:pt x="30" y="240"/>
                </a:lnTo>
                <a:lnTo>
                  <a:pt x="30" y="225"/>
                </a:lnTo>
                <a:lnTo>
                  <a:pt x="27" y="219"/>
                </a:lnTo>
                <a:lnTo>
                  <a:pt x="30" y="213"/>
                </a:lnTo>
                <a:lnTo>
                  <a:pt x="30" y="204"/>
                </a:lnTo>
                <a:lnTo>
                  <a:pt x="25" y="189"/>
                </a:lnTo>
                <a:lnTo>
                  <a:pt x="17" y="168"/>
                </a:lnTo>
                <a:lnTo>
                  <a:pt x="19" y="164"/>
                </a:lnTo>
                <a:lnTo>
                  <a:pt x="10" y="140"/>
                </a:lnTo>
                <a:lnTo>
                  <a:pt x="8" y="132"/>
                </a:lnTo>
                <a:lnTo>
                  <a:pt x="8" y="119"/>
                </a:lnTo>
                <a:lnTo>
                  <a:pt x="8" y="115"/>
                </a:lnTo>
                <a:lnTo>
                  <a:pt x="8" y="108"/>
                </a:lnTo>
                <a:lnTo>
                  <a:pt x="6" y="93"/>
                </a:lnTo>
                <a:lnTo>
                  <a:pt x="10" y="80"/>
                </a:lnTo>
                <a:lnTo>
                  <a:pt x="8" y="74"/>
                </a:lnTo>
                <a:lnTo>
                  <a:pt x="4" y="53"/>
                </a:lnTo>
                <a:lnTo>
                  <a:pt x="0" y="46"/>
                </a:lnTo>
                <a:lnTo>
                  <a:pt x="0" y="46"/>
                </a:lnTo>
                <a:lnTo>
                  <a:pt x="2" y="42"/>
                </a:lnTo>
              </a:path>
            </a:pathLst>
          </a:custGeom>
          <a:solidFill>
            <a:srgbClr val="194196"/>
          </a:solidFill>
          <a:ln w="9525" cap="flat">
            <a:solidFill>
              <a:srgbClr val="FFFFFF"/>
            </a:solidFill>
            <a:prstDash val="solid"/>
            <a:miter lim="800000"/>
            <a:headEnd/>
            <a:tailEnd/>
          </a:ln>
        </p:spPr>
        <p:txBody>
          <a:bodyPr vert="horz" wrap="square" lIns="0" tIns="45720" rIns="91440" bIns="45720" numCol="1" anchor="ctr" anchorCtr="0" compatLnSpc="1">
            <a:prstTxWarp prst="textNoShape">
              <a:avLst/>
            </a:prstTxWarp>
          </a:bodyPr>
          <a:lstStyle/>
          <a:p>
            <a:r>
              <a:rPr lang="en-US" sz="1000" b="1" dirty="0">
                <a:solidFill>
                  <a:schemeClr val="bg1"/>
                </a:solidFill>
              </a:rPr>
              <a:t>    Minn.</a:t>
            </a:r>
          </a:p>
        </p:txBody>
      </p:sp>
      <p:sp>
        <p:nvSpPr>
          <p:cNvPr id="329" name="Freeform 710"/>
          <p:cNvSpPr>
            <a:spLocks noChangeAspect="1"/>
          </p:cNvSpPr>
          <p:nvPr/>
        </p:nvSpPr>
        <p:spPr bwMode="auto">
          <a:xfrm>
            <a:off x="4589236" y="3033676"/>
            <a:ext cx="768667" cy="504348"/>
          </a:xfrm>
          <a:custGeom>
            <a:avLst/>
            <a:gdLst>
              <a:gd name="T0" fmla="*/ 8 w 538"/>
              <a:gd name="T1" fmla="*/ 111 h 353"/>
              <a:gd name="T2" fmla="*/ 0 w 538"/>
              <a:gd name="T3" fmla="*/ 96 h 353"/>
              <a:gd name="T4" fmla="*/ 6 w 538"/>
              <a:gd name="T5" fmla="*/ 89 h 353"/>
              <a:gd name="T6" fmla="*/ 8 w 538"/>
              <a:gd name="T7" fmla="*/ 66 h 353"/>
              <a:gd name="T8" fmla="*/ 13 w 538"/>
              <a:gd name="T9" fmla="*/ 53 h 353"/>
              <a:gd name="T10" fmla="*/ 4 w 538"/>
              <a:gd name="T11" fmla="*/ 38 h 353"/>
              <a:gd name="T12" fmla="*/ 8 w 538"/>
              <a:gd name="T13" fmla="*/ 30 h 353"/>
              <a:gd name="T14" fmla="*/ 2 w 538"/>
              <a:gd name="T15" fmla="*/ 15 h 353"/>
              <a:gd name="T16" fmla="*/ 98 w 538"/>
              <a:gd name="T17" fmla="*/ 13 h 353"/>
              <a:gd name="T18" fmla="*/ 355 w 538"/>
              <a:gd name="T19" fmla="*/ 4 h 353"/>
              <a:gd name="T20" fmla="*/ 438 w 538"/>
              <a:gd name="T21" fmla="*/ 6 h 353"/>
              <a:gd name="T22" fmla="*/ 443 w 538"/>
              <a:gd name="T23" fmla="*/ 17 h 353"/>
              <a:gd name="T24" fmla="*/ 453 w 538"/>
              <a:gd name="T25" fmla="*/ 25 h 353"/>
              <a:gd name="T26" fmla="*/ 449 w 538"/>
              <a:gd name="T27" fmla="*/ 51 h 353"/>
              <a:gd name="T28" fmla="*/ 453 w 538"/>
              <a:gd name="T29" fmla="*/ 70 h 353"/>
              <a:gd name="T30" fmla="*/ 460 w 538"/>
              <a:gd name="T31" fmla="*/ 87 h 353"/>
              <a:gd name="T32" fmla="*/ 487 w 538"/>
              <a:gd name="T33" fmla="*/ 94 h 353"/>
              <a:gd name="T34" fmla="*/ 494 w 538"/>
              <a:gd name="T35" fmla="*/ 111 h 353"/>
              <a:gd name="T36" fmla="*/ 513 w 538"/>
              <a:gd name="T37" fmla="*/ 128 h 353"/>
              <a:gd name="T38" fmla="*/ 521 w 538"/>
              <a:gd name="T39" fmla="*/ 143 h 353"/>
              <a:gd name="T40" fmla="*/ 536 w 538"/>
              <a:gd name="T41" fmla="*/ 153 h 353"/>
              <a:gd name="T42" fmla="*/ 536 w 538"/>
              <a:gd name="T43" fmla="*/ 183 h 353"/>
              <a:gd name="T44" fmla="*/ 526 w 538"/>
              <a:gd name="T45" fmla="*/ 211 h 353"/>
              <a:gd name="T46" fmla="*/ 504 w 538"/>
              <a:gd name="T47" fmla="*/ 224 h 353"/>
              <a:gd name="T48" fmla="*/ 470 w 538"/>
              <a:gd name="T49" fmla="*/ 234 h 353"/>
              <a:gd name="T50" fmla="*/ 464 w 538"/>
              <a:gd name="T51" fmla="*/ 255 h 353"/>
              <a:gd name="T52" fmla="*/ 479 w 538"/>
              <a:gd name="T53" fmla="*/ 285 h 353"/>
              <a:gd name="T54" fmla="*/ 468 w 538"/>
              <a:gd name="T55" fmla="*/ 304 h 353"/>
              <a:gd name="T56" fmla="*/ 466 w 538"/>
              <a:gd name="T57" fmla="*/ 319 h 353"/>
              <a:gd name="T58" fmla="*/ 443 w 538"/>
              <a:gd name="T59" fmla="*/ 334 h 353"/>
              <a:gd name="T60" fmla="*/ 447 w 538"/>
              <a:gd name="T61" fmla="*/ 349 h 353"/>
              <a:gd name="T62" fmla="*/ 438 w 538"/>
              <a:gd name="T63" fmla="*/ 353 h 353"/>
              <a:gd name="T64" fmla="*/ 419 w 538"/>
              <a:gd name="T65" fmla="*/ 334 h 353"/>
              <a:gd name="T66" fmla="*/ 360 w 538"/>
              <a:gd name="T67" fmla="*/ 334 h 353"/>
              <a:gd name="T68" fmla="*/ 168 w 538"/>
              <a:gd name="T69" fmla="*/ 343 h 353"/>
              <a:gd name="T70" fmla="*/ 72 w 538"/>
              <a:gd name="T71" fmla="*/ 334 h 353"/>
              <a:gd name="T72" fmla="*/ 68 w 538"/>
              <a:gd name="T73" fmla="*/ 309 h 353"/>
              <a:gd name="T74" fmla="*/ 66 w 538"/>
              <a:gd name="T75" fmla="*/ 283 h 353"/>
              <a:gd name="T76" fmla="*/ 62 w 538"/>
              <a:gd name="T77" fmla="*/ 270 h 353"/>
              <a:gd name="T78" fmla="*/ 59 w 538"/>
              <a:gd name="T79" fmla="*/ 253 h 353"/>
              <a:gd name="T80" fmla="*/ 53 w 538"/>
              <a:gd name="T81" fmla="*/ 243 h 353"/>
              <a:gd name="T82" fmla="*/ 47 w 538"/>
              <a:gd name="T83" fmla="*/ 234 h 353"/>
              <a:gd name="T84" fmla="*/ 44 w 538"/>
              <a:gd name="T85" fmla="*/ 226 h 353"/>
              <a:gd name="T86" fmla="*/ 47 w 538"/>
              <a:gd name="T87" fmla="*/ 211 h 353"/>
              <a:gd name="T88" fmla="*/ 40 w 538"/>
              <a:gd name="T89" fmla="*/ 196 h 353"/>
              <a:gd name="T90" fmla="*/ 32 w 538"/>
              <a:gd name="T91" fmla="*/ 177 h 353"/>
              <a:gd name="T92" fmla="*/ 23 w 538"/>
              <a:gd name="T93" fmla="*/ 162 h 353"/>
              <a:gd name="T94" fmla="*/ 23 w 538"/>
              <a:gd name="T95" fmla="*/ 149 h 353"/>
              <a:gd name="T96" fmla="*/ 19 w 538"/>
              <a:gd name="T97" fmla="*/ 136 h 353"/>
              <a:gd name="T98" fmla="*/ 13 w 538"/>
              <a:gd name="T99" fmla="*/ 12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353">
                <a:moveTo>
                  <a:pt x="13" y="126"/>
                </a:moveTo>
                <a:lnTo>
                  <a:pt x="8" y="111"/>
                </a:lnTo>
                <a:lnTo>
                  <a:pt x="2" y="104"/>
                </a:lnTo>
                <a:lnTo>
                  <a:pt x="0" y="96"/>
                </a:lnTo>
                <a:lnTo>
                  <a:pt x="4" y="89"/>
                </a:lnTo>
                <a:lnTo>
                  <a:pt x="6" y="89"/>
                </a:lnTo>
                <a:lnTo>
                  <a:pt x="10" y="74"/>
                </a:lnTo>
                <a:lnTo>
                  <a:pt x="8" y="66"/>
                </a:lnTo>
                <a:lnTo>
                  <a:pt x="13" y="60"/>
                </a:lnTo>
                <a:lnTo>
                  <a:pt x="13" y="53"/>
                </a:lnTo>
                <a:lnTo>
                  <a:pt x="6" y="47"/>
                </a:lnTo>
                <a:lnTo>
                  <a:pt x="4" y="38"/>
                </a:lnTo>
                <a:lnTo>
                  <a:pt x="6" y="36"/>
                </a:lnTo>
                <a:lnTo>
                  <a:pt x="8" y="30"/>
                </a:lnTo>
                <a:lnTo>
                  <a:pt x="4" y="23"/>
                </a:lnTo>
                <a:lnTo>
                  <a:pt x="2" y="15"/>
                </a:lnTo>
                <a:lnTo>
                  <a:pt x="15" y="15"/>
                </a:lnTo>
                <a:lnTo>
                  <a:pt x="98" y="13"/>
                </a:lnTo>
                <a:lnTo>
                  <a:pt x="238" y="11"/>
                </a:lnTo>
                <a:lnTo>
                  <a:pt x="355" y="4"/>
                </a:lnTo>
                <a:lnTo>
                  <a:pt x="438" y="0"/>
                </a:lnTo>
                <a:lnTo>
                  <a:pt x="438" y="6"/>
                </a:lnTo>
                <a:lnTo>
                  <a:pt x="441" y="8"/>
                </a:lnTo>
                <a:lnTo>
                  <a:pt x="443" y="17"/>
                </a:lnTo>
                <a:lnTo>
                  <a:pt x="449" y="19"/>
                </a:lnTo>
                <a:lnTo>
                  <a:pt x="453" y="25"/>
                </a:lnTo>
                <a:lnTo>
                  <a:pt x="445" y="40"/>
                </a:lnTo>
                <a:lnTo>
                  <a:pt x="449" y="51"/>
                </a:lnTo>
                <a:lnTo>
                  <a:pt x="449" y="64"/>
                </a:lnTo>
                <a:lnTo>
                  <a:pt x="453" y="70"/>
                </a:lnTo>
                <a:lnTo>
                  <a:pt x="455" y="79"/>
                </a:lnTo>
                <a:lnTo>
                  <a:pt x="460" y="87"/>
                </a:lnTo>
                <a:lnTo>
                  <a:pt x="466" y="89"/>
                </a:lnTo>
                <a:lnTo>
                  <a:pt x="487" y="94"/>
                </a:lnTo>
                <a:lnTo>
                  <a:pt x="494" y="109"/>
                </a:lnTo>
                <a:lnTo>
                  <a:pt x="494" y="111"/>
                </a:lnTo>
                <a:lnTo>
                  <a:pt x="498" y="117"/>
                </a:lnTo>
                <a:lnTo>
                  <a:pt x="513" y="128"/>
                </a:lnTo>
                <a:lnTo>
                  <a:pt x="515" y="136"/>
                </a:lnTo>
                <a:lnTo>
                  <a:pt x="521" y="143"/>
                </a:lnTo>
                <a:lnTo>
                  <a:pt x="530" y="147"/>
                </a:lnTo>
                <a:lnTo>
                  <a:pt x="536" y="153"/>
                </a:lnTo>
                <a:lnTo>
                  <a:pt x="538" y="160"/>
                </a:lnTo>
                <a:lnTo>
                  <a:pt x="536" y="183"/>
                </a:lnTo>
                <a:lnTo>
                  <a:pt x="526" y="196"/>
                </a:lnTo>
                <a:lnTo>
                  <a:pt x="526" y="211"/>
                </a:lnTo>
                <a:lnTo>
                  <a:pt x="517" y="217"/>
                </a:lnTo>
                <a:lnTo>
                  <a:pt x="504" y="224"/>
                </a:lnTo>
                <a:lnTo>
                  <a:pt x="496" y="228"/>
                </a:lnTo>
                <a:lnTo>
                  <a:pt x="470" y="234"/>
                </a:lnTo>
                <a:lnTo>
                  <a:pt x="466" y="243"/>
                </a:lnTo>
                <a:lnTo>
                  <a:pt x="464" y="255"/>
                </a:lnTo>
                <a:lnTo>
                  <a:pt x="479" y="270"/>
                </a:lnTo>
                <a:lnTo>
                  <a:pt x="479" y="285"/>
                </a:lnTo>
                <a:lnTo>
                  <a:pt x="468" y="300"/>
                </a:lnTo>
                <a:lnTo>
                  <a:pt x="468" y="304"/>
                </a:lnTo>
                <a:lnTo>
                  <a:pt x="468" y="311"/>
                </a:lnTo>
                <a:lnTo>
                  <a:pt x="466" y="319"/>
                </a:lnTo>
                <a:lnTo>
                  <a:pt x="449" y="328"/>
                </a:lnTo>
                <a:lnTo>
                  <a:pt x="443" y="334"/>
                </a:lnTo>
                <a:lnTo>
                  <a:pt x="447" y="341"/>
                </a:lnTo>
                <a:lnTo>
                  <a:pt x="447" y="349"/>
                </a:lnTo>
                <a:lnTo>
                  <a:pt x="443" y="353"/>
                </a:lnTo>
                <a:lnTo>
                  <a:pt x="438" y="353"/>
                </a:lnTo>
                <a:lnTo>
                  <a:pt x="432" y="345"/>
                </a:lnTo>
                <a:lnTo>
                  <a:pt x="419" y="334"/>
                </a:lnTo>
                <a:lnTo>
                  <a:pt x="415" y="328"/>
                </a:lnTo>
                <a:lnTo>
                  <a:pt x="360" y="334"/>
                </a:lnTo>
                <a:lnTo>
                  <a:pt x="228" y="341"/>
                </a:lnTo>
                <a:lnTo>
                  <a:pt x="168" y="343"/>
                </a:lnTo>
                <a:lnTo>
                  <a:pt x="74" y="341"/>
                </a:lnTo>
                <a:lnTo>
                  <a:pt x="72" y="334"/>
                </a:lnTo>
                <a:lnTo>
                  <a:pt x="66" y="330"/>
                </a:lnTo>
                <a:lnTo>
                  <a:pt x="68" y="309"/>
                </a:lnTo>
                <a:lnTo>
                  <a:pt x="66" y="294"/>
                </a:lnTo>
                <a:lnTo>
                  <a:pt x="66" y="283"/>
                </a:lnTo>
                <a:lnTo>
                  <a:pt x="66" y="277"/>
                </a:lnTo>
                <a:lnTo>
                  <a:pt x="62" y="270"/>
                </a:lnTo>
                <a:lnTo>
                  <a:pt x="64" y="260"/>
                </a:lnTo>
                <a:lnTo>
                  <a:pt x="59" y="253"/>
                </a:lnTo>
                <a:lnTo>
                  <a:pt x="59" y="245"/>
                </a:lnTo>
                <a:lnTo>
                  <a:pt x="53" y="243"/>
                </a:lnTo>
                <a:lnTo>
                  <a:pt x="53" y="234"/>
                </a:lnTo>
                <a:lnTo>
                  <a:pt x="47" y="234"/>
                </a:lnTo>
                <a:lnTo>
                  <a:pt x="47" y="232"/>
                </a:lnTo>
                <a:lnTo>
                  <a:pt x="44" y="226"/>
                </a:lnTo>
                <a:lnTo>
                  <a:pt x="44" y="217"/>
                </a:lnTo>
                <a:lnTo>
                  <a:pt x="47" y="211"/>
                </a:lnTo>
                <a:lnTo>
                  <a:pt x="44" y="204"/>
                </a:lnTo>
                <a:lnTo>
                  <a:pt x="40" y="196"/>
                </a:lnTo>
                <a:lnTo>
                  <a:pt x="40" y="189"/>
                </a:lnTo>
                <a:lnTo>
                  <a:pt x="32" y="177"/>
                </a:lnTo>
                <a:lnTo>
                  <a:pt x="30" y="170"/>
                </a:lnTo>
                <a:lnTo>
                  <a:pt x="23" y="162"/>
                </a:lnTo>
                <a:lnTo>
                  <a:pt x="25" y="155"/>
                </a:lnTo>
                <a:lnTo>
                  <a:pt x="23" y="149"/>
                </a:lnTo>
                <a:lnTo>
                  <a:pt x="19" y="140"/>
                </a:lnTo>
                <a:lnTo>
                  <a:pt x="19" y="136"/>
                </a:lnTo>
                <a:lnTo>
                  <a:pt x="19" y="128"/>
                </a:lnTo>
                <a:lnTo>
                  <a:pt x="13" y="126"/>
                </a:lnTo>
                <a:close/>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Iowa</a:t>
            </a:r>
          </a:p>
        </p:txBody>
      </p:sp>
      <p:sp>
        <p:nvSpPr>
          <p:cNvPr id="330" name="Freeform 713"/>
          <p:cNvSpPr>
            <a:spLocks noChangeAspect="1"/>
          </p:cNvSpPr>
          <p:nvPr/>
        </p:nvSpPr>
        <p:spPr bwMode="auto">
          <a:xfrm>
            <a:off x="4696631" y="3498209"/>
            <a:ext cx="852966" cy="738666"/>
          </a:xfrm>
          <a:custGeom>
            <a:avLst/>
            <a:gdLst>
              <a:gd name="T0" fmla="*/ 94 w 597"/>
              <a:gd name="T1" fmla="*/ 15 h 517"/>
              <a:gd name="T2" fmla="*/ 286 w 597"/>
              <a:gd name="T3" fmla="*/ 6 h 517"/>
              <a:gd name="T4" fmla="*/ 345 w 597"/>
              <a:gd name="T5" fmla="*/ 6 h 517"/>
              <a:gd name="T6" fmla="*/ 364 w 597"/>
              <a:gd name="T7" fmla="*/ 25 h 517"/>
              <a:gd name="T8" fmla="*/ 364 w 597"/>
              <a:gd name="T9" fmla="*/ 34 h 517"/>
              <a:gd name="T10" fmla="*/ 362 w 597"/>
              <a:gd name="T11" fmla="*/ 55 h 517"/>
              <a:gd name="T12" fmla="*/ 369 w 597"/>
              <a:gd name="T13" fmla="*/ 72 h 517"/>
              <a:gd name="T14" fmla="*/ 377 w 597"/>
              <a:gd name="T15" fmla="*/ 94 h 517"/>
              <a:gd name="T16" fmla="*/ 388 w 597"/>
              <a:gd name="T17" fmla="*/ 109 h 517"/>
              <a:gd name="T18" fmla="*/ 403 w 597"/>
              <a:gd name="T19" fmla="*/ 121 h 517"/>
              <a:gd name="T20" fmla="*/ 424 w 597"/>
              <a:gd name="T21" fmla="*/ 138 h 517"/>
              <a:gd name="T22" fmla="*/ 435 w 597"/>
              <a:gd name="T23" fmla="*/ 151 h 517"/>
              <a:gd name="T24" fmla="*/ 447 w 597"/>
              <a:gd name="T25" fmla="*/ 189 h 517"/>
              <a:gd name="T26" fmla="*/ 460 w 597"/>
              <a:gd name="T27" fmla="*/ 181 h 517"/>
              <a:gd name="T28" fmla="*/ 471 w 597"/>
              <a:gd name="T29" fmla="*/ 183 h 517"/>
              <a:gd name="T30" fmla="*/ 492 w 597"/>
              <a:gd name="T31" fmla="*/ 194 h 517"/>
              <a:gd name="T32" fmla="*/ 488 w 597"/>
              <a:gd name="T33" fmla="*/ 204 h 517"/>
              <a:gd name="T34" fmla="*/ 482 w 597"/>
              <a:gd name="T35" fmla="*/ 228 h 517"/>
              <a:gd name="T36" fmla="*/ 475 w 597"/>
              <a:gd name="T37" fmla="*/ 247 h 517"/>
              <a:gd name="T38" fmla="*/ 475 w 597"/>
              <a:gd name="T39" fmla="*/ 262 h 517"/>
              <a:gd name="T40" fmla="*/ 509 w 597"/>
              <a:gd name="T41" fmla="*/ 292 h 517"/>
              <a:gd name="T42" fmla="*/ 516 w 597"/>
              <a:gd name="T43" fmla="*/ 300 h 517"/>
              <a:gd name="T44" fmla="*/ 535 w 597"/>
              <a:gd name="T45" fmla="*/ 304 h 517"/>
              <a:gd name="T46" fmla="*/ 548 w 597"/>
              <a:gd name="T47" fmla="*/ 317 h 517"/>
              <a:gd name="T48" fmla="*/ 556 w 597"/>
              <a:gd name="T49" fmla="*/ 336 h 517"/>
              <a:gd name="T50" fmla="*/ 562 w 597"/>
              <a:gd name="T51" fmla="*/ 358 h 517"/>
              <a:gd name="T52" fmla="*/ 567 w 597"/>
              <a:gd name="T53" fmla="*/ 379 h 517"/>
              <a:gd name="T54" fmla="*/ 586 w 597"/>
              <a:gd name="T55" fmla="*/ 392 h 517"/>
              <a:gd name="T56" fmla="*/ 597 w 597"/>
              <a:gd name="T57" fmla="*/ 402 h 517"/>
              <a:gd name="T58" fmla="*/ 597 w 597"/>
              <a:gd name="T59" fmla="*/ 422 h 517"/>
              <a:gd name="T60" fmla="*/ 594 w 597"/>
              <a:gd name="T61" fmla="*/ 432 h 517"/>
              <a:gd name="T62" fmla="*/ 584 w 597"/>
              <a:gd name="T63" fmla="*/ 441 h 517"/>
              <a:gd name="T64" fmla="*/ 573 w 597"/>
              <a:gd name="T65" fmla="*/ 454 h 517"/>
              <a:gd name="T66" fmla="*/ 567 w 597"/>
              <a:gd name="T67" fmla="*/ 454 h 517"/>
              <a:gd name="T68" fmla="*/ 560 w 597"/>
              <a:gd name="T69" fmla="*/ 454 h 517"/>
              <a:gd name="T70" fmla="*/ 565 w 597"/>
              <a:gd name="T71" fmla="*/ 468 h 517"/>
              <a:gd name="T72" fmla="*/ 562 w 597"/>
              <a:gd name="T73" fmla="*/ 479 h 517"/>
              <a:gd name="T74" fmla="*/ 560 w 597"/>
              <a:gd name="T75" fmla="*/ 492 h 517"/>
              <a:gd name="T76" fmla="*/ 550 w 597"/>
              <a:gd name="T77" fmla="*/ 511 h 517"/>
              <a:gd name="T78" fmla="*/ 494 w 597"/>
              <a:gd name="T79" fmla="*/ 509 h 517"/>
              <a:gd name="T80" fmla="*/ 503 w 597"/>
              <a:gd name="T81" fmla="*/ 494 h 517"/>
              <a:gd name="T82" fmla="*/ 518 w 597"/>
              <a:gd name="T83" fmla="*/ 483 h 517"/>
              <a:gd name="T84" fmla="*/ 516 w 597"/>
              <a:gd name="T85" fmla="*/ 468 h 517"/>
              <a:gd name="T86" fmla="*/ 503 w 597"/>
              <a:gd name="T87" fmla="*/ 458 h 517"/>
              <a:gd name="T88" fmla="*/ 198 w 597"/>
              <a:gd name="T89" fmla="*/ 475 h 517"/>
              <a:gd name="T90" fmla="*/ 107 w 597"/>
              <a:gd name="T91" fmla="*/ 422 h 517"/>
              <a:gd name="T92" fmla="*/ 94 w 597"/>
              <a:gd name="T93" fmla="*/ 175 h 517"/>
              <a:gd name="T94" fmla="*/ 77 w 597"/>
              <a:gd name="T95" fmla="*/ 157 h 517"/>
              <a:gd name="T96" fmla="*/ 68 w 597"/>
              <a:gd name="T97" fmla="*/ 145 h 517"/>
              <a:gd name="T98" fmla="*/ 58 w 597"/>
              <a:gd name="T99" fmla="*/ 130 h 517"/>
              <a:gd name="T100" fmla="*/ 71 w 597"/>
              <a:gd name="T101" fmla="*/ 111 h 517"/>
              <a:gd name="T102" fmla="*/ 79 w 597"/>
              <a:gd name="T103" fmla="*/ 109 h 517"/>
              <a:gd name="T104" fmla="*/ 73 w 597"/>
              <a:gd name="T105" fmla="*/ 94 h 517"/>
              <a:gd name="T106" fmla="*/ 60 w 597"/>
              <a:gd name="T107" fmla="*/ 96 h 517"/>
              <a:gd name="T108" fmla="*/ 30 w 597"/>
              <a:gd name="T109" fmla="*/ 74 h 517"/>
              <a:gd name="T110" fmla="*/ 26 w 597"/>
              <a:gd name="T111" fmla="*/ 62 h 517"/>
              <a:gd name="T112" fmla="*/ 17 w 597"/>
              <a:gd name="T113" fmla="*/ 49 h 517"/>
              <a:gd name="T114" fmla="*/ 7 w 597"/>
              <a:gd name="T115" fmla="*/ 28 h 517"/>
              <a:gd name="T116" fmla="*/ 0 w 597"/>
              <a:gd name="T117" fmla="*/ 13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7" h="517">
                <a:moveTo>
                  <a:pt x="0" y="13"/>
                </a:moveTo>
                <a:lnTo>
                  <a:pt x="94" y="15"/>
                </a:lnTo>
                <a:lnTo>
                  <a:pt x="154" y="13"/>
                </a:lnTo>
                <a:lnTo>
                  <a:pt x="286" y="6"/>
                </a:lnTo>
                <a:lnTo>
                  <a:pt x="341" y="0"/>
                </a:lnTo>
                <a:lnTo>
                  <a:pt x="345" y="6"/>
                </a:lnTo>
                <a:lnTo>
                  <a:pt x="358" y="17"/>
                </a:lnTo>
                <a:lnTo>
                  <a:pt x="364" y="25"/>
                </a:lnTo>
                <a:lnTo>
                  <a:pt x="369" y="25"/>
                </a:lnTo>
                <a:lnTo>
                  <a:pt x="364" y="34"/>
                </a:lnTo>
                <a:lnTo>
                  <a:pt x="362" y="40"/>
                </a:lnTo>
                <a:lnTo>
                  <a:pt x="362" y="55"/>
                </a:lnTo>
                <a:lnTo>
                  <a:pt x="367" y="68"/>
                </a:lnTo>
                <a:lnTo>
                  <a:pt x="369" y="72"/>
                </a:lnTo>
                <a:lnTo>
                  <a:pt x="373" y="87"/>
                </a:lnTo>
                <a:lnTo>
                  <a:pt x="377" y="94"/>
                </a:lnTo>
                <a:lnTo>
                  <a:pt x="379" y="102"/>
                </a:lnTo>
                <a:lnTo>
                  <a:pt x="388" y="109"/>
                </a:lnTo>
                <a:lnTo>
                  <a:pt x="396" y="117"/>
                </a:lnTo>
                <a:lnTo>
                  <a:pt x="403" y="121"/>
                </a:lnTo>
                <a:lnTo>
                  <a:pt x="407" y="128"/>
                </a:lnTo>
                <a:lnTo>
                  <a:pt x="424" y="138"/>
                </a:lnTo>
                <a:lnTo>
                  <a:pt x="430" y="145"/>
                </a:lnTo>
                <a:lnTo>
                  <a:pt x="435" y="151"/>
                </a:lnTo>
                <a:lnTo>
                  <a:pt x="443" y="183"/>
                </a:lnTo>
                <a:lnTo>
                  <a:pt x="447" y="189"/>
                </a:lnTo>
                <a:lnTo>
                  <a:pt x="456" y="187"/>
                </a:lnTo>
                <a:lnTo>
                  <a:pt x="460" y="181"/>
                </a:lnTo>
                <a:lnTo>
                  <a:pt x="464" y="181"/>
                </a:lnTo>
                <a:lnTo>
                  <a:pt x="471" y="183"/>
                </a:lnTo>
                <a:lnTo>
                  <a:pt x="477" y="185"/>
                </a:lnTo>
                <a:lnTo>
                  <a:pt x="492" y="194"/>
                </a:lnTo>
                <a:lnTo>
                  <a:pt x="492" y="196"/>
                </a:lnTo>
                <a:lnTo>
                  <a:pt x="488" y="204"/>
                </a:lnTo>
                <a:lnTo>
                  <a:pt x="488" y="217"/>
                </a:lnTo>
                <a:lnTo>
                  <a:pt x="482" y="228"/>
                </a:lnTo>
                <a:lnTo>
                  <a:pt x="479" y="241"/>
                </a:lnTo>
                <a:lnTo>
                  <a:pt x="475" y="247"/>
                </a:lnTo>
                <a:lnTo>
                  <a:pt x="473" y="255"/>
                </a:lnTo>
                <a:lnTo>
                  <a:pt x="475" y="262"/>
                </a:lnTo>
                <a:lnTo>
                  <a:pt x="488" y="277"/>
                </a:lnTo>
                <a:lnTo>
                  <a:pt x="509" y="292"/>
                </a:lnTo>
                <a:lnTo>
                  <a:pt x="513" y="292"/>
                </a:lnTo>
                <a:lnTo>
                  <a:pt x="516" y="300"/>
                </a:lnTo>
                <a:lnTo>
                  <a:pt x="524" y="298"/>
                </a:lnTo>
                <a:lnTo>
                  <a:pt x="535" y="304"/>
                </a:lnTo>
                <a:lnTo>
                  <a:pt x="539" y="313"/>
                </a:lnTo>
                <a:lnTo>
                  <a:pt x="548" y="317"/>
                </a:lnTo>
                <a:lnTo>
                  <a:pt x="554" y="319"/>
                </a:lnTo>
                <a:lnTo>
                  <a:pt x="556" y="336"/>
                </a:lnTo>
                <a:lnTo>
                  <a:pt x="565" y="349"/>
                </a:lnTo>
                <a:lnTo>
                  <a:pt x="562" y="358"/>
                </a:lnTo>
                <a:lnTo>
                  <a:pt x="558" y="364"/>
                </a:lnTo>
                <a:lnTo>
                  <a:pt x="567" y="379"/>
                </a:lnTo>
                <a:lnTo>
                  <a:pt x="577" y="394"/>
                </a:lnTo>
                <a:lnTo>
                  <a:pt x="586" y="392"/>
                </a:lnTo>
                <a:lnTo>
                  <a:pt x="594" y="396"/>
                </a:lnTo>
                <a:lnTo>
                  <a:pt x="597" y="402"/>
                </a:lnTo>
                <a:lnTo>
                  <a:pt x="594" y="411"/>
                </a:lnTo>
                <a:lnTo>
                  <a:pt x="597" y="422"/>
                </a:lnTo>
                <a:lnTo>
                  <a:pt x="590" y="426"/>
                </a:lnTo>
                <a:lnTo>
                  <a:pt x="594" y="432"/>
                </a:lnTo>
                <a:lnTo>
                  <a:pt x="590" y="443"/>
                </a:lnTo>
                <a:lnTo>
                  <a:pt x="584" y="441"/>
                </a:lnTo>
                <a:lnTo>
                  <a:pt x="575" y="445"/>
                </a:lnTo>
                <a:lnTo>
                  <a:pt x="573" y="454"/>
                </a:lnTo>
                <a:lnTo>
                  <a:pt x="567" y="458"/>
                </a:lnTo>
                <a:lnTo>
                  <a:pt x="567" y="454"/>
                </a:lnTo>
                <a:lnTo>
                  <a:pt x="565" y="447"/>
                </a:lnTo>
                <a:lnTo>
                  <a:pt x="560" y="454"/>
                </a:lnTo>
                <a:lnTo>
                  <a:pt x="562" y="462"/>
                </a:lnTo>
                <a:lnTo>
                  <a:pt x="565" y="468"/>
                </a:lnTo>
                <a:lnTo>
                  <a:pt x="558" y="471"/>
                </a:lnTo>
                <a:lnTo>
                  <a:pt x="562" y="479"/>
                </a:lnTo>
                <a:lnTo>
                  <a:pt x="552" y="485"/>
                </a:lnTo>
                <a:lnTo>
                  <a:pt x="560" y="492"/>
                </a:lnTo>
                <a:lnTo>
                  <a:pt x="556" y="500"/>
                </a:lnTo>
                <a:lnTo>
                  <a:pt x="550" y="511"/>
                </a:lnTo>
                <a:lnTo>
                  <a:pt x="499" y="517"/>
                </a:lnTo>
                <a:lnTo>
                  <a:pt x="494" y="509"/>
                </a:lnTo>
                <a:lnTo>
                  <a:pt x="499" y="503"/>
                </a:lnTo>
                <a:lnTo>
                  <a:pt x="503" y="494"/>
                </a:lnTo>
                <a:lnTo>
                  <a:pt x="511" y="490"/>
                </a:lnTo>
                <a:lnTo>
                  <a:pt x="518" y="483"/>
                </a:lnTo>
                <a:lnTo>
                  <a:pt x="518" y="477"/>
                </a:lnTo>
                <a:lnTo>
                  <a:pt x="516" y="468"/>
                </a:lnTo>
                <a:lnTo>
                  <a:pt x="509" y="462"/>
                </a:lnTo>
                <a:lnTo>
                  <a:pt x="503" y="458"/>
                </a:lnTo>
                <a:lnTo>
                  <a:pt x="341" y="468"/>
                </a:lnTo>
                <a:lnTo>
                  <a:pt x="198" y="475"/>
                </a:lnTo>
                <a:lnTo>
                  <a:pt x="109" y="477"/>
                </a:lnTo>
                <a:lnTo>
                  <a:pt x="107" y="422"/>
                </a:lnTo>
                <a:lnTo>
                  <a:pt x="103" y="181"/>
                </a:lnTo>
                <a:lnTo>
                  <a:pt x="94" y="175"/>
                </a:lnTo>
                <a:lnTo>
                  <a:pt x="88" y="172"/>
                </a:lnTo>
                <a:lnTo>
                  <a:pt x="77" y="157"/>
                </a:lnTo>
                <a:lnTo>
                  <a:pt x="77" y="151"/>
                </a:lnTo>
                <a:lnTo>
                  <a:pt x="68" y="145"/>
                </a:lnTo>
                <a:lnTo>
                  <a:pt x="62" y="136"/>
                </a:lnTo>
                <a:lnTo>
                  <a:pt x="58" y="130"/>
                </a:lnTo>
                <a:lnTo>
                  <a:pt x="66" y="117"/>
                </a:lnTo>
                <a:lnTo>
                  <a:pt x="71" y="111"/>
                </a:lnTo>
                <a:lnTo>
                  <a:pt x="77" y="111"/>
                </a:lnTo>
                <a:lnTo>
                  <a:pt x="79" y="109"/>
                </a:lnTo>
                <a:lnTo>
                  <a:pt x="77" y="102"/>
                </a:lnTo>
                <a:lnTo>
                  <a:pt x="73" y="94"/>
                </a:lnTo>
                <a:lnTo>
                  <a:pt x="66" y="91"/>
                </a:lnTo>
                <a:lnTo>
                  <a:pt x="60" y="96"/>
                </a:lnTo>
                <a:lnTo>
                  <a:pt x="39" y="81"/>
                </a:lnTo>
                <a:lnTo>
                  <a:pt x="30" y="74"/>
                </a:lnTo>
                <a:lnTo>
                  <a:pt x="32" y="68"/>
                </a:lnTo>
                <a:lnTo>
                  <a:pt x="26" y="62"/>
                </a:lnTo>
                <a:lnTo>
                  <a:pt x="24" y="53"/>
                </a:lnTo>
                <a:lnTo>
                  <a:pt x="17" y="49"/>
                </a:lnTo>
                <a:lnTo>
                  <a:pt x="11" y="42"/>
                </a:lnTo>
                <a:lnTo>
                  <a:pt x="7" y="28"/>
                </a:lnTo>
                <a:lnTo>
                  <a:pt x="0" y="21"/>
                </a:lnTo>
                <a:lnTo>
                  <a:pt x="0" y="13"/>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31" name="Freeform 715"/>
          <p:cNvSpPr>
            <a:spLocks noChangeAspect="1"/>
          </p:cNvSpPr>
          <p:nvPr/>
        </p:nvSpPr>
        <p:spPr bwMode="auto">
          <a:xfrm>
            <a:off x="4851646" y="4152655"/>
            <a:ext cx="635796" cy="590076"/>
          </a:xfrm>
          <a:custGeom>
            <a:avLst/>
            <a:gdLst>
              <a:gd name="T0" fmla="*/ 89 w 445"/>
              <a:gd name="T1" fmla="*/ 17 h 413"/>
              <a:gd name="T2" fmla="*/ 394 w 445"/>
              <a:gd name="T3" fmla="*/ 0 h 413"/>
              <a:gd name="T4" fmla="*/ 407 w 445"/>
              <a:gd name="T5" fmla="*/ 10 h 413"/>
              <a:gd name="T6" fmla="*/ 409 w 445"/>
              <a:gd name="T7" fmla="*/ 25 h 413"/>
              <a:gd name="T8" fmla="*/ 394 w 445"/>
              <a:gd name="T9" fmla="*/ 36 h 413"/>
              <a:gd name="T10" fmla="*/ 385 w 445"/>
              <a:gd name="T11" fmla="*/ 51 h 413"/>
              <a:gd name="T12" fmla="*/ 441 w 445"/>
              <a:gd name="T13" fmla="*/ 53 h 413"/>
              <a:gd name="T14" fmla="*/ 445 w 445"/>
              <a:gd name="T15" fmla="*/ 64 h 413"/>
              <a:gd name="T16" fmla="*/ 443 w 445"/>
              <a:gd name="T17" fmla="*/ 74 h 413"/>
              <a:gd name="T18" fmla="*/ 428 w 445"/>
              <a:gd name="T19" fmla="*/ 85 h 413"/>
              <a:gd name="T20" fmla="*/ 424 w 445"/>
              <a:gd name="T21" fmla="*/ 89 h 413"/>
              <a:gd name="T22" fmla="*/ 424 w 445"/>
              <a:gd name="T23" fmla="*/ 100 h 413"/>
              <a:gd name="T24" fmla="*/ 417 w 445"/>
              <a:gd name="T25" fmla="*/ 108 h 413"/>
              <a:gd name="T26" fmla="*/ 417 w 445"/>
              <a:gd name="T27" fmla="*/ 121 h 413"/>
              <a:gd name="T28" fmla="*/ 409 w 445"/>
              <a:gd name="T29" fmla="*/ 119 h 413"/>
              <a:gd name="T30" fmla="*/ 413 w 445"/>
              <a:gd name="T31" fmla="*/ 125 h 413"/>
              <a:gd name="T32" fmla="*/ 417 w 445"/>
              <a:gd name="T33" fmla="*/ 153 h 413"/>
              <a:gd name="T34" fmla="*/ 409 w 445"/>
              <a:gd name="T35" fmla="*/ 157 h 413"/>
              <a:gd name="T36" fmla="*/ 398 w 445"/>
              <a:gd name="T37" fmla="*/ 168 h 413"/>
              <a:gd name="T38" fmla="*/ 400 w 445"/>
              <a:gd name="T39" fmla="*/ 172 h 413"/>
              <a:gd name="T40" fmla="*/ 394 w 445"/>
              <a:gd name="T41" fmla="*/ 187 h 413"/>
              <a:gd name="T42" fmla="*/ 383 w 445"/>
              <a:gd name="T43" fmla="*/ 185 h 413"/>
              <a:gd name="T44" fmla="*/ 379 w 445"/>
              <a:gd name="T45" fmla="*/ 202 h 413"/>
              <a:gd name="T46" fmla="*/ 377 w 445"/>
              <a:gd name="T47" fmla="*/ 204 h 413"/>
              <a:gd name="T48" fmla="*/ 377 w 445"/>
              <a:gd name="T49" fmla="*/ 213 h 413"/>
              <a:gd name="T50" fmla="*/ 375 w 445"/>
              <a:gd name="T51" fmla="*/ 217 h 413"/>
              <a:gd name="T52" fmla="*/ 375 w 445"/>
              <a:gd name="T53" fmla="*/ 230 h 413"/>
              <a:gd name="T54" fmla="*/ 370 w 445"/>
              <a:gd name="T55" fmla="*/ 243 h 413"/>
              <a:gd name="T56" fmla="*/ 360 w 445"/>
              <a:gd name="T57" fmla="*/ 245 h 413"/>
              <a:gd name="T58" fmla="*/ 355 w 445"/>
              <a:gd name="T59" fmla="*/ 258 h 413"/>
              <a:gd name="T60" fmla="*/ 345 w 445"/>
              <a:gd name="T61" fmla="*/ 260 h 413"/>
              <a:gd name="T62" fmla="*/ 347 w 445"/>
              <a:gd name="T63" fmla="*/ 268 h 413"/>
              <a:gd name="T64" fmla="*/ 351 w 445"/>
              <a:gd name="T65" fmla="*/ 281 h 413"/>
              <a:gd name="T66" fmla="*/ 338 w 445"/>
              <a:gd name="T67" fmla="*/ 294 h 413"/>
              <a:gd name="T68" fmla="*/ 338 w 445"/>
              <a:gd name="T69" fmla="*/ 307 h 413"/>
              <a:gd name="T70" fmla="*/ 330 w 445"/>
              <a:gd name="T71" fmla="*/ 311 h 413"/>
              <a:gd name="T72" fmla="*/ 336 w 445"/>
              <a:gd name="T73" fmla="*/ 319 h 413"/>
              <a:gd name="T74" fmla="*/ 328 w 445"/>
              <a:gd name="T75" fmla="*/ 321 h 413"/>
              <a:gd name="T76" fmla="*/ 328 w 445"/>
              <a:gd name="T77" fmla="*/ 330 h 413"/>
              <a:gd name="T78" fmla="*/ 326 w 445"/>
              <a:gd name="T79" fmla="*/ 343 h 413"/>
              <a:gd name="T80" fmla="*/ 330 w 445"/>
              <a:gd name="T81" fmla="*/ 345 h 413"/>
              <a:gd name="T82" fmla="*/ 326 w 445"/>
              <a:gd name="T83" fmla="*/ 353 h 413"/>
              <a:gd name="T84" fmla="*/ 334 w 445"/>
              <a:gd name="T85" fmla="*/ 355 h 413"/>
              <a:gd name="T86" fmla="*/ 334 w 445"/>
              <a:gd name="T87" fmla="*/ 370 h 413"/>
              <a:gd name="T88" fmla="*/ 338 w 445"/>
              <a:gd name="T89" fmla="*/ 383 h 413"/>
              <a:gd name="T90" fmla="*/ 332 w 445"/>
              <a:gd name="T91" fmla="*/ 383 h 413"/>
              <a:gd name="T92" fmla="*/ 332 w 445"/>
              <a:gd name="T93" fmla="*/ 400 h 413"/>
              <a:gd name="T94" fmla="*/ 64 w 445"/>
              <a:gd name="T95" fmla="*/ 413 h 413"/>
              <a:gd name="T96" fmla="*/ 38 w 445"/>
              <a:gd name="T97" fmla="*/ 347 h 413"/>
              <a:gd name="T98" fmla="*/ 23 w 445"/>
              <a:gd name="T99" fmla="*/ 347 h 413"/>
              <a:gd name="T100" fmla="*/ 21 w 445"/>
              <a:gd name="T101" fmla="*/ 343 h 413"/>
              <a:gd name="T102" fmla="*/ 15 w 445"/>
              <a:gd name="T103" fmla="*/ 1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 h="413">
                <a:moveTo>
                  <a:pt x="0" y="19"/>
                </a:moveTo>
                <a:lnTo>
                  <a:pt x="89" y="17"/>
                </a:lnTo>
                <a:lnTo>
                  <a:pt x="232" y="10"/>
                </a:lnTo>
                <a:lnTo>
                  <a:pt x="394" y="0"/>
                </a:lnTo>
                <a:lnTo>
                  <a:pt x="400" y="4"/>
                </a:lnTo>
                <a:lnTo>
                  <a:pt x="407" y="10"/>
                </a:lnTo>
                <a:lnTo>
                  <a:pt x="409" y="19"/>
                </a:lnTo>
                <a:lnTo>
                  <a:pt x="409" y="25"/>
                </a:lnTo>
                <a:lnTo>
                  <a:pt x="402" y="32"/>
                </a:lnTo>
                <a:lnTo>
                  <a:pt x="394" y="36"/>
                </a:lnTo>
                <a:lnTo>
                  <a:pt x="390" y="45"/>
                </a:lnTo>
                <a:lnTo>
                  <a:pt x="385" y="51"/>
                </a:lnTo>
                <a:lnTo>
                  <a:pt x="390" y="59"/>
                </a:lnTo>
                <a:lnTo>
                  <a:pt x="441" y="53"/>
                </a:lnTo>
                <a:lnTo>
                  <a:pt x="445" y="57"/>
                </a:lnTo>
                <a:lnTo>
                  <a:pt x="445" y="64"/>
                </a:lnTo>
                <a:lnTo>
                  <a:pt x="439" y="68"/>
                </a:lnTo>
                <a:lnTo>
                  <a:pt x="443" y="74"/>
                </a:lnTo>
                <a:lnTo>
                  <a:pt x="434" y="81"/>
                </a:lnTo>
                <a:lnTo>
                  <a:pt x="428" y="85"/>
                </a:lnTo>
                <a:lnTo>
                  <a:pt x="424" y="87"/>
                </a:lnTo>
                <a:lnTo>
                  <a:pt x="424" y="89"/>
                </a:lnTo>
                <a:lnTo>
                  <a:pt x="430" y="96"/>
                </a:lnTo>
                <a:lnTo>
                  <a:pt x="424" y="100"/>
                </a:lnTo>
                <a:lnTo>
                  <a:pt x="422" y="106"/>
                </a:lnTo>
                <a:lnTo>
                  <a:pt x="417" y="108"/>
                </a:lnTo>
                <a:lnTo>
                  <a:pt x="419" y="115"/>
                </a:lnTo>
                <a:lnTo>
                  <a:pt x="417" y="121"/>
                </a:lnTo>
                <a:lnTo>
                  <a:pt x="415" y="117"/>
                </a:lnTo>
                <a:lnTo>
                  <a:pt x="409" y="119"/>
                </a:lnTo>
                <a:lnTo>
                  <a:pt x="407" y="128"/>
                </a:lnTo>
                <a:lnTo>
                  <a:pt x="413" y="125"/>
                </a:lnTo>
                <a:lnTo>
                  <a:pt x="413" y="134"/>
                </a:lnTo>
                <a:lnTo>
                  <a:pt x="417" y="153"/>
                </a:lnTo>
                <a:lnTo>
                  <a:pt x="415" y="155"/>
                </a:lnTo>
                <a:lnTo>
                  <a:pt x="409" y="157"/>
                </a:lnTo>
                <a:lnTo>
                  <a:pt x="404" y="164"/>
                </a:lnTo>
                <a:lnTo>
                  <a:pt x="398" y="168"/>
                </a:lnTo>
                <a:lnTo>
                  <a:pt x="396" y="170"/>
                </a:lnTo>
                <a:lnTo>
                  <a:pt x="400" y="172"/>
                </a:lnTo>
                <a:lnTo>
                  <a:pt x="400" y="181"/>
                </a:lnTo>
                <a:lnTo>
                  <a:pt x="394" y="187"/>
                </a:lnTo>
                <a:lnTo>
                  <a:pt x="387" y="189"/>
                </a:lnTo>
                <a:lnTo>
                  <a:pt x="383" y="185"/>
                </a:lnTo>
                <a:lnTo>
                  <a:pt x="385" y="202"/>
                </a:lnTo>
                <a:lnTo>
                  <a:pt x="379" y="202"/>
                </a:lnTo>
                <a:lnTo>
                  <a:pt x="377" y="194"/>
                </a:lnTo>
                <a:lnTo>
                  <a:pt x="377" y="204"/>
                </a:lnTo>
                <a:lnTo>
                  <a:pt x="385" y="209"/>
                </a:lnTo>
                <a:lnTo>
                  <a:pt x="377" y="213"/>
                </a:lnTo>
                <a:lnTo>
                  <a:pt x="375" y="204"/>
                </a:lnTo>
                <a:lnTo>
                  <a:pt x="375" y="217"/>
                </a:lnTo>
                <a:lnTo>
                  <a:pt x="379" y="219"/>
                </a:lnTo>
                <a:lnTo>
                  <a:pt x="375" y="230"/>
                </a:lnTo>
                <a:lnTo>
                  <a:pt x="377" y="234"/>
                </a:lnTo>
                <a:lnTo>
                  <a:pt x="370" y="243"/>
                </a:lnTo>
                <a:lnTo>
                  <a:pt x="366" y="245"/>
                </a:lnTo>
                <a:lnTo>
                  <a:pt x="360" y="245"/>
                </a:lnTo>
                <a:lnTo>
                  <a:pt x="362" y="251"/>
                </a:lnTo>
                <a:lnTo>
                  <a:pt x="355" y="258"/>
                </a:lnTo>
                <a:lnTo>
                  <a:pt x="353" y="262"/>
                </a:lnTo>
                <a:lnTo>
                  <a:pt x="345" y="260"/>
                </a:lnTo>
                <a:lnTo>
                  <a:pt x="351" y="266"/>
                </a:lnTo>
                <a:lnTo>
                  <a:pt x="347" y="268"/>
                </a:lnTo>
                <a:lnTo>
                  <a:pt x="347" y="275"/>
                </a:lnTo>
                <a:lnTo>
                  <a:pt x="351" y="281"/>
                </a:lnTo>
                <a:lnTo>
                  <a:pt x="332" y="289"/>
                </a:lnTo>
                <a:lnTo>
                  <a:pt x="338" y="294"/>
                </a:lnTo>
                <a:lnTo>
                  <a:pt x="336" y="300"/>
                </a:lnTo>
                <a:lnTo>
                  <a:pt x="338" y="307"/>
                </a:lnTo>
                <a:lnTo>
                  <a:pt x="336" y="311"/>
                </a:lnTo>
                <a:lnTo>
                  <a:pt x="330" y="311"/>
                </a:lnTo>
                <a:lnTo>
                  <a:pt x="330" y="317"/>
                </a:lnTo>
                <a:lnTo>
                  <a:pt x="336" y="319"/>
                </a:lnTo>
                <a:lnTo>
                  <a:pt x="330" y="324"/>
                </a:lnTo>
                <a:lnTo>
                  <a:pt x="328" y="321"/>
                </a:lnTo>
                <a:lnTo>
                  <a:pt x="324" y="324"/>
                </a:lnTo>
                <a:lnTo>
                  <a:pt x="328" y="330"/>
                </a:lnTo>
                <a:lnTo>
                  <a:pt x="321" y="336"/>
                </a:lnTo>
                <a:lnTo>
                  <a:pt x="326" y="343"/>
                </a:lnTo>
                <a:lnTo>
                  <a:pt x="321" y="351"/>
                </a:lnTo>
                <a:lnTo>
                  <a:pt x="330" y="345"/>
                </a:lnTo>
                <a:lnTo>
                  <a:pt x="332" y="349"/>
                </a:lnTo>
                <a:lnTo>
                  <a:pt x="326" y="353"/>
                </a:lnTo>
                <a:lnTo>
                  <a:pt x="332" y="355"/>
                </a:lnTo>
                <a:lnTo>
                  <a:pt x="334" y="355"/>
                </a:lnTo>
                <a:lnTo>
                  <a:pt x="332" y="362"/>
                </a:lnTo>
                <a:lnTo>
                  <a:pt x="334" y="370"/>
                </a:lnTo>
                <a:lnTo>
                  <a:pt x="336" y="370"/>
                </a:lnTo>
                <a:lnTo>
                  <a:pt x="338" y="383"/>
                </a:lnTo>
                <a:lnTo>
                  <a:pt x="338" y="383"/>
                </a:lnTo>
                <a:lnTo>
                  <a:pt x="332" y="383"/>
                </a:lnTo>
                <a:lnTo>
                  <a:pt x="332" y="390"/>
                </a:lnTo>
                <a:lnTo>
                  <a:pt x="332" y="400"/>
                </a:lnTo>
                <a:lnTo>
                  <a:pt x="179" y="409"/>
                </a:lnTo>
                <a:lnTo>
                  <a:pt x="64" y="413"/>
                </a:lnTo>
                <a:lnTo>
                  <a:pt x="62" y="351"/>
                </a:lnTo>
                <a:lnTo>
                  <a:pt x="38" y="347"/>
                </a:lnTo>
                <a:lnTo>
                  <a:pt x="32" y="353"/>
                </a:lnTo>
                <a:lnTo>
                  <a:pt x="23" y="347"/>
                </a:lnTo>
                <a:lnTo>
                  <a:pt x="23" y="345"/>
                </a:lnTo>
                <a:lnTo>
                  <a:pt x="21" y="343"/>
                </a:lnTo>
                <a:lnTo>
                  <a:pt x="19" y="145"/>
                </a:lnTo>
                <a:lnTo>
                  <a:pt x="15" y="115"/>
                </a:lnTo>
                <a:lnTo>
                  <a:pt x="0" y="19"/>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Ark.</a:t>
            </a:r>
          </a:p>
        </p:txBody>
      </p:sp>
      <p:sp>
        <p:nvSpPr>
          <p:cNvPr id="332" name="Freeform 717"/>
          <p:cNvSpPr>
            <a:spLocks noChangeAspect="1"/>
          </p:cNvSpPr>
          <p:nvPr/>
        </p:nvSpPr>
        <p:spPr bwMode="auto">
          <a:xfrm>
            <a:off x="5214850" y="3159211"/>
            <a:ext cx="508635" cy="904399"/>
          </a:xfrm>
          <a:custGeom>
            <a:avLst/>
            <a:gdLst>
              <a:gd name="T0" fmla="*/ 11 w 356"/>
              <a:gd name="T1" fmla="*/ 250 h 633"/>
              <a:gd name="T2" fmla="*/ 30 w 356"/>
              <a:gd name="T3" fmla="*/ 228 h 633"/>
              <a:gd name="T4" fmla="*/ 32 w 356"/>
              <a:gd name="T5" fmla="*/ 209 h 633"/>
              <a:gd name="T6" fmla="*/ 28 w 356"/>
              <a:gd name="T7" fmla="*/ 164 h 633"/>
              <a:gd name="T8" fmla="*/ 60 w 356"/>
              <a:gd name="T9" fmla="*/ 137 h 633"/>
              <a:gd name="T10" fmla="*/ 90 w 356"/>
              <a:gd name="T11" fmla="*/ 120 h 633"/>
              <a:gd name="T12" fmla="*/ 102 w 356"/>
              <a:gd name="T13" fmla="*/ 69 h 633"/>
              <a:gd name="T14" fmla="*/ 85 w 356"/>
              <a:gd name="T15" fmla="*/ 52 h 633"/>
              <a:gd name="T16" fmla="*/ 62 w 356"/>
              <a:gd name="T17" fmla="*/ 26 h 633"/>
              <a:gd name="T18" fmla="*/ 190 w 356"/>
              <a:gd name="T19" fmla="*/ 9 h 633"/>
              <a:gd name="T20" fmla="*/ 292 w 356"/>
              <a:gd name="T21" fmla="*/ 7 h 633"/>
              <a:gd name="T22" fmla="*/ 301 w 356"/>
              <a:gd name="T23" fmla="*/ 43 h 633"/>
              <a:gd name="T24" fmla="*/ 313 w 356"/>
              <a:gd name="T25" fmla="*/ 69 h 633"/>
              <a:gd name="T26" fmla="*/ 324 w 356"/>
              <a:gd name="T27" fmla="*/ 90 h 633"/>
              <a:gd name="T28" fmla="*/ 345 w 356"/>
              <a:gd name="T29" fmla="*/ 367 h 633"/>
              <a:gd name="T30" fmla="*/ 347 w 356"/>
              <a:gd name="T31" fmla="*/ 390 h 633"/>
              <a:gd name="T32" fmla="*/ 356 w 356"/>
              <a:gd name="T33" fmla="*/ 420 h 633"/>
              <a:gd name="T34" fmla="*/ 345 w 356"/>
              <a:gd name="T35" fmla="*/ 443 h 633"/>
              <a:gd name="T36" fmla="*/ 330 w 356"/>
              <a:gd name="T37" fmla="*/ 473 h 633"/>
              <a:gd name="T38" fmla="*/ 324 w 356"/>
              <a:gd name="T39" fmla="*/ 488 h 633"/>
              <a:gd name="T40" fmla="*/ 320 w 356"/>
              <a:gd name="T41" fmla="*/ 518 h 633"/>
              <a:gd name="T42" fmla="*/ 320 w 356"/>
              <a:gd name="T43" fmla="*/ 535 h 633"/>
              <a:gd name="T44" fmla="*/ 315 w 356"/>
              <a:gd name="T45" fmla="*/ 556 h 633"/>
              <a:gd name="T46" fmla="*/ 301 w 356"/>
              <a:gd name="T47" fmla="*/ 573 h 633"/>
              <a:gd name="T48" fmla="*/ 286 w 356"/>
              <a:gd name="T49" fmla="*/ 588 h 633"/>
              <a:gd name="T50" fmla="*/ 294 w 356"/>
              <a:gd name="T51" fmla="*/ 610 h 633"/>
              <a:gd name="T52" fmla="*/ 275 w 356"/>
              <a:gd name="T53" fmla="*/ 614 h 633"/>
              <a:gd name="T54" fmla="*/ 247 w 356"/>
              <a:gd name="T55" fmla="*/ 605 h 633"/>
              <a:gd name="T56" fmla="*/ 228 w 356"/>
              <a:gd name="T57" fmla="*/ 629 h 633"/>
              <a:gd name="T58" fmla="*/ 215 w 356"/>
              <a:gd name="T59" fmla="*/ 631 h 633"/>
              <a:gd name="T60" fmla="*/ 200 w 356"/>
              <a:gd name="T61" fmla="*/ 595 h 633"/>
              <a:gd name="T62" fmla="*/ 192 w 356"/>
              <a:gd name="T63" fmla="*/ 556 h 633"/>
              <a:gd name="T64" fmla="*/ 173 w 356"/>
              <a:gd name="T65" fmla="*/ 541 h 633"/>
              <a:gd name="T66" fmla="*/ 151 w 356"/>
              <a:gd name="T67" fmla="*/ 529 h 633"/>
              <a:gd name="T68" fmla="*/ 113 w 356"/>
              <a:gd name="T69" fmla="*/ 499 h 633"/>
              <a:gd name="T70" fmla="*/ 117 w 356"/>
              <a:gd name="T71" fmla="*/ 478 h 633"/>
              <a:gd name="T72" fmla="*/ 126 w 356"/>
              <a:gd name="T73" fmla="*/ 441 h 633"/>
              <a:gd name="T74" fmla="*/ 115 w 356"/>
              <a:gd name="T75" fmla="*/ 422 h 633"/>
              <a:gd name="T76" fmla="*/ 98 w 356"/>
              <a:gd name="T77" fmla="*/ 418 h 633"/>
              <a:gd name="T78" fmla="*/ 81 w 356"/>
              <a:gd name="T79" fmla="*/ 420 h 633"/>
              <a:gd name="T80" fmla="*/ 62 w 356"/>
              <a:gd name="T81" fmla="*/ 375 h 633"/>
              <a:gd name="T82" fmla="*/ 34 w 356"/>
              <a:gd name="T83" fmla="*/ 354 h 633"/>
              <a:gd name="T84" fmla="*/ 15 w 356"/>
              <a:gd name="T85" fmla="*/ 331 h 633"/>
              <a:gd name="T86" fmla="*/ 5 w 356"/>
              <a:gd name="T87" fmla="*/ 305 h 633"/>
              <a:gd name="T88" fmla="*/ 2 w 356"/>
              <a:gd name="T89" fmla="*/ 27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6" h="633">
                <a:moveTo>
                  <a:pt x="7" y="262"/>
                </a:moveTo>
                <a:lnTo>
                  <a:pt x="11" y="258"/>
                </a:lnTo>
                <a:lnTo>
                  <a:pt x="11" y="250"/>
                </a:lnTo>
                <a:lnTo>
                  <a:pt x="7" y="243"/>
                </a:lnTo>
                <a:lnTo>
                  <a:pt x="13" y="237"/>
                </a:lnTo>
                <a:lnTo>
                  <a:pt x="30" y="228"/>
                </a:lnTo>
                <a:lnTo>
                  <a:pt x="32" y="220"/>
                </a:lnTo>
                <a:lnTo>
                  <a:pt x="32" y="213"/>
                </a:lnTo>
                <a:lnTo>
                  <a:pt x="32" y="209"/>
                </a:lnTo>
                <a:lnTo>
                  <a:pt x="43" y="194"/>
                </a:lnTo>
                <a:lnTo>
                  <a:pt x="43" y="179"/>
                </a:lnTo>
                <a:lnTo>
                  <a:pt x="28" y="164"/>
                </a:lnTo>
                <a:lnTo>
                  <a:pt x="30" y="152"/>
                </a:lnTo>
                <a:lnTo>
                  <a:pt x="34" y="143"/>
                </a:lnTo>
                <a:lnTo>
                  <a:pt x="60" y="137"/>
                </a:lnTo>
                <a:lnTo>
                  <a:pt x="68" y="133"/>
                </a:lnTo>
                <a:lnTo>
                  <a:pt x="81" y="126"/>
                </a:lnTo>
                <a:lnTo>
                  <a:pt x="90" y="120"/>
                </a:lnTo>
                <a:lnTo>
                  <a:pt x="90" y="105"/>
                </a:lnTo>
                <a:lnTo>
                  <a:pt x="100" y="92"/>
                </a:lnTo>
                <a:lnTo>
                  <a:pt x="102" y="69"/>
                </a:lnTo>
                <a:lnTo>
                  <a:pt x="100" y="62"/>
                </a:lnTo>
                <a:lnTo>
                  <a:pt x="94" y="56"/>
                </a:lnTo>
                <a:lnTo>
                  <a:pt x="85" y="52"/>
                </a:lnTo>
                <a:lnTo>
                  <a:pt x="79" y="45"/>
                </a:lnTo>
                <a:lnTo>
                  <a:pt x="77" y="37"/>
                </a:lnTo>
                <a:lnTo>
                  <a:pt x="62" y="26"/>
                </a:lnTo>
                <a:lnTo>
                  <a:pt x="58" y="20"/>
                </a:lnTo>
                <a:lnTo>
                  <a:pt x="58" y="18"/>
                </a:lnTo>
                <a:lnTo>
                  <a:pt x="190" y="9"/>
                </a:lnTo>
                <a:lnTo>
                  <a:pt x="288" y="0"/>
                </a:lnTo>
                <a:lnTo>
                  <a:pt x="292" y="0"/>
                </a:lnTo>
                <a:lnTo>
                  <a:pt x="292" y="7"/>
                </a:lnTo>
                <a:lnTo>
                  <a:pt x="292" y="22"/>
                </a:lnTo>
                <a:lnTo>
                  <a:pt x="292" y="30"/>
                </a:lnTo>
                <a:lnTo>
                  <a:pt x="301" y="43"/>
                </a:lnTo>
                <a:lnTo>
                  <a:pt x="307" y="49"/>
                </a:lnTo>
                <a:lnTo>
                  <a:pt x="309" y="60"/>
                </a:lnTo>
                <a:lnTo>
                  <a:pt x="313" y="69"/>
                </a:lnTo>
                <a:lnTo>
                  <a:pt x="315" y="75"/>
                </a:lnTo>
                <a:lnTo>
                  <a:pt x="324" y="86"/>
                </a:lnTo>
                <a:lnTo>
                  <a:pt x="324" y="90"/>
                </a:lnTo>
                <a:lnTo>
                  <a:pt x="347" y="352"/>
                </a:lnTo>
                <a:lnTo>
                  <a:pt x="341" y="360"/>
                </a:lnTo>
                <a:lnTo>
                  <a:pt x="345" y="367"/>
                </a:lnTo>
                <a:lnTo>
                  <a:pt x="341" y="375"/>
                </a:lnTo>
                <a:lnTo>
                  <a:pt x="341" y="382"/>
                </a:lnTo>
                <a:lnTo>
                  <a:pt x="347" y="390"/>
                </a:lnTo>
                <a:lnTo>
                  <a:pt x="354" y="399"/>
                </a:lnTo>
                <a:lnTo>
                  <a:pt x="352" y="405"/>
                </a:lnTo>
                <a:lnTo>
                  <a:pt x="356" y="420"/>
                </a:lnTo>
                <a:lnTo>
                  <a:pt x="356" y="429"/>
                </a:lnTo>
                <a:lnTo>
                  <a:pt x="354" y="429"/>
                </a:lnTo>
                <a:lnTo>
                  <a:pt x="345" y="443"/>
                </a:lnTo>
                <a:lnTo>
                  <a:pt x="345" y="452"/>
                </a:lnTo>
                <a:lnTo>
                  <a:pt x="337" y="467"/>
                </a:lnTo>
                <a:lnTo>
                  <a:pt x="330" y="473"/>
                </a:lnTo>
                <a:lnTo>
                  <a:pt x="324" y="480"/>
                </a:lnTo>
                <a:lnTo>
                  <a:pt x="322" y="486"/>
                </a:lnTo>
                <a:lnTo>
                  <a:pt x="324" y="488"/>
                </a:lnTo>
                <a:lnTo>
                  <a:pt x="322" y="503"/>
                </a:lnTo>
                <a:lnTo>
                  <a:pt x="320" y="503"/>
                </a:lnTo>
                <a:lnTo>
                  <a:pt x="320" y="518"/>
                </a:lnTo>
                <a:lnTo>
                  <a:pt x="315" y="524"/>
                </a:lnTo>
                <a:lnTo>
                  <a:pt x="320" y="533"/>
                </a:lnTo>
                <a:lnTo>
                  <a:pt x="320" y="535"/>
                </a:lnTo>
                <a:lnTo>
                  <a:pt x="318" y="541"/>
                </a:lnTo>
                <a:lnTo>
                  <a:pt x="313" y="548"/>
                </a:lnTo>
                <a:lnTo>
                  <a:pt x="315" y="556"/>
                </a:lnTo>
                <a:lnTo>
                  <a:pt x="320" y="565"/>
                </a:lnTo>
                <a:lnTo>
                  <a:pt x="315" y="571"/>
                </a:lnTo>
                <a:lnTo>
                  <a:pt x="301" y="573"/>
                </a:lnTo>
                <a:lnTo>
                  <a:pt x="294" y="580"/>
                </a:lnTo>
                <a:lnTo>
                  <a:pt x="288" y="582"/>
                </a:lnTo>
                <a:lnTo>
                  <a:pt x="286" y="588"/>
                </a:lnTo>
                <a:lnTo>
                  <a:pt x="286" y="597"/>
                </a:lnTo>
                <a:lnTo>
                  <a:pt x="292" y="603"/>
                </a:lnTo>
                <a:lnTo>
                  <a:pt x="294" y="610"/>
                </a:lnTo>
                <a:lnTo>
                  <a:pt x="288" y="620"/>
                </a:lnTo>
                <a:lnTo>
                  <a:pt x="281" y="618"/>
                </a:lnTo>
                <a:lnTo>
                  <a:pt x="275" y="614"/>
                </a:lnTo>
                <a:lnTo>
                  <a:pt x="260" y="610"/>
                </a:lnTo>
                <a:lnTo>
                  <a:pt x="254" y="605"/>
                </a:lnTo>
                <a:lnTo>
                  <a:pt x="247" y="605"/>
                </a:lnTo>
                <a:lnTo>
                  <a:pt x="239" y="607"/>
                </a:lnTo>
                <a:lnTo>
                  <a:pt x="228" y="622"/>
                </a:lnTo>
                <a:lnTo>
                  <a:pt x="228" y="629"/>
                </a:lnTo>
                <a:lnTo>
                  <a:pt x="232" y="633"/>
                </a:lnTo>
                <a:lnTo>
                  <a:pt x="224" y="629"/>
                </a:lnTo>
                <a:lnTo>
                  <a:pt x="215" y="631"/>
                </a:lnTo>
                <a:lnTo>
                  <a:pt x="205" y="616"/>
                </a:lnTo>
                <a:lnTo>
                  <a:pt x="196" y="601"/>
                </a:lnTo>
                <a:lnTo>
                  <a:pt x="200" y="595"/>
                </a:lnTo>
                <a:lnTo>
                  <a:pt x="203" y="586"/>
                </a:lnTo>
                <a:lnTo>
                  <a:pt x="194" y="573"/>
                </a:lnTo>
                <a:lnTo>
                  <a:pt x="192" y="556"/>
                </a:lnTo>
                <a:lnTo>
                  <a:pt x="186" y="554"/>
                </a:lnTo>
                <a:lnTo>
                  <a:pt x="177" y="550"/>
                </a:lnTo>
                <a:lnTo>
                  <a:pt x="173" y="541"/>
                </a:lnTo>
                <a:lnTo>
                  <a:pt x="162" y="535"/>
                </a:lnTo>
                <a:lnTo>
                  <a:pt x="154" y="537"/>
                </a:lnTo>
                <a:lnTo>
                  <a:pt x="151" y="529"/>
                </a:lnTo>
                <a:lnTo>
                  <a:pt x="147" y="529"/>
                </a:lnTo>
                <a:lnTo>
                  <a:pt x="126" y="514"/>
                </a:lnTo>
                <a:lnTo>
                  <a:pt x="113" y="499"/>
                </a:lnTo>
                <a:lnTo>
                  <a:pt x="111" y="492"/>
                </a:lnTo>
                <a:lnTo>
                  <a:pt x="113" y="484"/>
                </a:lnTo>
                <a:lnTo>
                  <a:pt x="117" y="478"/>
                </a:lnTo>
                <a:lnTo>
                  <a:pt x="120" y="465"/>
                </a:lnTo>
                <a:lnTo>
                  <a:pt x="126" y="454"/>
                </a:lnTo>
                <a:lnTo>
                  <a:pt x="126" y="441"/>
                </a:lnTo>
                <a:lnTo>
                  <a:pt x="130" y="433"/>
                </a:lnTo>
                <a:lnTo>
                  <a:pt x="130" y="431"/>
                </a:lnTo>
                <a:lnTo>
                  <a:pt x="115" y="422"/>
                </a:lnTo>
                <a:lnTo>
                  <a:pt x="109" y="420"/>
                </a:lnTo>
                <a:lnTo>
                  <a:pt x="102" y="418"/>
                </a:lnTo>
                <a:lnTo>
                  <a:pt x="98" y="418"/>
                </a:lnTo>
                <a:lnTo>
                  <a:pt x="94" y="424"/>
                </a:lnTo>
                <a:lnTo>
                  <a:pt x="85" y="426"/>
                </a:lnTo>
                <a:lnTo>
                  <a:pt x="81" y="420"/>
                </a:lnTo>
                <a:lnTo>
                  <a:pt x="73" y="388"/>
                </a:lnTo>
                <a:lnTo>
                  <a:pt x="68" y="382"/>
                </a:lnTo>
                <a:lnTo>
                  <a:pt x="62" y="375"/>
                </a:lnTo>
                <a:lnTo>
                  <a:pt x="45" y="365"/>
                </a:lnTo>
                <a:lnTo>
                  <a:pt x="41" y="358"/>
                </a:lnTo>
                <a:lnTo>
                  <a:pt x="34" y="354"/>
                </a:lnTo>
                <a:lnTo>
                  <a:pt x="26" y="346"/>
                </a:lnTo>
                <a:lnTo>
                  <a:pt x="17" y="339"/>
                </a:lnTo>
                <a:lnTo>
                  <a:pt x="15" y="331"/>
                </a:lnTo>
                <a:lnTo>
                  <a:pt x="11" y="324"/>
                </a:lnTo>
                <a:lnTo>
                  <a:pt x="7" y="309"/>
                </a:lnTo>
                <a:lnTo>
                  <a:pt x="5" y="305"/>
                </a:lnTo>
                <a:lnTo>
                  <a:pt x="0" y="292"/>
                </a:lnTo>
                <a:lnTo>
                  <a:pt x="0" y="277"/>
                </a:lnTo>
                <a:lnTo>
                  <a:pt x="2" y="271"/>
                </a:lnTo>
                <a:lnTo>
                  <a:pt x="7" y="262"/>
                </a:lnTo>
              </a:path>
            </a:pathLst>
          </a:custGeom>
          <a:solidFill>
            <a:srgbClr val="194196"/>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tx2"/>
                </a:solidFill>
              </a:rPr>
              <a:t> </a:t>
            </a:r>
            <a:r>
              <a:rPr lang="en-US" sz="1000" b="1" dirty="0">
                <a:solidFill>
                  <a:schemeClr val="bg1"/>
                </a:solidFill>
              </a:rPr>
              <a:t>Ill.</a:t>
            </a:r>
          </a:p>
        </p:txBody>
      </p:sp>
      <p:sp>
        <p:nvSpPr>
          <p:cNvPr id="333" name="Freeform 719"/>
          <p:cNvSpPr>
            <a:spLocks noChangeAspect="1"/>
          </p:cNvSpPr>
          <p:nvPr/>
        </p:nvSpPr>
        <p:spPr bwMode="auto">
          <a:xfrm>
            <a:off x="5418222" y="4008320"/>
            <a:ext cx="1082994" cy="385763"/>
          </a:xfrm>
          <a:custGeom>
            <a:avLst/>
            <a:gdLst>
              <a:gd name="T0" fmla="*/ 2 w 758"/>
              <a:gd name="T1" fmla="*/ 268 h 270"/>
              <a:gd name="T2" fmla="*/ 13 w 758"/>
              <a:gd name="T3" fmla="*/ 257 h 270"/>
              <a:gd name="T4" fmla="*/ 21 w 758"/>
              <a:gd name="T5" fmla="*/ 253 h 270"/>
              <a:gd name="T6" fmla="*/ 17 w 758"/>
              <a:gd name="T7" fmla="*/ 225 h 270"/>
              <a:gd name="T8" fmla="*/ 13 w 758"/>
              <a:gd name="T9" fmla="*/ 219 h 270"/>
              <a:gd name="T10" fmla="*/ 21 w 758"/>
              <a:gd name="T11" fmla="*/ 221 h 270"/>
              <a:gd name="T12" fmla="*/ 21 w 758"/>
              <a:gd name="T13" fmla="*/ 208 h 270"/>
              <a:gd name="T14" fmla="*/ 28 w 758"/>
              <a:gd name="T15" fmla="*/ 200 h 270"/>
              <a:gd name="T16" fmla="*/ 28 w 758"/>
              <a:gd name="T17" fmla="*/ 189 h 270"/>
              <a:gd name="T18" fmla="*/ 32 w 758"/>
              <a:gd name="T19" fmla="*/ 185 h 270"/>
              <a:gd name="T20" fmla="*/ 47 w 758"/>
              <a:gd name="T21" fmla="*/ 174 h 270"/>
              <a:gd name="T22" fmla="*/ 49 w 758"/>
              <a:gd name="T23" fmla="*/ 164 h 270"/>
              <a:gd name="T24" fmla="*/ 45 w 758"/>
              <a:gd name="T25" fmla="*/ 153 h 270"/>
              <a:gd name="T26" fmla="*/ 55 w 758"/>
              <a:gd name="T27" fmla="*/ 134 h 270"/>
              <a:gd name="T28" fmla="*/ 57 w 758"/>
              <a:gd name="T29" fmla="*/ 121 h 270"/>
              <a:gd name="T30" fmla="*/ 60 w 758"/>
              <a:gd name="T31" fmla="*/ 110 h 270"/>
              <a:gd name="T32" fmla="*/ 55 w 758"/>
              <a:gd name="T33" fmla="*/ 96 h 270"/>
              <a:gd name="T34" fmla="*/ 62 w 758"/>
              <a:gd name="T35" fmla="*/ 100 h 270"/>
              <a:gd name="T36" fmla="*/ 192 w 758"/>
              <a:gd name="T37" fmla="*/ 85 h 270"/>
              <a:gd name="T38" fmla="*/ 187 w 758"/>
              <a:gd name="T39" fmla="*/ 64 h 270"/>
              <a:gd name="T40" fmla="*/ 211 w 758"/>
              <a:gd name="T41" fmla="*/ 66 h 270"/>
              <a:gd name="T42" fmla="*/ 283 w 758"/>
              <a:gd name="T43" fmla="*/ 59 h 270"/>
              <a:gd name="T44" fmla="*/ 373 w 758"/>
              <a:gd name="T45" fmla="*/ 51 h 270"/>
              <a:gd name="T46" fmla="*/ 441 w 758"/>
              <a:gd name="T47" fmla="*/ 42 h 270"/>
              <a:gd name="T48" fmla="*/ 509 w 758"/>
              <a:gd name="T49" fmla="*/ 36 h 270"/>
              <a:gd name="T50" fmla="*/ 571 w 758"/>
              <a:gd name="T51" fmla="*/ 32 h 270"/>
              <a:gd name="T52" fmla="*/ 607 w 758"/>
              <a:gd name="T53" fmla="*/ 23 h 270"/>
              <a:gd name="T54" fmla="*/ 681 w 758"/>
              <a:gd name="T55" fmla="*/ 12 h 270"/>
              <a:gd name="T56" fmla="*/ 747 w 758"/>
              <a:gd name="T57" fmla="*/ 2 h 270"/>
              <a:gd name="T58" fmla="*/ 754 w 758"/>
              <a:gd name="T59" fmla="*/ 10 h 270"/>
              <a:gd name="T60" fmla="*/ 752 w 758"/>
              <a:gd name="T61" fmla="*/ 32 h 270"/>
              <a:gd name="T62" fmla="*/ 739 w 758"/>
              <a:gd name="T63" fmla="*/ 40 h 270"/>
              <a:gd name="T64" fmla="*/ 726 w 758"/>
              <a:gd name="T65" fmla="*/ 64 h 270"/>
              <a:gd name="T66" fmla="*/ 707 w 758"/>
              <a:gd name="T67" fmla="*/ 64 h 270"/>
              <a:gd name="T68" fmla="*/ 696 w 758"/>
              <a:gd name="T69" fmla="*/ 76 h 270"/>
              <a:gd name="T70" fmla="*/ 686 w 758"/>
              <a:gd name="T71" fmla="*/ 85 h 270"/>
              <a:gd name="T72" fmla="*/ 671 w 758"/>
              <a:gd name="T73" fmla="*/ 81 h 270"/>
              <a:gd name="T74" fmla="*/ 666 w 758"/>
              <a:gd name="T75" fmla="*/ 91 h 270"/>
              <a:gd name="T76" fmla="*/ 656 w 758"/>
              <a:gd name="T77" fmla="*/ 104 h 270"/>
              <a:gd name="T78" fmla="*/ 645 w 758"/>
              <a:gd name="T79" fmla="*/ 110 h 270"/>
              <a:gd name="T80" fmla="*/ 611 w 758"/>
              <a:gd name="T81" fmla="*/ 140 h 270"/>
              <a:gd name="T82" fmla="*/ 592 w 758"/>
              <a:gd name="T83" fmla="*/ 145 h 270"/>
              <a:gd name="T84" fmla="*/ 571 w 758"/>
              <a:gd name="T85" fmla="*/ 159 h 270"/>
              <a:gd name="T86" fmla="*/ 566 w 758"/>
              <a:gd name="T87" fmla="*/ 176 h 270"/>
              <a:gd name="T88" fmla="*/ 545 w 758"/>
              <a:gd name="T89" fmla="*/ 187 h 270"/>
              <a:gd name="T90" fmla="*/ 509 w 758"/>
              <a:gd name="T91" fmla="*/ 219 h 270"/>
              <a:gd name="T92" fmla="*/ 326 w 758"/>
              <a:gd name="T93" fmla="*/ 243 h 270"/>
              <a:gd name="T94" fmla="*/ 194 w 758"/>
              <a:gd name="T95" fmla="*/ 255 h 270"/>
              <a:gd name="T96" fmla="*/ 126 w 758"/>
              <a:gd name="T97" fmla="*/ 26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270">
                <a:moveTo>
                  <a:pt x="0" y="270"/>
                </a:moveTo>
                <a:lnTo>
                  <a:pt x="2" y="268"/>
                </a:lnTo>
                <a:lnTo>
                  <a:pt x="8" y="264"/>
                </a:lnTo>
                <a:lnTo>
                  <a:pt x="13" y="257"/>
                </a:lnTo>
                <a:lnTo>
                  <a:pt x="19" y="255"/>
                </a:lnTo>
                <a:lnTo>
                  <a:pt x="21" y="253"/>
                </a:lnTo>
                <a:lnTo>
                  <a:pt x="17" y="234"/>
                </a:lnTo>
                <a:lnTo>
                  <a:pt x="17" y="225"/>
                </a:lnTo>
                <a:lnTo>
                  <a:pt x="11" y="228"/>
                </a:lnTo>
                <a:lnTo>
                  <a:pt x="13" y="219"/>
                </a:lnTo>
                <a:lnTo>
                  <a:pt x="19" y="217"/>
                </a:lnTo>
                <a:lnTo>
                  <a:pt x="21" y="221"/>
                </a:lnTo>
                <a:lnTo>
                  <a:pt x="23" y="215"/>
                </a:lnTo>
                <a:lnTo>
                  <a:pt x="21" y="208"/>
                </a:lnTo>
                <a:lnTo>
                  <a:pt x="26" y="206"/>
                </a:lnTo>
                <a:lnTo>
                  <a:pt x="28" y="200"/>
                </a:lnTo>
                <a:lnTo>
                  <a:pt x="34" y="196"/>
                </a:lnTo>
                <a:lnTo>
                  <a:pt x="28" y="189"/>
                </a:lnTo>
                <a:lnTo>
                  <a:pt x="28" y="187"/>
                </a:lnTo>
                <a:lnTo>
                  <a:pt x="32" y="185"/>
                </a:lnTo>
                <a:lnTo>
                  <a:pt x="38" y="181"/>
                </a:lnTo>
                <a:lnTo>
                  <a:pt x="47" y="174"/>
                </a:lnTo>
                <a:lnTo>
                  <a:pt x="43" y="168"/>
                </a:lnTo>
                <a:lnTo>
                  <a:pt x="49" y="164"/>
                </a:lnTo>
                <a:lnTo>
                  <a:pt x="49" y="157"/>
                </a:lnTo>
                <a:lnTo>
                  <a:pt x="45" y="153"/>
                </a:lnTo>
                <a:lnTo>
                  <a:pt x="51" y="142"/>
                </a:lnTo>
                <a:lnTo>
                  <a:pt x="55" y="134"/>
                </a:lnTo>
                <a:lnTo>
                  <a:pt x="47" y="127"/>
                </a:lnTo>
                <a:lnTo>
                  <a:pt x="57" y="121"/>
                </a:lnTo>
                <a:lnTo>
                  <a:pt x="53" y="113"/>
                </a:lnTo>
                <a:lnTo>
                  <a:pt x="60" y="110"/>
                </a:lnTo>
                <a:lnTo>
                  <a:pt x="57" y="104"/>
                </a:lnTo>
                <a:lnTo>
                  <a:pt x="55" y="96"/>
                </a:lnTo>
                <a:lnTo>
                  <a:pt x="62" y="96"/>
                </a:lnTo>
                <a:lnTo>
                  <a:pt x="62" y="100"/>
                </a:lnTo>
                <a:lnTo>
                  <a:pt x="68" y="96"/>
                </a:lnTo>
                <a:lnTo>
                  <a:pt x="192" y="85"/>
                </a:lnTo>
                <a:lnTo>
                  <a:pt x="192" y="76"/>
                </a:lnTo>
                <a:lnTo>
                  <a:pt x="187" y="64"/>
                </a:lnTo>
                <a:lnTo>
                  <a:pt x="202" y="64"/>
                </a:lnTo>
                <a:lnTo>
                  <a:pt x="211" y="66"/>
                </a:lnTo>
                <a:lnTo>
                  <a:pt x="247" y="61"/>
                </a:lnTo>
                <a:lnTo>
                  <a:pt x="283" y="59"/>
                </a:lnTo>
                <a:lnTo>
                  <a:pt x="328" y="53"/>
                </a:lnTo>
                <a:lnTo>
                  <a:pt x="373" y="51"/>
                </a:lnTo>
                <a:lnTo>
                  <a:pt x="417" y="47"/>
                </a:lnTo>
                <a:lnTo>
                  <a:pt x="441" y="42"/>
                </a:lnTo>
                <a:lnTo>
                  <a:pt x="481" y="40"/>
                </a:lnTo>
                <a:lnTo>
                  <a:pt x="509" y="36"/>
                </a:lnTo>
                <a:lnTo>
                  <a:pt x="539" y="34"/>
                </a:lnTo>
                <a:lnTo>
                  <a:pt x="571" y="32"/>
                </a:lnTo>
                <a:lnTo>
                  <a:pt x="579" y="27"/>
                </a:lnTo>
                <a:lnTo>
                  <a:pt x="607" y="23"/>
                </a:lnTo>
                <a:lnTo>
                  <a:pt x="622" y="23"/>
                </a:lnTo>
                <a:lnTo>
                  <a:pt x="681" y="12"/>
                </a:lnTo>
                <a:lnTo>
                  <a:pt x="718" y="8"/>
                </a:lnTo>
                <a:lnTo>
                  <a:pt x="747" y="2"/>
                </a:lnTo>
                <a:lnTo>
                  <a:pt x="758" y="0"/>
                </a:lnTo>
                <a:lnTo>
                  <a:pt x="754" y="10"/>
                </a:lnTo>
                <a:lnTo>
                  <a:pt x="754" y="17"/>
                </a:lnTo>
                <a:lnTo>
                  <a:pt x="752" y="32"/>
                </a:lnTo>
                <a:lnTo>
                  <a:pt x="745" y="34"/>
                </a:lnTo>
                <a:lnTo>
                  <a:pt x="739" y="40"/>
                </a:lnTo>
                <a:lnTo>
                  <a:pt x="735" y="55"/>
                </a:lnTo>
                <a:lnTo>
                  <a:pt x="726" y="64"/>
                </a:lnTo>
                <a:lnTo>
                  <a:pt x="720" y="59"/>
                </a:lnTo>
                <a:lnTo>
                  <a:pt x="707" y="64"/>
                </a:lnTo>
                <a:lnTo>
                  <a:pt x="701" y="70"/>
                </a:lnTo>
                <a:lnTo>
                  <a:pt x="696" y="76"/>
                </a:lnTo>
                <a:lnTo>
                  <a:pt x="690" y="85"/>
                </a:lnTo>
                <a:lnTo>
                  <a:pt x="686" y="85"/>
                </a:lnTo>
                <a:lnTo>
                  <a:pt x="679" y="76"/>
                </a:lnTo>
                <a:lnTo>
                  <a:pt x="671" y="81"/>
                </a:lnTo>
                <a:lnTo>
                  <a:pt x="669" y="85"/>
                </a:lnTo>
                <a:lnTo>
                  <a:pt x="666" y="91"/>
                </a:lnTo>
                <a:lnTo>
                  <a:pt x="660" y="89"/>
                </a:lnTo>
                <a:lnTo>
                  <a:pt x="656" y="104"/>
                </a:lnTo>
                <a:lnTo>
                  <a:pt x="652" y="110"/>
                </a:lnTo>
                <a:lnTo>
                  <a:pt x="645" y="110"/>
                </a:lnTo>
                <a:lnTo>
                  <a:pt x="632" y="121"/>
                </a:lnTo>
                <a:lnTo>
                  <a:pt x="611" y="140"/>
                </a:lnTo>
                <a:lnTo>
                  <a:pt x="605" y="145"/>
                </a:lnTo>
                <a:lnTo>
                  <a:pt x="592" y="145"/>
                </a:lnTo>
                <a:lnTo>
                  <a:pt x="577" y="153"/>
                </a:lnTo>
                <a:lnTo>
                  <a:pt x="571" y="159"/>
                </a:lnTo>
                <a:lnTo>
                  <a:pt x="566" y="168"/>
                </a:lnTo>
                <a:lnTo>
                  <a:pt x="566" y="176"/>
                </a:lnTo>
                <a:lnTo>
                  <a:pt x="560" y="185"/>
                </a:lnTo>
                <a:lnTo>
                  <a:pt x="545" y="187"/>
                </a:lnTo>
                <a:lnTo>
                  <a:pt x="545" y="217"/>
                </a:lnTo>
                <a:lnTo>
                  <a:pt x="509" y="219"/>
                </a:lnTo>
                <a:lnTo>
                  <a:pt x="428" y="230"/>
                </a:lnTo>
                <a:lnTo>
                  <a:pt x="326" y="243"/>
                </a:lnTo>
                <a:lnTo>
                  <a:pt x="194" y="253"/>
                </a:lnTo>
                <a:lnTo>
                  <a:pt x="194" y="255"/>
                </a:lnTo>
                <a:lnTo>
                  <a:pt x="194" y="255"/>
                </a:lnTo>
                <a:lnTo>
                  <a:pt x="126" y="262"/>
                </a:lnTo>
                <a:lnTo>
                  <a:pt x="0" y="270"/>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Tenn.</a:t>
            </a:r>
          </a:p>
        </p:txBody>
      </p:sp>
      <p:sp>
        <p:nvSpPr>
          <p:cNvPr id="334" name="Freeform 723"/>
          <p:cNvSpPr>
            <a:spLocks noChangeAspect="1"/>
          </p:cNvSpPr>
          <p:nvPr/>
        </p:nvSpPr>
        <p:spPr bwMode="auto">
          <a:xfrm>
            <a:off x="5513481" y="3656489"/>
            <a:ext cx="921545" cy="487206"/>
          </a:xfrm>
          <a:custGeom>
            <a:avLst/>
            <a:gdLst>
              <a:gd name="T0" fmla="*/ 11 w 645"/>
              <a:gd name="T1" fmla="*/ 328 h 341"/>
              <a:gd name="T2" fmla="*/ 17 w 645"/>
              <a:gd name="T3" fmla="*/ 313 h 341"/>
              <a:gd name="T4" fmla="*/ 24 w 645"/>
              <a:gd name="T5" fmla="*/ 289 h 341"/>
              <a:gd name="T6" fmla="*/ 17 w 645"/>
              <a:gd name="T7" fmla="*/ 272 h 341"/>
              <a:gd name="T8" fmla="*/ 43 w 645"/>
              <a:gd name="T9" fmla="*/ 255 h 341"/>
              <a:gd name="T10" fmla="*/ 70 w 645"/>
              <a:gd name="T11" fmla="*/ 268 h 341"/>
              <a:gd name="T12" fmla="*/ 81 w 645"/>
              <a:gd name="T13" fmla="*/ 253 h 341"/>
              <a:gd name="T14" fmla="*/ 77 w 645"/>
              <a:gd name="T15" fmla="*/ 232 h 341"/>
              <a:gd name="T16" fmla="*/ 104 w 645"/>
              <a:gd name="T17" fmla="*/ 221 h 341"/>
              <a:gd name="T18" fmla="*/ 102 w 645"/>
              <a:gd name="T19" fmla="*/ 198 h 341"/>
              <a:gd name="T20" fmla="*/ 109 w 645"/>
              <a:gd name="T21" fmla="*/ 183 h 341"/>
              <a:gd name="T22" fmla="*/ 119 w 645"/>
              <a:gd name="T23" fmla="*/ 170 h 341"/>
              <a:gd name="T24" fmla="*/ 141 w 645"/>
              <a:gd name="T25" fmla="*/ 174 h 341"/>
              <a:gd name="T26" fmla="*/ 156 w 645"/>
              <a:gd name="T27" fmla="*/ 164 h 341"/>
              <a:gd name="T28" fmla="*/ 192 w 645"/>
              <a:gd name="T29" fmla="*/ 174 h 341"/>
              <a:gd name="T30" fmla="*/ 200 w 645"/>
              <a:gd name="T31" fmla="*/ 160 h 341"/>
              <a:gd name="T32" fmla="*/ 219 w 645"/>
              <a:gd name="T33" fmla="*/ 157 h 341"/>
              <a:gd name="T34" fmla="*/ 236 w 645"/>
              <a:gd name="T35" fmla="*/ 157 h 341"/>
              <a:gd name="T36" fmla="*/ 247 w 645"/>
              <a:gd name="T37" fmla="*/ 134 h 341"/>
              <a:gd name="T38" fmla="*/ 258 w 645"/>
              <a:gd name="T39" fmla="*/ 128 h 341"/>
              <a:gd name="T40" fmla="*/ 285 w 645"/>
              <a:gd name="T41" fmla="*/ 142 h 341"/>
              <a:gd name="T42" fmla="*/ 292 w 645"/>
              <a:gd name="T43" fmla="*/ 123 h 341"/>
              <a:gd name="T44" fmla="*/ 313 w 645"/>
              <a:gd name="T45" fmla="*/ 102 h 341"/>
              <a:gd name="T46" fmla="*/ 328 w 645"/>
              <a:gd name="T47" fmla="*/ 76 h 341"/>
              <a:gd name="T48" fmla="*/ 326 w 645"/>
              <a:gd name="T49" fmla="*/ 53 h 341"/>
              <a:gd name="T50" fmla="*/ 347 w 645"/>
              <a:gd name="T51" fmla="*/ 55 h 341"/>
              <a:gd name="T52" fmla="*/ 379 w 645"/>
              <a:gd name="T53" fmla="*/ 34 h 341"/>
              <a:gd name="T54" fmla="*/ 371 w 645"/>
              <a:gd name="T55" fmla="*/ 10 h 341"/>
              <a:gd name="T56" fmla="*/ 390 w 645"/>
              <a:gd name="T57" fmla="*/ 6 h 341"/>
              <a:gd name="T58" fmla="*/ 424 w 645"/>
              <a:gd name="T59" fmla="*/ 17 h 341"/>
              <a:gd name="T60" fmla="*/ 456 w 645"/>
              <a:gd name="T61" fmla="*/ 32 h 341"/>
              <a:gd name="T62" fmla="*/ 483 w 645"/>
              <a:gd name="T63" fmla="*/ 42 h 341"/>
              <a:gd name="T64" fmla="*/ 503 w 645"/>
              <a:gd name="T65" fmla="*/ 38 h 341"/>
              <a:gd name="T66" fmla="*/ 524 w 645"/>
              <a:gd name="T67" fmla="*/ 40 h 341"/>
              <a:gd name="T68" fmla="*/ 545 w 645"/>
              <a:gd name="T69" fmla="*/ 21 h 341"/>
              <a:gd name="T70" fmla="*/ 564 w 645"/>
              <a:gd name="T71" fmla="*/ 42 h 341"/>
              <a:gd name="T72" fmla="*/ 577 w 645"/>
              <a:gd name="T73" fmla="*/ 59 h 341"/>
              <a:gd name="T74" fmla="*/ 577 w 645"/>
              <a:gd name="T75" fmla="*/ 85 h 341"/>
              <a:gd name="T76" fmla="*/ 601 w 645"/>
              <a:gd name="T77" fmla="*/ 115 h 341"/>
              <a:gd name="T78" fmla="*/ 645 w 645"/>
              <a:gd name="T79" fmla="*/ 145 h 341"/>
              <a:gd name="T80" fmla="*/ 588 w 645"/>
              <a:gd name="T81" fmla="*/ 204 h 341"/>
              <a:gd name="T82" fmla="*/ 579 w 645"/>
              <a:gd name="T83" fmla="*/ 226 h 341"/>
              <a:gd name="T84" fmla="*/ 558 w 645"/>
              <a:gd name="T85" fmla="*/ 240 h 341"/>
              <a:gd name="T86" fmla="*/ 532 w 645"/>
              <a:gd name="T87" fmla="*/ 262 h 341"/>
              <a:gd name="T88" fmla="*/ 503 w 645"/>
              <a:gd name="T89" fmla="*/ 277 h 341"/>
              <a:gd name="T90" fmla="*/ 413 w 645"/>
              <a:gd name="T91" fmla="*/ 285 h 341"/>
              <a:gd name="T92" fmla="*/ 305 w 645"/>
              <a:gd name="T93" fmla="*/ 296 h 341"/>
              <a:gd name="T94" fmla="*/ 179 w 645"/>
              <a:gd name="T95" fmla="*/ 306 h 341"/>
              <a:gd name="T96" fmla="*/ 119 w 645"/>
              <a:gd name="T97" fmla="*/ 309 h 341"/>
              <a:gd name="T98" fmla="*/ 0 w 645"/>
              <a:gd name="T9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5" h="341">
                <a:moveTo>
                  <a:pt x="0" y="341"/>
                </a:moveTo>
                <a:lnTo>
                  <a:pt x="2" y="332"/>
                </a:lnTo>
                <a:lnTo>
                  <a:pt x="11" y="328"/>
                </a:lnTo>
                <a:lnTo>
                  <a:pt x="17" y="330"/>
                </a:lnTo>
                <a:lnTo>
                  <a:pt x="21" y="319"/>
                </a:lnTo>
                <a:lnTo>
                  <a:pt x="17" y="313"/>
                </a:lnTo>
                <a:lnTo>
                  <a:pt x="24" y="309"/>
                </a:lnTo>
                <a:lnTo>
                  <a:pt x="21" y="298"/>
                </a:lnTo>
                <a:lnTo>
                  <a:pt x="24" y="289"/>
                </a:lnTo>
                <a:lnTo>
                  <a:pt x="21" y="283"/>
                </a:lnTo>
                <a:lnTo>
                  <a:pt x="17" y="279"/>
                </a:lnTo>
                <a:lnTo>
                  <a:pt x="17" y="272"/>
                </a:lnTo>
                <a:lnTo>
                  <a:pt x="28" y="257"/>
                </a:lnTo>
                <a:lnTo>
                  <a:pt x="36" y="255"/>
                </a:lnTo>
                <a:lnTo>
                  <a:pt x="43" y="255"/>
                </a:lnTo>
                <a:lnTo>
                  <a:pt x="49" y="260"/>
                </a:lnTo>
                <a:lnTo>
                  <a:pt x="64" y="264"/>
                </a:lnTo>
                <a:lnTo>
                  <a:pt x="70" y="268"/>
                </a:lnTo>
                <a:lnTo>
                  <a:pt x="77" y="270"/>
                </a:lnTo>
                <a:lnTo>
                  <a:pt x="83" y="260"/>
                </a:lnTo>
                <a:lnTo>
                  <a:pt x="81" y="253"/>
                </a:lnTo>
                <a:lnTo>
                  <a:pt x="75" y="247"/>
                </a:lnTo>
                <a:lnTo>
                  <a:pt x="75" y="238"/>
                </a:lnTo>
                <a:lnTo>
                  <a:pt x="77" y="232"/>
                </a:lnTo>
                <a:lnTo>
                  <a:pt x="83" y="230"/>
                </a:lnTo>
                <a:lnTo>
                  <a:pt x="90" y="223"/>
                </a:lnTo>
                <a:lnTo>
                  <a:pt x="104" y="221"/>
                </a:lnTo>
                <a:lnTo>
                  <a:pt x="109" y="215"/>
                </a:lnTo>
                <a:lnTo>
                  <a:pt x="104" y="206"/>
                </a:lnTo>
                <a:lnTo>
                  <a:pt x="102" y="198"/>
                </a:lnTo>
                <a:lnTo>
                  <a:pt x="107" y="191"/>
                </a:lnTo>
                <a:lnTo>
                  <a:pt x="109" y="185"/>
                </a:lnTo>
                <a:lnTo>
                  <a:pt x="109" y="183"/>
                </a:lnTo>
                <a:lnTo>
                  <a:pt x="117" y="183"/>
                </a:lnTo>
                <a:lnTo>
                  <a:pt x="121" y="177"/>
                </a:lnTo>
                <a:lnTo>
                  <a:pt x="119" y="170"/>
                </a:lnTo>
                <a:lnTo>
                  <a:pt x="134" y="172"/>
                </a:lnTo>
                <a:lnTo>
                  <a:pt x="141" y="168"/>
                </a:lnTo>
                <a:lnTo>
                  <a:pt x="141" y="174"/>
                </a:lnTo>
                <a:lnTo>
                  <a:pt x="149" y="172"/>
                </a:lnTo>
                <a:lnTo>
                  <a:pt x="147" y="166"/>
                </a:lnTo>
                <a:lnTo>
                  <a:pt x="156" y="164"/>
                </a:lnTo>
                <a:lnTo>
                  <a:pt x="164" y="162"/>
                </a:lnTo>
                <a:lnTo>
                  <a:pt x="185" y="170"/>
                </a:lnTo>
                <a:lnTo>
                  <a:pt x="192" y="174"/>
                </a:lnTo>
                <a:lnTo>
                  <a:pt x="196" y="168"/>
                </a:lnTo>
                <a:lnTo>
                  <a:pt x="196" y="166"/>
                </a:lnTo>
                <a:lnTo>
                  <a:pt x="200" y="160"/>
                </a:lnTo>
                <a:lnTo>
                  <a:pt x="209" y="155"/>
                </a:lnTo>
                <a:lnTo>
                  <a:pt x="215" y="151"/>
                </a:lnTo>
                <a:lnTo>
                  <a:pt x="219" y="157"/>
                </a:lnTo>
                <a:lnTo>
                  <a:pt x="226" y="160"/>
                </a:lnTo>
                <a:lnTo>
                  <a:pt x="234" y="164"/>
                </a:lnTo>
                <a:lnTo>
                  <a:pt x="236" y="157"/>
                </a:lnTo>
                <a:lnTo>
                  <a:pt x="241" y="149"/>
                </a:lnTo>
                <a:lnTo>
                  <a:pt x="241" y="142"/>
                </a:lnTo>
                <a:lnTo>
                  <a:pt x="247" y="134"/>
                </a:lnTo>
                <a:lnTo>
                  <a:pt x="253" y="130"/>
                </a:lnTo>
                <a:lnTo>
                  <a:pt x="251" y="123"/>
                </a:lnTo>
                <a:lnTo>
                  <a:pt x="258" y="128"/>
                </a:lnTo>
                <a:lnTo>
                  <a:pt x="264" y="138"/>
                </a:lnTo>
                <a:lnTo>
                  <a:pt x="271" y="140"/>
                </a:lnTo>
                <a:lnTo>
                  <a:pt x="285" y="142"/>
                </a:lnTo>
                <a:lnTo>
                  <a:pt x="292" y="138"/>
                </a:lnTo>
                <a:lnTo>
                  <a:pt x="294" y="130"/>
                </a:lnTo>
                <a:lnTo>
                  <a:pt x="292" y="123"/>
                </a:lnTo>
                <a:lnTo>
                  <a:pt x="298" y="108"/>
                </a:lnTo>
                <a:lnTo>
                  <a:pt x="305" y="108"/>
                </a:lnTo>
                <a:lnTo>
                  <a:pt x="313" y="102"/>
                </a:lnTo>
                <a:lnTo>
                  <a:pt x="315" y="87"/>
                </a:lnTo>
                <a:lnTo>
                  <a:pt x="322" y="83"/>
                </a:lnTo>
                <a:lnTo>
                  <a:pt x="328" y="76"/>
                </a:lnTo>
                <a:lnTo>
                  <a:pt x="330" y="70"/>
                </a:lnTo>
                <a:lnTo>
                  <a:pt x="326" y="62"/>
                </a:lnTo>
                <a:lnTo>
                  <a:pt x="326" y="53"/>
                </a:lnTo>
                <a:lnTo>
                  <a:pt x="332" y="53"/>
                </a:lnTo>
                <a:lnTo>
                  <a:pt x="341" y="49"/>
                </a:lnTo>
                <a:lnTo>
                  <a:pt x="347" y="55"/>
                </a:lnTo>
                <a:lnTo>
                  <a:pt x="362" y="44"/>
                </a:lnTo>
                <a:lnTo>
                  <a:pt x="377" y="40"/>
                </a:lnTo>
                <a:lnTo>
                  <a:pt x="379" y="34"/>
                </a:lnTo>
                <a:lnTo>
                  <a:pt x="373" y="25"/>
                </a:lnTo>
                <a:lnTo>
                  <a:pt x="375" y="19"/>
                </a:lnTo>
                <a:lnTo>
                  <a:pt x="371" y="10"/>
                </a:lnTo>
                <a:lnTo>
                  <a:pt x="373" y="6"/>
                </a:lnTo>
                <a:lnTo>
                  <a:pt x="383" y="0"/>
                </a:lnTo>
                <a:lnTo>
                  <a:pt x="390" y="6"/>
                </a:lnTo>
                <a:lnTo>
                  <a:pt x="403" y="2"/>
                </a:lnTo>
                <a:lnTo>
                  <a:pt x="420" y="8"/>
                </a:lnTo>
                <a:lnTo>
                  <a:pt x="424" y="17"/>
                </a:lnTo>
                <a:lnTo>
                  <a:pt x="434" y="32"/>
                </a:lnTo>
                <a:lnTo>
                  <a:pt x="441" y="34"/>
                </a:lnTo>
                <a:lnTo>
                  <a:pt x="456" y="32"/>
                </a:lnTo>
                <a:lnTo>
                  <a:pt x="460" y="32"/>
                </a:lnTo>
                <a:lnTo>
                  <a:pt x="475" y="44"/>
                </a:lnTo>
                <a:lnTo>
                  <a:pt x="483" y="42"/>
                </a:lnTo>
                <a:lnTo>
                  <a:pt x="488" y="36"/>
                </a:lnTo>
                <a:lnTo>
                  <a:pt x="494" y="36"/>
                </a:lnTo>
                <a:lnTo>
                  <a:pt x="503" y="38"/>
                </a:lnTo>
                <a:lnTo>
                  <a:pt x="511" y="42"/>
                </a:lnTo>
                <a:lnTo>
                  <a:pt x="518" y="40"/>
                </a:lnTo>
                <a:lnTo>
                  <a:pt x="524" y="40"/>
                </a:lnTo>
                <a:lnTo>
                  <a:pt x="528" y="34"/>
                </a:lnTo>
                <a:lnTo>
                  <a:pt x="537" y="25"/>
                </a:lnTo>
                <a:lnTo>
                  <a:pt x="545" y="21"/>
                </a:lnTo>
                <a:lnTo>
                  <a:pt x="549" y="34"/>
                </a:lnTo>
                <a:lnTo>
                  <a:pt x="556" y="40"/>
                </a:lnTo>
                <a:lnTo>
                  <a:pt x="564" y="42"/>
                </a:lnTo>
                <a:lnTo>
                  <a:pt x="571" y="49"/>
                </a:lnTo>
                <a:lnTo>
                  <a:pt x="577" y="55"/>
                </a:lnTo>
                <a:lnTo>
                  <a:pt x="577" y="59"/>
                </a:lnTo>
                <a:lnTo>
                  <a:pt x="579" y="64"/>
                </a:lnTo>
                <a:lnTo>
                  <a:pt x="581" y="72"/>
                </a:lnTo>
                <a:lnTo>
                  <a:pt x="577" y="85"/>
                </a:lnTo>
                <a:lnTo>
                  <a:pt x="592" y="102"/>
                </a:lnTo>
                <a:lnTo>
                  <a:pt x="594" y="108"/>
                </a:lnTo>
                <a:lnTo>
                  <a:pt x="601" y="115"/>
                </a:lnTo>
                <a:lnTo>
                  <a:pt x="615" y="134"/>
                </a:lnTo>
                <a:lnTo>
                  <a:pt x="630" y="145"/>
                </a:lnTo>
                <a:lnTo>
                  <a:pt x="645" y="145"/>
                </a:lnTo>
                <a:lnTo>
                  <a:pt x="618" y="179"/>
                </a:lnTo>
                <a:lnTo>
                  <a:pt x="592" y="196"/>
                </a:lnTo>
                <a:lnTo>
                  <a:pt x="588" y="204"/>
                </a:lnTo>
                <a:lnTo>
                  <a:pt x="588" y="213"/>
                </a:lnTo>
                <a:lnTo>
                  <a:pt x="579" y="219"/>
                </a:lnTo>
                <a:lnTo>
                  <a:pt x="579" y="226"/>
                </a:lnTo>
                <a:lnTo>
                  <a:pt x="573" y="232"/>
                </a:lnTo>
                <a:lnTo>
                  <a:pt x="567" y="236"/>
                </a:lnTo>
                <a:lnTo>
                  <a:pt x="558" y="240"/>
                </a:lnTo>
                <a:lnTo>
                  <a:pt x="558" y="249"/>
                </a:lnTo>
                <a:lnTo>
                  <a:pt x="541" y="255"/>
                </a:lnTo>
                <a:lnTo>
                  <a:pt x="532" y="262"/>
                </a:lnTo>
                <a:lnTo>
                  <a:pt x="526" y="262"/>
                </a:lnTo>
                <a:lnTo>
                  <a:pt x="511" y="272"/>
                </a:lnTo>
                <a:lnTo>
                  <a:pt x="503" y="277"/>
                </a:lnTo>
                <a:lnTo>
                  <a:pt x="471" y="279"/>
                </a:lnTo>
                <a:lnTo>
                  <a:pt x="441" y="281"/>
                </a:lnTo>
                <a:lnTo>
                  <a:pt x="413" y="285"/>
                </a:lnTo>
                <a:lnTo>
                  <a:pt x="373" y="287"/>
                </a:lnTo>
                <a:lnTo>
                  <a:pt x="349" y="292"/>
                </a:lnTo>
                <a:lnTo>
                  <a:pt x="305" y="296"/>
                </a:lnTo>
                <a:lnTo>
                  <a:pt x="260" y="298"/>
                </a:lnTo>
                <a:lnTo>
                  <a:pt x="215" y="304"/>
                </a:lnTo>
                <a:lnTo>
                  <a:pt x="179" y="306"/>
                </a:lnTo>
                <a:lnTo>
                  <a:pt x="143" y="311"/>
                </a:lnTo>
                <a:lnTo>
                  <a:pt x="134" y="309"/>
                </a:lnTo>
                <a:lnTo>
                  <a:pt x="119" y="309"/>
                </a:lnTo>
                <a:lnTo>
                  <a:pt x="124" y="321"/>
                </a:lnTo>
                <a:lnTo>
                  <a:pt x="124" y="330"/>
                </a:lnTo>
                <a:lnTo>
                  <a:pt x="0" y="341"/>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tx2"/>
                </a:solidFill>
              </a:rPr>
              <a:t>        </a:t>
            </a:r>
            <a:r>
              <a:rPr lang="en-US" sz="1000" b="1" dirty="0">
                <a:solidFill>
                  <a:schemeClr val="bg1"/>
                </a:solidFill>
              </a:rPr>
              <a:t>Ky.</a:t>
            </a:r>
          </a:p>
        </p:txBody>
      </p:sp>
      <p:sp>
        <p:nvSpPr>
          <p:cNvPr id="335" name="Freeform 725"/>
          <p:cNvSpPr>
            <a:spLocks noChangeAspect="1"/>
          </p:cNvSpPr>
          <p:nvPr/>
        </p:nvSpPr>
        <p:spPr bwMode="auto">
          <a:xfrm>
            <a:off x="5662169" y="3240444"/>
            <a:ext cx="392905" cy="681516"/>
          </a:xfrm>
          <a:custGeom>
            <a:avLst/>
            <a:gdLst>
              <a:gd name="T0" fmla="*/ 0 w 275"/>
              <a:gd name="T1" fmla="*/ 468 h 477"/>
              <a:gd name="T2" fmla="*/ 5 w 275"/>
              <a:gd name="T3" fmla="*/ 447 h 477"/>
              <a:gd name="T4" fmla="*/ 9 w 275"/>
              <a:gd name="T5" fmla="*/ 432 h 477"/>
              <a:gd name="T6" fmla="*/ 9 w 275"/>
              <a:gd name="T7" fmla="*/ 424 h 477"/>
              <a:gd name="T8" fmla="*/ 22 w 275"/>
              <a:gd name="T9" fmla="*/ 411 h 477"/>
              <a:gd name="T10" fmla="*/ 30 w 275"/>
              <a:gd name="T11" fmla="*/ 387 h 477"/>
              <a:gd name="T12" fmla="*/ 41 w 275"/>
              <a:gd name="T13" fmla="*/ 373 h 477"/>
              <a:gd name="T14" fmla="*/ 37 w 275"/>
              <a:gd name="T15" fmla="*/ 349 h 477"/>
              <a:gd name="T16" fmla="*/ 32 w 275"/>
              <a:gd name="T17" fmla="*/ 334 h 477"/>
              <a:gd name="T18" fmla="*/ 26 w 275"/>
              <a:gd name="T19" fmla="*/ 319 h 477"/>
              <a:gd name="T20" fmla="*/ 26 w 275"/>
              <a:gd name="T21" fmla="*/ 304 h 477"/>
              <a:gd name="T22" fmla="*/ 9 w 275"/>
              <a:gd name="T23" fmla="*/ 34 h 477"/>
              <a:gd name="T24" fmla="*/ 17 w 275"/>
              <a:gd name="T25" fmla="*/ 38 h 477"/>
              <a:gd name="T26" fmla="*/ 35 w 275"/>
              <a:gd name="T27" fmla="*/ 38 h 477"/>
              <a:gd name="T28" fmla="*/ 64 w 275"/>
              <a:gd name="T29" fmla="*/ 19 h 477"/>
              <a:gd name="T30" fmla="*/ 109 w 275"/>
              <a:gd name="T31" fmla="*/ 15 h 477"/>
              <a:gd name="T32" fmla="*/ 235 w 275"/>
              <a:gd name="T33" fmla="*/ 6 h 477"/>
              <a:gd name="T34" fmla="*/ 269 w 275"/>
              <a:gd name="T35" fmla="*/ 300 h 477"/>
              <a:gd name="T36" fmla="*/ 271 w 275"/>
              <a:gd name="T37" fmla="*/ 313 h 477"/>
              <a:gd name="T38" fmla="*/ 275 w 275"/>
              <a:gd name="T39" fmla="*/ 328 h 477"/>
              <a:gd name="T40" fmla="*/ 258 w 275"/>
              <a:gd name="T41" fmla="*/ 338 h 477"/>
              <a:gd name="T42" fmla="*/ 237 w 275"/>
              <a:gd name="T43" fmla="*/ 343 h 477"/>
              <a:gd name="T44" fmla="*/ 222 w 275"/>
              <a:gd name="T45" fmla="*/ 347 h 477"/>
              <a:gd name="T46" fmla="*/ 226 w 275"/>
              <a:gd name="T47" fmla="*/ 364 h 477"/>
              <a:gd name="T48" fmla="*/ 218 w 275"/>
              <a:gd name="T49" fmla="*/ 377 h 477"/>
              <a:gd name="T50" fmla="*/ 209 w 275"/>
              <a:gd name="T51" fmla="*/ 396 h 477"/>
              <a:gd name="T52" fmla="*/ 194 w 275"/>
              <a:gd name="T53" fmla="*/ 402 h 477"/>
              <a:gd name="T54" fmla="*/ 190 w 275"/>
              <a:gd name="T55" fmla="*/ 424 h 477"/>
              <a:gd name="T56" fmla="*/ 181 w 275"/>
              <a:gd name="T57" fmla="*/ 436 h 477"/>
              <a:gd name="T58" fmla="*/ 160 w 275"/>
              <a:gd name="T59" fmla="*/ 432 h 477"/>
              <a:gd name="T60" fmla="*/ 147 w 275"/>
              <a:gd name="T61" fmla="*/ 417 h 477"/>
              <a:gd name="T62" fmla="*/ 143 w 275"/>
              <a:gd name="T63" fmla="*/ 428 h 477"/>
              <a:gd name="T64" fmla="*/ 137 w 275"/>
              <a:gd name="T65" fmla="*/ 443 h 477"/>
              <a:gd name="T66" fmla="*/ 130 w 275"/>
              <a:gd name="T67" fmla="*/ 458 h 477"/>
              <a:gd name="T68" fmla="*/ 115 w 275"/>
              <a:gd name="T69" fmla="*/ 451 h 477"/>
              <a:gd name="T70" fmla="*/ 105 w 275"/>
              <a:gd name="T71" fmla="*/ 449 h 477"/>
              <a:gd name="T72" fmla="*/ 92 w 275"/>
              <a:gd name="T73" fmla="*/ 460 h 477"/>
              <a:gd name="T74" fmla="*/ 88 w 275"/>
              <a:gd name="T75" fmla="*/ 468 h 477"/>
              <a:gd name="T76" fmla="*/ 60 w 275"/>
              <a:gd name="T77" fmla="*/ 456 h 477"/>
              <a:gd name="T78" fmla="*/ 43 w 275"/>
              <a:gd name="T79" fmla="*/ 460 h 477"/>
              <a:gd name="T80" fmla="*/ 37 w 275"/>
              <a:gd name="T81" fmla="*/ 468 h 477"/>
              <a:gd name="T82" fmla="*/ 30 w 275"/>
              <a:gd name="T83" fmla="*/ 466 h 477"/>
              <a:gd name="T84" fmla="*/ 17 w 275"/>
              <a:gd name="T85" fmla="*/ 471 h 477"/>
              <a:gd name="T86" fmla="*/ 5 w 275"/>
              <a:gd name="T8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5" h="477">
                <a:moveTo>
                  <a:pt x="5" y="477"/>
                </a:moveTo>
                <a:lnTo>
                  <a:pt x="0" y="468"/>
                </a:lnTo>
                <a:lnTo>
                  <a:pt x="5" y="462"/>
                </a:lnTo>
                <a:lnTo>
                  <a:pt x="5" y="447"/>
                </a:lnTo>
                <a:lnTo>
                  <a:pt x="7" y="447"/>
                </a:lnTo>
                <a:lnTo>
                  <a:pt x="9" y="432"/>
                </a:lnTo>
                <a:lnTo>
                  <a:pt x="7" y="430"/>
                </a:lnTo>
                <a:lnTo>
                  <a:pt x="9" y="424"/>
                </a:lnTo>
                <a:lnTo>
                  <a:pt x="15" y="417"/>
                </a:lnTo>
                <a:lnTo>
                  <a:pt x="22" y="411"/>
                </a:lnTo>
                <a:lnTo>
                  <a:pt x="30" y="396"/>
                </a:lnTo>
                <a:lnTo>
                  <a:pt x="30" y="387"/>
                </a:lnTo>
                <a:lnTo>
                  <a:pt x="39" y="373"/>
                </a:lnTo>
                <a:lnTo>
                  <a:pt x="41" y="373"/>
                </a:lnTo>
                <a:lnTo>
                  <a:pt x="41" y="364"/>
                </a:lnTo>
                <a:lnTo>
                  <a:pt x="37" y="349"/>
                </a:lnTo>
                <a:lnTo>
                  <a:pt x="39" y="343"/>
                </a:lnTo>
                <a:lnTo>
                  <a:pt x="32" y="334"/>
                </a:lnTo>
                <a:lnTo>
                  <a:pt x="26" y="326"/>
                </a:lnTo>
                <a:lnTo>
                  <a:pt x="26" y="319"/>
                </a:lnTo>
                <a:lnTo>
                  <a:pt x="30" y="311"/>
                </a:lnTo>
                <a:lnTo>
                  <a:pt x="26" y="304"/>
                </a:lnTo>
                <a:lnTo>
                  <a:pt x="32" y="296"/>
                </a:lnTo>
                <a:lnTo>
                  <a:pt x="9" y="34"/>
                </a:lnTo>
                <a:lnTo>
                  <a:pt x="9" y="30"/>
                </a:lnTo>
                <a:lnTo>
                  <a:pt x="17" y="38"/>
                </a:lnTo>
                <a:lnTo>
                  <a:pt x="28" y="38"/>
                </a:lnTo>
                <a:lnTo>
                  <a:pt x="35" y="38"/>
                </a:lnTo>
                <a:lnTo>
                  <a:pt x="49" y="30"/>
                </a:lnTo>
                <a:lnTo>
                  <a:pt x="64" y="19"/>
                </a:lnTo>
                <a:lnTo>
                  <a:pt x="69" y="19"/>
                </a:lnTo>
                <a:lnTo>
                  <a:pt x="109" y="15"/>
                </a:lnTo>
                <a:lnTo>
                  <a:pt x="226" y="0"/>
                </a:lnTo>
                <a:lnTo>
                  <a:pt x="235" y="6"/>
                </a:lnTo>
                <a:lnTo>
                  <a:pt x="247" y="111"/>
                </a:lnTo>
                <a:lnTo>
                  <a:pt x="269" y="300"/>
                </a:lnTo>
                <a:lnTo>
                  <a:pt x="267" y="304"/>
                </a:lnTo>
                <a:lnTo>
                  <a:pt x="271" y="313"/>
                </a:lnTo>
                <a:lnTo>
                  <a:pt x="269" y="319"/>
                </a:lnTo>
                <a:lnTo>
                  <a:pt x="275" y="328"/>
                </a:lnTo>
                <a:lnTo>
                  <a:pt x="273" y="334"/>
                </a:lnTo>
                <a:lnTo>
                  <a:pt x="258" y="338"/>
                </a:lnTo>
                <a:lnTo>
                  <a:pt x="243" y="349"/>
                </a:lnTo>
                <a:lnTo>
                  <a:pt x="237" y="343"/>
                </a:lnTo>
                <a:lnTo>
                  <a:pt x="228" y="347"/>
                </a:lnTo>
                <a:lnTo>
                  <a:pt x="222" y="347"/>
                </a:lnTo>
                <a:lnTo>
                  <a:pt x="222" y="356"/>
                </a:lnTo>
                <a:lnTo>
                  <a:pt x="226" y="364"/>
                </a:lnTo>
                <a:lnTo>
                  <a:pt x="224" y="370"/>
                </a:lnTo>
                <a:lnTo>
                  <a:pt x="218" y="377"/>
                </a:lnTo>
                <a:lnTo>
                  <a:pt x="211" y="381"/>
                </a:lnTo>
                <a:lnTo>
                  <a:pt x="209" y="396"/>
                </a:lnTo>
                <a:lnTo>
                  <a:pt x="201" y="402"/>
                </a:lnTo>
                <a:lnTo>
                  <a:pt x="194" y="402"/>
                </a:lnTo>
                <a:lnTo>
                  <a:pt x="188" y="417"/>
                </a:lnTo>
                <a:lnTo>
                  <a:pt x="190" y="424"/>
                </a:lnTo>
                <a:lnTo>
                  <a:pt x="188" y="432"/>
                </a:lnTo>
                <a:lnTo>
                  <a:pt x="181" y="436"/>
                </a:lnTo>
                <a:lnTo>
                  <a:pt x="167" y="434"/>
                </a:lnTo>
                <a:lnTo>
                  <a:pt x="160" y="432"/>
                </a:lnTo>
                <a:lnTo>
                  <a:pt x="154" y="422"/>
                </a:lnTo>
                <a:lnTo>
                  <a:pt x="147" y="417"/>
                </a:lnTo>
                <a:lnTo>
                  <a:pt x="149" y="424"/>
                </a:lnTo>
                <a:lnTo>
                  <a:pt x="143" y="428"/>
                </a:lnTo>
                <a:lnTo>
                  <a:pt x="137" y="436"/>
                </a:lnTo>
                <a:lnTo>
                  <a:pt x="137" y="443"/>
                </a:lnTo>
                <a:lnTo>
                  <a:pt x="132" y="451"/>
                </a:lnTo>
                <a:lnTo>
                  <a:pt x="130" y="458"/>
                </a:lnTo>
                <a:lnTo>
                  <a:pt x="122" y="454"/>
                </a:lnTo>
                <a:lnTo>
                  <a:pt x="115" y="451"/>
                </a:lnTo>
                <a:lnTo>
                  <a:pt x="111" y="445"/>
                </a:lnTo>
                <a:lnTo>
                  <a:pt x="105" y="449"/>
                </a:lnTo>
                <a:lnTo>
                  <a:pt x="96" y="454"/>
                </a:lnTo>
                <a:lnTo>
                  <a:pt x="92" y="460"/>
                </a:lnTo>
                <a:lnTo>
                  <a:pt x="92" y="462"/>
                </a:lnTo>
                <a:lnTo>
                  <a:pt x="88" y="468"/>
                </a:lnTo>
                <a:lnTo>
                  <a:pt x="81" y="464"/>
                </a:lnTo>
                <a:lnTo>
                  <a:pt x="60" y="456"/>
                </a:lnTo>
                <a:lnTo>
                  <a:pt x="52" y="458"/>
                </a:lnTo>
                <a:lnTo>
                  <a:pt x="43" y="460"/>
                </a:lnTo>
                <a:lnTo>
                  <a:pt x="45" y="466"/>
                </a:lnTo>
                <a:lnTo>
                  <a:pt x="37" y="468"/>
                </a:lnTo>
                <a:lnTo>
                  <a:pt x="37" y="462"/>
                </a:lnTo>
                <a:lnTo>
                  <a:pt x="30" y="466"/>
                </a:lnTo>
                <a:lnTo>
                  <a:pt x="15" y="464"/>
                </a:lnTo>
                <a:lnTo>
                  <a:pt x="17" y="471"/>
                </a:lnTo>
                <a:lnTo>
                  <a:pt x="13" y="477"/>
                </a:lnTo>
                <a:lnTo>
                  <a:pt x="5" y="477"/>
                </a:lnTo>
              </a:path>
            </a:pathLst>
          </a:custGeom>
          <a:solidFill>
            <a:srgbClr val="BEBEBE"/>
          </a:solidFill>
          <a:ln w="9525" cap="flat">
            <a:solidFill>
              <a:srgbClr val="FFFFFF"/>
            </a:solidFill>
            <a:prstDash val="solid"/>
            <a:miter lim="800000"/>
            <a:headEnd/>
            <a:tailEnd/>
          </a:ln>
        </p:spPr>
        <p:txBody>
          <a:bodyPr vert="horz" wrap="square" lIns="0" tIns="45720" rIns="0" bIns="45720" numCol="1" anchor="ctr" anchorCtr="0" compatLnSpc="1">
            <a:prstTxWarp prst="textNoShape">
              <a:avLst/>
            </a:prstTxWarp>
          </a:bodyPr>
          <a:lstStyle/>
          <a:p>
            <a:pPr algn="ctr"/>
            <a:r>
              <a:rPr lang="en-US" sz="1000" b="1" dirty="0">
                <a:solidFill>
                  <a:srgbClr val="5A5A5A"/>
                </a:solidFill>
              </a:rPr>
              <a:t>Ind.</a:t>
            </a:r>
          </a:p>
        </p:txBody>
      </p:sp>
      <p:sp>
        <p:nvSpPr>
          <p:cNvPr id="336" name="Freeform 727"/>
          <p:cNvSpPr>
            <a:spLocks noChangeAspect="1"/>
          </p:cNvSpPr>
          <p:nvPr/>
        </p:nvSpPr>
        <p:spPr bwMode="auto">
          <a:xfrm>
            <a:off x="5698735" y="4337905"/>
            <a:ext cx="492919" cy="800101"/>
          </a:xfrm>
          <a:custGeom>
            <a:avLst/>
            <a:gdLst>
              <a:gd name="T0" fmla="*/ 0 w 345"/>
              <a:gd name="T1" fmla="*/ 23 h 560"/>
              <a:gd name="T2" fmla="*/ 234 w 345"/>
              <a:gd name="T3" fmla="*/ 0 h 560"/>
              <a:gd name="T4" fmla="*/ 302 w 345"/>
              <a:gd name="T5" fmla="*/ 230 h 560"/>
              <a:gd name="T6" fmla="*/ 306 w 345"/>
              <a:gd name="T7" fmla="*/ 240 h 560"/>
              <a:gd name="T8" fmla="*/ 315 w 345"/>
              <a:gd name="T9" fmla="*/ 262 h 560"/>
              <a:gd name="T10" fmla="*/ 326 w 345"/>
              <a:gd name="T11" fmla="*/ 274 h 560"/>
              <a:gd name="T12" fmla="*/ 328 w 345"/>
              <a:gd name="T13" fmla="*/ 294 h 560"/>
              <a:gd name="T14" fmla="*/ 336 w 345"/>
              <a:gd name="T15" fmla="*/ 304 h 560"/>
              <a:gd name="T16" fmla="*/ 326 w 345"/>
              <a:gd name="T17" fmla="*/ 315 h 560"/>
              <a:gd name="T18" fmla="*/ 323 w 345"/>
              <a:gd name="T19" fmla="*/ 338 h 560"/>
              <a:gd name="T20" fmla="*/ 326 w 345"/>
              <a:gd name="T21" fmla="*/ 366 h 560"/>
              <a:gd name="T22" fmla="*/ 336 w 345"/>
              <a:gd name="T23" fmla="*/ 383 h 560"/>
              <a:gd name="T24" fmla="*/ 334 w 345"/>
              <a:gd name="T25" fmla="*/ 398 h 560"/>
              <a:gd name="T26" fmla="*/ 334 w 345"/>
              <a:gd name="T27" fmla="*/ 421 h 560"/>
              <a:gd name="T28" fmla="*/ 345 w 345"/>
              <a:gd name="T29" fmla="*/ 438 h 560"/>
              <a:gd name="T30" fmla="*/ 196 w 345"/>
              <a:gd name="T31" fmla="*/ 460 h 560"/>
              <a:gd name="T32" fmla="*/ 100 w 345"/>
              <a:gd name="T33" fmla="*/ 475 h 560"/>
              <a:gd name="T34" fmla="*/ 108 w 345"/>
              <a:gd name="T35" fmla="*/ 498 h 560"/>
              <a:gd name="T36" fmla="*/ 121 w 345"/>
              <a:gd name="T37" fmla="*/ 509 h 560"/>
              <a:gd name="T38" fmla="*/ 121 w 345"/>
              <a:gd name="T39" fmla="*/ 526 h 560"/>
              <a:gd name="T40" fmla="*/ 113 w 345"/>
              <a:gd name="T41" fmla="*/ 545 h 560"/>
              <a:gd name="T42" fmla="*/ 106 w 345"/>
              <a:gd name="T43" fmla="*/ 547 h 560"/>
              <a:gd name="T44" fmla="*/ 96 w 345"/>
              <a:gd name="T45" fmla="*/ 556 h 560"/>
              <a:gd name="T46" fmla="*/ 72 w 345"/>
              <a:gd name="T47" fmla="*/ 558 h 560"/>
              <a:gd name="T48" fmla="*/ 87 w 345"/>
              <a:gd name="T49" fmla="*/ 556 h 560"/>
              <a:gd name="T50" fmla="*/ 83 w 345"/>
              <a:gd name="T51" fmla="*/ 541 h 560"/>
              <a:gd name="T52" fmla="*/ 74 w 345"/>
              <a:gd name="T53" fmla="*/ 539 h 560"/>
              <a:gd name="T54" fmla="*/ 72 w 345"/>
              <a:gd name="T55" fmla="*/ 524 h 560"/>
              <a:gd name="T56" fmla="*/ 68 w 345"/>
              <a:gd name="T57" fmla="*/ 511 h 560"/>
              <a:gd name="T58" fmla="*/ 59 w 345"/>
              <a:gd name="T59" fmla="*/ 505 h 560"/>
              <a:gd name="T60" fmla="*/ 57 w 345"/>
              <a:gd name="T61" fmla="*/ 513 h 560"/>
              <a:gd name="T62" fmla="*/ 55 w 345"/>
              <a:gd name="T63" fmla="*/ 547 h 560"/>
              <a:gd name="T64" fmla="*/ 34 w 345"/>
              <a:gd name="T65" fmla="*/ 545 h 560"/>
              <a:gd name="T66" fmla="*/ 27 w 345"/>
              <a:gd name="T67" fmla="*/ 543 h 560"/>
              <a:gd name="T68" fmla="*/ 10 w 345"/>
              <a:gd name="T69" fmla="*/ 34 h 560"/>
              <a:gd name="T70" fmla="*/ 0 w 345"/>
              <a:gd name="T71" fmla="*/ 2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 h="560">
                <a:moveTo>
                  <a:pt x="0" y="25"/>
                </a:moveTo>
                <a:lnTo>
                  <a:pt x="0" y="23"/>
                </a:lnTo>
                <a:lnTo>
                  <a:pt x="132" y="13"/>
                </a:lnTo>
                <a:lnTo>
                  <a:pt x="234" y="0"/>
                </a:lnTo>
                <a:lnTo>
                  <a:pt x="268" y="106"/>
                </a:lnTo>
                <a:lnTo>
                  <a:pt x="302" y="230"/>
                </a:lnTo>
                <a:lnTo>
                  <a:pt x="304" y="234"/>
                </a:lnTo>
                <a:lnTo>
                  <a:pt x="306" y="240"/>
                </a:lnTo>
                <a:lnTo>
                  <a:pt x="311" y="249"/>
                </a:lnTo>
                <a:lnTo>
                  <a:pt x="315" y="262"/>
                </a:lnTo>
                <a:lnTo>
                  <a:pt x="326" y="270"/>
                </a:lnTo>
                <a:lnTo>
                  <a:pt x="326" y="274"/>
                </a:lnTo>
                <a:lnTo>
                  <a:pt x="330" y="283"/>
                </a:lnTo>
                <a:lnTo>
                  <a:pt x="328" y="294"/>
                </a:lnTo>
                <a:lnTo>
                  <a:pt x="336" y="296"/>
                </a:lnTo>
                <a:lnTo>
                  <a:pt x="336" y="304"/>
                </a:lnTo>
                <a:lnTo>
                  <a:pt x="330" y="309"/>
                </a:lnTo>
                <a:lnTo>
                  <a:pt x="326" y="315"/>
                </a:lnTo>
                <a:lnTo>
                  <a:pt x="326" y="330"/>
                </a:lnTo>
                <a:lnTo>
                  <a:pt x="323" y="338"/>
                </a:lnTo>
                <a:lnTo>
                  <a:pt x="321" y="351"/>
                </a:lnTo>
                <a:lnTo>
                  <a:pt x="326" y="366"/>
                </a:lnTo>
                <a:lnTo>
                  <a:pt x="332" y="372"/>
                </a:lnTo>
                <a:lnTo>
                  <a:pt x="336" y="383"/>
                </a:lnTo>
                <a:lnTo>
                  <a:pt x="334" y="389"/>
                </a:lnTo>
                <a:lnTo>
                  <a:pt x="334" y="398"/>
                </a:lnTo>
                <a:lnTo>
                  <a:pt x="332" y="413"/>
                </a:lnTo>
                <a:lnTo>
                  <a:pt x="334" y="421"/>
                </a:lnTo>
                <a:lnTo>
                  <a:pt x="338" y="428"/>
                </a:lnTo>
                <a:lnTo>
                  <a:pt x="345" y="438"/>
                </a:lnTo>
                <a:lnTo>
                  <a:pt x="345" y="443"/>
                </a:lnTo>
                <a:lnTo>
                  <a:pt x="196" y="460"/>
                </a:lnTo>
                <a:lnTo>
                  <a:pt x="106" y="468"/>
                </a:lnTo>
                <a:lnTo>
                  <a:pt x="100" y="475"/>
                </a:lnTo>
                <a:lnTo>
                  <a:pt x="98" y="483"/>
                </a:lnTo>
                <a:lnTo>
                  <a:pt x="108" y="498"/>
                </a:lnTo>
                <a:lnTo>
                  <a:pt x="115" y="502"/>
                </a:lnTo>
                <a:lnTo>
                  <a:pt x="121" y="509"/>
                </a:lnTo>
                <a:lnTo>
                  <a:pt x="119" y="519"/>
                </a:lnTo>
                <a:lnTo>
                  <a:pt x="121" y="526"/>
                </a:lnTo>
                <a:lnTo>
                  <a:pt x="119" y="539"/>
                </a:lnTo>
                <a:lnTo>
                  <a:pt x="113" y="545"/>
                </a:lnTo>
                <a:lnTo>
                  <a:pt x="104" y="545"/>
                </a:lnTo>
                <a:lnTo>
                  <a:pt x="106" y="547"/>
                </a:lnTo>
                <a:lnTo>
                  <a:pt x="104" y="553"/>
                </a:lnTo>
                <a:lnTo>
                  <a:pt x="96" y="556"/>
                </a:lnTo>
                <a:lnTo>
                  <a:pt x="68" y="560"/>
                </a:lnTo>
                <a:lnTo>
                  <a:pt x="72" y="558"/>
                </a:lnTo>
                <a:lnTo>
                  <a:pt x="79" y="558"/>
                </a:lnTo>
                <a:lnTo>
                  <a:pt x="87" y="556"/>
                </a:lnTo>
                <a:lnTo>
                  <a:pt x="89" y="549"/>
                </a:lnTo>
                <a:lnTo>
                  <a:pt x="83" y="541"/>
                </a:lnTo>
                <a:lnTo>
                  <a:pt x="81" y="543"/>
                </a:lnTo>
                <a:lnTo>
                  <a:pt x="74" y="539"/>
                </a:lnTo>
                <a:lnTo>
                  <a:pt x="70" y="530"/>
                </a:lnTo>
                <a:lnTo>
                  <a:pt x="72" y="524"/>
                </a:lnTo>
                <a:lnTo>
                  <a:pt x="72" y="517"/>
                </a:lnTo>
                <a:lnTo>
                  <a:pt x="68" y="511"/>
                </a:lnTo>
                <a:lnTo>
                  <a:pt x="64" y="509"/>
                </a:lnTo>
                <a:lnTo>
                  <a:pt x="59" y="505"/>
                </a:lnTo>
                <a:lnTo>
                  <a:pt x="61" y="507"/>
                </a:lnTo>
                <a:lnTo>
                  <a:pt x="57" y="513"/>
                </a:lnTo>
                <a:lnTo>
                  <a:pt x="57" y="522"/>
                </a:lnTo>
                <a:lnTo>
                  <a:pt x="55" y="547"/>
                </a:lnTo>
                <a:lnTo>
                  <a:pt x="49" y="547"/>
                </a:lnTo>
                <a:lnTo>
                  <a:pt x="34" y="545"/>
                </a:lnTo>
                <a:lnTo>
                  <a:pt x="27" y="545"/>
                </a:lnTo>
                <a:lnTo>
                  <a:pt x="27" y="543"/>
                </a:lnTo>
                <a:lnTo>
                  <a:pt x="4" y="375"/>
                </a:lnTo>
                <a:lnTo>
                  <a:pt x="10" y="34"/>
                </a:lnTo>
                <a:lnTo>
                  <a:pt x="4" y="30"/>
                </a:lnTo>
                <a:lnTo>
                  <a:pt x="0" y="25"/>
                </a:lnTo>
              </a:path>
            </a:pathLst>
          </a:custGeom>
          <a:solidFill>
            <a:srgbClr val="3296FA"/>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Ala.</a:t>
            </a:r>
          </a:p>
        </p:txBody>
      </p:sp>
      <p:sp>
        <p:nvSpPr>
          <p:cNvPr id="337" name="Freeform 755"/>
          <p:cNvSpPr>
            <a:spLocks noChangeAspect="1"/>
          </p:cNvSpPr>
          <p:nvPr/>
        </p:nvSpPr>
        <p:spPr bwMode="auto">
          <a:xfrm>
            <a:off x="6002695" y="3125882"/>
            <a:ext cx="531495" cy="611505"/>
          </a:xfrm>
          <a:custGeom>
            <a:avLst/>
            <a:gdLst>
              <a:gd name="T0" fmla="*/ 74 w 372"/>
              <a:gd name="T1" fmla="*/ 72 h 428"/>
              <a:gd name="T2" fmla="*/ 110 w 372"/>
              <a:gd name="T3" fmla="*/ 68 h 428"/>
              <a:gd name="T4" fmla="*/ 134 w 372"/>
              <a:gd name="T5" fmla="*/ 75 h 428"/>
              <a:gd name="T6" fmla="*/ 151 w 372"/>
              <a:gd name="T7" fmla="*/ 83 h 428"/>
              <a:gd name="T8" fmla="*/ 166 w 372"/>
              <a:gd name="T9" fmla="*/ 77 h 428"/>
              <a:gd name="T10" fmla="*/ 159 w 372"/>
              <a:gd name="T11" fmla="*/ 87 h 428"/>
              <a:gd name="T12" fmla="*/ 159 w 372"/>
              <a:gd name="T13" fmla="*/ 94 h 428"/>
              <a:gd name="T14" fmla="*/ 183 w 372"/>
              <a:gd name="T15" fmla="*/ 87 h 428"/>
              <a:gd name="T16" fmla="*/ 198 w 372"/>
              <a:gd name="T17" fmla="*/ 94 h 428"/>
              <a:gd name="T18" fmla="*/ 213 w 372"/>
              <a:gd name="T19" fmla="*/ 85 h 428"/>
              <a:gd name="T20" fmla="*/ 234 w 372"/>
              <a:gd name="T21" fmla="*/ 72 h 428"/>
              <a:gd name="T22" fmla="*/ 255 w 372"/>
              <a:gd name="T23" fmla="*/ 72 h 428"/>
              <a:gd name="T24" fmla="*/ 276 w 372"/>
              <a:gd name="T25" fmla="*/ 49 h 428"/>
              <a:gd name="T26" fmla="*/ 289 w 372"/>
              <a:gd name="T27" fmla="*/ 36 h 428"/>
              <a:gd name="T28" fmla="*/ 347 w 372"/>
              <a:gd name="T29" fmla="*/ 0 h 428"/>
              <a:gd name="T30" fmla="*/ 372 w 372"/>
              <a:gd name="T31" fmla="*/ 151 h 428"/>
              <a:gd name="T32" fmla="*/ 364 w 372"/>
              <a:gd name="T33" fmla="*/ 153 h 428"/>
              <a:gd name="T34" fmla="*/ 366 w 372"/>
              <a:gd name="T35" fmla="*/ 168 h 428"/>
              <a:gd name="T36" fmla="*/ 368 w 372"/>
              <a:gd name="T37" fmla="*/ 196 h 428"/>
              <a:gd name="T38" fmla="*/ 366 w 372"/>
              <a:gd name="T39" fmla="*/ 226 h 428"/>
              <a:gd name="T40" fmla="*/ 364 w 372"/>
              <a:gd name="T41" fmla="*/ 234 h 428"/>
              <a:gd name="T42" fmla="*/ 364 w 372"/>
              <a:gd name="T43" fmla="*/ 249 h 428"/>
              <a:gd name="T44" fmla="*/ 362 w 372"/>
              <a:gd name="T45" fmla="*/ 271 h 428"/>
              <a:gd name="T46" fmla="*/ 342 w 372"/>
              <a:gd name="T47" fmla="*/ 294 h 428"/>
              <a:gd name="T48" fmla="*/ 317 w 372"/>
              <a:gd name="T49" fmla="*/ 300 h 428"/>
              <a:gd name="T50" fmla="*/ 311 w 372"/>
              <a:gd name="T51" fmla="*/ 317 h 428"/>
              <a:gd name="T52" fmla="*/ 298 w 372"/>
              <a:gd name="T53" fmla="*/ 330 h 428"/>
              <a:gd name="T54" fmla="*/ 291 w 372"/>
              <a:gd name="T55" fmla="*/ 345 h 428"/>
              <a:gd name="T56" fmla="*/ 294 w 372"/>
              <a:gd name="T57" fmla="*/ 358 h 428"/>
              <a:gd name="T58" fmla="*/ 283 w 372"/>
              <a:gd name="T59" fmla="*/ 356 h 428"/>
              <a:gd name="T60" fmla="*/ 272 w 372"/>
              <a:gd name="T61" fmla="*/ 360 h 428"/>
              <a:gd name="T62" fmla="*/ 268 w 372"/>
              <a:gd name="T63" fmla="*/ 375 h 428"/>
              <a:gd name="T64" fmla="*/ 264 w 372"/>
              <a:gd name="T65" fmla="*/ 386 h 428"/>
              <a:gd name="T66" fmla="*/ 268 w 372"/>
              <a:gd name="T67" fmla="*/ 403 h 428"/>
              <a:gd name="T68" fmla="*/ 262 w 372"/>
              <a:gd name="T69" fmla="*/ 415 h 428"/>
              <a:gd name="T70" fmla="*/ 245 w 372"/>
              <a:gd name="T71" fmla="*/ 428 h 428"/>
              <a:gd name="T72" fmla="*/ 238 w 372"/>
              <a:gd name="T73" fmla="*/ 428 h 428"/>
              <a:gd name="T74" fmla="*/ 225 w 372"/>
              <a:gd name="T75" fmla="*/ 415 h 428"/>
              <a:gd name="T76" fmla="*/ 210 w 372"/>
              <a:gd name="T77" fmla="*/ 407 h 428"/>
              <a:gd name="T78" fmla="*/ 198 w 372"/>
              <a:gd name="T79" fmla="*/ 398 h 428"/>
              <a:gd name="T80" fmla="*/ 185 w 372"/>
              <a:gd name="T81" fmla="*/ 413 h 428"/>
              <a:gd name="T82" fmla="*/ 172 w 372"/>
              <a:gd name="T83" fmla="*/ 415 h 428"/>
              <a:gd name="T84" fmla="*/ 155 w 372"/>
              <a:gd name="T85" fmla="*/ 409 h 428"/>
              <a:gd name="T86" fmla="*/ 144 w 372"/>
              <a:gd name="T87" fmla="*/ 415 h 428"/>
              <a:gd name="T88" fmla="*/ 121 w 372"/>
              <a:gd name="T89" fmla="*/ 405 h 428"/>
              <a:gd name="T90" fmla="*/ 102 w 372"/>
              <a:gd name="T91" fmla="*/ 407 h 428"/>
              <a:gd name="T92" fmla="*/ 85 w 372"/>
              <a:gd name="T93" fmla="*/ 390 h 428"/>
              <a:gd name="T94" fmla="*/ 64 w 372"/>
              <a:gd name="T95" fmla="*/ 375 h 428"/>
              <a:gd name="T96" fmla="*/ 44 w 372"/>
              <a:gd name="T97" fmla="*/ 373 h 428"/>
              <a:gd name="T98" fmla="*/ 12 w 372"/>
              <a:gd name="T99" fmla="*/ 19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428">
                <a:moveTo>
                  <a:pt x="0" y="85"/>
                </a:moveTo>
                <a:lnTo>
                  <a:pt x="74" y="72"/>
                </a:lnTo>
                <a:lnTo>
                  <a:pt x="108" y="66"/>
                </a:lnTo>
                <a:lnTo>
                  <a:pt x="110" y="68"/>
                </a:lnTo>
                <a:lnTo>
                  <a:pt x="125" y="70"/>
                </a:lnTo>
                <a:lnTo>
                  <a:pt x="134" y="75"/>
                </a:lnTo>
                <a:lnTo>
                  <a:pt x="144" y="77"/>
                </a:lnTo>
                <a:lnTo>
                  <a:pt x="151" y="83"/>
                </a:lnTo>
                <a:lnTo>
                  <a:pt x="157" y="83"/>
                </a:lnTo>
                <a:lnTo>
                  <a:pt x="166" y="77"/>
                </a:lnTo>
                <a:lnTo>
                  <a:pt x="172" y="83"/>
                </a:lnTo>
                <a:lnTo>
                  <a:pt x="159" y="87"/>
                </a:lnTo>
                <a:lnTo>
                  <a:pt x="153" y="94"/>
                </a:lnTo>
                <a:lnTo>
                  <a:pt x="159" y="94"/>
                </a:lnTo>
                <a:lnTo>
                  <a:pt x="168" y="87"/>
                </a:lnTo>
                <a:lnTo>
                  <a:pt x="183" y="87"/>
                </a:lnTo>
                <a:lnTo>
                  <a:pt x="189" y="92"/>
                </a:lnTo>
                <a:lnTo>
                  <a:pt x="198" y="94"/>
                </a:lnTo>
                <a:lnTo>
                  <a:pt x="204" y="87"/>
                </a:lnTo>
                <a:lnTo>
                  <a:pt x="213" y="85"/>
                </a:lnTo>
                <a:lnTo>
                  <a:pt x="219" y="81"/>
                </a:lnTo>
                <a:lnTo>
                  <a:pt x="234" y="72"/>
                </a:lnTo>
                <a:lnTo>
                  <a:pt x="240" y="75"/>
                </a:lnTo>
                <a:lnTo>
                  <a:pt x="255" y="72"/>
                </a:lnTo>
                <a:lnTo>
                  <a:pt x="270" y="60"/>
                </a:lnTo>
                <a:lnTo>
                  <a:pt x="276" y="49"/>
                </a:lnTo>
                <a:lnTo>
                  <a:pt x="283" y="43"/>
                </a:lnTo>
                <a:lnTo>
                  <a:pt x="289" y="36"/>
                </a:lnTo>
                <a:lnTo>
                  <a:pt x="304" y="26"/>
                </a:lnTo>
                <a:lnTo>
                  <a:pt x="347" y="0"/>
                </a:lnTo>
                <a:lnTo>
                  <a:pt x="347" y="4"/>
                </a:lnTo>
                <a:lnTo>
                  <a:pt x="372" y="151"/>
                </a:lnTo>
                <a:lnTo>
                  <a:pt x="368" y="153"/>
                </a:lnTo>
                <a:lnTo>
                  <a:pt x="364" y="153"/>
                </a:lnTo>
                <a:lnTo>
                  <a:pt x="362" y="162"/>
                </a:lnTo>
                <a:lnTo>
                  <a:pt x="366" y="168"/>
                </a:lnTo>
                <a:lnTo>
                  <a:pt x="372" y="190"/>
                </a:lnTo>
                <a:lnTo>
                  <a:pt x="368" y="196"/>
                </a:lnTo>
                <a:lnTo>
                  <a:pt x="366" y="217"/>
                </a:lnTo>
                <a:lnTo>
                  <a:pt x="366" y="226"/>
                </a:lnTo>
                <a:lnTo>
                  <a:pt x="366" y="234"/>
                </a:lnTo>
                <a:lnTo>
                  <a:pt x="364" y="234"/>
                </a:lnTo>
                <a:lnTo>
                  <a:pt x="364" y="243"/>
                </a:lnTo>
                <a:lnTo>
                  <a:pt x="364" y="249"/>
                </a:lnTo>
                <a:lnTo>
                  <a:pt x="364" y="258"/>
                </a:lnTo>
                <a:lnTo>
                  <a:pt x="362" y="271"/>
                </a:lnTo>
                <a:lnTo>
                  <a:pt x="351" y="279"/>
                </a:lnTo>
                <a:lnTo>
                  <a:pt x="342" y="294"/>
                </a:lnTo>
                <a:lnTo>
                  <a:pt x="330" y="307"/>
                </a:lnTo>
                <a:lnTo>
                  <a:pt x="317" y="300"/>
                </a:lnTo>
                <a:lnTo>
                  <a:pt x="311" y="311"/>
                </a:lnTo>
                <a:lnTo>
                  <a:pt x="311" y="317"/>
                </a:lnTo>
                <a:lnTo>
                  <a:pt x="300" y="324"/>
                </a:lnTo>
                <a:lnTo>
                  <a:pt x="298" y="330"/>
                </a:lnTo>
                <a:lnTo>
                  <a:pt x="298" y="337"/>
                </a:lnTo>
                <a:lnTo>
                  <a:pt x="291" y="345"/>
                </a:lnTo>
                <a:lnTo>
                  <a:pt x="298" y="351"/>
                </a:lnTo>
                <a:lnTo>
                  <a:pt x="294" y="358"/>
                </a:lnTo>
                <a:lnTo>
                  <a:pt x="291" y="366"/>
                </a:lnTo>
                <a:lnTo>
                  <a:pt x="283" y="356"/>
                </a:lnTo>
                <a:lnTo>
                  <a:pt x="276" y="354"/>
                </a:lnTo>
                <a:lnTo>
                  <a:pt x="272" y="360"/>
                </a:lnTo>
                <a:lnTo>
                  <a:pt x="268" y="366"/>
                </a:lnTo>
                <a:lnTo>
                  <a:pt x="268" y="375"/>
                </a:lnTo>
                <a:lnTo>
                  <a:pt x="266" y="377"/>
                </a:lnTo>
                <a:lnTo>
                  <a:pt x="264" y="386"/>
                </a:lnTo>
                <a:lnTo>
                  <a:pt x="268" y="390"/>
                </a:lnTo>
                <a:lnTo>
                  <a:pt x="268" y="403"/>
                </a:lnTo>
                <a:lnTo>
                  <a:pt x="262" y="409"/>
                </a:lnTo>
                <a:lnTo>
                  <a:pt x="262" y="415"/>
                </a:lnTo>
                <a:lnTo>
                  <a:pt x="255" y="422"/>
                </a:lnTo>
                <a:lnTo>
                  <a:pt x="245" y="428"/>
                </a:lnTo>
                <a:lnTo>
                  <a:pt x="238" y="428"/>
                </a:lnTo>
                <a:lnTo>
                  <a:pt x="238" y="428"/>
                </a:lnTo>
                <a:lnTo>
                  <a:pt x="232" y="422"/>
                </a:lnTo>
                <a:lnTo>
                  <a:pt x="225" y="415"/>
                </a:lnTo>
                <a:lnTo>
                  <a:pt x="217" y="413"/>
                </a:lnTo>
                <a:lnTo>
                  <a:pt x="210" y="407"/>
                </a:lnTo>
                <a:lnTo>
                  <a:pt x="206" y="394"/>
                </a:lnTo>
                <a:lnTo>
                  <a:pt x="198" y="398"/>
                </a:lnTo>
                <a:lnTo>
                  <a:pt x="189" y="407"/>
                </a:lnTo>
                <a:lnTo>
                  <a:pt x="185" y="413"/>
                </a:lnTo>
                <a:lnTo>
                  <a:pt x="179" y="413"/>
                </a:lnTo>
                <a:lnTo>
                  <a:pt x="172" y="415"/>
                </a:lnTo>
                <a:lnTo>
                  <a:pt x="164" y="411"/>
                </a:lnTo>
                <a:lnTo>
                  <a:pt x="155" y="409"/>
                </a:lnTo>
                <a:lnTo>
                  <a:pt x="149" y="409"/>
                </a:lnTo>
                <a:lnTo>
                  <a:pt x="144" y="415"/>
                </a:lnTo>
                <a:lnTo>
                  <a:pt x="136" y="417"/>
                </a:lnTo>
                <a:lnTo>
                  <a:pt x="121" y="405"/>
                </a:lnTo>
                <a:lnTo>
                  <a:pt x="117" y="405"/>
                </a:lnTo>
                <a:lnTo>
                  <a:pt x="102" y="407"/>
                </a:lnTo>
                <a:lnTo>
                  <a:pt x="95" y="405"/>
                </a:lnTo>
                <a:lnTo>
                  <a:pt x="85" y="390"/>
                </a:lnTo>
                <a:lnTo>
                  <a:pt x="81" y="381"/>
                </a:lnTo>
                <a:lnTo>
                  <a:pt x="64" y="375"/>
                </a:lnTo>
                <a:lnTo>
                  <a:pt x="51" y="379"/>
                </a:lnTo>
                <a:lnTo>
                  <a:pt x="44" y="373"/>
                </a:lnTo>
                <a:lnTo>
                  <a:pt x="34" y="379"/>
                </a:lnTo>
                <a:lnTo>
                  <a:pt x="12" y="190"/>
                </a:lnTo>
                <a:lnTo>
                  <a:pt x="0" y="85"/>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Ohio</a:t>
            </a:r>
          </a:p>
        </p:txBody>
      </p:sp>
      <p:sp>
        <p:nvSpPr>
          <p:cNvPr id="338" name="Freeform 757"/>
          <p:cNvSpPr>
            <a:spLocks noChangeAspect="1"/>
          </p:cNvSpPr>
          <p:nvPr/>
        </p:nvSpPr>
        <p:spPr bwMode="auto">
          <a:xfrm>
            <a:off x="6036344" y="4294045"/>
            <a:ext cx="700087" cy="721518"/>
          </a:xfrm>
          <a:custGeom>
            <a:avLst/>
            <a:gdLst>
              <a:gd name="T0" fmla="*/ 117 w 490"/>
              <a:gd name="T1" fmla="*/ 17 h 505"/>
              <a:gd name="T2" fmla="*/ 213 w 490"/>
              <a:gd name="T3" fmla="*/ 25 h 505"/>
              <a:gd name="T4" fmla="*/ 221 w 490"/>
              <a:gd name="T5" fmla="*/ 45 h 505"/>
              <a:gd name="T6" fmla="*/ 253 w 490"/>
              <a:gd name="T7" fmla="*/ 55 h 505"/>
              <a:gd name="T8" fmla="*/ 270 w 490"/>
              <a:gd name="T9" fmla="*/ 77 h 505"/>
              <a:gd name="T10" fmla="*/ 307 w 490"/>
              <a:gd name="T11" fmla="*/ 117 h 505"/>
              <a:gd name="T12" fmla="*/ 332 w 490"/>
              <a:gd name="T13" fmla="*/ 138 h 505"/>
              <a:gd name="T14" fmla="*/ 356 w 490"/>
              <a:gd name="T15" fmla="*/ 153 h 505"/>
              <a:gd name="T16" fmla="*/ 364 w 490"/>
              <a:gd name="T17" fmla="*/ 168 h 505"/>
              <a:gd name="T18" fmla="*/ 381 w 490"/>
              <a:gd name="T19" fmla="*/ 183 h 505"/>
              <a:gd name="T20" fmla="*/ 394 w 490"/>
              <a:gd name="T21" fmla="*/ 194 h 505"/>
              <a:gd name="T22" fmla="*/ 419 w 490"/>
              <a:gd name="T23" fmla="*/ 219 h 505"/>
              <a:gd name="T24" fmla="*/ 424 w 490"/>
              <a:gd name="T25" fmla="*/ 243 h 505"/>
              <a:gd name="T26" fmla="*/ 447 w 490"/>
              <a:gd name="T27" fmla="*/ 258 h 505"/>
              <a:gd name="T28" fmla="*/ 456 w 490"/>
              <a:gd name="T29" fmla="*/ 281 h 505"/>
              <a:gd name="T30" fmla="*/ 477 w 490"/>
              <a:gd name="T31" fmla="*/ 296 h 505"/>
              <a:gd name="T32" fmla="*/ 490 w 490"/>
              <a:gd name="T33" fmla="*/ 300 h 505"/>
              <a:gd name="T34" fmla="*/ 479 w 490"/>
              <a:gd name="T35" fmla="*/ 319 h 505"/>
              <a:gd name="T36" fmla="*/ 464 w 490"/>
              <a:gd name="T37" fmla="*/ 324 h 505"/>
              <a:gd name="T38" fmla="*/ 460 w 490"/>
              <a:gd name="T39" fmla="*/ 339 h 505"/>
              <a:gd name="T40" fmla="*/ 468 w 490"/>
              <a:gd name="T41" fmla="*/ 347 h 505"/>
              <a:gd name="T42" fmla="*/ 462 w 490"/>
              <a:gd name="T43" fmla="*/ 356 h 505"/>
              <a:gd name="T44" fmla="*/ 464 w 490"/>
              <a:gd name="T45" fmla="*/ 364 h 505"/>
              <a:gd name="T46" fmla="*/ 456 w 490"/>
              <a:gd name="T47" fmla="*/ 385 h 505"/>
              <a:gd name="T48" fmla="*/ 439 w 490"/>
              <a:gd name="T49" fmla="*/ 383 h 505"/>
              <a:gd name="T50" fmla="*/ 462 w 490"/>
              <a:gd name="T51" fmla="*/ 390 h 505"/>
              <a:gd name="T52" fmla="*/ 445 w 490"/>
              <a:gd name="T53" fmla="*/ 402 h 505"/>
              <a:gd name="T54" fmla="*/ 449 w 490"/>
              <a:gd name="T55" fmla="*/ 419 h 505"/>
              <a:gd name="T56" fmla="*/ 445 w 490"/>
              <a:gd name="T57" fmla="*/ 428 h 505"/>
              <a:gd name="T58" fmla="*/ 445 w 490"/>
              <a:gd name="T59" fmla="*/ 441 h 505"/>
              <a:gd name="T60" fmla="*/ 445 w 490"/>
              <a:gd name="T61" fmla="*/ 458 h 505"/>
              <a:gd name="T62" fmla="*/ 417 w 490"/>
              <a:gd name="T63" fmla="*/ 454 h 505"/>
              <a:gd name="T64" fmla="*/ 400 w 490"/>
              <a:gd name="T65" fmla="*/ 456 h 505"/>
              <a:gd name="T66" fmla="*/ 402 w 490"/>
              <a:gd name="T67" fmla="*/ 477 h 505"/>
              <a:gd name="T68" fmla="*/ 396 w 490"/>
              <a:gd name="T69" fmla="*/ 505 h 505"/>
              <a:gd name="T70" fmla="*/ 377 w 490"/>
              <a:gd name="T71" fmla="*/ 483 h 505"/>
              <a:gd name="T72" fmla="*/ 121 w 490"/>
              <a:gd name="T73" fmla="*/ 488 h 505"/>
              <a:gd name="T74" fmla="*/ 104 w 490"/>
              <a:gd name="T75" fmla="*/ 458 h 505"/>
              <a:gd name="T76" fmla="*/ 100 w 490"/>
              <a:gd name="T77" fmla="*/ 428 h 505"/>
              <a:gd name="T78" fmla="*/ 98 w 490"/>
              <a:gd name="T79" fmla="*/ 402 h 505"/>
              <a:gd name="T80" fmla="*/ 89 w 490"/>
              <a:gd name="T81" fmla="*/ 368 h 505"/>
              <a:gd name="T82" fmla="*/ 96 w 490"/>
              <a:gd name="T83" fmla="*/ 339 h 505"/>
              <a:gd name="T84" fmla="*/ 94 w 490"/>
              <a:gd name="T85" fmla="*/ 324 h 505"/>
              <a:gd name="T86" fmla="*/ 92 w 490"/>
              <a:gd name="T87" fmla="*/ 300 h 505"/>
              <a:gd name="T88" fmla="*/ 72 w 490"/>
              <a:gd name="T89" fmla="*/ 270 h 505"/>
              <a:gd name="T90" fmla="*/ 34 w 490"/>
              <a:gd name="T91" fmla="*/ 13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505">
                <a:moveTo>
                  <a:pt x="0" y="30"/>
                </a:moveTo>
                <a:lnTo>
                  <a:pt x="81" y="19"/>
                </a:lnTo>
                <a:lnTo>
                  <a:pt x="117" y="17"/>
                </a:lnTo>
                <a:lnTo>
                  <a:pt x="228" y="0"/>
                </a:lnTo>
                <a:lnTo>
                  <a:pt x="226" y="6"/>
                </a:lnTo>
                <a:lnTo>
                  <a:pt x="213" y="25"/>
                </a:lnTo>
                <a:lnTo>
                  <a:pt x="211" y="34"/>
                </a:lnTo>
                <a:lnTo>
                  <a:pt x="215" y="40"/>
                </a:lnTo>
                <a:lnTo>
                  <a:pt x="221" y="45"/>
                </a:lnTo>
                <a:lnTo>
                  <a:pt x="228" y="45"/>
                </a:lnTo>
                <a:lnTo>
                  <a:pt x="243" y="57"/>
                </a:lnTo>
                <a:lnTo>
                  <a:pt x="253" y="55"/>
                </a:lnTo>
                <a:lnTo>
                  <a:pt x="260" y="62"/>
                </a:lnTo>
                <a:lnTo>
                  <a:pt x="264" y="68"/>
                </a:lnTo>
                <a:lnTo>
                  <a:pt x="270" y="77"/>
                </a:lnTo>
                <a:lnTo>
                  <a:pt x="275" y="83"/>
                </a:lnTo>
                <a:lnTo>
                  <a:pt x="292" y="106"/>
                </a:lnTo>
                <a:lnTo>
                  <a:pt x="307" y="117"/>
                </a:lnTo>
                <a:lnTo>
                  <a:pt x="321" y="123"/>
                </a:lnTo>
                <a:lnTo>
                  <a:pt x="328" y="132"/>
                </a:lnTo>
                <a:lnTo>
                  <a:pt x="332" y="138"/>
                </a:lnTo>
                <a:lnTo>
                  <a:pt x="339" y="143"/>
                </a:lnTo>
                <a:lnTo>
                  <a:pt x="345" y="145"/>
                </a:lnTo>
                <a:lnTo>
                  <a:pt x="356" y="153"/>
                </a:lnTo>
                <a:lnTo>
                  <a:pt x="362" y="158"/>
                </a:lnTo>
                <a:lnTo>
                  <a:pt x="362" y="162"/>
                </a:lnTo>
                <a:lnTo>
                  <a:pt x="364" y="168"/>
                </a:lnTo>
                <a:lnTo>
                  <a:pt x="373" y="172"/>
                </a:lnTo>
                <a:lnTo>
                  <a:pt x="373" y="179"/>
                </a:lnTo>
                <a:lnTo>
                  <a:pt x="381" y="183"/>
                </a:lnTo>
                <a:lnTo>
                  <a:pt x="381" y="183"/>
                </a:lnTo>
                <a:lnTo>
                  <a:pt x="387" y="192"/>
                </a:lnTo>
                <a:lnTo>
                  <a:pt x="394" y="194"/>
                </a:lnTo>
                <a:lnTo>
                  <a:pt x="409" y="202"/>
                </a:lnTo>
                <a:lnTo>
                  <a:pt x="411" y="209"/>
                </a:lnTo>
                <a:lnTo>
                  <a:pt x="419" y="219"/>
                </a:lnTo>
                <a:lnTo>
                  <a:pt x="422" y="228"/>
                </a:lnTo>
                <a:lnTo>
                  <a:pt x="422" y="234"/>
                </a:lnTo>
                <a:lnTo>
                  <a:pt x="424" y="243"/>
                </a:lnTo>
                <a:lnTo>
                  <a:pt x="432" y="247"/>
                </a:lnTo>
                <a:lnTo>
                  <a:pt x="441" y="251"/>
                </a:lnTo>
                <a:lnTo>
                  <a:pt x="447" y="258"/>
                </a:lnTo>
                <a:lnTo>
                  <a:pt x="451" y="266"/>
                </a:lnTo>
                <a:lnTo>
                  <a:pt x="456" y="275"/>
                </a:lnTo>
                <a:lnTo>
                  <a:pt x="456" y="281"/>
                </a:lnTo>
                <a:lnTo>
                  <a:pt x="458" y="287"/>
                </a:lnTo>
                <a:lnTo>
                  <a:pt x="462" y="294"/>
                </a:lnTo>
                <a:lnTo>
                  <a:pt x="477" y="296"/>
                </a:lnTo>
                <a:lnTo>
                  <a:pt x="479" y="298"/>
                </a:lnTo>
                <a:lnTo>
                  <a:pt x="483" y="300"/>
                </a:lnTo>
                <a:lnTo>
                  <a:pt x="490" y="300"/>
                </a:lnTo>
                <a:lnTo>
                  <a:pt x="485" y="309"/>
                </a:lnTo>
                <a:lnTo>
                  <a:pt x="479" y="313"/>
                </a:lnTo>
                <a:lnTo>
                  <a:pt x="479" y="319"/>
                </a:lnTo>
                <a:lnTo>
                  <a:pt x="473" y="319"/>
                </a:lnTo>
                <a:lnTo>
                  <a:pt x="464" y="317"/>
                </a:lnTo>
                <a:lnTo>
                  <a:pt x="464" y="324"/>
                </a:lnTo>
                <a:lnTo>
                  <a:pt x="473" y="330"/>
                </a:lnTo>
                <a:lnTo>
                  <a:pt x="466" y="339"/>
                </a:lnTo>
                <a:lnTo>
                  <a:pt x="460" y="339"/>
                </a:lnTo>
                <a:lnTo>
                  <a:pt x="460" y="345"/>
                </a:lnTo>
                <a:lnTo>
                  <a:pt x="466" y="343"/>
                </a:lnTo>
                <a:lnTo>
                  <a:pt x="468" y="347"/>
                </a:lnTo>
                <a:lnTo>
                  <a:pt x="464" y="353"/>
                </a:lnTo>
                <a:lnTo>
                  <a:pt x="458" y="349"/>
                </a:lnTo>
                <a:lnTo>
                  <a:pt x="462" y="356"/>
                </a:lnTo>
                <a:lnTo>
                  <a:pt x="454" y="362"/>
                </a:lnTo>
                <a:lnTo>
                  <a:pt x="458" y="366"/>
                </a:lnTo>
                <a:lnTo>
                  <a:pt x="464" y="364"/>
                </a:lnTo>
                <a:lnTo>
                  <a:pt x="460" y="377"/>
                </a:lnTo>
                <a:lnTo>
                  <a:pt x="456" y="377"/>
                </a:lnTo>
                <a:lnTo>
                  <a:pt x="456" y="385"/>
                </a:lnTo>
                <a:lnTo>
                  <a:pt x="449" y="385"/>
                </a:lnTo>
                <a:lnTo>
                  <a:pt x="441" y="383"/>
                </a:lnTo>
                <a:lnTo>
                  <a:pt x="439" y="383"/>
                </a:lnTo>
                <a:lnTo>
                  <a:pt x="447" y="388"/>
                </a:lnTo>
                <a:lnTo>
                  <a:pt x="454" y="388"/>
                </a:lnTo>
                <a:lnTo>
                  <a:pt x="462" y="390"/>
                </a:lnTo>
                <a:lnTo>
                  <a:pt x="460" y="396"/>
                </a:lnTo>
                <a:lnTo>
                  <a:pt x="454" y="407"/>
                </a:lnTo>
                <a:lnTo>
                  <a:pt x="445" y="402"/>
                </a:lnTo>
                <a:lnTo>
                  <a:pt x="443" y="411"/>
                </a:lnTo>
                <a:lnTo>
                  <a:pt x="454" y="411"/>
                </a:lnTo>
                <a:lnTo>
                  <a:pt x="449" y="419"/>
                </a:lnTo>
                <a:lnTo>
                  <a:pt x="443" y="415"/>
                </a:lnTo>
                <a:lnTo>
                  <a:pt x="449" y="422"/>
                </a:lnTo>
                <a:lnTo>
                  <a:pt x="445" y="428"/>
                </a:lnTo>
                <a:lnTo>
                  <a:pt x="449" y="428"/>
                </a:lnTo>
                <a:lnTo>
                  <a:pt x="447" y="434"/>
                </a:lnTo>
                <a:lnTo>
                  <a:pt x="445" y="441"/>
                </a:lnTo>
                <a:lnTo>
                  <a:pt x="449" y="449"/>
                </a:lnTo>
                <a:lnTo>
                  <a:pt x="449" y="456"/>
                </a:lnTo>
                <a:lnTo>
                  <a:pt x="445" y="458"/>
                </a:lnTo>
                <a:lnTo>
                  <a:pt x="443" y="458"/>
                </a:lnTo>
                <a:lnTo>
                  <a:pt x="434" y="458"/>
                </a:lnTo>
                <a:lnTo>
                  <a:pt x="417" y="454"/>
                </a:lnTo>
                <a:lnTo>
                  <a:pt x="409" y="449"/>
                </a:lnTo>
                <a:lnTo>
                  <a:pt x="402" y="456"/>
                </a:lnTo>
                <a:lnTo>
                  <a:pt x="400" y="456"/>
                </a:lnTo>
                <a:lnTo>
                  <a:pt x="398" y="462"/>
                </a:lnTo>
                <a:lnTo>
                  <a:pt x="398" y="471"/>
                </a:lnTo>
                <a:lnTo>
                  <a:pt x="402" y="477"/>
                </a:lnTo>
                <a:lnTo>
                  <a:pt x="405" y="483"/>
                </a:lnTo>
                <a:lnTo>
                  <a:pt x="402" y="498"/>
                </a:lnTo>
                <a:lnTo>
                  <a:pt x="396" y="505"/>
                </a:lnTo>
                <a:lnTo>
                  <a:pt x="390" y="503"/>
                </a:lnTo>
                <a:lnTo>
                  <a:pt x="383" y="490"/>
                </a:lnTo>
                <a:lnTo>
                  <a:pt x="377" y="483"/>
                </a:lnTo>
                <a:lnTo>
                  <a:pt x="130" y="503"/>
                </a:lnTo>
                <a:lnTo>
                  <a:pt x="123" y="494"/>
                </a:lnTo>
                <a:lnTo>
                  <a:pt x="121" y="488"/>
                </a:lnTo>
                <a:lnTo>
                  <a:pt x="111" y="473"/>
                </a:lnTo>
                <a:lnTo>
                  <a:pt x="111" y="468"/>
                </a:lnTo>
                <a:lnTo>
                  <a:pt x="104" y="458"/>
                </a:lnTo>
                <a:lnTo>
                  <a:pt x="100" y="451"/>
                </a:lnTo>
                <a:lnTo>
                  <a:pt x="98" y="443"/>
                </a:lnTo>
                <a:lnTo>
                  <a:pt x="100" y="428"/>
                </a:lnTo>
                <a:lnTo>
                  <a:pt x="100" y="419"/>
                </a:lnTo>
                <a:lnTo>
                  <a:pt x="102" y="413"/>
                </a:lnTo>
                <a:lnTo>
                  <a:pt x="98" y="402"/>
                </a:lnTo>
                <a:lnTo>
                  <a:pt x="92" y="396"/>
                </a:lnTo>
                <a:lnTo>
                  <a:pt x="87" y="381"/>
                </a:lnTo>
                <a:lnTo>
                  <a:pt x="89" y="368"/>
                </a:lnTo>
                <a:lnTo>
                  <a:pt x="92" y="360"/>
                </a:lnTo>
                <a:lnTo>
                  <a:pt x="92" y="345"/>
                </a:lnTo>
                <a:lnTo>
                  <a:pt x="96" y="339"/>
                </a:lnTo>
                <a:lnTo>
                  <a:pt x="102" y="334"/>
                </a:lnTo>
                <a:lnTo>
                  <a:pt x="102" y="326"/>
                </a:lnTo>
                <a:lnTo>
                  <a:pt x="94" y="324"/>
                </a:lnTo>
                <a:lnTo>
                  <a:pt x="96" y="313"/>
                </a:lnTo>
                <a:lnTo>
                  <a:pt x="92" y="304"/>
                </a:lnTo>
                <a:lnTo>
                  <a:pt x="92" y="300"/>
                </a:lnTo>
                <a:lnTo>
                  <a:pt x="81" y="292"/>
                </a:lnTo>
                <a:lnTo>
                  <a:pt x="77" y="279"/>
                </a:lnTo>
                <a:lnTo>
                  <a:pt x="72" y="270"/>
                </a:lnTo>
                <a:lnTo>
                  <a:pt x="70" y="264"/>
                </a:lnTo>
                <a:lnTo>
                  <a:pt x="68" y="260"/>
                </a:lnTo>
                <a:lnTo>
                  <a:pt x="34" y="136"/>
                </a:lnTo>
                <a:lnTo>
                  <a:pt x="0" y="30"/>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Ga.*</a:t>
            </a:r>
          </a:p>
        </p:txBody>
      </p:sp>
      <p:sp>
        <p:nvSpPr>
          <p:cNvPr id="339" name="Freeform 758"/>
          <p:cNvSpPr>
            <a:spLocks noChangeAspect="1"/>
          </p:cNvSpPr>
          <p:nvPr/>
        </p:nvSpPr>
        <p:spPr bwMode="auto">
          <a:xfrm>
            <a:off x="6342277" y="3342633"/>
            <a:ext cx="565785" cy="570073"/>
          </a:xfrm>
          <a:custGeom>
            <a:avLst/>
            <a:gdLst>
              <a:gd name="T0" fmla="*/ 7 w 396"/>
              <a:gd name="T1" fmla="*/ 277 h 399"/>
              <a:gd name="T2" fmla="*/ 24 w 396"/>
              <a:gd name="T3" fmla="*/ 258 h 399"/>
              <a:gd name="T4" fmla="*/ 26 w 396"/>
              <a:gd name="T5" fmla="*/ 235 h 399"/>
              <a:gd name="T6" fmla="*/ 30 w 396"/>
              <a:gd name="T7" fmla="*/ 215 h 399"/>
              <a:gd name="T8" fmla="*/ 45 w 396"/>
              <a:gd name="T9" fmla="*/ 205 h 399"/>
              <a:gd name="T10" fmla="*/ 60 w 396"/>
              <a:gd name="T11" fmla="*/ 200 h 399"/>
              <a:gd name="T12" fmla="*/ 60 w 396"/>
              <a:gd name="T13" fmla="*/ 179 h 399"/>
              <a:gd name="T14" fmla="*/ 73 w 396"/>
              <a:gd name="T15" fmla="*/ 160 h 399"/>
              <a:gd name="T16" fmla="*/ 104 w 396"/>
              <a:gd name="T17" fmla="*/ 143 h 399"/>
              <a:gd name="T18" fmla="*/ 126 w 396"/>
              <a:gd name="T19" fmla="*/ 107 h 399"/>
              <a:gd name="T20" fmla="*/ 126 w 396"/>
              <a:gd name="T21" fmla="*/ 83 h 399"/>
              <a:gd name="T22" fmla="*/ 128 w 396"/>
              <a:gd name="T23" fmla="*/ 66 h 399"/>
              <a:gd name="T24" fmla="*/ 128 w 396"/>
              <a:gd name="T25" fmla="*/ 17 h 399"/>
              <a:gd name="T26" fmla="*/ 130 w 396"/>
              <a:gd name="T27" fmla="*/ 2 h 399"/>
              <a:gd name="T28" fmla="*/ 241 w 396"/>
              <a:gd name="T29" fmla="*/ 85 h 399"/>
              <a:gd name="T30" fmla="*/ 264 w 396"/>
              <a:gd name="T31" fmla="*/ 130 h 399"/>
              <a:gd name="T32" fmla="*/ 277 w 396"/>
              <a:gd name="T33" fmla="*/ 109 h 399"/>
              <a:gd name="T34" fmla="*/ 300 w 396"/>
              <a:gd name="T35" fmla="*/ 94 h 399"/>
              <a:gd name="T36" fmla="*/ 311 w 396"/>
              <a:gd name="T37" fmla="*/ 92 h 399"/>
              <a:gd name="T38" fmla="*/ 330 w 396"/>
              <a:gd name="T39" fmla="*/ 85 h 399"/>
              <a:gd name="T40" fmla="*/ 347 w 396"/>
              <a:gd name="T41" fmla="*/ 71 h 399"/>
              <a:gd name="T42" fmla="*/ 366 w 396"/>
              <a:gd name="T43" fmla="*/ 75 h 399"/>
              <a:gd name="T44" fmla="*/ 381 w 396"/>
              <a:gd name="T45" fmla="*/ 83 h 399"/>
              <a:gd name="T46" fmla="*/ 394 w 396"/>
              <a:gd name="T47" fmla="*/ 98 h 399"/>
              <a:gd name="T48" fmla="*/ 390 w 396"/>
              <a:gd name="T49" fmla="*/ 122 h 399"/>
              <a:gd name="T50" fmla="*/ 343 w 396"/>
              <a:gd name="T51" fmla="*/ 111 h 399"/>
              <a:gd name="T52" fmla="*/ 337 w 396"/>
              <a:gd name="T53" fmla="*/ 141 h 399"/>
              <a:gd name="T54" fmla="*/ 320 w 396"/>
              <a:gd name="T55" fmla="*/ 162 h 399"/>
              <a:gd name="T56" fmla="*/ 298 w 396"/>
              <a:gd name="T57" fmla="*/ 179 h 399"/>
              <a:gd name="T58" fmla="*/ 292 w 396"/>
              <a:gd name="T59" fmla="*/ 203 h 399"/>
              <a:gd name="T60" fmla="*/ 277 w 396"/>
              <a:gd name="T61" fmla="*/ 228 h 399"/>
              <a:gd name="T62" fmla="*/ 256 w 396"/>
              <a:gd name="T63" fmla="*/ 215 h 399"/>
              <a:gd name="T64" fmla="*/ 247 w 396"/>
              <a:gd name="T65" fmla="*/ 241 h 399"/>
              <a:gd name="T66" fmla="*/ 234 w 396"/>
              <a:gd name="T67" fmla="*/ 264 h 399"/>
              <a:gd name="T68" fmla="*/ 224 w 396"/>
              <a:gd name="T69" fmla="*/ 296 h 399"/>
              <a:gd name="T70" fmla="*/ 219 w 396"/>
              <a:gd name="T71" fmla="*/ 333 h 399"/>
              <a:gd name="T72" fmla="*/ 215 w 396"/>
              <a:gd name="T73" fmla="*/ 347 h 399"/>
              <a:gd name="T74" fmla="*/ 179 w 396"/>
              <a:gd name="T75" fmla="*/ 367 h 399"/>
              <a:gd name="T76" fmla="*/ 166 w 396"/>
              <a:gd name="T77" fmla="*/ 377 h 399"/>
              <a:gd name="T78" fmla="*/ 136 w 396"/>
              <a:gd name="T79" fmla="*/ 388 h 399"/>
              <a:gd name="T80" fmla="*/ 107 w 396"/>
              <a:gd name="T81" fmla="*/ 399 h 399"/>
              <a:gd name="T82" fmla="*/ 75 w 396"/>
              <a:gd name="T83" fmla="*/ 382 h 399"/>
              <a:gd name="T84" fmla="*/ 53 w 396"/>
              <a:gd name="T85" fmla="*/ 367 h 399"/>
              <a:gd name="T86" fmla="*/ 17 w 396"/>
              <a:gd name="T87" fmla="*/ 330 h 399"/>
              <a:gd name="T88" fmla="*/ 4 w 396"/>
              <a:gd name="T89" fmla="*/ 294 h 399"/>
              <a:gd name="T90" fmla="*/ 0 w 396"/>
              <a:gd name="T91" fmla="*/ 2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6" h="399">
                <a:moveTo>
                  <a:pt x="0" y="277"/>
                </a:moveTo>
                <a:lnTo>
                  <a:pt x="0" y="277"/>
                </a:lnTo>
                <a:lnTo>
                  <a:pt x="7" y="277"/>
                </a:lnTo>
                <a:lnTo>
                  <a:pt x="17" y="271"/>
                </a:lnTo>
                <a:lnTo>
                  <a:pt x="24" y="264"/>
                </a:lnTo>
                <a:lnTo>
                  <a:pt x="24" y="258"/>
                </a:lnTo>
                <a:lnTo>
                  <a:pt x="30" y="252"/>
                </a:lnTo>
                <a:lnTo>
                  <a:pt x="30" y="239"/>
                </a:lnTo>
                <a:lnTo>
                  <a:pt x="26" y="235"/>
                </a:lnTo>
                <a:lnTo>
                  <a:pt x="28" y="226"/>
                </a:lnTo>
                <a:lnTo>
                  <a:pt x="30" y="224"/>
                </a:lnTo>
                <a:lnTo>
                  <a:pt x="30" y="215"/>
                </a:lnTo>
                <a:lnTo>
                  <a:pt x="34" y="209"/>
                </a:lnTo>
                <a:lnTo>
                  <a:pt x="38" y="203"/>
                </a:lnTo>
                <a:lnTo>
                  <a:pt x="45" y="205"/>
                </a:lnTo>
                <a:lnTo>
                  <a:pt x="53" y="215"/>
                </a:lnTo>
                <a:lnTo>
                  <a:pt x="56" y="207"/>
                </a:lnTo>
                <a:lnTo>
                  <a:pt x="60" y="200"/>
                </a:lnTo>
                <a:lnTo>
                  <a:pt x="53" y="194"/>
                </a:lnTo>
                <a:lnTo>
                  <a:pt x="60" y="186"/>
                </a:lnTo>
                <a:lnTo>
                  <a:pt x="60" y="179"/>
                </a:lnTo>
                <a:lnTo>
                  <a:pt x="62" y="173"/>
                </a:lnTo>
                <a:lnTo>
                  <a:pt x="73" y="166"/>
                </a:lnTo>
                <a:lnTo>
                  <a:pt x="73" y="160"/>
                </a:lnTo>
                <a:lnTo>
                  <a:pt x="79" y="149"/>
                </a:lnTo>
                <a:lnTo>
                  <a:pt x="92" y="156"/>
                </a:lnTo>
                <a:lnTo>
                  <a:pt x="104" y="143"/>
                </a:lnTo>
                <a:lnTo>
                  <a:pt x="113" y="128"/>
                </a:lnTo>
                <a:lnTo>
                  <a:pt x="124" y="120"/>
                </a:lnTo>
                <a:lnTo>
                  <a:pt x="126" y="107"/>
                </a:lnTo>
                <a:lnTo>
                  <a:pt x="126" y="98"/>
                </a:lnTo>
                <a:lnTo>
                  <a:pt x="126" y="92"/>
                </a:lnTo>
                <a:lnTo>
                  <a:pt x="126" y="83"/>
                </a:lnTo>
                <a:lnTo>
                  <a:pt x="128" y="83"/>
                </a:lnTo>
                <a:lnTo>
                  <a:pt x="128" y="75"/>
                </a:lnTo>
                <a:lnTo>
                  <a:pt x="128" y="66"/>
                </a:lnTo>
                <a:lnTo>
                  <a:pt x="130" y="45"/>
                </a:lnTo>
                <a:lnTo>
                  <a:pt x="134" y="39"/>
                </a:lnTo>
                <a:lnTo>
                  <a:pt x="128" y="17"/>
                </a:lnTo>
                <a:lnTo>
                  <a:pt x="124" y="11"/>
                </a:lnTo>
                <a:lnTo>
                  <a:pt x="126" y="2"/>
                </a:lnTo>
                <a:lnTo>
                  <a:pt x="130" y="2"/>
                </a:lnTo>
                <a:lnTo>
                  <a:pt x="134" y="0"/>
                </a:lnTo>
                <a:lnTo>
                  <a:pt x="153" y="102"/>
                </a:lnTo>
                <a:lnTo>
                  <a:pt x="241" y="85"/>
                </a:lnTo>
                <a:lnTo>
                  <a:pt x="249" y="145"/>
                </a:lnTo>
                <a:lnTo>
                  <a:pt x="256" y="137"/>
                </a:lnTo>
                <a:lnTo>
                  <a:pt x="264" y="130"/>
                </a:lnTo>
                <a:lnTo>
                  <a:pt x="268" y="124"/>
                </a:lnTo>
                <a:lnTo>
                  <a:pt x="275" y="115"/>
                </a:lnTo>
                <a:lnTo>
                  <a:pt x="277" y="109"/>
                </a:lnTo>
                <a:lnTo>
                  <a:pt x="283" y="107"/>
                </a:lnTo>
                <a:lnTo>
                  <a:pt x="290" y="109"/>
                </a:lnTo>
                <a:lnTo>
                  <a:pt x="300" y="94"/>
                </a:lnTo>
                <a:lnTo>
                  <a:pt x="300" y="85"/>
                </a:lnTo>
                <a:lnTo>
                  <a:pt x="303" y="85"/>
                </a:lnTo>
                <a:lnTo>
                  <a:pt x="311" y="92"/>
                </a:lnTo>
                <a:lnTo>
                  <a:pt x="317" y="94"/>
                </a:lnTo>
                <a:lnTo>
                  <a:pt x="328" y="92"/>
                </a:lnTo>
                <a:lnTo>
                  <a:pt x="330" y="85"/>
                </a:lnTo>
                <a:lnTo>
                  <a:pt x="337" y="79"/>
                </a:lnTo>
                <a:lnTo>
                  <a:pt x="343" y="79"/>
                </a:lnTo>
                <a:lnTo>
                  <a:pt x="347" y="71"/>
                </a:lnTo>
                <a:lnTo>
                  <a:pt x="354" y="68"/>
                </a:lnTo>
                <a:lnTo>
                  <a:pt x="360" y="71"/>
                </a:lnTo>
                <a:lnTo>
                  <a:pt x="366" y="75"/>
                </a:lnTo>
                <a:lnTo>
                  <a:pt x="381" y="75"/>
                </a:lnTo>
                <a:lnTo>
                  <a:pt x="383" y="75"/>
                </a:lnTo>
                <a:lnTo>
                  <a:pt x="381" y="83"/>
                </a:lnTo>
                <a:lnTo>
                  <a:pt x="388" y="83"/>
                </a:lnTo>
                <a:lnTo>
                  <a:pt x="388" y="92"/>
                </a:lnTo>
                <a:lnTo>
                  <a:pt x="394" y="98"/>
                </a:lnTo>
                <a:lnTo>
                  <a:pt x="396" y="102"/>
                </a:lnTo>
                <a:lnTo>
                  <a:pt x="394" y="115"/>
                </a:lnTo>
                <a:lnTo>
                  <a:pt x="390" y="122"/>
                </a:lnTo>
                <a:lnTo>
                  <a:pt x="349" y="100"/>
                </a:lnTo>
                <a:lnTo>
                  <a:pt x="341" y="105"/>
                </a:lnTo>
                <a:lnTo>
                  <a:pt x="343" y="111"/>
                </a:lnTo>
                <a:lnTo>
                  <a:pt x="341" y="120"/>
                </a:lnTo>
                <a:lnTo>
                  <a:pt x="341" y="134"/>
                </a:lnTo>
                <a:lnTo>
                  <a:pt x="337" y="141"/>
                </a:lnTo>
                <a:lnTo>
                  <a:pt x="332" y="156"/>
                </a:lnTo>
                <a:lnTo>
                  <a:pt x="326" y="162"/>
                </a:lnTo>
                <a:lnTo>
                  <a:pt x="320" y="162"/>
                </a:lnTo>
                <a:lnTo>
                  <a:pt x="313" y="177"/>
                </a:lnTo>
                <a:lnTo>
                  <a:pt x="307" y="179"/>
                </a:lnTo>
                <a:lnTo>
                  <a:pt x="298" y="179"/>
                </a:lnTo>
                <a:lnTo>
                  <a:pt x="296" y="186"/>
                </a:lnTo>
                <a:lnTo>
                  <a:pt x="294" y="196"/>
                </a:lnTo>
                <a:lnTo>
                  <a:pt x="292" y="203"/>
                </a:lnTo>
                <a:lnTo>
                  <a:pt x="288" y="218"/>
                </a:lnTo>
                <a:lnTo>
                  <a:pt x="285" y="226"/>
                </a:lnTo>
                <a:lnTo>
                  <a:pt x="277" y="228"/>
                </a:lnTo>
                <a:lnTo>
                  <a:pt x="264" y="226"/>
                </a:lnTo>
                <a:lnTo>
                  <a:pt x="262" y="222"/>
                </a:lnTo>
                <a:lnTo>
                  <a:pt x="256" y="215"/>
                </a:lnTo>
                <a:lnTo>
                  <a:pt x="247" y="218"/>
                </a:lnTo>
                <a:lnTo>
                  <a:pt x="247" y="232"/>
                </a:lnTo>
                <a:lnTo>
                  <a:pt x="247" y="241"/>
                </a:lnTo>
                <a:lnTo>
                  <a:pt x="245" y="243"/>
                </a:lnTo>
                <a:lnTo>
                  <a:pt x="241" y="258"/>
                </a:lnTo>
                <a:lnTo>
                  <a:pt x="234" y="264"/>
                </a:lnTo>
                <a:lnTo>
                  <a:pt x="234" y="273"/>
                </a:lnTo>
                <a:lnTo>
                  <a:pt x="230" y="288"/>
                </a:lnTo>
                <a:lnTo>
                  <a:pt x="224" y="296"/>
                </a:lnTo>
                <a:lnTo>
                  <a:pt x="215" y="311"/>
                </a:lnTo>
                <a:lnTo>
                  <a:pt x="213" y="324"/>
                </a:lnTo>
                <a:lnTo>
                  <a:pt x="219" y="333"/>
                </a:lnTo>
                <a:lnTo>
                  <a:pt x="213" y="339"/>
                </a:lnTo>
                <a:lnTo>
                  <a:pt x="215" y="345"/>
                </a:lnTo>
                <a:lnTo>
                  <a:pt x="215" y="347"/>
                </a:lnTo>
                <a:lnTo>
                  <a:pt x="200" y="356"/>
                </a:lnTo>
                <a:lnTo>
                  <a:pt x="192" y="356"/>
                </a:lnTo>
                <a:lnTo>
                  <a:pt x="179" y="367"/>
                </a:lnTo>
                <a:lnTo>
                  <a:pt x="168" y="364"/>
                </a:lnTo>
                <a:lnTo>
                  <a:pt x="168" y="371"/>
                </a:lnTo>
                <a:lnTo>
                  <a:pt x="166" y="377"/>
                </a:lnTo>
                <a:lnTo>
                  <a:pt x="158" y="379"/>
                </a:lnTo>
                <a:lnTo>
                  <a:pt x="143" y="386"/>
                </a:lnTo>
                <a:lnTo>
                  <a:pt x="136" y="388"/>
                </a:lnTo>
                <a:lnTo>
                  <a:pt x="124" y="384"/>
                </a:lnTo>
                <a:lnTo>
                  <a:pt x="122" y="390"/>
                </a:lnTo>
                <a:lnTo>
                  <a:pt x="107" y="399"/>
                </a:lnTo>
                <a:lnTo>
                  <a:pt x="96" y="396"/>
                </a:lnTo>
                <a:lnTo>
                  <a:pt x="81" y="388"/>
                </a:lnTo>
                <a:lnTo>
                  <a:pt x="75" y="382"/>
                </a:lnTo>
                <a:lnTo>
                  <a:pt x="68" y="375"/>
                </a:lnTo>
                <a:lnTo>
                  <a:pt x="68" y="367"/>
                </a:lnTo>
                <a:lnTo>
                  <a:pt x="53" y="367"/>
                </a:lnTo>
                <a:lnTo>
                  <a:pt x="38" y="356"/>
                </a:lnTo>
                <a:lnTo>
                  <a:pt x="24" y="337"/>
                </a:lnTo>
                <a:lnTo>
                  <a:pt x="17" y="330"/>
                </a:lnTo>
                <a:lnTo>
                  <a:pt x="15" y="324"/>
                </a:lnTo>
                <a:lnTo>
                  <a:pt x="0" y="307"/>
                </a:lnTo>
                <a:lnTo>
                  <a:pt x="4" y="294"/>
                </a:lnTo>
                <a:lnTo>
                  <a:pt x="2" y="286"/>
                </a:lnTo>
                <a:lnTo>
                  <a:pt x="0" y="281"/>
                </a:lnTo>
                <a:lnTo>
                  <a:pt x="0" y="277"/>
                </a:lnTo>
                <a:close/>
              </a:path>
            </a:pathLst>
          </a:custGeom>
          <a:solidFill>
            <a:srgbClr val="C00000"/>
          </a:solidFill>
          <a:ln w="9525" cap="flat">
            <a:solidFill>
              <a:srgbClr val="FFFFFF"/>
            </a:solidFill>
            <a:prstDash val="solid"/>
            <a:miter lim="800000"/>
            <a:headEnd/>
            <a:tailEnd/>
          </a:ln>
        </p:spPr>
        <p:txBody>
          <a:bodyPr vert="horz" wrap="square" lIns="0" tIns="45720" rIns="0" bIns="45720" numCol="1" anchor="ctr" anchorCtr="0" compatLnSpc="1">
            <a:prstTxWarp prst="textNoShape">
              <a:avLst/>
            </a:prstTxWarp>
          </a:bodyPr>
          <a:lstStyle/>
          <a:p>
            <a:pPr algn="ctr"/>
            <a:endParaRPr lang="en-US" sz="1000" b="1" dirty="0">
              <a:solidFill>
                <a:schemeClr val="bg1"/>
              </a:solidFill>
            </a:endParaRPr>
          </a:p>
          <a:p>
            <a:r>
              <a:rPr lang="en-US" sz="1000" b="1" dirty="0">
                <a:solidFill>
                  <a:schemeClr val="bg1"/>
                </a:solidFill>
              </a:rPr>
              <a:t> </a:t>
            </a:r>
            <a:r>
              <a:rPr lang="en-US" sz="850" b="1" dirty="0">
                <a:solidFill>
                  <a:schemeClr val="bg1"/>
                </a:solidFill>
              </a:rPr>
              <a:t>W.Va.</a:t>
            </a:r>
          </a:p>
        </p:txBody>
      </p:sp>
      <p:sp>
        <p:nvSpPr>
          <p:cNvPr id="340" name="Freeform 760"/>
          <p:cNvSpPr>
            <a:spLocks noChangeAspect="1"/>
          </p:cNvSpPr>
          <p:nvPr/>
        </p:nvSpPr>
        <p:spPr bwMode="auto">
          <a:xfrm>
            <a:off x="6338781" y="4231838"/>
            <a:ext cx="641509" cy="492919"/>
          </a:xfrm>
          <a:custGeom>
            <a:avLst/>
            <a:gdLst>
              <a:gd name="T0" fmla="*/ 47 w 449"/>
              <a:gd name="T1" fmla="*/ 32 h 345"/>
              <a:gd name="T2" fmla="*/ 81 w 449"/>
              <a:gd name="T3" fmla="*/ 13 h 345"/>
              <a:gd name="T4" fmla="*/ 198 w 449"/>
              <a:gd name="T5" fmla="*/ 0 h 345"/>
              <a:gd name="T6" fmla="*/ 223 w 449"/>
              <a:gd name="T7" fmla="*/ 15 h 345"/>
              <a:gd name="T8" fmla="*/ 230 w 449"/>
              <a:gd name="T9" fmla="*/ 32 h 345"/>
              <a:gd name="T10" fmla="*/ 449 w 449"/>
              <a:gd name="T11" fmla="*/ 100 h 345"/>
              <a:gd name="T12" fmla="*/ 426 w 449"/>
              <a:gd name="T13" fmla="*/ 126 h 345"/>
              <a:gd name="T14" fmla="*/ 406 w 449"/>
              <a:gd name="T15" fmla="*/ 185 h 345"/>
              <a:gd name="T16" fmla="*/ 402 w 449"/>
              <a:gd name="T17" fmla="*/ 160 h 345"/>
              <a:gd name="T18" fmla="*/ 396 w 449"/>
              <a:gd name="T19" fmla="*/ 179 h 345"/>
              <a:gd name="T20" fmla="*/ 400 w 449"/>
              <a:gd name="T21" fmla="*/ 196 h 345"/>
              <a:gd name="T22" fmla="*/ 394 w 449"/>
              <a:gd name="T23" fmla="*/ 205 h 345"/>
              <a:gd name="T24" fmla="*/ 377 w 449"/>
              <a:gd name="T25" fmla="*/ 211 h 345"/>
              <a:gd name="T26" fmla="*/ 370 w 449"/>
              <a:gd name="T27" fmla="*/ 230 h 345"/>
              <a:gd name="T28" fmla="*/ 353 w 449"/>
              <a:gd name="T29" fmla="*/ 245 h 345"/>
              <a:gd name="T30" fmla="*/ 347 w 449"/>
              <a:gd name="T31" fmla="*/ 249 h 345"/>
              <a:gd name="T32" fmla="*/ 343 w 449"/>
              <a:gd name="T33" fmla="*/ 262 h 345"/>
              <a:gd name="T34" fmla="*/ 330 w 449"/>
              <a:gd name="T35" fmla="*/ 275 h 345"/>
              <a:gd name="T36" fmla="*/ 319 w 449"/>
              <a:gd name="T37" fmla="*/ 281 h 345"/>
              <a:gd name="T38" fmla="*/ 298 w 449"/>
              <a:gd name="T39" fmla="*/ 283 h 345"/>
              <a:gd name="T40" fmla="*/ 296 w 449"/>
              <a:gd name="T41" fmla="*/ 292 h 345"/>
              <a:gd name="T42" fmla="*/ 302 w 449"/>
              <a:gd name="T43" fmla="*/ 303 h 345"/>
              <a:gd name="T44" fmla="*/ 298 w 449"/>
              <a:gd name="T45" fmla="*/ 313 h 345"/>
              <a:gd name="T46" fmla="*/ 285 w 449"/>
              <a:gd name="T47" fmla="*/ 311 h 345"/>
              <a:gd name="T48" fmla="*/ 268 w 449"/>
              <a:gd name="T49" fmla="*/ 292 h 345"/>
              <a:gd name="T50" fmla="*/ 281 w 449"/>
              <a:gd name="T51" fmla="*/ 318 h 345"/>
              <a:gd name="T52" fmla="*/ 279 w 449"/>
              <a:gd name="T53" fmla="*/ 330 h 345"/>
              <a:gd name="T54" fmla="*/ 272 w 449"/>
              <a:gd name="T55" fmla="*/ 345 h 345"/>
              <a:gd name="T56" fmla="*/ 251 w 449"/>
              <a:gd name="T57" fmla="*/ 339 h 345"/>
              <a:gd name="T58" fmla="*/ 245 w 449"/>
              <a:gd name="T59" fmla="*/ 320 h 345"/>
              <a:gd name="T60" fmla="*/ 230 w 449"/>
              <a:gd name="T61" fmla="*/ 296 h 345"/>
              <a:gd name="T62" fmla="*/ 211 w 449"/>
              <a:gd name="T63" fmla="*/ 279 h 345"/>
              <a:gd name="T64" fmla="*/ 200 w 449"/>
              <a:gd name="T65" fmla="*/ 254 h 345"/>
              <a:gd name="T66" fmla="*/ 176 w 449"/>
              <a:gd name="T67" fmla="*/ 237 h 345"/>
              <a:gd name="T68" fmla="*/ 162 w 449"/>
              <a:gd name="T69" fmla="*/ 224 h 345"/>
              <a:gd name="T70" fmla="*/ 151 w 449"/>
              <a:gd name="T71" fmla="*/ 207 h 345"/>
              <a:gd name="T72" fmla="*/ 134 w 449"/>
              <a:gd name="T73" fmla="*/ 190 h 345"/>
              <a:gd name="T74" fmla="*/ 117 w 449"/>
              <a:gd name="T75" fmla="*/ 177 h 345"/>
              <a:gd name="T76" fmla="*/ 81 w 449"/>
              <a:gd name="T77" fmla="*/ 151 h 345"/>
              <a:gd name="T78" fmla="*/ 53 w 449"/>
              <a:gd name="T79" fmla="*/ 113 h 345"/>
              <a:gd name="T80" fmla="*/ 32 w 449"/>
              <a:gd name="T81" fmla="*/ 102 h 345"/>
              <a:gd name="T82" fmla="*/ 4 w 449"/>
              <a:gd name="T83" fmla="*/ 85 h 345"/>
              <a:gd name="T84" fmla="*/ 15 w 449"/>
              <a:gd name="T85" fmla="*/ 5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9" h="345">
                <a:moveTo>
                  <a:pt x="17" y="45"/>
                </a:moveTo>
                <a:lnTo>
                  <a:pt x="40" y="32"/>
                </a:lnTo>
                <a:lnTo>
                  <a:pt x="47" y="32"/>
                </a:lnTo>
                <a:lnTo>
                  <a:pt x="59" y="21"/>
                </a:lnTo>
                <a:lnTo>
                  <a:pt x="72" y="17"/>
                </a:lnTo>
                <a:lnTo>
                  <a:pt x="81" y="13"/>
                </a:lnTo>
                <a:lnTo>
                  <a:pt x="87" y="11"/>
                </a:lnTo>
                <a:lnTo>
                  <a:pt x="168" y="2"/>
                </a:lnTo>
                <a:lnTo>
                  <a:pt x="198" y="0"/>
                </a:lnTo>
                <a:lnTo>
                  <a:pt x="206" y="7"/>
                </a:lnTo>
                <a:lnTo>
                  <a:pt x="213" y="4"/>
                </a:lnTo>
                <a:lnTo>
                  <a:pt x="223" y="15"/>
                </a:lnTo>
                <a:lnTo>
                  <a:pt x="228" y="24"/>
                </a:lnTo>
                <a:lnTo>
                  <a:pt x="228" y="30"/>
                </a:lnTo>
                <a:lnTo>
                  <a:pt x="230" y="32"/>
                </a:lnTo>
                <a:lnTo>
                  <a:pt x="330" y="15"/>
                </a:lnTo>
                <a:lnTo>
                  <a:pt x="445" y="98"/>
                </a:lnTo>
                <a:lnTo>
                  <a:pt x="449" y="100"/>
                </a:lnTo>
                <a:lnTo>
                  <a:pt x="449" y="105"/>
                </a:lnTo>
                <a:lnTo>
                  <a:pt x="443" y="109"/>
                </a:lnTo>
                <a:lnTo>
                  <a:pt x="426" y="126"/>
                </a:lnTo>
                <a:lnTo>
                  <a:pt x="411" y="154"/>
                </a:lnTo>
                <a:lnTo>
                  <a:pt x="406" y="162"/>
                </a:lnTo>
                <a:lnTo>
                  <a:pt x="406" y="185"/>
                </a:lnTo>
                <a:lnTo>
                  <a:pt x="404" y="179"/>
                </a:lnTo>
                <a:lnTo>
                  <a:pt x="398" y="175"/>
                </a:lnTo>
                <a:lnTo>
                  <a:pt x="402" y="160"/>
                </a:lnTo>
                <a:lnTo>
                  <a:pt x="400" y="162"/>
                </a:lnTo>
                <a:lnTo>
                  <a:pt x="396" y="171"/>
                </a:lnTo>
                <a:lnTo>
                  <a:pt x="396" y="179"/>
                </a:lnTo>
                <a:lnTo>
                  <a:pt x="402" y="183"/>
                </a:lnTo>
                <a:lnTo>
                  <a:pt x="406" y="190"/>
                </a:lnTo>
                <a:lnTo>
                  <a:pt x="400" y="196"/>
                </a:lnTo>
                <a:lnTo>
                  <a:pt x="394" y="194"/>
                </a:lnTo>
                <a:lnTo>
                  <a:pt x="400" y="198"/>
                </a:lnTo>
                <a:lnTo>
                  <a:pt x="394" y="205"/>
                </a:lnTo>
                <a:lnTo>
                  <a:pt x="392" y="211"/>
                </a:lnTo>
                <a:lnTo>
                  <a:pt x="385" y="213"/>
                </a:lnTo>
                <a:lnTo>
                  <a:pt x="377" y="211"/>
                </a:lnTo>
                <a:lnTo>
                  <a:pt x="372" y="220"/>
                </a:lnTo>
                <a:lnTo>
                  <a:pt x="375" y="226"/>
                </a:lnTo>
                <a:lnTo>
                  <a:pt x="370" y="230"/>
                </a:lnTo>
                <a:lnTo>
                  <a:pt x="366" y="237"/>
                </a:lnTo>
                <a:lnTo>
                  <a:pt x="360" y="243"/>
                </a:lnTo>
                <a:lnTo>
                  <a:pt x="353" y="245"/>
                </a:lnTo>
                <a:lnTo>
                  <a:pt x="351" y="239"/>
                </a:lnTo>
                <a:lnTo>
                  <a:pt x="345" y="239"/>
                </a:lnTo>
                <a:lnTo>
                  <a:pt x="347" y="249"/>
                </a:lnTo>
                <a:lnTo>
                  <a:pt x="353" y="252"/>
                </a:lnTo>
                <a:lnTo>
                  <a:pt x="351" y="260"/>
                </a:lnTo>
                <a:lnTo>
                  <a:pt x="343" y="262"/>
                </a:lnTo>
                <a:lnTo>
                  <a:pt x="345" y="266"/>
                </a:lnTo>
                <a:lnTo>
                  <a:pt x="336" y="269"/>
                </a:lnTo>
                <a:lnTo>
                  <a:pt x="330" y="275"/>
                </a:lnTo>
                <a:lnTo>
                  <a:pt x="321" y="271"/>
                </a:lnTo>
                <a:lnTo>
                  <a:pt x="328" y="275"/>
                </a:lnTo>
                <a:lnTo>
                  <a:pt x="319" y="281"/>
                </a:lnTo>
                <a:lnTo>
                  <a:pt x="313" y="281"/>
                </a:lnTo>
                <a:lnTo>
                  <a:pt x="306" y="286"/>
                </a:lnTo>
                <a:lnTo>
                  <a:pt x="298" y="283"/>
                </a:lnTo>
                <a:lnTo>
                  <a:pt x="283" y="290"/>
                </a:lnTo>
                <a:lnTo>
                  <a:pt x="289" y="290"/>
                </a:lnTo>
                <a:lnTo>
                  <a:pt x="296" y="292"/>
                </a:lnTo>
                <a:lnTo>
                  <a:pt x="304" y="292"/>
                </a:lnTo>
                <a:lnTo>
                  <a:pt x="306" y="296"/>
                </a:lnTo>
                <a:lnTo>
                  <a:pt x="302" y="303"/>
                </a:lnTo>
                <a:lnTo>
                  <a:pt x="309" y="296"/>
                </a:lnTo>
                <a:lnTo>
                  <a:pt x="304" y="307"/>
                </a:lnTo>
                <a:lnTo>
                  <a:pt x="298" y="313"/>
                </a:lnTo>
                <a:lnTo>
                  <a:pt x="289" y="309"/>
                </a:lnTo>
                <a:lnTo>
                  <a:pt x="285" y="296"/>
                </a:lnTo>
                <a:lnTo>
                  <a:pt x="285" y="311"/>
                </a:lnTo>
                <a:lnTo>
                  <a:pt x="279" y="305"/>
                </a:lnTo>
                <a:lnTo>
                  <a:pt x="274" y="298"/>
                </a:lnTo>
                <a:lnTo>
                  <a:pt x="268" y="292"/>
                </a:lnTo>
                <a:lnTo>
                  <a:pt x="277" y="305"/>
                </a:lnTo>
                <a:lnTo>
                  <a:pt x="279" y="313"/>
                </a:lnTo>
                <a:lnTo>
                  <a:pt x="281" y="318"/>
                </a:lnTo>
                <a:lnTo>
                  <a:pt x="287" y="324"/>
                </a:lnTo>
                <a:lnTo>
                  <a:pt x="283" y="330"/>
                </a:lnTo>
                <a:lnTo>
                  <a:pt x="279" y="330"/>
                </a:lnTo>
                <a:lnTo>
                  <a:pt x="279" y="324"/>
                </a:lnTo>
                <a:lnTo>
                  <a:pt x="277" y="330"/>
                </a:lnTo>
                <a:lnTo>
                  <a:pt x="272" y="345"/>
                </a:lnTo>
                <a:lnTo>
                  <a:pt x="268" y="343"/>
                </a:lnTo>
                <a:lnTo>
                  <a:pt x="266" y="341"/>
                </a:lnTo>
                <a:lnTo>
                  <a:pt x="251" y="339"/>
                </a:lnTo>
                <a:lnTo>
                  <a:pt x="247" y="332"/>
                </a:lnTo>
                <a:lnTo>
                  <a:pt x="245" y="326"/>
                </a:lnTo>
                <a:lnTo>
                  <a:pt x="245" y="320"/>
                </a:lnTo>
                <a:lnTo>
                  <a:pt x="240" y="311"/>
                </a:lnTo>
                <a:lnTo>
                  <a:pt x="236" y="303"/>
                </a:lnTo>
                <a:lnTo>
                  <a:pt x="230" y="296"/>
                </a:lnTo>
                <a:lnTo>
                  <a:pt x="221" y="292"/>
                </a:lnTo>
                <a:lnTo>
                  <a:pt x="213" y="288"/>
                </a:lnTo>
                <a:lnTo>
                  <a:pt x="211" y="279"/>
                </a:lnTo>
                <a:lnTo>
                  <a:pt x="211" y="273"/>
                </a:lnTo>
                <a:lnTo>
                  <a:pt x="208" y="264"/>
                </a:lnTo>
                <a:lnTo>
                  <a:pt x="200" y="254"/>
                </a:lnTo>
                <a:lnTo>
                  <a:pt x="198" y="247"/>
                </a:lnTo>
                <a:lnTo>
                  <a:pt x="183" y="239"/>
                </a:lnTo>
                <a:lnTo>
                  <a:pt x="176" y="237"/>
                </a:lnTo>
                <a:lnTo>
                  <a:pt x="170" y="228"/>
                </a:lnTo>
                <a:lnTo>
                  <a:pt x="170" y="228"/>
                </a:lnTo>
                <a:lnTo>
                  <a:pt x="162" y="224"/>
                </a:lnTo>
                <a:lnTo>
                  <a:pt x="162" y="217"/>
                </a:lnTo>
                <a:lnTo>
                  <a:pt x="153" y="213"/>
                </a:lnTo>
                <a:lnTo>
                  <a:pt x="151" y="207"/>
                </a:lnTo>
                <a:lnTo>
                  <a:pt x="151" y="203"/>
                </a:lnTo>
                <a:lnTo>
                  <a:pt x="145" y="198"/>
                </a:lnTo>
                <a:lnTo>
                  <a:pt x="134" y="190"/>
                </a:lnTo>
                <a:lnTo>
                  <a:pt x="128" y="188"/>
                </a:lnTo>
                <a:lnTo>
                  <a:pt x="121" y="183"/>
                </a:lnTo>
                <a:lnTo>
                  <a:pt x="117" y="177"/>
                </a:lnTo>
                <a:lnTo>
                  <a:pt x="110" y="168"/>
                </a:lnTo>
                <a:lnTo>
                  <a:pt x="96" y="162"/>
                </a:lnTo>
                <a:lnTo>
                  <a:pt x="81" y="151"/>
                </a:lnTo>
                <a:lnTo>
                  <a:pt x="64" y="128"/>
                </a:lnTo>
                <a:lnTo>
                  <a:pt x="59" y="122"/>
                </a:lnTo>
                <a:lnTo>
                  <a:pt x="53" y="113"/>
                </a:lnTo>
                <a:lnTo>
                  <a:pt x="49" y="107"/>
                </a:lnTo>
                <a:lnTo>
                  <a:pt x="42" y="100"/>
                </a:lnTo>
                <a:lnTo>
                  <a:pt x="32" y="102"/>
                </a:lnTo>
                <a:lnTo>
                  <a:pt x="17" y="90"/>
                </a:lnTo>
                <a:lnTo>
                  <a:pt x="10" y="90"/>
                </a:lnTo>
                <a:lnTo>
                  <a:pt x="4" y="85"/>
                </a:lnTo>
                <a:lnTo>
                  <a:pt x="0" y="79"/>
                </a:lnTo>
                <a:lnTo>
                  <a:pt x="2" y="70"/>
                </a:lnTo>
                <a:lnTo>
                  <a:pt x="15" y="51"/>
                </a:lnTo>
                <a:lnTo>
                  <a:pt x="17" y="45"/>
                </a:lnTo>
                <a:close/>
              </a:path>
            </a:pathLst>
          </a:custGeom>
          <a:solidFill>
            <a:srgbClr val="C00000"/>
          </a:solidFill>
          <a:ln w="9525" cap="flat">
            <a:solidFill>
              <a:srgbClr val="FFFFFF"/>
            </a:solidFill>
            <a:prstDash val="solid"/>
            <a:miter lim="800000"/>
            <a:headEnd/>
            <a:tailEnd/>
          </a:ln>
        </p:spPr>
        <p:txBody>
          <a:bodyPr vert="horz" wrap="square" lIns="91440" tIns="91440" rIns="91440" bIns="0" numCol="1" anchor="t" anchorCtr="0" compatLnSpc="1">
            <a:prstTxWarp prst="textNoShape">
              <a:avLst/>
            </a:prstTxWarp>
          </a:bodyPr>
          <a:lstStyle/>
          <a:p>
            <a:pPr algn="ctr"/>
            <a:r>
              <a:rPr lang="en-US" sz="1000" b="1" dirty="0">
                <a:solidFill>
                  <a:schemeClr val="bg1"/>
                </a:solidFill>
              </a:rPr>
              <a:t>S.C.</a:t>
            </a:r>
          </a:p>
        </p:txBody>
      </p:sp>
      <p:sp>
        <p:nvSpPr>
          <p:cNvPr id="341" name="Freeform 763"/>
          <p:cNvSpPr>
            <a:spLocks noChangeAspect="1"/>
          </p:cNvSpPr>
          <p:nvPr/>
        </p:nvSpPr>
        <p:spPr bwMode="auto">
          <a:xfrm>
            <a:off x="6496200" y="3003264"/>
            <a:ext cx="738666" cy="482916"/>
          </a:xfrm>
          <a:custGeom>
            <a:avLst/>
            <a:gdLst>
              <a:gd name="T0" fmla="*/ 10 w 517"/>
              <a:gd name="T1" fmla="*/ 81 h 338"/>
              <a:gd name="T2" fmla="*/ 32 w 517"/>
              <a:gd name="T3" fmla="*/ 62 h 338"/>
              <a:gd name="T4" fmla="*/ 55 w 517"/>
              <a:gd name="T5" fmla="*/ 45 h 338"/>
              <a:gd name="T6" fmla="*/ 61 w 517"/>
              <a:gd name="T7" fmla="*/ 72 h 338"/>
              <a:gd name="T8" fmla="*/ 230 w 517"/>
              <a:gd name="T9" fmla="*/ 40 h 338"/>
              <a:gd name="T10" fmla="*/ 421 w 517"/>
              <a:gd name="T11" fmla="*/ 0 h 338"/>
              <a:gd name="T12" fmla="*/ 430 w 517"/>
              <a:gd name="T13" fmla="*/ 4 h 338"/>
              <a:gd name="T14" fmla="*/ 438 w 517"/>
              <a:gd name="T15" fmla="*/ 10 h 338"/>
              <a:gd name="T16" fmla="*/ 453 w 517"/>
              <a:gd name="T17" fmla="*/ 32 h 338"/>
              <a:gd name="T18" fmla="*/ 462 w 517"/>
              <a:gd name="T19" fmla="*/ 47 h 338"/>
              <a:gd name="T20" fmla="*/ 481 w 517"/>
              <a:gd name="T21" fmla="*/ 51 h 338"/>
              <a:gd name="T22" fmla="*/ 489 w 517"/>
              <a:gd name="T23" fmla="*/ 57 h 338"/>
              <a:gd name="T24" fmla="*/ 479 w 517"/>
              <a:gd name="T25" fmla="*/ 74 h 338"/>
              <a:gd name="T26" fmla="*/ 470 w 517"/>
              <a:gd name="T27" fmla="*/ 100 h 338"/>
              <a:gd name="T28" fmla="*/ 466 w 517"/>
              <a:gd name="T29" fmla="*/ 113 h 338"/>
              <a:gd name="T30" fmla="*/ 472 w 517"/>
              <a:gd name="T31" fmla="*/ 121 h 338"/>
              <a:gd name="T32" fmla="*/ 466 w 517"/>
              <a:gd name="T33" fmla="*/ 134 h 338"/>
              <a:gd name="T34" fmla="*/ 475 w 517"/>
              <a:gd name="T35" fmla="*/ 153 h 338"/>
              <a:gd name="T36" fmla="*/ 483 w 517"/>
              <a:gd name="T37" fmla="*/ 164 h 338"/>
              <a:gd name="T38" fmla="*/ 494 w 517"/>
              <a:gd name="T39" fmla="*/ 170 h 338"/>
              <a:gd name="T40" fmla="*/ 517 w 517"/>
              <a:gd name="T41" fmla="*/ 189 h 338"/>
              <a:gd name="T42" fmla="*/ 504 w 517"/>
              <a:gd name="T43" fmla="*/ 204 h 338"/>
              <a:gd name="T44" fmla="*/ 498 w 517"/>
              <a:gd name="T45" fmla="*/ 213 h 338"/>
              <a:gd name="T46" fmla="*/ 496 w 517"/>
              <a:gd name="T47" fmla="*/ 213 h 338"/>
              <a:gd name="T48" fmla="*/ 492 w 517"/>
              <a:gd name="T49" fmla="*/ 228 h 338"/>
              <a:gd name="T50" fmla="*/ 477 w 517"/>
              <a:gd name="T51" fmla="*/ 234 h 338"/>
              <a:gd name="T52" fmla="*/ 468 w 517"/>
              <a:gd name="T53" fmla="*/ 241 h 338"/>
              <a:gd name="T54" fmla="*/ 455 w 517"/>
              <a:gd name="T55" fmla="*/ 241 h 338"/>
              <a:gd name="T56" fmla="*/ 445 w 517"/>
              <a:gd name="T57" fmla="*/ 253 h 338"/>
              <a:gd name="T58" fmla="*/ 277 w 517"/>
              <a:gd name="T59" fmla="*/ 294 h 338"/>
              <a:gd name="T60" fmla="*/ 44 w 517"/>
              <a:gd name="T61" fmla="*/ 338 h 338"/>
              <a:gd name="T62" fmla="*/ 0 w 517"/>
              <a:gd name="T63" fmla="*/ 8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7" h="338">
                <a:moveTo>
                  <a:pt x="0" y="85"/>
                </a:moveTo>
                <a:lnTo>
                  <a:pt x="10" y="81"/>
                </a:lnTo>
                <a:lnTo>
                  <a:pt x="23" y="68"/>
                </a:lnTo>
                <a:lnTo>
                  <a:pt x="32" y="62"/>
                </a:lnTo>
                <a:lnTo>
                  <a:pt x="32" y="64"/>
                </a:lnTo>
                <a:lnTo>
                  <a:pt x="55" y="45"/>
                </a:lnTo>
                <a:lnTo>
                  <a:pt x="57" y="47"/>
                </a:lnTo>
                <a:lnTo>
                  <a:pt x="61" y="72"/>
                </a:lnTo>
                <a:lnTo>
                  <a:pt x="128" y="62"/>
                </a:lnTo>
                <a:lnTo>
                  <a:pt x="230" y="40"/>
                </a:lnTo>
                <a:lnTo>
                  <a:pt x="345" y="17"/>
                </a:lnTo>
                <a:lnTo>
                  <a:pt x="421" y="0"/>
                </a:lnTo>
                <a:lnTo>
                  <a:pt x="421" y="0"/>
                </a:lnTo>
                <a:lnTo>
                  <a:pt x="430" y="4"/>
                </a:lnTo>
                <a:lnTo>
                  <a:pt x="432" y="10"/>
                </a:lnTo>
                <a:lnTo>
                  <a:pt x="438" y="10"/>
                </a:lnTo>
                <a:lnTo>
                  <a:pt x="447" y="17"/>
                </a:lnTo>
                <a:lnTo>
                  <a:pt x="453" y="32"/>
                </a:lnTo>
                <a:lnTo>
                  <a:pt x="455" y="38"/>
                </a:lnTo>
                <a:lnTo>
                  <a:pt x="462" y="47"/>
                </a:lnTo>
                <a:lnTo>
                  <a:pt x="475" y="51"/>
                </a:lnTo>
                <a:lnTo>
                  <a:pt x="481" y="51"/>
                </a:lnTo>
                <a:lnTo>
                  <a:pt x="489" y="55"/>
                </a:lnTo>
                <a:lnTo>
                  <a:pt x="489" y="57"/>
                </a:lnTo>
                <a:lnTo>
                  <a:pt x="483" y="68"/>
                </a:lnTo>
                <a:lnTo>
                  <a:pt x="479" y="74"/>
                </a:lnTo>
                <a:lnTo>
                  <a:pt x="479" y="81"/>
                </a:lnTo>
                <a:lnTo>
                  <a:pt x="470" y="100"/>
                </a:lnTo>
                <a:lnTo>
                  <a:pt x="464" y="106"/>
                </a:lnTo>
                <a:lnTo>
                  <a:pt x="466" y="113"/>
                </a:lnTo>
                <a:lnTo>
                  <a:pt x="470" y="113"/>
                </a:lnTo>
                <a:lnTo>
                  <a:pt x="472" y="121"/>
                </a:lnTo>
                <a:lnTo>
                  <a:pt x="470" y="128"/>
                </a:lnTo>
                <a:lnTo>
                  <a:pt x="466" y="134"/>
                </a:lnTo>
                <a:lnTo>
                  <a:pt x="468" y="147"/>
                </a:lnTo>
                <a:lnTo>
                  <a:pt x="475" y="153"/>
                </a:lnTo>
                <a:lnTo>
                  <a:pt x="481" y="157"/>
                </a:lnTo>
                <a:lnTo>
                  <a:pt x="483" y="164"/>
                </a:lnTo>
                <a:lnTo>
                  <a:pt x="489" y="168"/>
                </a:lnTo>
                <a:lnTo>
                  <a:pt x="494" y="170"/>
                </a:lnTo>
                <a:lnTo>
                  <a:pt x="500" y="177"/>
                </a:lnTo>
                <a:lnTo>
                  <a:pt x="517" y="189"/>
                </a:lnTo>
                <a:lnTo>
                  <a:pt x="513" y="196"/>
                </a:lnTo>
                <a:lnTo>
                  <a:pt x="504" y="204"/>
                </a:lnTo>
                <a:lnTo>
                  <a:pt x="500" y="211"/>
                </a:lnTo>
                <a:lnTo>
                  <a:pt x="498" y="213"/>
                </a:lnTo>
                <a:lnTo>
                  <a:pt x="498" y="213"/>
                </a:lnTo>
                <a:lnTo>
                  <a:pt x="496" y="213"/>
                </a:lnTo>
                <a:lnTo>
                  <a:pt x="492" y="219"/>
                </a:lnTo>
                <a:lnTo>
                  <a:pt x="492" y="228"/>
                </a:lnTo>
                <a:lnTo>
                  <a:pt x="485" y="232"/>
                </a:lnTo>
                <a:lnTo>
                  <a:pt x="477" y="234"/>
                </a:lnTo>
                <a:lnTo>
                  <a:pt x="470" y="243"/>
                </a:lnTo>
                <a:lnTo>
                  <a:pt x="468" y="241"/>
                </a:lnTo>
                <a:lnTo>
                  <a:pt x="462" y="241"/>
                </a:lnTo>
                <a:lnTo>
                  <a:pt x="455" y="241"/>
                </a:lnTo>
                <a:lnTo>
                  <a:pt x="449" y="245"/>
                </a:lnTo>
                <a:lnTo>
                  <a:pt x="445" y="253"/>
                </a:lnTo>
                <a:lnTo>
                  <a:pt x="443" y="260"/>
                </a:lnTo>
                <a:lnTo>
                  <a:pt x="277" y="294"/>
                </a:lnTo>
                <a:lnTo>
                  <a:pt x="132" y="321"/>
                </a:lnTo>
                <a:lnTo>
                  <a:pt x="44" y="338"/>
                </a:lnTo>
                <a:lnTo>
                  <a:pt x="25" y="236"/>
                </a:lnTo>
                <a:lnTo>
                  <a:pt x="0" y="89"/>
                </a:lnTo>
                <a:lnTo>
                  <a:pt x="0" y="85"/>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Pa.</a:t>
            </a:r>
          </a:p>
        </p:txBody>
      </p:sp>
      <p:sp>
        <p:nvSpPr>
          <p:cNvPr id="342" name="Freeform 768"/>
          <p:cNvSpPr>
            <a:spLocks noChangeAspect="1"/>
          </p:cNvSpPr>
          <p:nvPr/>
        </p:nvSpPr>
        <p:spPr bwMode="auto">
          <a:xfrm>
            <a:off x="7570107" y="3706760"/>
            <a:ext cx="27145" cy="27145"/>
          </a:xfrm>
          <a:custGeom>
            <a:avLst/>
            <a:gdLst>
              <a:gd name="T0" fmla="*/ 0 w 19"/>
              <a:gd name="T1" fmla="*/ 6 h 19"/>
              <a:gd name="T2" fmla="*/ 10 w 19"/>
              <a:gd name="T3" fmla="*/ 0 h 19"/>
              <a:gd name="T4" fmla="*/ 19 w 19"/>
              <a:gd name="T5" fmla="*/ 6 h 19"/>
              <a:gd name="T6" fmla="*/ 17 w 19"/>
              <a:gd name="T7" fmla="*/ 13 h 19"/>
              <a:gd name="T8" fmla="*/ 13 w 19"/>
              <a:gd name="T9" fmla="*/ 19 h 19"/>
              <a:gd name="T10" fmla="*/ 13 w 19"/>
              <a:gd name="T11" fmla="*/ 13 h 19"/>
              <a:gd name="T12" fmla="*/ 6 w 19"/>
              <a:gd name="T13" fmla="*/ 9 h 19"/>
              <a:gd name="T14" fmla="*/ 0 w 19"/>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0" y="6"/>
                </a:moveTo>
                <a:lnTo>
                  <a:pt x="10" y="0"/>
                </a:lnTo>
                <a:lnTo>
                  <a:pt x="19" y="6"/>
                </a:lnTo>
                <a:lnTo>
                  <a:pt x="17" y="13"/>
                </a:lnTo>
                <a:lnTo>
                  <a:pt x="13" y="19"/>
                </a:lnTo>
                <a:lnTo>
                  <a:pt x="13" y="13"/>
                </a:lnTo>
                <a:lnTo>
                  <a:pt x="6" y="9"/>
                </a:lnTo>
                <a:lnTo>
                  <a:pt x="0" y="6"/>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43" name="Freeform 769"/>
          <p:cNvSpPr>
            <a:spLocks noChangeAspect="1"/>
          </p:cNvSpPr>
          <p:nvPr/>
        </p:nvSpPr>
        <p:spPr bwMode="auto">
          <a:xfrm>
            <a:off x="7570107" y="3706760"/>
            <a:ext cx="27145" cy="27145"/>
          </a:xfrm>
          <a:custGeom>
            <a:avLst/>
            <a:gdLst>
              <a:gd name="T0" fmla="*/ 0 w 19"/>
              <a:gd name="T1" fmla="*/ 6 h 19"/>
              <a:gd name="T2" fmla="*/ 10 w 19"/>
              <a:gd name="T3" fmla="*/ 0 h 19"/>
              <a:gd name="T4" fmla="*/ 19 w 19"/>
              <a:gd name="T5" fmla="*/ 6 h 19"/>
              <a:gd name="T6" fmla="*/ 17 w 19"/>
              <a:gd name="T7" fmla="*/ 13 h 19"/>
              <a:gd name="T8" fmla="*/ 13 w 19"/>
              <a:gd name="T9" fmla="*/ 19 h 19"/>
              <a:gd name="T10" fmla="*/ 13 w 19"/>
              <a:gd name="T11" fmla="*/ 13 h 19"/>
              <a:gd name="T12" fmla="*/ 6 w 19"/>
              <a:gd name="T13" fmla="*/ 9 h 19"/>
              <a:gd name="T14" fmla="*/ 0 w 19"/>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0" y="6"/>
                </a:moveTo>
                <a:lnTo>
                  <a:pt x="10" y="0"/>
                </a:lnTo>
                <a:lnTo>
                  <a:pt x="19" y="6"/>
                </a:lnTo>
                <a:lnTo>
                  <a:pt x="17" y="13"/>
                </a:lnTo>
                <a:lnTo>
                  <a:pt x="13" y="19"/>
                </a:lnTo>
                <a:lnTo>
                  <a:pt x="13" y="13"/>
                </a:lnTo>
                <a:lnTo>
                  <a:pt x="6" y="9"/>
                </a:lnTo>
                <a:lnTo>
                  <a:pt x="0" y="6"/>
                </a:lnTo>
              </a:path>
            </a:pathLst>
          </a:custGeom>
          <a:solidFill>
            <a:schemeClr val="bg2"/>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44" name="Freeform 770"/>
          <p:cNvSpPr>
            <a:spLocks noChangeAspect="1"/>
          </p:cNvSpPr>
          <p:nvPr/>
        </p:nvSpPr>
        <p:spPr bwMode="auto">
          <a:xfrm>
            <a:off x="7133591" y="3344007"/>
            <a:ext cx="132875" cy="224316"/>
          </a:xfrm>
          <a:custGeom>
            <a:avLst/>
            <a:gdLst>
              <a:gd name="T0" fmla="*/ 0 w 93"/>
              <a:gd name="T1" fmla="*/ 19 h 157"/>
              <a:gd name="T2" fmla="*/ 2 w 93"/>
              <a:gd name="T3" fmla="*/ 12 h 157"/>
              <a:gd name="T4" fmla="*/ 6 w 93"/>
              <a:gd name="T5" fmla="*/ 4 h 157"/>
              <a:gd name="T6" fmla="*/ 12 w 93"/>
              <a:gd name="T7" fmla="*/ 0 h 157"/>
              <a:gd name="T8" fmla="*/ 19 w 93"/>
              <a:gd name="T9" fmla="*/ 0 h 157"/>
              <a:gd name="T10" fmla="*/ 25 w 93"/>
              <a:gd name="T11" fmla="*/ 0 h 157"/>
              <a:gd name="T12" fmla="*/ 27 w 93"/>
              <a:gd name="T13" fmla="*/ 2 h 157"/>
              <a:gd name="T14" fmla="*/ 23 w 93"/>
              <a:gd name="T15" fmla="*/ 6 h 157"/>
              <a:gd name="T16" fmla="*/ 23 w 93"/>
              <a:gd name="T17" fmla="*/ 12 h 157"/>
              <a:gd name="T18" fmla="*/ 21 w 93"/>
              <a:gd name="T19" fmla="*/ 19 h 157"/>
              <a:gd name="T20" fmla="*/ 17 w 93"/>
              <a:gd name="T21" fmla="*/ 25 h 157"/>
              <a:gd name="T22" fmla="*/ 23 w 93"/>
              <a:gd name="T23" fmla="*/ 31 h 157"/>
              <a:gd name="T24" fmla="*/ 21 w 93"/>
              <a:gd name="T25" fmla="*/ 38 h 157"/>
              <a:gd name="T26" fmla="*/ 25 w 93"/>
              <a:gd name="T27" fmla="*/ 46 h 157"/>
              <a:gd name="T28" fmla="*/ 32 w 93"/>
              <a:gd name="T29" fmla="*/ 53 h 157"/>
              <a:gd name="T30" fmla="*/ 40 w 93"/>
              <a:gd name="T31" fmla="*/ 57 h 157"/>
              <a:gd name="T32" fmla="*/ 44 w 93"/>
              <a:gd name="T33" fmla="*/ 66 h 157"/>
              <a:gd name="T34" fmla="*/ 44 w 93"/>
              <a:gd name="T35" fmla="*/ 72 h 157"/>
              <a:gd name="T36" fmla="*/ 49 w 93"/>
              <a:gd name="T37" fmla="*/ 83 h 157"/>
              <a:gd name="T38" fmla="*/ 57 w 93"/>
              <a:gd name="T39" fmla="*/ 89 h 157"/>
              <a:gd name="T40" fmla="*/ 59 w 93"/>
              <a:gd name="T41" fmla="*/ 97 h 157"/>
              <a:gd name="T42" fmla="*/ 74 w 93"/>
              <a:gd name="T43" fmla="*/ 108 h 157"/>
              <a:gd name="T44" fmla="*/ 81 w 93"/>
              <a:gd name="T45" fmla="*/ 108 h 157"/>
              <a:gd name="T46" fmla="*/ 83 w 93"/>
              <a:gd name="T47" fmla="*/ 110 h 157"/>
              <a:gd name="T48" fmla="*/ 81 w 93"/>
              <a:gd name="T49" fmla="*/ 119 h 157"/>
              <a:gd name="T50" fmla="*/ 81 w 93"/>
              <a:gd name="T51" fmla="*/ 125 h 157"/>
              <a:gd name="T52" fmla="*/ 85 w 93"/>
              <a:gd name="T53" fmla="*/ 125 h 157"/>
              <a:gd name="T54" fmla="*/ 78 w 93"/>
              <a:gd name="T55" fmla="*/ 134 h 157"/>
              <a:gd name="T56" fmla="*/ 81 w 93"/>
              <a:gd name="T57" fmla="*/ 132 h 157"/>
              <a:gd name="T58" fmla="*/ 89 w 93"/>
              <a:gd name="T59" fmla="*/ 129 h 157"/>
              <a:gd name="T60" fmla="*/ 93 w 93"/>
              <a:gd name="T61" fmla="*/ 144 h 157"/>
              <a:gd name="T62" fmla="*/ 91 w 93"/>
              <a:gd name="T63" fmla="*/ 144 h 157"/>
              <a:gd name="T64" fmla="*/ 89 w 93"/>
              <a:gd name="T65" fmla="*/ 144 h 157"/>
              <a:gd name="T66" fmla="*/ 38 w 93"/>
              <a:gd name="T67" fmla="*/ 157 h 157"/>
              <a:gd name="T68" fmla="*/ 34 w 93"/>
              <a:gd name="T69" fmla="*/ 149 h 157"/>
              <a:gd name="T70" fmla="*/ 23 w 93"/>
              <a:gd name="T71" fmla="*/ 100 h 157"/>
              <a:gd name="T72" fmla="*/ 0 w 93"/>
              <a:gd name="T73" fmla="*/ 1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57">
                <a:moveTo>
                  <a:pt x="0" y="19"/>
                </a:moveTo>
                <a:lnTo>
                  <a:pt x="2" y="12"/>
                </a:lnTo>
                <a:lnTo>
                  <a:pt x="6" y="4"/>
                </a:lnTo>
                <a:lnTo>
                  <a:pt x="12" y="0"/>
                </a:lnTo>
                <a:lnTo>
                  <a:pt x="19" y="0"/>
                </a:lnTo>
                <a:lnTo>
                  <a:pt x="25" y="0"/>
                </a:lnTo>
                <a:lnTo>
                  <a:pt x="27" y="2"/>
                </a:lnTo>
                <a:lnTo>
                  <a:pt x="23" y="6"/>
                </a:lnTo>
                <a:lnTo>
                  <a:pt x="23" y="12"/>
                </a:lnTo>
                <a:lnTo>
                  <a:pt x="21" y="19"/>
                </a:lnTo>
                <a:lnTo>
                  <a:pt x="17" y="25"/>
                </a:lnTo>
                <a:lnTo>
                  <a:pt x="23" y="31"/>
                </a:lnTo>
                <a:lnTo>
                  <a:pt x="21" y="38"/>
                </a:lnTo>
                <a:lnTo>
                  <a:pt x="25" y="46"/>
                </a:lnTo>
                <a:lnTo>
                  <a:pt x="32" y="53"/>
                </a:lnTo>
                <a:lnTo>
                  <a:pt x="40" y="57"/>
                </a:lnTo>
                <a:lnTo>
                  <a:pt x="44" y="66"/>
                </a:lnTo>
                <a:lnTo>
                  <a:pt x="44" y="72"/>
                </a:lnTo>
                <a:lnTo>
                  <a:pt x="49" y="83"/>
                </a:lnTo>
                <a:lnTo>
                  <a:pt x="57" y="89"/>
                </a:lnTo>
                <a:lnTo>
                  <a:pt x="59" y="97"/>
                </a:lnTo>
                <a:lnTo>
                  <a:pt x="74" y="108"/>
                </a:lnTo>
                <a:lnTo>
                  <a:pt x="81" y="108"/>
                </a:lnTo>
                <a:lnTo>
                  <a:pt x="83" y="110"/>
                </a:lnTo>
                <a:lnTo>
                  <a:pt x="81" y="119"/>
                </a:lnTo>
                <a:lnTo>
                  <a:pt x="81" y="125"/>
                </a:lnTo>
                <a:lnTo>
                  <a:pt x="85" y="125"/>
                </a:lnTo>
                <a:lnTo>
                  <a:pt x="78" y="134"/>
                </a:lnTo>
                <a:lnTo>
                  <a:pt x="81" y="132"/>
                </a:lnTo>
                <a:lnTo>
                  <a:pt x="89" y="129"/>
                </a:lnTo>
                <a:lnTo>
                  <a:pt x="93" y="144"/>
                </a:lnTo>
                <a:lnTo>
                  <a:pt x="91" y="144"/>
                </a:lnTo>
                <a:lnTo>
                  <a:pt x="89" y="144"/>
                </a:lnTo>
                <a:lnTo>
                  <a:pt x="38" y="157"/>
                </a:lnTo>
                <a:lnTo>
                  <a:pt x="34" y="149"/>
                </a:lnTo>
                <a:lnTo>
                  <a:pt x="23" y="100"/>
                </a:lnTo>
                <a:lnTo>
                  <a:pt x="0" y="19"/>
                </a:lnTo>
                <a:close/>
              </a:path>
            </a:pathLst>
          </a:custGeom>
          <a:solidFill>
            <a:srgbClr val="194196"/>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45" name="Freeform 773"/>
          <p:cNvSpPr>
            <a:spLocks noChangeAspect="1"/>
          </p:cNvSpPr>
          <p:nvPr/>
        </p:nvSpPr>
        <p:spPr bwMode="auto">
          <a:xfrm>
            <a:off x="7155163" y="3080538"/>
            <a:ext cx="170022" cy="390049"/>
          </a:xfrm>
          <a:custGeom>
            <a:avLst/>
            <a:gdLst>
              <a:gd name="T0" fmla="*/ 2 w 119"/>
              <a:gd name="T1" fmla="*/ 203 h 273"/>
              <a:gd name="T2" fmla="*/ 8 w 119"/>
              <a:gd name="T3" fmla="*/ 186 h 273"/>
              <a:gd name="T4" fmla="*/ 19 w 119"/>
              <a:gd name="T5" fmla="*/ 177 h 273"/>
              <a:gd name="T6" fmla="*/ 30 w 119"/>
              <a:gd name="T7" fmla="*/ 171 h 273"/>
              <a:gd name="T8" fmla="*/ 32 w 119"/>
              <a:gd name="T9" fmla="*/ 156 h 273"/>
              <a:gd name="T10" fmla="*/ 34 w 119"/>
              <a:gd name="T11" fmla="*/ 156 h 273"/>
              <a:gd name="T12" fmla="*/ 40 w 119"/>
              <a:gd name="T13" fmla="*/ 147 h 273"/>
              <a:gd name="T14" fmla="*/ 53 w 119"/>
              <a:gd name="T15" fmla="*/ 132 h 273"/>
              <a:gd name="T16" fmla="*/ 30 w 119"/>
              <a:gd name="T17" fmla="*/ 113 h 273"/>
              <a:gd name="T18" fmla="*/ 19 w 119"/>
              <a:gd name="T19" fmla="*/ 107 h 273"/>
              <a:gd name="T20" fmla="*/ 11 w 119"/>
              <a:gd name="T21" fmla="*/ 96 h 273"/>
              <a:gd name="T22" fmla="*/ 2 w 119"/>
              <a:gd name="T23" fmla="*/ 77 h 273"/>
              <a:gd name="T24" fmla="*/ 8 w 119"/>
              <a:gd name="T25" fmla="*/ 64 h 273"/>
              <a:gd name="T26" fmla="*/ 2 w 119"/>
              <a:gd name="T27" fmla="*/ 56 h 273"/>
              <a:gd name="T28" fmla="*/ 6 w 119"/>
              <a:gd name="T29" fmla="*/ 43 h 273"/>
              <a:gd name="T30" fmla="*/ 15 w 119"/>
              <a:gd name="T31" fmla="*/ 17 h 273"/>
              <a:gd name="T32" fmla="*/ 25 w 119"/>
              <a:gd name="T33" fmla="*/ 0 h 273"/>
              <a:gd name="T34" fmla="*/ 102 w 119"/>
              <a:gd name="T35" fmla="*/ 32 h 273"/>
              <a:gd name="T36" fmla="*/ 98 w 119"/>
              <a:gd name="T37" fmla="*/ 51 h 273"/>
              <a:gd name="T38" fmla="*/ 92 w 119"/>
              <a:gd name="T39" fmla="*/ 62 h 273"/>
              <a:gd name="T40" fmla="*/ 85 w 119"/>
              <a:gd name="T41" fmla="*/ 71 h 273"/>
              <a:gd name="T42" fmla="*/ 92 w 119"/>
              <a:gd name="T43" fmla="*/ 92 h 273"/>
              <a:gd name="T44" fmla="*/ 113 w 119"/>
              <a:gd name="T45" fmla="*/ 92 h 273"/>
              <a:gd name="T46" fmla="*/ 115 w 119"/>
              <a:gd name="T47" fmla="*/ 124 h 273"/>
              <a:gd name="T48" fmla="*/ 119 w 119"/>
              <a:gd name="T49" fmla="*/ 152 h 273"/>
              <a:gd name="T50" fmla="*/ 115 w 119"/>
              <a:gd name="T51" fmla="*/ 145 h 273"/>
              <a:gd name="T52" fmla="*/ 113 w 119"/>
              <a:gd name="T53" fmla="*/ 132 h 273"/>
              <a:gd name="T54" fmla="*/ 109 w 119"/>
              <a:gd name="T55" fmla="*/ 141 h 273"/>
              <a:gd name="T56" fmla="*/ 113 w 119"/>
              <a:gd name="T57" fmla="*/ 158 h 273"/>
              <a:gd name="T58" fmla="*/ 115 w 119"/>
              <a:gd name="T59" fmla="*/ 173 h 273"/>
              <a:gd name="T60" fmla="*/ 106 w 119"/>
              <a:gd name="T61" fmla="*/ 186 h 273"/>
              <a:gd name="T62" fmla="*/ 98 w 119"/>
              <a:gd name="T63" fmla="*/ 198 h 273"/>
              <a:gd name="T64" fmla="*/ 96 w 119"/>
              <a:gd name="T65" fmla="*/ 211 h 273"/>
              <a:gd name="T66" fmla="*/ 94 w 119"/>
              <a:gd name="T67" fmla="*/ 218 h 273"/>
              <a:gd name="T68" fmla="*/ 87 w 119"/>
              <a:gd name="T69" fmla="*/ 228 h 273"/>
              <a:gd name="T70" fmla="*/ 87 w 119"/>
              <a:gd name="T71" fmla="*/ 237 h 273"/>
              <a:gd name="T72" fmla="*/ 79 w 119"/>
              <a:gd name="T73" fmla="*/ 260 h 273"/>
              <a:gd name="T74" fmla="*/ 74 w 119"/>
              <a:gd name="T75" fmla="*/ 271 h 273"/>
              <a:gd name="T76" fmla="*/ 66 w 119"/>
              <a:gd name="T77" fmla="*/ 264 h 273"/>
              <a:gd name="T78" fmla="*/ 66 w 119"/>
              <a:gd name="T79" fmla="*/ 245 h 273"/>
              <a:gd name="T80" fmla="*/ 45 w 119"/>
              <a:gd name="T81" fmla="*/ 250 h 273"/>
              <a:gd name="T82" fmla="*/ 25 w 119"/>
              <a:gd name="T83" fmla="*/ 235 h 273"/>
              <a:gd name="T84" fmla="*/ 4 w 119"/>
              <a:gd name="T85" fmla="*/ 222 h 273"/>
              <a:gd name="T86" fmla="*/ 4 w 119"/>
              <a:gd name="T87" fmla="*/ 218 h 273"/>
              <a:gd name="T88" fmla="*/ 0 w 119"/>
              <a:gd name="T89" fmla="*/ 20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273">
                <a:moveTo>
                  <a:pt x="0" y="209"/>
                </a:moveTo>
                <a:lnTo>
                  <a:pt x="2" y="203"/>
                </a:lnTo>
                <a:lnTo>
                  <a:pt x="4" y="194"/>
                </a:lnTo>
                <a:lnTo>
                  <a:pt x="8" y="186"/>
                </a:lnTo>
                <a:lnTo>
                  <a:pt x="15" y="179"/>
                </a:lnTo>
                <a:lnTo>
                  <a:pt x="19" y="177"/>
                </a:lnTo>
                <a:lnTo>
                  <a:pt x="21" y="177"/>
                </a:lnTo>
                <a:lnTo>
                  <a:pt x="30" y="171"/>
                </a:lnTo>
                <a:lnTo>
                  <a:pt x="30" y="164"/>
                </a:lnTo>
                <a:lnTo>
                  <a:pt x="32" y="156"/>
                </a:lnTo>
                <a:lnTo>
                  <a:pt x="34" y="156"/>
                </a:lnTo>
                <a:lnTo>
                  <a:pt x="34" y="156"/>
                </a:lnTo>
                <a:lnTo>
                  <a:pt x="36" y="154"/>
                </a:lnTo>
                <a:lnTo>
                  <a:pt x="40" y="147"/>
                </a:lnTo>
                <a:lnTo>
                  <a:pt x="49" y="139"/>
                </a:lnTo>
                <a:lnTo>
                  <a:pt x="53" y="132"/>
                </a:lnTo>
                <a:lnTo>
                  <a:pt x="36" y="120"/>
                </a:lnTo>
                <a:lnTo>
                  <a:pt x="30" y="113"/>
                </a:lnTo>
                <a:lnTo>
                  <a:pt x="25" y="111"/>
                </a:lnTo>
                <a:lnTo>
                  <a:pt x="19" y="107"/>
                </a:lnTo>
                <a:lnTo>
                  <a:pt x="17" y="100"/>
                </a:lnTo>
                <a:lnTo>
                  <a:pt x="11" y="96"/>
                </a:lnTo>
                <a:lnTo>
                  <a:pt x="4" y="90"/>
                </a:lnTo>
                <a:lnTo>
                  <a:pt x="2" y="77"/>
                </a:lnTo>
                <a:lnTo>
                  <a:pt x="6" y="71"/>
                </a:lnTo>
                <a:lnTo>
                  <a:pt x="8" y="64"/>
                </a:lnTo>
                <a:lnTo>
                  <a:pt x="6" y="56"/>
                </a:lnTo>
                <a:lnTo>
                  <a:pt x="2" y="56"/>
                </a:lnTo>
                <a:lnTo>
                  <a:pt x="0" y="49"/>
                </a:lnTo>
                <a:lnTo>
                  <a:pt x="6" y="43"/>
                </a:lnTo>
                <a:lnTo>
                  <a:pt x="15" y="24"/>
                </a:lnTo>
                <a:lnTo>
                  <a:pt x="15" y="17"/>
                </a:lnTo>
                <a:lnTo>
                  <a:pt x="19" y="11"/>
                </a:lnTo>
                <a:lnTo>
                  <a:pt x="25" y="0"/>
                </a:lnTo>
                <a:lnTo>
                  <a:pt x="100" y="26"/>
                </a:lnTo>
                <a:lnTo>
                  <a:pt x="102" y="32"/>
                </a:lnTo>
                <a:lnTo>
                  <a:pt x="100" y="41"/>
                </a:lnTo>
                <a:lnTo>
                  <a:pt x="98" y="51"/>
                </a:lnTo>
                <a:lnTo>
                  <a:pt x="98" y="56"/>
                </a:lnTo>
                <a:lnTo>
                  <a:pt x="92" y="62"/>
                </a:lnTo>
                <a:lnTo>
                  <a:pt x="89" y="62"/>
                </a:lnTo>
                <a:lnTo>
                  <a:pt x="85" y="71"/>
                </a:lnTo>
                <a:lnTo>
                  <a:pt x="85" y="90"/>
                </a:lnTo>
                <a:lnTo>
                  <a:pt x="92" y="92"/>
                </a:lnTo>
                <a:lnTo>
                  <a:pt x="98" y="90"/>
                </a:lnTo>
                <a:lnTo>
                  <a:pt x="113" y="92"/>
                </a:lnTo>
                <a:lnTo>
                  <a:pt x="115" y="100"/>
                </a:lnTo>
                <a:lnTo>
                  <a:pt x="115" y="124"/>
                </a:lnTo>
                <a:lnTo>
                  <a:pt x="117" y="130"/>
                </a:lnTo>
                <a:lnTo>
                  <a:pt x="119" y="152"/>
                </a:lnTo>
                <a:lnTo>
                  <a:pt x="117" y="160"/>
                </a:lnTo>
                <a:lnTo>
                  <a:pt x="115" y="145"/>
                </a:lnTo>
                <a:lnTo>
                  <a:pt x="117" y="139"/>
                </a:lnTo>
                <a:lnTo>
                  <a:pt x="113" y="132"/>
                </a:lnTo>
                <a:lnTo>
                  <a:pt x="113" y="139"/>
                </a:lnTo>
                <a:lnTo>
                  <a:pt x="109" y="141"/>
                </a:lnTo>
                <a:lnTo>
                  <a:pt x="113" y="147"/>
                </a:lnTo>
                <a:lnTo>
                  <a:pt x="113" y="158"/>
                </a:lnTo>
                <a:lnTo>
                  <a:pt x="111" y="164"/>
                </a:lnTo>
                <a:lnTo>
                  <a:pt x="115" y="173"/>
                </a:lnTo>
                <a:lnTo>
                  <a:pt x="113" y="179"/>
                </a:lnTo>
                <a:lnTo>
                  <a:pt x="106" y="186"/>
                </a:lnTo>
                <a:lnTo>
                  <a:pt x="106" y="194"/>
                </a:lnTo>
                <a:lnTo>
                  <a:pt x="98" y="198"/>
                </a:lnTo>
                <a:lnTo>
                  <a:pt x="102" y="205"/>
                </a:lnTo>
                <a:lnTo>
                  <a:pt x="96" y="211"/>
                </a:lnTo>
                <a:lnTo>
                  <a:pt x="100" y="218"/>
                </a:lnTo>
                <a:lnTo>
                  <a:pt x="94" y="218"/>
                </a:lnTo>
                <a:lnTo>
                  <a:pt x="87" y="226"/>
                </a:lnTo>
                <a:lnTo>
                  <a:pt x="87" y="228"/>
                </a:lnTo>
                <a:lnTo>
                  <a:pt x="89" y="230"/>
                </a:lnTo>
                <a:lnTo>
                  <a:pt x="87" y="237"/>
                </a:lnTo>
                <a:lnTo>
                  <a:pt x="85" y="252"/>
                </a:lnTo>
                <a:lnTo>
                  <a:pt x="79" y="260"/>
                </a:lnTo>
                <a:lnTo>
                  <a:pt x="79" y="267"/>
                </a:lnTo>
                <a:lnTo>
                  <a:pt x="74" y="271"/>
                </a:lnTo>
                <a:lnTo>
                  <a:pt x="66" y="273"/>
                </a:lnTo>
                <a:lnTo>
                  <a:pt x="66" y="264"/>
                </a:lnTo>
                <a:lnTo>
                  <a:pt x="68" y="254"/>
                </a:lnTo>
                <a:lnTo>
                  <a:pt x="66" y="245"/>
                </a:lnTo>
                <a:lnTo>
                  <a:pt x="51" y="245"/>
                </a:lnTo>
                <a:lnTo>
                  <a:pt x="45" y="250"/>
                </a:lnTo>
                <a:lnTo>
                  <a:pt x="32" y="239"/>
                </a:lnTo>
                <a:lnTo>
                  <a:pt x="25" y="235"/>
                </a:lnTo>
                <a:lnTo>
                  <a:pt x="17" y="233"/>
                </a:lnTo>
                <a:lnTo>
                  <a:pt x="4" y="222"/>
                </a:lnTo>
                <a:lnTo>
                  <a:pt x="4" y="218"/>
                </a:lnTo>
                <a:lnTo>
                  <a:pt x="4" y="218"/>
                </a:lnTo>
                <a:lnTo>
                  <a:pt x="0" y="211"/>
                </a:lnTo>
                <a:lnTo>
                  <a:pt x="0" y="209"/>
                </a:lnTo>
              </a:path>
            </a:pathLst>
          </a:custGeom>
          <a:solidFill>
            <a:srgbClr val="194196"/>
          </a:solidFill>
          <a:ln w="9525"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46" name="Freeform 781"/>
          <p:cNvSpPr>
            <a:spLocks noChangeAspect="1"/>
          </p:cNvSpPr>
          <p:nvPr/>
        </p:nvSpPr>
        <p:spPr bwMode="auto">
          <a:xfrm>
            <a:off x="7207016" y="2418651"/>
            <a:ext cx="212885" cy="404336"/>
          </a:xfrm>
          <a:custGeom>
            <a:avLst/>
            <a:gdLst>
              <a:gd name="T0" fmla="*/ 0 w 149"/>
              <a:gd name="T1" fmla="*/ 38 h 283"/>
              <a:gd name="T2" fmla="*/ 28 w 149"/>
              <a:gd name="T3" fmla="*/ 30 h 283"/>
              <a:gd name="T4" fmla="*/ 143 w 149"/>
              <a:gd name="T5" fmla="*/ 0 h 283"/>
              <a:gd name="T6" fmla="*/ 141 w 149"/>
              <a:gd name="T7" fmla="*/ 4 h 283"/>
              <a:gd name="T8" fmla="*/ 145 w 149"/>
              <a:gd name="T9" fmla="*/ 13 h 283"/>
              <a:gd name="T10" fmla="*/ 141 w 149"/>
              <a:gd name="T11" fmla="*/ 28 h 283"/>
              <a:gd name="T12" fmla="*/ 143 w 149"/>
              <a:gd name="T13" fmla="*/ 36 h 283"/>
              <a:gd name="T14" fmla="*/ 147 w 149"/>
              <a:gd name="T15" fmla="*/ 43 h 283"/>
              <a:gd name="T16" fmla="*/ 149 w 149"/>
              <a:gd name="T17" fmla="*/ 49 h 283"/>
              <a:gd name="T18" fmla="*/ 149 w 149"/>
              <a:gd name="T19" fmla="*/ 58 h 283"/>
              <a:gd name="T20" fmla="*/ 143 w 149"/>
              <a:gd name="T21" fmla="*/ 68 h 283"/>
              <a:gd name="T22" fmla="*/ 132 w 149"/>
              <a:gd name="T23" fmla="*/ 81 h 283"/>
              <a:gd name="T24" fmla="*/ 128 w 149"/>
              <a:gd name="T25" fmla="*/ 81 h 283"/>
              <a:gd name="T26" fmla="*/ 122 w 149"/>
              <a:gd name="T27" fmla="*/ 89 h 283"/>
              <a:gd name="T28" fmla="*/ 122 w 149"/>
              <a:gd name="T29" fmla="*/ 96 h 283"/>
              <a:gd name="T30" fmla="*/ 126 w 149"/>
              <a:gd name="T31" fmla="*/ 111 h 283"/>
              <a:gd name="T32" fmla="*/ 124 w 149"/>
              <a:gd name="T33" fmla="*/ 124 h 283"/>
              <a:gd name="T34" fmla="*/ 126 w 149"/>
              <a:gd name="T35" fmla="*/ 130 h 283"/>
              <a:gd name="T36" fmla="*/ 122 w 149"/>
              <a:gd name="T37" fmla="*/ 138 h 283"/>
              <a:gd name="T38" fmla="*/ 124 w 149"/>
              <a:gd name="T39" fmla="*/ 145 h 283"/>
              <a:gd name="T40" fmla="*/ 122 w 149"/>
              <a:gd name="T41" fmla="*/ 153 h 283"/>
              <a:gd name="T42" fmla="*/ 117 w 149"/>
              <a:gd name="T43" fmla="*/ 160 h 283"/>
              <a:gd name="T44" fmla="*/ 117 w 149"/>
              <a:gd name="T45" fmla="*/ 170 h 283"/>
              <a:gd name="T46" fmla="*/ 115 w 149"/>
              <a:gd name="T47" fmla="*/ 179 h 283"/>
              <a:gd name="T48" fmla="*/ 122 w 149"/>
              <a:gd name="T49" fmla="*/ 202 h 283"/>
              <a:gd name="T50" fmla="*/ 122 w 149"/>
              <a:gd name="T51" fmla="*/ 217 h 283"/>
              <a:gd name="T52" fmla="*/ 126 w 149"/>
              <a:gd name="T53" fmla="*/ 239 h 283"/>
              <a:gd name="T54" fmla="*/ 122 w 149"/>
              <a:gd name="T55" fmla="*/ 247 h 283"/>
              <a:gd name="T56" fmla="*/ 122 w 149"/>
              <a:gd name="T57" fmla="*/ 253 h 283"/>
              <a:gd name="T58" fmla="*/ 126 w 149"/>
              <a:gd name="T59" fmla="*/ 262 h 283"/>
              <a:gd name="T60" fmla="*/ 132 w 149"/>
              <a:gd name="T61" fmla="*/ 271 h 283"/>
              <a:gd name="T62" fmla="*/ 70 w 149"/>
              <a:gd name="T63" fmla="*/ 283 h 283"/>
              <a:gd name="T64" fmla="*/ 64 w 149"/>
              <a:gd name="T65" fmla="*/ 277 h 283"/>
              <a:gd name="T66" fmla="*/ 66 w 149"/>
              <a:gd name="T67" fmla="*/ 271 h 283"/>
              <a:gd name="T68" fmla="*/ 49 w 149"/>
              <a:gd name="T69" fmla="*/ 198 h 283"/>
              <a:gd name="T70" fmla="*/ 38 w 149"/>
              <a:gd name="T71" fmla="*/ 190 h 283"/>
              <a:gd name="T72" fmla="*/ 34 w 149"/>
              <a:gd name="T73" fmla="*/ 196 h 283"/>
              <a:gd name="T74" fmla="*/ 32 w 149"/>
              <a:gd name="T75" fmla="*/ 190 h 283"/>
              <a:gd name="T76" fmla="*/ 32 w 149"/>
              <a:gd name="T77" fmla="*/ 177 h 283"/>
              <a:gd name="T78" fmla="*/ 28 w 149"/>
              <a:gd name="T79" fmla="*/ 162 h 283"/>
              <a:gd name="T80" fmla="*/ 24 w 149"/>
              <a:gd name="T81" fmla="*/ 156 h 283"/>
              <a:gd name="T82" fmla="*/ 19 w 149"/>
              <a:gd name="T83" fmla="*/ 141 h 283"/>
              <a:gd name="T84" fmla="*/ 19 w 149"/>
              <a:gd name="T85" fmla="*/ 126 h 283"/>
              <a:gd name="T86" fmla="*/ 24 w 149"/>
              <a:gd name="T87" fmla="*/ 124 h 283"/>
              <a:gd name="T88" fmla="*/ 21 w 149"/>
              <a:gd name="T89" fmla="*/ 115 h 283"/>
              <a:gd name="T90" fmla="*/ 19 w 149"/>
              <a:gd name="T91" fmla="*/ 109 h 283"/>
              <a:gd name="T92" fmla="*/ 19 w 149"/>
              <a:gd name="T93" fmla="*/ 100 h 283"/>
              <a:gd name="T94" fmla="*/ 17 w 149"/>
              <a:gd name="T95" fmla="*/ 94 h 283"/>
              <a:gd name="T96" fmla="*/ 11 w 149"/>
              <a:gd name="T97" fmla="*/ 87 h 283"/>
              <a:gd name="T98" fmla="*/ 9 w 149"/>
              <a:gd name="T99" fmla="*/ 79 h 283"/>
              <a:gd name="T100" fmla="*/ 7 w 149"/>
              <a:gd name="T101" fmla="*/ 62 h 283"/>
              <a:gd name="T102" fmla="*/ 2 w 149"/>
              <a:gd name="T103" fmla="*/ 55 h 283"/>
              <a:gd name="T104" fmla="*/ 2 w 149"/>
              <a:gd name="T105" fmla="*/ 47 h 283"/>
              <a:gd name="T106" fmla="*/ 0 w 149"/>
              <a:gd name="T107" fmla="*/ 41 h 283"/>
              <a:gd name="T108" fmla="*/ 0 w 149"/>
              <a:gd name="T109" fmla="*/ 3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83">
                <a:moveTo>
                  <a:pt x="0" y="38"/>
                </a:moveTo>
                <a:lnTo>
                  <a:pt x="28" y="30"/>
                </a:lnTo>
                <a:lnTo>
                  <a:pt x="143" y="0"/>
                </a:lnTo>
                <a:lnTo>
                  <a:pt x="141" y="4"/>
                </a:lnTo>
                <a:lnTo>
                  <a:pt x="145" y="13"/>
                </a:lnTo>
                <a:lnTo>
                  <a:pt x="141" y="28"/>
                </a:lnTo>
                <a:lnTo>
                  <a:pt x="143" y="36"/>
                </a:lnTo>
                <a:lnTo>
                  <a:pt x="147" y="43"/>
                </a:lnTo>
                <a:lnTo>
                  <a:pt x="149" y="49"/>
                </a:lnTo>
                <a:lnTo>
                  <a:pt x="149" y="58"/>
                </a:lnTo>
                <a:lnTo>
                  <a:pt x="143" y="68"/>
                </a:lnTo>
                <a:lnTo>
                  <a:pt x="132" y="81"/>
                </a:lnTo>
                <a:lnTo>
                  <a:pt x="128" y="81"/>
                </a:lnTo>
                <a:lnTo>
                  <a:pt x="122" y="89"/>
                </a:lnTo>
                <a:lnTo>
                  <a:pt x="122" y="96"/>
                </a:lnTo>
                <a:lnTo>
                  <a:pt x="126" y="111"/>
                </a:lnTo>
                <a:lnTo>
                  <a:pt x="124" y="124"/>
                </a:lnTo>
                <a:lnTo>
                  <a:pt x="126" y="130"/>
                </a:lnTo>
                <a:lnTo>
                  <a:pt x="122" y="138"/>
                </a:lnTo>
                <a:lnTo>
                  <a:pt x="124" y="145"/>
                </a:lnTo>
                <a:lnTo>
                  <a:pt x="122" y="153"/>
                </a:lnTo>
                <a:lnTo>
                  <a:pt x="117" y="160"/>
                </a:lnTo>
                <a:lnTo>
                  <a:pt x="117" y="170"/>
                </a:lnTo>
                <a:lnTo>
                  <a:pt x="115" y="179"/>
                </a:lnTo>
                <a:lnTo>
                  <a:pt x="122" y="202"/>
                </a:lnTo>
                <a:lnTo>
                  <a:pt x="122" y="217"/>
                </a:lnTo>
                <a:lnTo>
                  <a:pt x="126" y="239"/>
                </a:lnTo>
                <a:lnTo>
                  <a:pt x="122" y="247"/>
                </a:lnTo>
                <a:lnTo>
                  <a:pt x="122" y="253"/>
                </a:lnTo>
                <a:lnTo>
                  <a:pt x="126" y="262"/>
                </a:lnTo>
                <a:lnTo>
                  <a:pt x="132" y="271"/>
                </a:lnTo>
                <a:lnTo>
                  <a:pt x="70" y="283"/>
                </a:lnTo>
                <a:lnTo>
                  <a:pt x="64" y="277"/>
                </a:lnTo>
                <a:lnTo>
                  <a:pt x="66" y="271"/>
                </a:lnTo>
                <a:lnTo>
                  <a:pt x="49" y="198"/>
                </a:lnTo>
                <a:lnTo>
                  <a:pt x="38" y="190"/>
                </a:lnTo>
                <a:lnTo>
                  <a:pt x="34" y="196"/>
                </a:lnTo>
                <a:lnTo>
                  <a:pt x="32" y="190"/>
                </a:lnTo>
                <a:lnTo>
                  <a:pt x="32" y="177"/>
                </a:lnTo>
                <a:lnTo>
                  <a:pt x="28" y="162"/>
                </a:lnTo>
                <a:lnTo>
                  <a:pt x="24" y="156"/>
                </a:lnTo>
                <a:lnTo>
                  <a:pt x="19" y="141"/>
                </a:lnTo>
                <a:lnTo>
                  <a:pt x="19" y="126"/>
                </a:lnTo>
                <a:lnTo>
                  <a:pt x="24" y="124"/>
                </a:lnTo>
                <a:lnTo>
                  <a:pt x="21" y="115"/>
                </a:lnTo>
                <a:lnTo>
                  <a:pt x="19" y="109"/>
                </a:lnTo>
                <a:lnTo>
                  <a:pt x="19" y="100"/>
                </a:lnTo>
                <a:lnTo>
                  <a:pt x="17" y="94"/>
                </a:lnTo>
                <a:lnTo>
                  <a:pt x="11" y="87"/>
                </a:lnTo>
                <a:lnTo>
                  <a:pt x="9" y="79"/>
                </a:lnTo>
                <a:lnTo>
                  <a:pt x="7" y="62"/>
                </a:lnTo>
                <a:lnTo>
                  <a:pt x="2" y="55"/>
                </a:lnTo>
                <a:lnTo>
                  <a:pt x="2" y="47"/>
                </a:lnTo>
                <a:lnTo>
                  <a:pt x="0" y="41"/>
                </a:lnTo>
                <a:lnTo>
                  <a:pt x="0" y="38"/>
                </a:lnTo>
              </a:path>
            </a:pathLst>
          </a:custGeom>
          <a:solidFill>
            <a:srgbClr val="BEBEBE"/>
          </a:solidFill>
          <a:ln w="9525" cap="flat">
            <a:solidFill>
              <a:srgbClr val="FFFFFF"/>
            </a:solidFill>
            <a:prstDash val="solid"/>
            <a:miter lim="800000"/>
            <a:headEnd/>
            <a:tailEnd/>
          </a:ln>
        </p:spPr>
        <p:txBody>
          <a:bodyPr vert="horz" wrap="square" lIns="0" tIns="45720" rIns="0" bIns="45720" numCol="1" anchor="t" anchorCtr="0" compatLnSpc="1">
            <a:prstTxWarp prst="textNoShape">
              <a:avLst/>
            </a:prstTxWarp>
          </a:bodyPr>
          <a:lstStyle/>
          <a:p>
            <a:pPr algn="ctr"/>
            <a:r>
              <a:rPr lang="en-US" sz="1000" b="1" dirty="0">
                <a:solidFill>
                  <a:srgbClr val="5A5A5A"/>
                </a:solidFill>
              </a:rPr>
              <a:t>Vt.</a:t>
            </a:r>
          </a:p>
        </p:txBody>
      </p:sp>
      <p:sp>
        <p:nvSpPr>
          <p:cNvPr id="347" name="Freeform 786"/>
          <p:cNvSpPr>
            <a:spLocks noChangeAspect="1"/>
          </p:cNvSpPr>
          <p:nvPr/>
        </p:nvSpPr>
        <p:spPr bwMode="auto">
          <a:xfrm>
            <a:off x="6685787" y="3373513"/>
            <a:ext cx="574356" cy="280035"/>
          </a:xfrm>
          <a:custGeom>
            <a:avLst/>
            <a:gdLst>
              <a:gd name="T0" fmla="*/ 311 w 402"/>
              <a:gd name="T1" fmla="*/ 0 h 196"/>
              <a:gd name="T2" fmla="*/ 349 w 402"/>
              <a:gd name="T3" fmla="*/ 138 h 196"/>
              <a:gd name="T4" fmla="*/ 396 w 402"/>
              <a:gd name="T5" fmla="*/ 132 h 196"/>
              <a:gd name="T6" fmla="*/ 396 w 402"/>
              <a:gd name="T7" fmla="*/ 151 h 196"/>
              <a:gd name="T8" fmla="*/ 387 w 402"/>
              <a:gd name="T9" fmla="*/ 179 h 196"/>
              <a:gd name="T10" fmla="*/ 360 w 402"/>
              <a:gd name="T11" fmla="*/ 191 h 196"/>
              <a:gd name="T12" fmla="*/ 351 w 402"/>
              <a:gd name="T13" fmla="*/ 183 h 196"/>
              <a:gd name="T14" fmla="*/ 343 w 402"/>
              <a:gd name="T15" fmla="*/ 174 h 196"/>
              <a:gd name="T16" fmla="*/ 340 w 402"/>
              <a:gd name="T17" fmla="*/ 164 h 196"/>
              <a:gd name="T18" fmla="*/ 330 w 402"/>
              <a:gd name="T19" fmla="*/ 164 h 196"/>
              <a:gd name="T20" fmla="*/ 323 w 402"/>
              <a:gd name="T21" fmla="*/ 159 h 196"/>
              <a:gd name="T22" fmla="*/ 313 w 402"/>
              <a:gd name="T23" fmla="*/ 159 h 196"/>
              <a:gd name="T24" fmla="*/ 302 w 402"/>
              <a:gd name="T25" fmla="*/ 155 h 196"/>
              <a:gd name="T26" fmla="*/ 298 w 402"/>
              <a:gd name="T27" fmla="*/ 138 h 196"/>
              <a:gd name="T28" fmla="*/ 321 w 402"/>
              <a:gd name="T29" fmla="*/ 123 h 196"/>
              <a:gd name="T30" fmla="*/ 302 w 402"/>
              <a:gd name="T31" fmla="*/ 119 h 196"/>
              <a:gd name="T32" fmla="*/ 291 w 402"/>
              <a:gd name="T33" fmla="*/ 123 h 196"/>
              <a:gd name="T34" fmla="*/ 296 w 402"/>
              <a:gd name="T35" fmla="*/ 106 h 196"/>
              <a:gd name="T36" fmla="*/ 304 w 402"/>
              <a:gd name="T37" fmla="*/ 100 h 196"/>
              <a:gd name="T38" fmla="*/ 289 w 402"/>
              <a:gd name="T39" fmla="*/ 93 h 196"/>
              <a:gd name="T40" fmla="*/ 283 w 402"/>
              <a:gd name="T41" fmla="*/ 91 h 196"/>
              <a:gd name="T42" fmla="*/ 296 w 402"/>
              <a:gd name="T43" fmla="*/ 81 h 196"/>
              <a:gd name="T44" fmla="*/ 289 w 402"/>
              <a:gd name="T45" fmla="*/ 81 h 196"/>
              <a:gd name="T46" fmla="*/ 294 w 402"/>
              <a:gd name="T47" fmla="*/ 44 h 196"/>
              <a:gd name="T48" fmla="*/ 298 w 402"/>
              <a:gd name="T49" fmla="*/ 38 h 196"/>
              <a:gd name="T50" fmla="*/ 300 w 402"/>
              <a:gd name="T51" fmla="*/ 27 h 196"/>
              <a:gd name="T52" fmla="*/ 289 w 402"/>
              <a:gd name="T53" fmla="*/ 23 h 196"/>
              <a:gd name="T54" fmla="*/ 287 w 402"/>
              <a:gd name="T55" fmla="*/ 42 h 196"/>
              <a:gd name="T56" fmla="*/ 277 w 402"/>
              <a:gd name="T57" fmla="*/ 40 h 196"/>
              <a:gd name="T58" fmla="*/ 270 w 402"/>
              <a:gd name="T59" fmla="*/ 49 h 196"/>
              <a:gd name="T60" fmla="*/ 264 w 402"/>
              <a:gd name="T61" fmla="*/ 59 h 196"/>
              <a:gd name="T62" fmla="*/ 262 w 402"/>
              <a:gd name="T63" fmla="*/ 66 h 196"/>
              <a:gd name="T64" fmla="*/ 270 w 402"/>
              <a:gd name="T65" fmla="*/ 85 h 196"/>
              <a:gd name="T66" fmla="*/ 266 w 402"/>
              <a:gd name="T67" fmla="*/ 89 h 196"/>
              <a:gd name="T68" fmla="*/ 270 w 402"/>
              <a:gd name="T69" fmla="*/ 108 h 196"/>
              <a:gd name="T70" fmla="*/ 274 w 402"/>
              <a:gd name="T71" fmla="*/ 127 h 196"/>
              <a:gd name="T72" fmla="*/ 287 w 402"/>
              <a:gd name="T73" fmla="*/ 166 h 196"/>
              <a:gd name="T74" fmla="*/ 270 w 402"/>
              <a:gd name="T75" fmla="*/ 153 h 196"/>
              <a:gd name="T76" fmla="*/ 260 w 402"/>
              <a:gd name="T77" fmla="*/ 136 h 196"/>
              <a:gd name="T78" fmla="*/ 281 w 402"/>
              <a:gd name="T79" fmla="*/ 164 h 196"/>
              <a:gd name="T80" fmla="*/ 304 w 402"/>
              <a:gd name="T81" fmla="*/ 185 h 196"/>
              <a:gd name="T82" fmla="*/ 287 w 402"/>
              <a:gd name="T83" fmla="*/ 185 h 196"/>
              <a:gd name="T84" fmla="*/ 272 w 402"/>
              <a:gd name="T85" fmla="*/ 179 h 196"/>
              <a:gd name="T86" fmla="*/ 255 w 402"/>
              <a:gd name="T87" fmla="*/ 168 h 196"/>
              <a:gd name="T88" fmla="*/ 245 w 402"/>
              <a:gd name="T89" fmla="*/ 174 h 196"/>
              <a:gd name="T90" fmla="*/ 230 w 402"/>
              <a:gd name="T91" fmla="*/ 164 h 196"/>
              <a:gd name="T92" fmla="*/ 217 w 402"/>
              <a:gd name="T93" fmla="*/ 168 h 196"/>
              <a:gd name="T94" fmla="*/ 219 w 402"/>
              <a:gd name="T95" fmla="*/ 153 h 196"/>
              <a:gd name="T96" fmla="*/ 230 w 402"/>
              <a:gd name="T97" fmla="*/ 132 h 196"/>
              <a:gd name="T98" fmla="*/ 234 w 402"/>
              <a:gd name="T99" fmla="*/ 110 h 196"/>
              <a:gd name="T100" fmla="*/ 211 w 402"/>
              <a:gd name="T101" fmla="*/ 108 h 196"/>
              <a:gd name="T102" fmla="*/ 187 w 402"/>
              <a:gd name="T103" fmla="*/ 102 h 196"/>
              <a:gd name="T104" fmla="*/ 176 w 402"/>
              <a:gd name="T105" fmla="*/ 83 h 196"/>
              <a:gd name="T106" fmla="*/ 153 w 402"/>
              <a:gd name="T107" fmla="*/ 74 h 196"/>
              <a:gd name="T108" fmla="*/ 140 w 402"/>
              <a:gd name="T109" fmla="*/ 59 h 196"/>
              <a:gd name="T110" fmla="*/ 125 w 402"/>
              <a:gd name="T111" fmla="*/ 51 h 196"/>
              <a:gd name="T112" fmla="*/ 106 w 402"/>
              <a:gd name="T113" fmla="*/ 47 h 196"/>
              <a:gd name="T114" fmla="*/ 89 w 402"/>
              <a:gd name="T115" fmla="*/ 61 h 196"/>
              <a:gd name="T116" fmla="*/ 70 w 402"/>
              <a:gd name="T117" fmla="*/ 68 h 196"/>
              <a:gd name="T118" fmla="*/ 59 w 402"/>
              <a:gd name="T119" fmla="*/ 70 h 196"/>
              <a:gd name="T120" fmla="*/ 36 w 402"/>
              <a:gd name="T121" fmla="*/ 85 h 196"/>
              <a:gd name="T122" fmla="*/ 23 w 402"/>
              <a:gd name="T123" fmla="*/ 106 h 196"/>
              <a:gd name="T124" fmla="*/ 0 w 402"/>
              <a:gd name="T125" fmla="*/ 6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196">
                <a:moveTo>
                  <a:pt x="0" y="61"/>
                </a:moveTo>
                <a:lnTo>
                  <a:pt x="145" y="34"/>
                </a:lnTo>
                <a:lnTo>
                  <a:pt x="311" y="0"/>
                </a:lnTo>
                <a:lnTo>
                  <a:pt x="334" y="81"/>
                </a:lnTo>
                <a:lnTo>
                  <a:pt x="345" y="130"/>
                </a:lnTo>
                <a:lnTo>
                  <a:pt x="349" y="138"/>
                </a:lnTo>
                <a:lnTo>
                  <a:pt x="400" y="125"/>
                </a:lnTo>
                <a:lnTo>
                  <a:pt x="400" y="130"/>
                </a:lnTo>
                <a:lnTo>
                  <a:pt x="396" y="132"/>
                </a:lnTo>
                <a:lnTo>
                  <a:pt x="402" y="138"/>
                </a:lnTo>
                <a:lnTo>
                  <a:pt x="400" y="153"/>
                </a:lnTo>
                <a:lnTo>
                  <a:pt x="396" y="151"/>
                </a:lnTo>
                <a:lnTo>
                  <a:pt x="392" y="166"/>
                </a:lnTo>
                <a:lnTo>
                  <a:pt x="387" y="172"/>
                </a:lnTo>
                <a:lnTo>
                  <a:pt x="387" y="179"/>
                </a:lnTo>
                <a:lnTo>
                  <a:pt x="372" y="185"/>
                </a:lnTo>
                <a:lnTo>
                  <a:pt x="366" y="191"/>
                </a:lnTo>
                <a:lnTo>
                  <a:pt x="360" y="191"/>
                </a:lnTo>
                <a:lnTo>
                  <a:pt x="345" y="196"/>
                </a:lnTo>
                <a:lnTo>
                  <a:pt x="345" y="191"/>
                </a:lnTo>
                <a:lnTo>
                  <a:pt x="351" y="183"/>
                </a:lnTo>
                <a:lnTo>
                  <a:pt x="353" y="176"/>
                </a:lnTo>
                <a:lnTo>
                  <a:pt x="347" y="179"/>
                </a:lnTo>
                <a:lnTo>
                  <a:pt x="343" y="174"/>
                </a:lnTo>
                <a:lnTo>
                  <a:pt x="336" y="179"/>
                </a:lnTo>
                <a:lnTo>
                  <a:pt x="334" y="172"/>
                </a:lnTo>
                <a:lnTo>
                  <a:pt x="340" y="164"/>
                </a:lnTo>
                <a:lnTo>
                  <a:pt x="336" y="162"/>
                </a:lnTo>
                <a:lnTo>
                  <a:pt x="336" y="149"/>
                </a:lnTo>
                <a:lnTo>
                  <a:pt x="330" y="164"/>
                </a:lnTo>
                <a:lnTo>
                  <a:pt x="328" y="159"/>
                </a:lnTo>
                <a:lnTo>
                  <a:pt x="328" y="153"/>
                </a:lnTo>
                <a:lnTo>
                  <a:pt x="323" y="159"/>
                </a:lnTo>
                <a:lnTo>
                  <a:pt x="326" y="168"/>
                </a:lnTo>
                <a:lnTo>
                  <a:pt x="319" y="164"/>
                </a:lnTo>
                <a:lnTo>
                  <a:pt x="313" y="159"/>
                </a:lnTo>
                <a:lnTo>
                  <a:pt x="306" y="155"/>
                </a:lnTo>
                <a:lnTo>
                  <a:pt x="309" y="162"/>
                </a:lnTo>
                <a:lnTo>
                  <a:pt x="302" y="155"/>
                </a:lnTo>
                <a:lnTo>
                  <a:pt x="302" y="147"/>
                </a:lnTo>
                <a:lnTo>
                  <a:pt x="304" y="134"/>
                </a:lnTo>
                <a:lnTo>
                  <a:pt x="298" y="138"/>
                </a:lnTo>
                <a:lnTo>
                  <a:pt x="300" y="130"/>
                </a:lnTo>
                <a:lnTo>
                  <a:pt x="317" y="132"/>
                </a:lnTo>
                <a:lnTo>
                  <a:pt x="321" y="123"/>
                </a:lnTo>
                <a:lnTo>
                  <a:pt x="315" y="127"/>
                </a:lnTo>
                <a:lnTo>
                  <a:pt x="306" y="125"/>
                </a:lnTo>
                <a:lnTo>
                  <a:pt x="302" y="119"/>
                </a:lnTo>
                <a:lnTo>
                  <a:pt x="300" y="115"/>
                </a:lnTo>
                <a:lnTo>
                  <a:pt x="291" y="117"/>
                </a:lnTo>
                <a:lnTo>
                  <a:pt x="291" y="123"/>
                </a:lnTo>
                <a:lnTo>
                  <a:pt x="287" y="117"/>
                </a:lnTo>
                <a:lnTo>
                  <a:pt x="289" y="110"/>
                </a:lnTo>
                <a:lnTo>
                  <a:pt x="296" y="106"/>
                </a:lnTo>
                <a:lnTo>
                  <a:pt x="302" y="113"/>
                </a:lnTo>
                <a:lnTo>
                  <a:pt x="300" y="106"/>
                </a:lnTo>
                <a:lnTo>
                  <a:pt x="304" y="100"/>
                </a:lnTo>
                <a:lnTo>
                  <a:pt x="298" y="98"/>
                </a:lnTo>
                <a:lnTo>
                  <a:pt x="291" y="91"/>
                </a:lnTo>
                <a:lnTo>
                  <a:pt x="289" y="93"/>
                </a:lnTo>
                <a:lnTo>
                  <a:pt x="283" y="98"/>
                </a:lnTo>
                <a:lnTo>
                  <a:pt x="283" y="106"/>
                </a:lnTo>
                <a:lnTo>
                  <a:pt x="283" y="91"/>
                </a:lnTo>
                <a:lnTo>
                  <a:pt x="289" y="89"/>
                </a:lnTo>
                <a:lnTo>
                  <a:pt x="296" y="83"/>
                </a:lnTo>
                <a:lnTo>
                  <a:pt x="296" y="81"/>
                </a:lnTo>
                <a:lnTo>
                  <a:pt x="296" y="74"/>
                </a:lnTo>
                <a:lnTo>
                  <a:pt x="291" y="72"/>
                </a:lnTo>
                <a:lnTo>
                  <a:pt x="289" y="81"/>
                </a:lnTo>
                <a:lnTo>
                  <a:pt x="285" y="72"/>
                </a:lnTo>
                <a:lnTo>
                  <a:pt x="287" y="51"/>
                </a:lnTo>
                <a:lnTo>
                  <a:pt x="294" y="44"/>
                </a:lnTo>
                <a:lnTo>
                  <a:pt x="302" y="42"/>
                </a:lnTo>
                <a:lnTo>
                  <a:pt x="309" y="38"/>
                </a:lnTo>
                <a:lnTo>
                  <a:pt x="298" y="38"/>
                </a:lnTo>
                <a:lnTo>
                  <a:pt x="309" y="23"/>
                </a:lnTo>
                <a:lnTo>
                  <a:pt x="306" y="21"/>
                </a:lnTo>
                <a:lnTo>
                  <a:pt x="300" y="27"/>
                </a:lnTo>
                <a:lnTo>
                  <a:pt x="300" y="19"/>
                </a:lnTo>
                <a:lnTo>
                  <a:pt x="296" y="21"/>
                </a:lnTo>
                <a:lnTo>
                  <a:pt x="289" y="23"/>
                </a:lnTo>
                <a:lnTo>
                  <a:pt x="289" y="27"/>
                </a:lnTo>
                <a:lnTo>
                  <a:pt x="294" y="34"/>
                </a:lnTo>
                <a:lnTo>
                  <a:pt x="287" y="42"/>
                </a:lnTo>
                <a:lnTo>
                  <a:pt x="281" y="44"/>
                </a:lnTo>
                <a:lnTo>
                  <a:pt x="281" y="36"/>
                </a:lnTo>
                <a:lnTo>
                  <a:pt x="277" y="40"/>
                </a:lnTo>
                <a:lnTo>
                  <a:pt x="277" y="53"/>
                </a:lnTo>
                <a:lnTo>
                  <a:pt x="272" y="44"/>
                </a:lnTo>
                <a:lnTo>
                  <a:pt x="270" y="49"/>
                </a:lnTo>
                <a:lnTo>
                  <a:pt x="270" y="53"/>
                </a:lnTo>
                <a:lnTo>
                  <a:pt x="270" y="61"/>
                </a:lnTo>
                <a:lnTo>
                  <a:pt x="264" y="59"/>
                </a:lnTo>
                <a:lnTo>
                  <a:pt x="270" y="66"/>
                </a:lnTo>
                <a:lnTo>
                  <a:pt x="264" y="66"/>
                </a:lnTo>
                <a:lnTo>
                  <a:pt x="262" y="66"/>
                </a:lnTo>
                <a:lnTo>
                  <a:pt x="253" y="68"/>
                </a:lnTo>
                <a:lnTo>
                  <a:pt x="270" y="78"/>
                </a:lnTo>
                <a:lnTo>
                  <a:pt x="270" y="85"/>
                </a:lnTo>
                <a:lnTo>
                  <a:pt x="277" y="89"/>
                </a:lnTo>
                <a:lnTo>
                  <a:pt x="272" y="91"/>
                </a:lnTo>
                <a:lnTo>
                  <a:pt x="266" y="89"/>
                </a:lnTo>
                <a:lnTo>
                  <a:pt x="264" y="91"/>
                </a:lnTo>
                <a:lnTo>
                  <a:pt x="270" y="93"/>
                </a:lnTo>
                <a:lnTo>
                  <a:pt x="270" y="108"/>
                </a:lnTo>
                <a:lnTo>
                  <a:pt x="272" y="115"/>
                </a:lnTo>
                <a:lnTo>
                  <a:pt x="270" y="121"/>
                </a:lnTo>
                <a:lnTo>
                  <a:pt x="274" y="127"/>
                </a:lnTo>
                <a:lnTo>
                  <a:pt x="279" y="145"/>
                </a:lnTo>
                <a:lnTo>
                  <a:pt x="291" y="157"/>
                </a:lnTo>
                <a:lnTo>
                  <a:pt x="287" y="166"/>
                </a:lnTo>
                <a:lnTo>
                  <a:pt x="285" y="159"/>
                </a:lnTo>
                <a:lnTo>
                  <a:pt x="277" y="157"/>
                </a:lnTo>
                <a:lnTo>
                  <a:pt x="270" y="153"/>
                </a:lnTo>
                <a:lnTo>
                  <a:pt x="262" y="138"/>
                </a:lnTo>
                <a:lnTo>
                  <a:pt x="260" y="132"/>
                </a:lnTo>
                <a:lnTo>
                  <a:pt x="260" y="136"/>
                </a:lnTo>
                <a:lnTo>
                  <a:pt x="266" y="151"/>
                </a:lnTo>
                <a:lnTo>
                  <a:pt x="270" y="157"/>
                </a:lnTo>
                <a:lnTo>
                  <a:pt x="281" y="164"/>
                </a:lnTo>
                <a:lnTo>
                  <a:pt x="287" y="170"/>
                </a:lnTo>
                <a:lnTo>
                  <a:pt x="296" y="172"/>
                </a:lnTo>
                <a:lnTo>
                  <a:pt x="304" y="185"/>
                </a:lnTo>
                <a:lnTo>
                  <a:pt x="302" y="191"/>
                </a:lnTo>
                <a:lnTo>
                  <a:pt x="296" y="187"/>
                </a:lnTo>
                <a:lnTo>
                  <a:pt x="287" y="185"/>
                </a:lnTo>
                <a:lnTo>
                  <a:pt x="285" y="187"/>
                </a:lnTo>
                <a:lnTo>
                  <a:pt x="279" y="181"/>
                </a:lnTo>
                <a:lnTo>
                  <a:pt x="272" y="179"/>
                </a:lnTo>
                <a:lnTo>
                  <a:pt x="264" y="183"/>
                </a:lnTo>
                <a:lnTo>
                  <a:pt x="257" y="176"/>
                </a:lnTo>
                <a:lnTo>
                  <a:pt x="255" y="168"/>
                </a:lnTo>
                <a:lnTo>
                  <a:pt x="253" y="172"/>
                </a:lnTo>
                <a:lnTo>
                  <a:pt x="253" y="179"/>
                </a:lnTo>
                <a:lnTo>
                  <a:pt x="245" y="174"/>
                </a:lnTo>
                <a:lnTo>
                  <a:pt x="240" y="168"/>
                </a:lnTo>
                <a:lnTo>
                  <a:pt x="236" y="159"/>
                </a:lnTo>
                <a:lnTo>
                  <a:pt x="230" y="164"/>
                </a:lnTo>
                <a:lnTo>
                  <a:pt x="228" y="168"/>
                </a:lnTo>
                <a:lnTo>
                  <a:pt x="223" y="176"/>
                </a:lnTo>
                <a:lnTo>
                  <a:pt x="217" y="168"/>
                </a:lnTo>
                <a:lnTo>
                  <a:pt x="215" y="162"/>
                </a:lnTo>
                <a:lnTo>
                  <a:pt x="217" y="153"/>
                </a:lnTo>
                <a:lnTo>
                  <a:pt x="219" y="153"/>
                </a:lnTo>
                <a:lnTo>
                  <a:pt x="223" y="147"/>
                </a:lnTo>
                <a:lnTo>
                  <a:pt x="223" y="138"/>
                </a:lnTo>
                <a:lnTo>
                  <a:pt x="230" y="132"/>
                </a:lnTo>
                <a:lnTo>
                  <a:pt x="228" y="123"/>
                </a:lnTo>
                <a:lnTo>
                  <a:pt x="232" y="117"/>
                </a:lnTo>
                <a:lnTo>
                  <a:pt x="234" y="110"/>
                </a:lnTo>
                <a:lnTo>
                  <a:pt x="225" y="104"/>
                </a:lnTo>
                <a:lnTo>
                  <a:pt x="215" y="110"/>
                </a:lnTo>
                <a:lnTo>
                  <a:pt x="211" y="108"/>
                </a:lnTo>
                <a:lnTo>
                  <a:pt x="204" y="104"/>
                </a:lnTo>
                <a:lnTo>
                  <a:pt x="196" y="100"/>
                </a:lnTo>
                <a:lnTo>
                  <a:pt x="187" y="102"/>
                </a:lnTo>
                <a:lnTo>
                  <a:pt x="179" y="96"/>
                </a:lnTo>
                <a:lnTo>
                  <a:pt x="181" y="89"/>
                </a:lnTo>
                <a:lnTo>
                  <a:pt x="176" y="83"/>
                </a:lnTo>
                <a:lnTo>
                  <a:pt x="170" y="78"/>
                </a:lnTo>
                <a:lnTo>
                  <a:pt x="155" y="78"/>
                </a:lnTo>
                <a:lnTo>
                  <a:pt x="153" y="74"/>
                </a:lnTo>
                <a:lnTo>
                  <a:pt x="147" y="68"/>
                </a:lnTo>
                <a:lnTo>
                  <a:pt x="147" y="59"/>
                </a:lnTo>
                <a:lnTo>
                  <a:pt x="140" y="59"/>
                </a:lnTo>
                <a:lnTo>
                  <a:pt x="142" y="51"/>
                </a:lnTo>
                <a:lnTo>
                  <a:pt x="140" y="51"/>
                </a:lnTo>
                <a:lnTo>
                  <a:pt x="125" y="51"/>
                </a:lnTo>
                <a:lnTo>
                  <a:pt x="119" y="47"/>
                </a:lnTo>
                <a:lnTo>
                  <a:pt x="113" y="44"/>
                </a:lnTo>
                <a:lnTo>
                  <a:pt x="106" y="47"/>
                </a:lnTo>
                <a:lnTo>
                  <a:pt x="102" y="55"/>
                </a:lnTo>
                <a:lnTo>
                  <a:pt x="96" y="55"/>
                </a:lnTo>
                <a:lnTo>
                  <a:pt x="89" y="61"/>
                </a:lnTo>
                <a:lnTo>
                  <a:pt x="87" y="68"/>
                </a:lnTo>
                <a:lnTo>
                  <a:pt x="76" y="70"/>
                </a:lnTo>
                <a:lnTo>
                  <a:pt x="70" y="68"/>
                </a:lnTo>
                <a:lnTo>
                  <a:pt x="62" y="61"/>
                </a:lnTo>
                <a:lnTo>
                  <a:pt x="59" y="61"/>
                </a:lnTo>
                <a:lnTo>
                  <a:pt x="59" y="70"/>
                </a:lnTo>
                <a:lnTo>
                  <a:pt x="49" y="85"/>
                </a:lnTo>
                <a:lnTo>
                  <a:pt x="42" y="83"/>
                </a:lnTo>
                <a:lnTo>
                  <a:pt x="36" y="85"/>
                </a:lnTo>
                <a:lnTo>
                  <a:pt x="34" y="91"/>
                </a:lnTo>
                <a:lnTo>
                  <a:pt x="27" y="100"/>
                </a:lnTo>
                <a:lnTo>
                  <a:pt x="23" y="106"/>
                </a:lnTo>
                <a:lnTo>
                  <a:pt x="15" y="113"/>
                </a:lnTo>
                <a:lnTo>
                  <a:pt x="8" y="121"/>
                </a:lnTo>
                <a:lnTo>
                  <a:pt x="0" y="61"/>
                </a:lnTo>
                <a:close/>
              </a:path>
            </a:pathLst>
          </a:custGeom>
          <a:solidFill>
            <a:srgbClr val="BEBEBE"/>
          </a:solidFill>
          <a:ln w="9525">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48" name="Freeform 795"/>
          <p:cNvSpPr>
            <a:spLocks noChangeAspect="1"/>
          </p:cNvSpPr>
          <p:nvPr/>
        </p:nvSpPr>
        <p:spPr bwMode="auto">
          <a:xfrm>
            <a:off x="7303487" y="2903913"/>
            <a:ext cx="220027" cy="214314"/>
          </a:xfrm>
          <a:custGeom>
            <a:avLst/>
            <a:gdLst>
              <a:gd name="T0" fmla="*/ 0 w 154"/>
              <a:gd name="T1" fmla="*/ 30 h 150"/>
              <a:gd name="T2" fmla="*/ 47 w 154"/>
              <a:gd name="T3" fmla="*/ 20 h 150"/>
              <a:gd name="T4" fmla="*/ 56 w 154"/>
              <a:gd name="T5" fmla="*/ 20 h 150"/>
              <a:gd name="T6" fmla="*/ 69 w 154"/>
              <a:gd name="T7" fmla="*/ 15 h 150"/>
              <a:gd name="T8" fmla="*/ 73 w 154"/>
              <a:gd name="T9" fmla="*/ 15 h 150"/>
              <a:gd name="T10" fmla="*/ 81 w 154"/>
              <a:gd name="T11" fmla="*/ 11 h 150"/>
              <a:gd name="T12" fmla="*/ 122 w 154"/>
              <a:gd name="T13" fmla="*/ 3 h 150"/>
              <a:gd name="T14" fmla="*/ 132 w 154"/>
              <a:gd name="T15" fmla="*/ 0 h 150"/>
              <a:gd name="T16" fmla="*/ 137 w 154"/>
              <a:gd name="T17" fmla="*/ 0 h 150"/>
              <a:gd name="T18" fmla="*/ 154 w 154"/>
              <a:gd name="T19" fmla="*/ 58 h 150"/>
              <a:gd name="T20" fmla="*/ 154 w 154"/>
              <a:gd name="T21" fmla="*/ 64 h 150"/>
              <a:gd name="T22" fmla="*/ 152 w 154"/>
              <a:gd name="T23" fmla="*/ 71 h 150"/>
              <a:gd name="T24" fmla="*/ 154 w 154"/>
              <a:gd name="T25" fmla="*/ 73 h 150"/>
              <a:gd name="T26" fmla="*/ 154 w 154"/>
              <a:gd name="T27" fmla="*/ 77 h 150"/>
              <a:gd name="T28" fmla="*/ 149 w 154"/>
              <a:gd name="T29" fmla="*/ 75 h 150"/>
              <a:gd name="T30" fmla="*/ 135 w 154"/>
              <a:gd name="T31" fmla="*/ 79 h 150"/>
              <a:gd name="T32" fmla="*/ 120 w 154"/>
              <a:gd name="T33" fmla="*/ 90 h 150"/>
              <a:gd name="T34" fmla="*/ 113 w 154"/>
              <a:gd name="T35" fmla="*/ 88 h 150"/>
              <a:gd name="T36" fmla="*/ 113 w 154"/>
              <a:gd name="T37" fmla="*/ 86 h 150"/>
              <a:gd name="T38" fmla="*/ 109 w 154"/>
              <a:gd name="T39" fmla="*/ 83 h 150"/>
              <a:gd name="T40" fmla="*/ 111 w 154"/>
              <a:gd name="T41" fmla="*/ 90 h 150"/>
              <a:gd name="T42" fmla="*/ 111 w 154"/>
              <a:gd name="T43" fmla="*/ 94 h 150"/>
              <a:gd name="T44" fmla="*/ 90 w 154"/>
              <a:gd name="T45" fmla="*/ 98 h 150"/>
              <a:gd name="T46" fmla="*/ 86 w 154"/>
              <a:gd name="T47" fmla="*/ 103 h 150"/>
              <a:gd name="T48" fmla="*/ 79 w 154"/>
              <a:gd name="T49" fmla="*/ 103 h 150"/>
              <a:gd name="T50" fmla="*/ 73 w 154"/>
              <a:gd name="T51" fmla="*/ 107 h 150"/>
              <a:gd name="T52" fmla="*/ 64 w 154"/>
              <a:gd name="T53" fmla="*/ 107 h 150"/>
              <a:gd name="T54" fmla="*/ 54 w 154"/>
              <a:gd name="T55" fmla="*/ 122 h 150"/>
              <a:gd name="T56" fmla="*/ 49 w 154"/>
              <a:gd name="T57" fmla="*/ 120 h 150"/>
              <a:gd name="T58" fmla="*/ 43 w 154"/>
              <a:gd name="T59" fmla="*/ 126 h 150"/>
              <a:gd name="T60" fmla="*/ 37 w 154"/>
              <a:gd name="T61" fmla="*/ 130 h 150"/>
              <a:gd name="T62" fmla="*/ 22 w 154"/>
              <a:gd name="T63" fmla="*/ 145 h 150"/>
              <a:gd name="T64" fmla="*/ 15 w 154"/>
              <a:gd name="T65" fmla="*/ 150 h 150"/>
              <a:gd name="T66" fmla="*/ 9 w 154"/>
              <a:gd name="T67" fmla="*/ 141 h 150"/>
              <a:gd name="T68" fmla="*/ 9 w 154"/>
              <a:gd name="T69" fmla="*/ 139 h 150"/>
              <a:gd name="T70" fmla="*/ 20 w 154"/>
              <a:gd name="T71" fmla="*/ 126 h 150"/>
              <a:gd name="T72" fmla="*/ 20 w 154"/>
              <a:gd name="T73" fmla="*/ 120 h 150"/>
              <a:gd name="T74" fmla="*/ 15 w 154"/>
              <a:gd name="T75" fmla="*/ 111 h 150"/>
              <a:gd name="T76" fmla="*/ 0 w 154"/>
              <a:gd name="T77"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 h="150">
                <a:moveTo>
                  <a:pt x="0" y="30"/>
                </a:moveTo>
                <a:lnTo>
                  <a:pt x="47" y="20"/>
                </a:lnTo>
                <a:lnTo>
                  <a:pt x="56" y="20"/>
                </a:lnTo>
                <a:lnTo>
                  <a:pt x="69" y="15"/>
                </a:lnTo>
                <a:lnTo>
                  <a:pt x="73" y="15"/>
                </a:lnTo>
                <a:lnTo>
                  <a:pt x="81" y="11"/>
                </a:lnTo>
                <a:lnTo>
                  <a:pt x="122" y="3"/>
                </a:lnTo>
                <a:lnTo>
                  <a:pt x="132" y="0"/>
                </a:lnTo>
                <a:lnTo>
                  <a:pt x="137" y="0"/>
                </a:lnTo>
                <a:lnTo>
                  <a:pt x="154" y="58"/>
                </a:lnTo>
                <a:lnTo>
                  <a:pt x="154" y="64"/>
                </a:lnTo>
                <a:lnTo>
                  <a:pt x="152" y="71"/>
                </a:lnTo>
                <a:lnTo>
                  <a:pt x="154" y="73"/>
                </a:lnTo>
                <a:lnTo>
                  <a:pt x="154" y="77"/>
                </a:lnTo>
                <a:lnTo>
                  <a:pt x="149" y="75"/>
                </a:lnTo>
                <a:lnTo>
                  <a:pt x="135" y="79"/>
                </a:lnTo>
                <a:lnTo>
                  <a:pt x="120" y="90"/>
                </a:lnTo>
                <a:lnTo>
                  <a:pt x="113" y="88"/>
                </a:lnTo>
                <a:lnTo>
                  <a:pt x="113" y="86"/>
                </a:lnTo>
                <a:lnTo>
                  <a:pt x="109" y="83"/>
                </a:lnTo>
                <a:lnTo>
                  <a:pt x="111" y="90"/>
                </a:lnTo>
                <a:lnTo>
                  <a:pt x="111" y="94"/>
                </a:lnTo>
                <a:lnTo>
                  <a:pt x="90" y="98"/>
                </a:lnTo>
                <a:lnTo>
                  <a:pt x="86" y="103"/>
                </a:lnTo>
                <a:lnTo>
                  <a:pt x="79" y="103"/>
                </a:lnTo>
                <a:lnTo>
                  <a:pt x="73" y="107"/>
                </a:lnTo>
                <a:lnTo>
                  <a:pt x="64" y="107"/>
                </a:lnTo>
                <a:lnTo>
                  <a:pt x="54" y="122"/>
                </a:lnTo>
                <a:lnTo>
                  <a:pt x="49" y="120"/>
                </a:lnTo>
                <a:lnTo>
                  <a:pt x="43" y="126"/>
                </a:lnTo>
                <a:lnTo>
                  <a:pt x="37" y="130"/>
                </a:lnTo>
                <a:lnTo>
                  <a:pt x="22" y="145"/>
                </a:lnTo>
                <a:lnTo>
                  <a:pt x="15" y="150"/>
                </a:lnTo>
                <a:lnTo>
                  <a:pt x="9" y="141"/>
                </a:lnTo>
                <a:lnTo>
                  <a:pt x="9" y="139"/>
                </a:lnTo>
                <a:lnTo>
                  <a:pt x="20" y="126"/>
                </a:lnTo>
                <a:lnTo>
                  <a:pt x="20" y="120"/>
                </a:lnTo>
                <a:lnTo>
                  <a:pt x="15" y="111"/>
                </a:lnTo>
                <a:lnTo>
                  <a:pt x="0" y="30"/>
                </a:lnTo>
              </a:path>
            </a:pathLst>
          </a:custGeom>
          <a:solidFill>
            <a:srgbClr val="BEBEBE"/>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49" name="Freeform 797"/>
          <p:cNvSpPr>
            <a:spLocks noChangeAspect="1"/>
          </p:cNvSpPr>
          <p:nvPr/>
        </p:nvSpPr>
        <p:spPr bwMode="auto">
          <a:xfrm>
            <a:off x="7372200" y="2360902"/>
            <a:ext cx="210026" cy="444341"/>
          </a:xfrm>
          <a:custGeom>
            <a:avLst/>
            <a:gdLst>
              <a:gd name="T0" fmla="*/ 17 w 147"/>
              <a:gd name="T1" fmla="*/ 311 h 311"/>
              <a:gd name="T2" fmla="*/ 11 w 147"/>
              <a:gd name="T3" fmla="*/ 302 h 311"/>
              <a:gd name="T4" fmla="*/ 7 w 147"/>
              <a:gd name="T5" fmla="*/ 293 h 311"/>
              <a:gd name="T6" fmla="*/ 7 w 147"/>
              <a:gd name="T7" fmla="*/ 287 h 311"/>
              <a:gd name="T8" fmla="*/ 11 w 147"/>
              <a:gd name="T9" fmla="*/ 279 h 311"/>
              <a:gd name="T10" fmla="*/ 7 w 147"/>
              <a:gd name="T11" fmla="*/ 257 h 311"/>
              <a:gd name="T12" fmla="*/ 7 w 147"/>
              <a:gd name="T13" fmla="*/ 242 h 311"/>
              <a:gd name="T14" fmla="*/ 0 w 147"/>
              <a:gd name="T15" fmla="*/ 219 h 311"/>
              <a:gd name="T16" fmla="*/ 2 w 147"/>
              <a:gd name="T17" fmla="*/ 210 h 311"/>
              <a:gd name="T18" fmla="*/ 2 w 147"/>
              <a:gd name="T19" fmla="*/ 200 h 311"/>
              <a:gd name="T20" fmla="*/ 7 w 147"/>
              <a:gd name="T21" fmla="*/ 193 h 311"/>
              <a:gd name="T22" fmla="*/ 9 w 147"/>
              <a:gd name="T23" fmla="*/ 185 h 311"/>
              <a:gd name="T24" fmla="*/ 7 w 147"/>
              <a:gd name="T25" fmla="*/ 178 h 311"/>
              <a:gd name="T26" fmla="*/ 11 w 147"/>
              <a:gd name="T27" fmla="*/ 170 h 311"/>
              <a:gd name="T28" fmla="*/ 9 w 147"/>
              <a:gd name="T29" fmla="*/ 164 h 311"/>
              <a:gd name="T30" fmla="*/ 11 w 147"/>
              <a:gd name="T31" fmla="*/ 151 h 311"/>
              <a:gd name="T32" fmla="*/ 7 w 147"/>
              <a:gd name="T33" fmla="*/ 136 h 311"/>
              <a:gd name="T34" fmla="*/ 7 w 147"/>
              <a:gd name="T35" fmla="*/ 129 h 311"/>
              <a:gd name="T36" fmla="*/ 13 w 147"/>
              <a:gd name="T37" fmla="*/ 121 h 311"/>
              <a:gd name="T38" fmla="*/ 17 w 147"/>
              <a:gd name="T39" fmla="*/ 121 h 311"/>
              <a:gd name="T40" fmla="*/ 28 w 147"/>
              <a:gd name="T41" fmla="*/ 108 h 311"/>
              <a:gd name="T42" fmla="*/ 34 w 147"/>
              <a:gd name="T43" fmla="*/ 98 h 311"/>
              <a:gd name="T44" fmla="*/ 34 w 147"/>
              <a:gd name="T45" fmla="*/ 89 h 311"/>
              <a:gd name="T46" fmla="*/ 32 w 147"/>
              <a:gd name="T47" fmla="*/ 83 h 311"/>
              <a:gd name="T48" fmla="*/ 28 w 147"/>
              <a:gd name="T49" fmla="*/ 76 h 311"/>
              <a:gd name="T50" fmla="*/ 26 w 147"/>
              <a:gd name="T51" fmla="*/ 68 h 311"/>
              <a:gd name="T52" fmla="*/ 30 w 147"/>
              <a:gd name="T53" fmla="*/ 53 h 311"/>
              <a:gd name="T54" fmla="*/ 26 w 147"/>
              <a:gd name="T55" fmla="*/ 44 h 311"/>
              <a:gd name="T56" fmla="*/ 28 w 147"/>
              <a:gd name="T57" fmla="*/ 40 h 311"/>
              <a:gd name="T58" fmla="*/ 28 w 147"/>
              <a:gd name="T59" fmla="*/ 40 h 311"/>
              <a:gd name="T60" fmla="*/ 26 w 147"/>
              <a:gd name="T61" fmla="*/ 32 h 311"/>
              <a:gd name="T62" fmla="*/ 30 w 147"/>
              <a:gd name="T63" fmla="*/ 19 h 311"/>
              <a:gd name="T64" fmla="*/ 30 w 147"/>
              <a:gd name="T65" fmla="*/ 10 h 311"/>
              <a:gd name="T66" fmla="*/ 36 w 147"/>
              <a:gd name="T67" fmla="*/ 6 h 311"/>
              <a:gd name="T68" fmla="*/ 43 w 147"/>
              <a:gd name="T69" fmla="*/ 8 h 311"/>
              <a:gd name="T70" fmla="*/ 51 w 147"/>
              <a:gd name="T71" fmla="*/ 0 h 311"/>
              <a:gd name="T72" fmla="*/ 51 w 147"/>
              <a:gd name="T73" fmla="*/ 4 h 311"/>
              <a:gd name="T74" fmla="*/ 104 w 147"/>
              <a:gd name="T75" fmla="*/ 166 h 311"/>
              <a:gd name="T76" fmla="*/ 113 w 147"/>
              <a:gd name="T77" fmla="*/ 187 h 311"/>
              <a:gd name="T78" fmla="*/ 113 w 147"/>
              <a:gd name="T79" fmla="*/ 196 h 311"/>
              <a:gd name="T80" fmla="*/ 115 w 147"/>
              <a:gd name="T81" fmla="*/ 202 h 311"/>
              <a:gd name="T82" fmla="*/ 119 w 147"/>
              <a:gd name="T83" fmla="*/ 208 h 311"/>
              <a:gd name="T84" fmla="*/ 126 w 147"/>
              <a:gd name="T85" fmla="*/ 215 h 311"/>
              <a:gd name="T86" fmla="*/ 134 w 147"/>
              <a:gd name="T87" fmla="*/ 219 h 311"/>
              <a:gd name="T88" fmla="*/ 134 w 147"/>
              <a:gd name="T89" fmla="*/ 225 h 311"/>
              <a:gd name="T90" fmla="*/ 141 w 147"/>
              <a:gd name="T91" fmla="*/ 232 h 311"/>
              <a:gd name="T92" fmla="*/ 145 w 147"/>
              <a:gd name="T93" fmla="*/ 234 h 311"/>
              <a:gd name="T94" fmla="*/ 147 w 147"/>
              <a:gd name="T95" fmla="*/ 236 h 311"/>
              <a:gd name="T96" fmla="*/ 145 w 147"/>
              <a:gd name="T97" fmla="*/ 251 h 311"/>
              <a:gd name="T98" fmla="*/ 145 w 147"/>
              <a:gd name="T99" fmla="*/ 257 h 311"/>
              <a:gd name="T100" fmla="*/ 141 w 147"/>
              <a:gd name="T101" fmla="*/ 257 h 311"/>
              <a:gd name="T102" fmla="*/ 139 w 147"/>
              <a:gd name="T103" fmla="*/ 259 h 311"/>
              <a:gd name="T104" fmla="*/ 130 w 147"/>
              <a:gd name="T105" fmla="*/ 264 h 311"/>
              <a:gd name="T106" fmla="*/ 126 w 147"/>
              <a:gd name="T107" fmla="*/ 270 h 311"/>
              <a:gd name="T108" fmla="*/ 124 w 147"/>
              <a:gd name="T109" fmla="*/ 270 h 311"/>
              <a:gd name="T110" fmla="*/ 119 w 147"/>
              <a:gd name="T111" fmla="*/ 279 h 311"/>
              <a:gd name="T112" fmla="*/ 111 w 147"/>
              <a:gd name="T113" fmla="*/ 289 h 311"/>
              <a:gd name="T114" fmla="*/ 17 w 147"/>
              <a:gd name="T115"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311">
                <a:moveTo>
                  <a:pt x="17" y="311"/>
                </a:moveTo>
                <a:lnTo>
                  <a:pt x="11" y="302"/>
                </a:lnTo>
                <a:lnTo>
                  <a:pt x="7" y="293"/>
                </a:lnTo>
                <a:lnTo>
                  <a:pt x="7" y="287"/>
                </a:lnTo>
                <a:lnTo>
                  <a:pt x="11" y="279"/>
                </a:lnTo>
                <a:lnTo>
                  <a:pt x="7" y="257"/>
                </a:lnTo>
                <a:lnTo>
                  <a:pt x="7" y="242"/>
                </a:lnTo>
                <a:lnTo>
                  <a:pt x="0" y="219"/>
                </a:lnTo>
                <a:lnTo>
                  <a:pt x="2" y="210"/>
                </a:lnTo>
                <a:lnTo>
                  <a:pt x="2" y="200"/>
                </a:lnTo>
                <a:lnTo>
                  <a:pt x="7" y="193"/>
                </a:lnTo>
                <a:lnTo>
                  <a:pt x="9" y="185"/>
                </a:lnTo>
                <a:lnTo>
                  <a:pt x="7" y="178"/>
                </a:lnTo>
                <a:lnTo>
                  <a:pt x="11" y="170"/>
                </a:lnTo>
                <a:lnTo>
                  <a:pt x="9" y="164"/>
                </a:lnTo>
                <a:lnTo>
                  <a:pt x="11" y="151"/>
                </a:lnTo>
                <a:lnTo>
                  <a:pt x="7" y="136"/>
                </a:lnTo>
                <a:lnTo>
                  <a:pt x="7" y="129"/>
                </a:lnTo>
                <a:lnTo>
                  <a:pt x="13" y="121"/>
                </a:lnTo>
                <a:lnTo>
                  <a:pt x="17" y="121"/>
                </a:lnTo>
                <a:lnTo>
                  <a:pt x="28" y="108"/>
                </a:lnTo>
                <a:lnTo>
                  <a:pt x="34" y="98"/>
                </a:lnTo>
                <a:lnTo>
                  <a:pt x="34" y="89"/>
                </a:lnTo>
                <a:lnTo>
                  <a:pt x="32" y="83"/>
                </a:lnTo>
                <a:lnTo>
                  <a:pt x="28" y="76"/>
                </a:lnTo>
                <a:lnTo>
                  <a:pt x="26" y="68"/>
                </a:lnTo>
                <a:lnTo>
                  <a:pt x="30" y="53"/>
                </a:lnTo>
                <a:lnTo>
                  <a:pt x="26" y="44"/>
                </a:lnTo>
                <a:lnTo>
                  <a:pt x="28" y="40"/>
                </a:lnTo>
                <a:lnTo>
                  <a:pt x="28" y="40"/>
                </a:lnTo>
                <a:lnTo>
                  <a:pt x="26" y="32"/>
                </a:lnTo>
                <a:lnTo>
                  <a:pt x="30" y="19"/>
                </a:lnTo>
                <a:lnTo>
                  <a:pt x="30" y="10"/>
                </a:lnTo>
                <a:lnTo>
                  <a:pt x="36" y="6"/>
                </a:lnTo>
                <a:lnTo>
                  <a:pt x="43" y="8"/>
                </a:lnTo>
                <a:lnTo>
                  <a:pt x="51" y="0"/>
                </a:lnTo>
                <a:lnTo>
                  <a:pt x="51" y="4"/>
                </a:lnTo>
                <a:lnTo>
                  <a:pt x="104" y="166"/>
                </a:lnTo>
                <a:lnTo>
                  <a:pt x="113" y="187"/>
                </a:lnTo>
                <a:lnTo>
                  <a:pt x="113" y="196"/>
                </a:lnTo>
                <a:lnTo>
                  <a:pt x="115" y="202"/>
                </a:lnTo>
                <a:lnTo>
                  <a:pt x="119" y="208"/>
                </a:lnTo>
                <a:lnTo>
                  <a:pt x="126" y="215"/>
                </a:lnTo>
                <a:lnTo>
                  <a:pt x="134" y="219"/>
                </a:lnTo>
                <a:lnTo>
                  <a:pt x="134" y="225"/>
                </a:lnTo>
                <a:lnTo>
                  <a:pt x="141" y="232"/>
                </a:lnTo>
                <a:lnTo>
                  <a:pt x="145" y="234"/>
                </a:lnTo>
                <a:lnTo>
                  <a:pt x="147" y="236"/>
                </a:lnTo>
                <a:lnTo>
                  <a:pt x="145" y="251"/>
                </a:lnTo>
                <a:lnTo>
                  <a:pt x="145" y="257"/>
                </a:lnTo>
                <a:lnTo>
                  <a:pt x="141" y="257"/>
                </a:lnTo>
                <a:lnTo>
                  <a:pt x="139" y="259"/>
                </a:lnTo>
                <a:lnTo>
                  <a:pt x="130" y="264"/>
                </a:lnTo>
                <a:lnTo>
                  <a:pt x="126" y="270"/>
                </a:lnTo>
                <a:lnTo>
                  <a:pt x="124" y="270"/>
                </a:lnTo>
                <a:lnTo>
                  <a:pt x="119" y="279"/>
                </a:lnTo>
                <a:lnTo>
                  <a:pt x="111" y="289"/>
                </a:lnTo>
                <a:lnTo>
                  <a:pt x="17" y="311"/>
                </a:lnTo>
              </a:path>
            </a:pathLst>
          </a:custGeom>
          <a:solidFill>
            <a:srgbClr val="194196"/>
          </a:solidFill>
          <a:ln w="9525" cap="flat">
            <a:solidFill>
              <a:srgbClr val="FFFFFF"/>
            </a:solidFill>
            <a:prstDash val="solid"/>
            <a:miter lim="800000"/>
            <a:headEnd/>
            <a:tailEnd/>
          </a:ln>
        </p:spPr>
        <p:txBody>
          <a:bodyPr vert="horz" wrap="none" lIns="0" tIns="0" rIns="0" bIns="0" numCol="1" anchor="ctr" anchorCtr="0" compatLnSpc="1">
            <a:prstTxWarp prst="textNoShape">
              <a:avLst/>
            </a:prstTxWarp>
          </a:bodyPr>
          <a:lstStyle/>
          <a:p>
            <a:pPr algn="ctr"/>
            <a:endParaRPr lang="en-US" sz="1000" b="1" dirty="0">
              <a:solidFill>
                <a:schemeClr val="tx2"/>
              </a:solidFill>
            </a:endParaRPr>
          </a:p>
          <a:p>
            <a:pPr algn="ctr"/>
            <a:endParaRPr lang="en-US" sz="1000" b="1" dirty="0">
              <a:solidFill>
                <a:schemeClr val="tx2"/>
              </a:solidFill>
            </a:endParaRPr>
          </a:p>
          <a:p>
            <a:pPr algn="ctr"/>
            <a:endParaRPr lang="en-US" sz="1000" b="1" dirty="0">
              <a:solidFill>
                <a:schemeClr val="tx2"/>
              </a:solidFill>
            </a:endParaRPr>
          </a:p>
        </p:txBody>
      </p:sp>
      <p:sp>
        <p:nvSpPr>
          <p:cNvPr id="350" name="Freeform 800"/>
          <p:cNvSpPr>
            <a:spLocks noChangeAspect="1"/>
          </p:cNvSpPr>
          <p:nvPr/>
        </p:nvSpPr>
        <p:spPr bwMode="auto">
          <a:xfrm>
            <a:off x="7508670" y="2891303"/>
            <a:ext cx="70009" cy="121446"/>
          </a:xfrm>
          <a:custGeom>
            <a:avLst/>
            <a:gdLst>
              <a:gd name="T0" fmla="*/ 0 w 49"/>
              <a:gd name="T1" fmla="*/ 8 h 85"/>
              <a:gd name="T2" fmla="*/ 27 w 49"/>
              <a:gd name="T3" fmla="*/ 0 h 85"/>
              <a:gd name="T4" fmla="*/ 34 w 49"/>
              <a:gd name="T5" fmla="*/ 4 h 85"/>
              <a:gd name="T6" fmla="*/ 38 w 49"/>
              <a:gd name="T7" fmla="*/ 13 h 85"/>
              <a:gd name="T8" fmla="*/ 42 w 49"/>
              <a:gd name="T9" fmla="*/ 13 h 85"/>
              <a:gd name="T10" fmla="*/ 42 w 49"/>
              <a:gd name="T11" fmla="*/ 19 h 85"/>
              <a:gd name="T12" fmla="*/ 47 w 49"/>
              <a:gd name="T13" fmla="*/ 23 h 85"/>
              <a:gd name="T14" fmla="*/ 49 w 49"/>
              <a:gd name="T15" fmla="*/ 25 h 85"/>
              <a:gd name="T16" fmla="*/ 44 w 49"/>
              <a:gd name="T17" fmla="*/ 28 h 85"/>
              <a:gd name="T18" fmla="*/ 38 w 49"/>
              <a:gd name="T19" fmla="*/ 21 h 85"/>
              <a:gd name="T20" fmla="*/ 40 w 49"/>
              <a:gd name="T21" fmla="*/ 28 h 85"/>
              <a:gd name="T22" fmla="*/ 38 w 49"/>
              <a:gd name="T23" fmla="*/ 36 h 85"/>
              <a:gd name="T24" fmla="*/ 42 w 49"/>
              <a:gd name="T25" fmla="*/ 43 h 85"/>
              <a:gd name="T26" fmla="*/ 42 w 49"/>
              <a:gd name="T27" fmla="*/ 49 h 85"/>
              <a:gd name="T28" fmla="*/ 47 w 49"/>
              <a:gd name="T29" fmla="*/ 60 h 85"/>
              <a:gd name="T30" fmla="*/ 44 w 49"/>
              <a:gd name="T31" fmla="*/ 68 h 85"/>
              <a:gd name="T32" fmla="*/ 23 w 49"/>
              <a:gd name="T33" fmla="*/ 81 h 85"/>
              <a:gd name="T34" fmla="*/ 17 w 49"/>
              <a:gd name="T35" fmla="*/ 85 h 85"/>
              <a:gd name="T36" fmla="*/ 17 w 49"/>
              <a:gd name="T37" fmla="*/ 81 h 85"/>
              <a:gd name="T38" fmla="*/ 15 w 49"/>
              <a:gd name="T39" fmla="*/ 79 h 85"/>
              <a:gd name="T40" fmla="*/ 17 w 49"/>
              <a:gd name="T41" fmla="*/ 72 h 85"/>
              <a:gd name="T42" fmla="*/ 17 w 49"/>
              <a:gd name="T43" fmla="*/ 66 h 85"/>
              <a:gd name="T44" fmla="*/ 0 w 49"/>
              <a:gd name="T45"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85">
                <a:moveTo>
                  <a:pt x="0" y="8"/>
                </a:moveTo>
                <a:lnTo>
                  <a:pt x="27" y="0"/>
                </a:lnTo>
                <a:lnTo>
                  <a:pt x="34" y="4"/>
                </a:lnTo>
                <a:lnTo>
                  <a:pt x="38" y="13"/>
                </a:lnTo>
                <a:lnTo>
                  <a:pt x="42" y="13"/>
                </a:lnTo>
                <a:lnTo>
                  <a:pt x="42" y="19"/>
                </a:lnTo>
                <a:lnTo>
                  <a:pt x="47" y="23"/>
                </a:lnTo>
                <a:lnTo>
                  <a:pt x="49" y="25"/>
                </a:lnTo>
                <a:lnTo>
                  <a:pt x="44" y="28"/>
                </a:lnTo>
                <a:lnTo>
                  <a:pt x="38" y="21"/>
                </a:lnTo>
                <a:lnTo>
                  <a:pt x="40" y="28"/>
                </a:lnTo>
                <a:lnTo>
                  <a:pt x="38" y="36"/>
                </a:lnTo>
                <a:lnTo>
                  <a:pt x="42" y="43"/>
                </a:lnTo>
                <a:lnTo>
                  <a:pt x="42" y="49"/>
                </a:lnTo>
                <a:lnTo>
                  <a:pt x="47" y="60"/>
                </a:lnTo>
                <a:lnTo>
                  <a:pt x="44" y="68"/>
                </a:lnTo>
                <a:lnTo>
                  <a:pt x="23" y="81"/>
                </a:lnTo>
                <a:lnTo>
                  <a:pt x="17" y="85"/>
                </a:lnTo>
                <a:lnTo>
                  <a:pt x="17" y="81"/>
                </a:lnTo>
                <a:lnTo>
                  <a:pt x="15" y="79"/>
                </a:lnTo>
                <a:lnTo>
                  <a:pt x="17" y="72"/>
                </a:lnTo>
                <a:lnTo>
                  <a:pt x="17" y="66"/>
                </a:lnTo>
                <a:lnTo>
                  <a:pt x="0" y="8"/>
                </a:lnTo>
                <a:close/>
              </a:path>
            </a:pathLst>
          </a:custGeom>
          <a:solidFill>
            <a:srgbClr val="194196"/>
          </a:solidFill>
          <a:ln w="9525">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51" name="Freeform 821"/>
          <p:cNvSpPr>
            <a:spLocks noChangeAspect="1"/>
          </p:cNvSpPr>
          <p:nvPr/>
        </p:nvSpPr>
        <p:spPr bwMode="auto">
          <a:xfrm>
            <a:off x="1578414" y="1813650"/>
            <a:ext cx="848676" cy="614363"/>
          </a:xfrm>
          <a:custGeom>
            <a:avLst/>
            <a:gdLst>
              <a:gd name="T0" fmla="*/ 28 w 594"/>
              <a:gd name="T1" fmla="*/ 268 h 430"/>
              <a:gd name="T2" fmla="*/ 9 w 594"/>
              <a:gd name="T3" fmla="*/ 227 h 430"/>
              <a:gd name="T4" fmla="*/ 20 w 594"/>
              <a:gd name="T5" fmla="*/ 255 h 430"/>
              <a:gd name="T6" fmla="*/ 20 w 594"/>
              <a:gd name="T7" fmla="*/ 230 h 430"/>
              <a:gd name="T8" fmla="*/ 30 w 594"/>
              <a:gd name="T9" fmla="*/ 221 h 430"/>
              <a:gd name="T10" fmla="*/ 15 w 594"/>
              <a:gd name="T11" fmla="*/ 193 h 430"/>
              <a:gd name="T12" fmla="*/ 32 w 594"/>
              <a:gd name="T13" fmla="*/ 191 h 430"/>
              <a:gd name="T14" fmla="*/ 13 w 594"/>
              <a:gd name="T15" fmla="*/ 185 h 430"/>
              <a:gd name="T16" fmla="*/ 20 w 594"/>
              <a:gd name="T17" fmla="*/ 108 h 430"/>
              <a:gd name="T18" fmla="*/ 9 w 594"/>
              <a:gd name="T19" fmla="*/ 70 h 430"/>
              <a:gd name="T20" fmla="*/ 15 w 594"/>
              <a:gd name="T21" fmla="*/ 42 h 430"/>
              <a:gd name="T22" fmla="*/ 24 w 594"/>
              <a:gd name="T23" fmla="*/ 27 h 430"/>
              <a:gd name="T24" fmla="*/ 58 w 594"/>
              <a:gd name="T25" fmla="*/ 57 h 430"/>
              <a:gd name="T26" fmla="*/ 105 w 594"/>
              <a:gd name="T27" fmla="*/ 76 h 430"/>
              <a:gd name="T28" fmla="*/ 128 w 594"/>
              <a:gd name="T29" fmla="*/ 87 h 430"/>
              <a:gd name="T30" fmla="*/ 143 w 594"/>
              <a:gd name="T31" fmla="*/ 93 h 430"/>
              <a:gd name="T32" fmla="*/ 149 w 594"/>
              <a:gd name="T33" fmla="*/ 123 h 430"/>
              <a:gd name="T34" fmla="*/ 141 w 594"/>
              <a:gd name="T35" fmla="*/ 123 h 430"/>
              <a:gd name="T36" fmla="*/ 103 w 594"/>
              <a:gd name="T37" fmla="*/ 164 h 430"/>
              <a:gd name="T38" fmla="*/ 109 w 594"/>
              <a:gd name="T39" fmla="*/ 168 h 430"/>
              <a:gd name="T40" fmla="*/ 143 w 594"/>
              <a:gd name="T41" fmla="*/ 134 h 430"/>
              <a:gd name="T42" fmla="*/ 156 w 594"/>
              <a:gd name="T43" fmla="*/ 138 h 430"/>
              <a:gd name="T44" fmla="*/ 143 w 594"/>
              <a:gd name="T45" fmla="*/ 149 h 430"/>
              <a:gd name="T46" fmla="*/ 141 w 594"/>
              <a:gd name="T47" fmla="*/ 187 h 430"/>
              <a:gd name="T48" fmla="*/ 128 w 594"/>
              <a:gd name="T49" fmla="*/ 183 h 430"/>
              <a:gd name="T50" fmla="*/ 126 w 594"/>
              <a:gd name="T51" fmla="*/ 181 h 430"/>
              <a:gd name="T52" fmla="*/ 100 w 594"/>
              <a:gd name="T53" fmla="*/ 191 h 430"/>
              <a:gd name="T54" fmla="*/ 113 w 594"/>
              <a:gd name="T55" fmla="*/ 198 h 430"/>
              <a:gd name="T56" fmla="*/ 139 w 594"/>
              <a:gd name="T57" fmla="*/ 195 h 430"/>
              <a:gd name="T58" fmla="*/ 162 w 594"/>
              <a:gd name="T59" fmla="*/ 161 h 430"/>
              <a:gd name="T60" fmla="*/ 169 w 594"/>
              <a:gd name="T61" fmla="*/ 136 h 430"/>
              <a:gd name="T62" fmla="*/ 181 w 594"/>
              <a:gd name="T63" fmla="*/ 104 h 430"/>
              <a:gd name="T64" fmla="*/ 177 w 594"/>
              <a:gd name="T65" fmla="*/ 72 h 430"/>
              <a:gd name="T66" fmla="*/ 173 w 594"/>
              <a:gd name="T67" fmla="*/ 59 h 430"/>
              <a:gd name="T68" fmla="*/ 186 w 594"/>
              <a:gd name="T69" fmla="*/ 53 h 430"/>
              <a:gd name="T70" fmla="*/ 181 w 594"/>
              <a:gd name="T71" fmla="*/ 27 h 430"/>
              <a:gd name="T72" fmla="*/ 171 w 594"/>
              <a:gd name="T73" fmla="*/ 4 h 430"/>
              <a:gd name="T74" fmla="*/ 522 w 594"/>
              <a:gd name="T75" fmla="*/ 85 h 430"/>
              <a:gd name="T76" fmla="*/ 537 w 594"/>
              <a:gd name="T77" fmla="*/ 379 h 430"/>
              <a:gd name="T78" fmla="*/ 537 w 594"/>
              <a:gd name="T79" fmla="*/ 430 h 430"/>
              <a:gd name="T80" fmla="*/ 360 w 594"/>
              <a:gd name="T81" fmla="*/ 398 h 430"/>
              <a:gd name="T82" fmla="*/ 322 w 594"/>
              <a:gd name="T83" fmla="*/ 396 h 430"/>
              <a:gd name="T84" fmla="*/ 264 w 594"/>
              <a:gd name="T85" fmla="*/ 402 h 430"/>
              <a:gd name="T86" fmla="*/ 220 w 594"/>
              <a:gd name="T87" fmla="*/ 396 h 430"/>
              <a:gd name="T88" fmla="*/ 190 w 594"/>
              <a:gd name="T89" fmla="*/ 383 h 430"/>
              <a:gd name="T90" fmla="*/ 156 w 594"/>
              <a:gd name="T91" fmla="*/ 372 h 430"/>
              <a:gd name="T92" fmla="*/ 120 w 594"/>
              <a:gd name="T93" fmla="*/ 381 h 430"/>
              <a:gd name="T94" fmla="*/ 94 w 594"/>
              <a:gd name="T95" fmla="*/ 368 h 430"/>
              <a:gd name="T96" fmla="*/ 81 w 594"/>
              <a:gd name="T97" fmla="*/ 308 h 430"/>
              <a:gd name="T98" fmla="*/ 56 w 594"/>
              <a:gd name="T99" fmla="*/ 293 h 430"/>
              <a:gd name="T100" fmla="*/ 41 w 594"/>
              <a:gd name="T101" fmla="*/ 27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4" h="430">
                <a:moveTo>
                  <a:pt x="41" y="276"/>
                </a:moveTo>
                <a:lnTo>
                  <a:pt x="39" y="276"/>
                </a:lnTo>
                <a:lnTo>
                  <a:pt x="32" y="274"/>
                </a:lnTo>
                <a:lnTo>
                  <a:pt x="28" y="268"/>
                </a:lnTo>
                <a:lnTo>
                  <a:pt x="13" y="270"/>
                </a:lnTo>
                <a:lnTo>
                  <a:pt x="7" y="264"/>
                </a:lnTo>
                <a:lnTo>
                  <a:pt x="0" y="264"/>
                </a:lnTo>
                <a:lnTo>
                  <a:pt x="9" y="227"/>
                </a:lnTo>
                <a:lnTo>
                  <a:pt x="11" y="236"/>
                </a:lnTo>
                <a:lnTo>
                  <a:pt x="9" y="249"/>
                </a:lnTo>
                <a:lnTo>
                  <a:pt x="15" y="249"/>
                </a:lnTo>
                <a:lnTo>
                  <a:pt x="20" y="255"/>
                </a:lnTo>
                <a:lnTo>
                  <a:pt x="20" y="251"/>
                </a:lnTo>
                <a:lnTo>
                  <a:pt x="15" y="244"/>
                </a:lnTo>
                <a:lnTo>
                  <a:pt x="22" y="236"/>
                </a:lnTo>
                <a:lnTo>
                  <a:pt x="20" y="230"/>
                </a:lnTo>
                <a:lnTo>
                  <a:pt x="24" y="223"/>
                </a:lnTo>
                <a:lnTo>
                  <a:pt x="32" y="227"/>
                </a:lnTo>
                <a:lnTo>
                  <a:pt x="32" y="227"/>
                </a:lnTo>
                <a:lnTo>
                  <a:pt x="30" y="221"/>
                </a:lnTo>
                <a:lnTo>
                  <a:pt x="15" y="215"/>
                </a:lnTo>
                <a:lnTo>
                  <a:pt x="15" y="217"/>
                </a:lnTo>
                <a:lnTo>
                  <a:pt x="13" y="208"/>
                </a:lnTo>
                <a:lnTo>
                  <a:pt x="15" y="193"/>
                </a:lnTo>
                <a:lnTo>
                  <a:pt x="17" y="202"/>
                </a:lnTo>
                <a:lnTo>
                  <a:pt x="28" y="195"/>
                </a:lnTo>
                <a:lnTo>
                  <a:pt x="39" y="195"/>
                </a:lnTo>
                <a:lnTo>
                  <a:pt x="32" y="191"/>
                </a:lnTo>
                <a:lnTo>
                  <a:pt x="26" y="185"/>
                </a:lnTo>
                <a:lnTo>
                  <a:pt x="20" y="178"/>
                </a:lnTo>
                <a:lnTo>
                  <a:pt x="17" y="187"/>
                </a:lnTo>
                <a:lnTo>
                  <a:pt x="13" y="185"/>
                </a:lnTo>
                <a:lnTo>
                  <a:pt x="17" y="176"/>
                </a:lnTo>
                <a:lnTo>
                  <a:pt x="20" y="155"/>
                </a:lnTo>
                <a:lnTo>
                  <a:pt x="15" y="138"/>
                </a:lnTo>
                <a:lnTo>
                  <a:pt x="20" y="108"/>
                </a:lnTo>
                <a:lnTo>
                  <a:pt x="20" y="100"/>
                </a:lnTo>
                <a:lnTo>
                  <a:pt x="15" y="87"/>
                </a:lnTo>
                <a:lnTo>
                  <a:pt x="9" y="78"/>
                </a:lnTo>
                <a:lnTo>
                  <a:pt x="9" y="70"/>
                </a:lnTo>
                <a:lnTo>
                  <a:pt x="9" y="63"/>
                </a:lnTo>
                <a:lnTo>
                  <a:pt x="11" y="57"/>
                </a:lnTo>
                <a:lnTo>
                  <a:pt x="9" y="49"/>
                </a:lnTo>
                <a:lnTo>
                  <a:pt x="15" y="42"/>
                </a:lnTo>
                <a:lnTo>
                  <a:pt x="17" y="34"/>
                </a:lnTo>
                <a:lnTo>
                  <a:pt x="20" y="31"/>
                </a:lnTo>
                <a:lnTo>
                  <a:pt x="17" y="23"/>
                </a:lnTo>
                <a:lnTo>
                  <a:pt x="24" y="27"/>
                </a:lnTo>
                <a:lnTo>
                  <a:pt x="37" y="40"/>
                </a:lnTo>
                <a:lnTo>
                  <a:pt x="45" y="46"/>
                </a:lnTo>
                <a:lnTo>
                  <a:pt x="54" y="51"/>
                </a:lnTo>
                <a:lnTo>
                  <a:pt x="58" y="57"/>
                </a:lnTo>
                <a:lnTo>
                  <a:pt x="68" y="63"/>
                </a:lnTo>
                <a:lnTo>
                  <a:pt x="81" y="68"/>
                </a:lnTo>
                <a:lnTo>
                  <a:pt x="90" y="72"/>
                </a:lnTo>
                <a:lnTo>
                  <a:pt x="105" y="76"/>
                </a:lnTo>
                <a:lnTo>
                  <a:pt x="113" y="83"/>
                </a:lnTo>
                <a:lnTo>
                  <a:pt x="120" y="80"/>
                </a:lnTo>
                <a:lnTo>
                  <a:pt x="126" y="78"/>
                </a:lnTo>
                <a:lnTo>
                  <a:pt x="128" y="87"/>
                </a:lnTo>
                <a:lnTo>
                  <a:pt x="130" y="93"/>
                </a:lnTo>
                <a:lnTo>
                  <a:pt x="137" y="91"/>
                </a:lnTo>
                <a:lnTo>
                  <a:pt x="143" y="102"/>
                </a:lnTo>
                <a:lnTo>
                  <a:pt x="143" y="93"/>
                </a:lnTo>
                <a:lnTo>
                  <a:pt x="152" y="89"/>
                </a:lnTo>
                <a:lnTo>
                  <a:pt x="149" y="95"/>
                </a:lnTo>
                <a:lnTo>
                  <a:pt x="152" y="115"/>
                </a:lnTo>
                <a:lnTo>
                  <a:pt x="149" y="123"/>
                </a:lnTo>
                <a:lnTo>
                  <a:pt x="143" y="129"/>
                </a:lnTo>
                <a:lnTo>
                  <a:pt x="139" y="138"/>
                </a:lnTo>
                <a:lnTo>
                  <a:pt x="139" y="129"/>
                </a:lnTo>
                <a:lnTo>
                  <a:pt x="141" y="123"/>
                </a:lnTo>
                <a:lnTo>
                  <a:pt x="128" y="140"/>
                </a:lnTo>
                <a:lnTo>
                  <a:pt x="122" y="144"/>
                </a:lnTo>
                <a:lnTo>
                  <a:pt x="107" y="155"/>
                </a:lnTo>
                <a:lnTo>
                  <a:pt x="103" y="164"/>
                </a:lnTo>
                <a:lnTo>
                  <a:pt x="109" y="170"/>
                </a:lnTo>
                <a:lnTo>
                  <a:pt x="122" y="166"/>
                </a:lnTo>
                <a:lnTo>
                  <a:pt x="115" y="166"/>
                </a:lnTo>
                <a:lnTo>
                  <a:pt x="109" y="168"/>
                </a:lnTo>
                <a:lnTo>
                  <a:pt x="107" y="159"/>
                </a:lnTo>
                <a:lnTo>
                  <a:pt x="122" y="147"/>
                </a:lnTo>
                <a:lnTo>
                  <a:pt x="137" y="142"/>
                </a:lnTo>
                <a:lnTo>
                  <a:pt x="143" y="134"/>
                </a:lnTo>
                <a:lnTo>
                  <a:pt x="158" y="119"/>
                </a:lnTo>
                <a:lnTo>
                  <a:pt x="162" y="125"/>
                </a:lnTo>
                <a:lnTo>
                  <a:pt x="162" y="134"/>
                </a:lnTo>
                <a:lnTo>
                  <a:pt x="156" y="138"/>
                </a:lnTo>
                <a:lnTo>
                  <a:pt x="149" y="136"/>
                </a:lnTo>
                <a:lnTo>
                  <a:pt x="149" y="144"/>
                </a:lnTo>
                <a:lnTo>
                  <a:pt x="149" y="151"/>
                </a:lnTo>
                <a:lnTo>
                  <a:pt x="143" y="149"/>
                </a:lnTo>
                <a:lnTo>
                  <a:pt x="143" y="155"/>
                </a:lnTo>
                <a:lnTo>
                  <a:pt x="149" y="155"/>
                </a:lnTo>
                <a:lnTo>
                  <a:pt x="152" y="161"/>
                </a:lnTo>
                <a:lnTo>
                  <a:pt x="141" y="187"/>
                </a:lnTo>
                <a:lnTo>
                  <a:pt x="132" y="183"/>
                </a:lnTo>
                <a:lnTo>
                  <a:pt x="139" y="176"/>
                </a:lnTo>
                <a:lnTo>
                  <a:pt x="132" y="176"/>
                </a:lnTo>
                <a:lnTo>
                  <a:pt x="128" y="183"/>
                </a:lnTo>
                <a:lnTo>
                  <a:pt x="126" y="191"/>
                </a:lnTo>
                <a:lnTo>
                  <a:pt x="124" y="193"/>
                </a:lnTo>
                <a:lnTo>
                  <a:pt x="122" y="187"/>
                </a:lnTo>
                <a:lnTo>
                  <a:pt x="126" y="181"/>
                </a:lnTo>
                <a:lnTo>
                  <a:pt x="128" y="172"/>
                </a:lnTo>
                <a:lnTo>
                  <a:pt x="113" y="183"/>
                </a:lnTo>
                <a:lnTo>
                  <a:pt x="107" y="189"/>
                </a:lnTo>
                <a:lnTo>
                  <a:pt x="100" y="191"/>
                </a:lnTo>
                <a:lnTo>
                  <a:pt x="107" y="193"/>
                </a:lnTo>
                <a:lnTo>
                  <a:pt x="107" y="200"/>
                </a:lnTo>
                <a:lnTo>
                  <a:pt x="111" y="204"/>
                </a:lnTo>
                <a:lnTo>
                  <a:pt x="113" y="198"/>
                </a:lnTo>
                <a:lnTo>
                  <a:pt x="120" y="193"/>
                </a:lnTo>
                <a:lnTo>
                  <a:pt x="124" y="202"/>
                </a:lnTo>
                <a:lnTo>
                  <a:pt x="130" y="200"/>
                </a:lnTo>
                <a:lnTo>
                  <a:pt x="139" y="195"/>
                </a:lnTo>
                <a:lnTo>
                  <a:pt x="143" y="189"/>
                </a:lnTo>
                <a:lnTo>
                  <a:pt x="156" y="185"/>
                </a:lnTo>
                <a:lnTo>
                  <a:pt x="162" y="176"/>
                </a:lnTo>
                <a:lnTo>
                  <a:pt x="162" y="161"/>
                </a:lnTo>
                <a:lnTo>
                  <a:pt x="169" y="155"/>
                </a:lnTo>
                <a:lnTo>
                  <a:pt x="162" y="147"/>
                </a:lnTo>
                <a:lnTo>
                  <a:pt x="171" y="142"/>
                </a:lnTo>
                <a:lnTo>
                  <a:pt x="169" y="136"/>
                </a:lnTo>
                <a:lnTo>
                  <a:pt x="177" y="125"/>
                </a:lnTo>
                <a:lnTo>
                  <a:pt x="186" y="119"/>
                </a:lnTo>
                <a:lnTo>
                  <a:pt x="183" y="112"/>
                </a:lnTo>
                <a:lnTo>
                  <a:pt x="181" y="104"/>
                </a:lnTo>
                <a:lnTo>
                  <a:pt x="181" y="89"/>
                </a:lnTo>
                <a:lnTo>
                  <a:pt x="181" y="87"/>
                </a:lnTo>
                <a:lnTo>
                  <a:pt x="183" y="80"/>
                </a:lnTo>
                <a:lnTo>
                  <a:pt x="177" y="72"/>
                </a:lnTo>
                <a:lnTo>
                  <a:pt x="175" y="66"/>
                </a:lnTo>
                <a:lnTo>
                  <a:pt x="169" y="66"/>
                </a:lnTo>
                <a:lnTo>
                  <a:pt x="169" y="57"/>
                </a:lnTo>
                <a:lnTo>
                  <a:pt x="173" y="59"/>
                </a:lnTo>
                <a:lnTo>
                  <a:pt x="181" y="63"/>
                </a:lnTo>
                <a:lnTo>
                  <a:pt x="181" y="57"/>
                </a:lnTo>
                <a:lnTo>
                  <a:pt x="179" y="49"/>
                </a:lnTo>
                <a:lnTo>
                  <a:pt x="186" y="53"/>
                </a:lnTo>
                <a:lnTo>
                  <a:pt x="188" y="46"/>
                </a:lnTo>
                <a:lnTo>
                  <a:pt x="186" y="38"/>
                </a:lnTo>
                <a:lnTo>
                  <a:pt x="188" y="31"/>
                </a:lnTo>
                <a:lnTo>
                  <a:pt x="181" y="27"/>
                </a:lnTo>
                <a:lnTo>
                  <a:pt x="175" y="21"/>
                </a:lnTo>
                <a:lnTo>
                  <a:pt x="175" y="19"/>
                </a:lnTo>
                <a:lnTo>
                  <a:pt x="173" y="10"/>
                </a:lnTo>
                <a:lnTo>
                  <a:pt x="171" y="4"/>
                </a:lnTo>
                <a:lnTo>
                  <a:pt x="177" y="0"/>
                </a:lnTo>
                <a:lnTo>
                  <a:pt x="277" y="27"/>
                </a:lnTo>
                <a:lnTo>
                  <a:pt x="390" y="55"/>
                </a:lnTo>
                <a:lnTo>
                  <a:pt x="522" y="85"/>
                </a:lnTo>
                <a:lnTo>
                  <a:pt x="594" y="100"/>
                </a:lnTo>
                <a:lnTo>
                  <a:pt x="592" y="104"/>
                </a:lnTo>
                <a:lnTo>
                  <a:pt x="539" y="355"/>
                </a:lnTo>
                <a:lnTo>
                  <a:pt x="537" y="379"/>
                </a:lnTo>
                <a:lnTo>
                  <a:pt x="533" y="385"/>
                </a:lnTo>
                <a:lnTo>
                  <a:pt x="537" y="400"/>
                </a:lnTo>
                <a:lnTo>
                  <a:pt x="535" y="423"/>
                </a:lnTo>
                <a:lnTo>
                  <a:pt x="537" y="430"/>
                </a:lnTo>
                <a:lnTo>
                  <a:pt x="445" y="411"/>
                </a:lnTo>
                <a:lnTo>
                  <a:pt x="375" y="394"/>
                </a:lnTo>
                <a:lnTo>
                  <a:pt x="367" y="398"/>
                </a:lnTo>
                <a:lnTo>
                  <a:pt x="360" y="398"/>
                </a:lnTo>
                <a:lnTo>
                  <a:pt x="352" y="396"/>
                </a:lnTo>
                <a:lnTo>
                  <a:pt x="335" y="394"/>
                </a:lnTo>
                <a:lnTo>
                  <a:pt x="330" y="391"/>
                </a:lnTo>
                <a:lnTo>
                  <a:pt x="322" y="396"/>
                </a:lnTo>
                <a:lnTo>
                  <a:pt x="301" y="396"/>
                </a:lnTo>
                <a:lnTo>
                  <a:pt x="286" y="398"/>
                </a:lnTo>
                <a:lnTo>
                  <a:pt x="271" y="400"/>
                </a:lnTo>
                <a:lnTo>
                  <a:pt x="264" y="402"/>
                </a:lnTo>
                <a:lnTo>
                  <a:pt x="256" y="400"/>
                </a:lnTo>
                <a:lnTo>
                  <a:pt x="249" y="394"/>
                </a:lnTo>
                <a:lnTo>
                  <a:pt x="241" y="391"/>
                </a:lnTo>
                <a:lnTo>
                  <a:pt x="220" y="396"/>
                </a:lnTo>
                <a:lnTo>
                  <a:pt x="213" y="394"/>
                </a:lnTo>
                <a:lnTo>
                  <a:pt x="198" y="394"/>
                </a:lnTo>
                <a:lnTo>
                  <a:pt x="196" y="387"/>
                </a:lnTo>
                <a:lnTo>
                  <a:pt x="190" y="383"/>
                </a:lnTo>
                <a:lnTo>
                  <a:pt x="181" y="381"/>
                </a:lnTo>
                <a:lnTo>
                  <a:pt x="175" y="377"/>
                </a:lnTo>
                <a:lnTo>
                  <a:pt x="162" y="377"/>
                </a:lnTo>
                <a:lnTo>
                  <a:pt x="156" y="372"/>
                </a:lnTo>
                <a:lnTo>
                  <a:pt x="149" y="372"/>
                </a:lnTo>
                <a:lnTo>
                  <a:pt x="141" y="377"/>
                </a:lnTo>
                <a:lnTo>
                  <a:pt x="134" y="379"/>
                </a:lnTo>
                <a:lnTo>
                  <a:pt x="120" y="381"/>
                </a:lnTo>
                <a:lnTo>
                  <a:pt x="113" y="379"/>
                </a:lnTo>
                <a:lnTo>
                  <a:pt x="105" y="374"/>
                </a:lnTo>
                <a:lnTo>
                  <a:pt x="100" y="374"/>
                </a:lnTo>
                <a:lnTo>
                  <a:pt x="94" y="368"/>
                </a:lnTo>
                <a:lnTo>
                  <a:pt x="83" y="364"/>
                </a:lnTo>
                <a:lnTo>
                  <a:pt x="79" y="359"/>
                </a:lnTo>
                <a:lnTo>
                  <a:pt x="83" y="323"/>
                </a:lnTo>
                <a:lnTo>
                  <a:pt x="81" y="308"/>
                </a:lnTo>
                <a:lnTo>
                  <a:pt x="73" y="302"/>
                </a:lnTo>
                <a:lnTo>
                  <a:pt x="68" y="296"/>
                </a:lnTo>
                <a:lnTo>
                  <a:pt x="62" y="293"/>
                </a:lnTo>
                <a:lnTo>
                  <a:pt x="56" y="293"/>
                </a:lnTo>
                <a:lnTo>
                  <a:pt x="49" y="287"/>
                </a:lnTo>
                <a:lnTo>
                  <a:pt x="47" y="279"/>
                </a:lnTo>
                <a:lnTo>
                  <a:pt x="45" y="279"/>
                </a:lnTo>
                <a:lnTo>
                  <a:pt x="41" y="276"/>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altLang="en-US" sz="1000" b="1" dirty="0">
                <a:solidFill>
                  <a:schemeClr val="bg1"/>
                </a:solidFill>
              </a:rPr>
              <a:t>   </a:t>
            </a:r>
            <a:r>
              <a:rPr lang="en-US" altLang="en-US" sz="1000" b="1" dirty="0">
                <a:solidFill>
                  <a:srgbClr val="5A5A5A"/>
                </a:solidFill>
              </a:rPr>
              <a:t>Wash.</a:t>
            </a:r>
            <a:endParaRPr lang="en-US" altLang="en-US" sz="1000" dirty="0">
              <a:solidFill>
                <a:srgbClr val="5A5A5A"/>
              </a:solidFill>
            </a:endParaRPr>
          </a:p>
        </p:txBody>
      </p:sp>
      <p:sp>
        <p:nvSpPr>
          <p:cNvPr id="352" name="Freeform 825"/>
          <p:cNvSpPr>
            <a:spLocks noChangeAspect="1"/>
          </p:cNvSpPr>
          <p:nvPr/>
        </p:nvSpPr>
        <p:spPr bwMode="auto">
          <a:xfrm>
            <a:off x="3232608" y="4159207"/>
            <a:ext cx="1783080" cy="1737360"/>
          </a:xfrm>
          <a:custGeom>
            <a:avLst/>
            <a:gdLst>
              <a:gd name="T0" fmla="*/ 164 w 1248"/>
              <a:gd name="T1" fmla="*/ 496 h 1216"/>
              <a:gd name="T2" fmla="*/ 373 w 1248"/>
              <a:gd name="T3" fmla="*/ 11 h 1216"/>
              <a:gd name="T4" fmla="*/ 648 w 1248"/>
              <a:gd name="T5" fmla="*/ 17 h 1216"/>
              <a:gd name="T6" fmla="*/ 682 w 1248"/>
              <a:gd name="T7" fmla="*/ 251 h 1216"/>
              <a:gd name="T8" fmla="*/ 714 w 1248"/>
              <a:gd name="T9" fmla="*/ 266 h 1216"/>
              <a:gd name="T10" fmla="*/ 763 w 1248"/>
              <a:gd name="T11" fmla="*/ 283 h 1216"/>
              <a:gd name="T12" fmla="*/ 816 w 1248"/>
              <a:gd name="T13" fmla="*/ 285 h 1216"/>
              <a:gd name="T14" fmla="*/ 841 w 1248"/>
              <a:gd name="T15" fmla="*/ 313 h 1216"/>
              <a:gd name="T16" fmla="*/ 893 w 1248"/>
              <a:gd name="T17" fmla="*/ 315 h 1216"/>
              <a:gd name="T18" fmla="*/ 916 w 1248"/>
              <a:gd name="T19" fmla="*/ 313 h 1216"/>
              <a:gd name="T20" fmla="*/ 952 w 1248"/>
              <a:gd name="T21" fmla="*/ 313 h 1216"/>
              <a:gd name="T22" fmla="*/ 999 w 1248"/>
              <a:gd name="T23" fmla="*/ 317 h 1216"/>
              <a:gd name="T24" fmla="*/ 1057 w 1248"/>
              <a:gd name="T25" fmla="*/ 313 h 1216"/>
              <a:gd name="T26" fmla="*/ 1114 w 1248"/>
              <a:gd name="T27" fmla="*/ 326 h 1216"/>
              <a:gd name="T28" fmla="*/ 1167 w 1248"/>
              <a:gd name="T29" fmla="*/ 343 h 1216"/>
              <a:gd name="T30" fmla="*/ 1218 w 1248"/>
              <a:gd name="T31" fmla="*/ 567 h 1216"/>
              <a:gd name="T32" fmla="*/ 1248 w 1248"/>
              <a:gd name="T33" fmla="*/ 613 h 1216"/>
              <a:gd name="T34" fmla="*/ 1242 w 1248"/>
              <a:gd name="T35" fmla="*/ 660 h 1216"/>
              <a:gd name="T36" fmla="*/ 1235 w 1248"/>
              <a:gd name="T37" fmla="*/ 731 h 1216"/>
              <a:gd name="T38" fmla="*/ 1201 w 1248"/>
              <a:gd name="T39" fmla="*/ 786 h 1216"/>
              <a:gd name="T40" fmla="*/ 1137 w 1248"/>
              <a:gd name="T41" fmla="*/ 814 h 1216"/>
              <a:gd name="T42" fmla="*/ 1137 w 1248"/>
              <a:gd name="T43" fmla="*/ 777 h 1216"/>
              <a:gd name="T44" fmla="*/ 1110 w 1248"/>
              <a:gd name="T45" fmla="*/ 799 h 1216"/>
              <a:gd name="T46" fmla="*/ 1097 w 1248"/>
              <a:gd name="T47" fmla="*/ 846 h 1216"/>
              <a:gd name="T48" fmla="*/ 1022 w 1248"/>
              <a:gd name="T49" fmla="*/ 899 h 1216"/>
              <a:gd name="T50" fmla="*/ 995 w 1248"/>
              <a:gd name="T51" fmla="*/ 920 h 1216"/>
              <a:gd name="T52" fmla="*/ 982 w 1248"/>
              <a:gd name="T53" fmla="*/ 905 h 1216"/>
              <a:gd name="T54" fmla="*/ 956 w 1248"/>
              <a:gd name="T55" fmla="*/ 897 h 1216"/>
              <a:gd name="T56" fmla="*/ 973 w 1248"/>
              <a:gd name="T57" fmla="*/ 929 h 1216"/>
              <a:gd name="T58" fmla="*/ 937 w 1248"/>
              <a:gd name="T59" fmla="*/ 948 h 1216"/>
              <a:gd name="T60" fmla="*/ 912 w 1248"/>
              <a:gd name="T61" fmla="*/ 956 h 1216"/>
              <a:gd name="T62" fmla="*/ 914 w 1248"/>
              <a:gd name="T63" fmla="*/ 965 h 1216"/>
              <a:gd name="T64" fmla="*/ 869 w 1248"/>
              <a:gd name="T65" fmla="*/ 997 h 1216"/>
              <a:gd name="T66" fmla="*/ 863 w 1248"/>
              <a:gd name="T67" fmla="*/ 1056 h 1216"/>
              <a:gd name="T68" fmla="*/ 841 w 1248"/>
              <a:gd name="T69" fmla="*/ 1046 h 1216"/>
              <a:gd name="T70" fmla="*/ 867 w 1248"/>
              <a:gd name="T71" fmla="*/ 1080 h 1216"/>
              <a:gd name="T72" fmla="*/ 867 w 1248"/>
              <a:gd name="T73" fmla="*/ 1114 h 1216"/>
              <a:gd name="T74" fmla="*/ 888 w 1248"/>
              <a:gd name="T75" fmla="*/ 1203 h 1216"/>
              <a:gd name="T76" fmla="*/ 880 w 1248"/>
              <a:gd name="T77" fmla="*/ 1216 h 1216"/>
              <a:gd name="T78" fmla="*/ 820 w 1248"/>
              <a:gd name="T79" fmla="*/ 1193 h 1216"/>
              <a:gd name="T80" fmla="*/ 743 w 1248"/>
              <a:gd name="T81" fmla="*/ 1169 h 1216"/>
              <a:gd name="T82" fmla="*/ 703 w 1248"/>
              <a:gd name="T83" fmla="*/ 1144 h 1216"/>
              <a:gd name="T84" fmla="*/ 669 w 1248"/>
              <a:gd name="T85" fmla="*/ 1071 h 1216"/>
              <a:gd name="T86" fmla="*/ 665 w 1248"/>
              <a:gd name="T87" fmla="*/ 1022 h 1216"/>
              <a:gd name="T88" fmla="*/ 618 w 1248"/>
              <a:gd name="T89" fmla="*/ 971 h 1216"/>
              <a:gd name="T90" fmla="*/ 586 w 1248"/>
              <a:gd name="T91" fmla="*/ 914 h 1216"/>
              <a:gd name="T92" fmla="*/ 556 w 1248"/>
              <a:gd name="T93" fmla="*/ 850 h 1216"/>
              <a:gd name="T94" fmla="*/ 503 w 1248"/>
              <a:gd name="T95" fmla="*/ 788 h 1216"/>
              <a:gd name="T96" fmla="*/ 465 w 1248"/>
              <a:gd name="T97" fmla="*/ 767 h 1216"/>
              <a:gd name="T98" fmla="*/ 396 w 1248"/>
              <a:gd name="T99" fmla="*/ 754 h 1216"/>
              <a:gd name="T100" fmla="*/ 356 w 1248"/>
              <a:gd name="T101" fmla="*/ 777 h 1216"/>
              <a:gd name="T102" fmla="*/ 315 w 1248"/>
              <a:gd name="T103" fmla="*/ 839 h 1216"/>
              <a:gd name="T104" fmla="*/ 273 w 1248"/>
              <a:gd name="T105" fmla="*/ 826 h 1216"/>
              <a:gd name="T106" fmla="*/ 201 w 1248"/>
              <a:gd name="T107" fmla="*/ 777 h 1216"/>
              <a:gd name="T108" fmla="*/ 166 w 1248"/>
              <a:gd name="T109" fmla="*/ 694 h 1216"/>
              <a:gd name="T110" fmla="*/ 139 w 1248"/>
              <a:gd name="T111" fmla="*/ 641 h 1216"/>
              <a:gd name="T112" fmla="*/ 64 w 1248"/>
              <a:gd name="T113" fmla="*/ 564 h 1216"/>
              <a:gd name="T114" fmla="*/ 20 w 1248"/>
              <a:gd name="T115" fmla="*/ 51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8" h="1216">
                <a:moveTo>
                  <a:pt x="9" y="507"/>
                </a:moveTo>
                <a:lnTo>
                  <a:pt x="9" y="503"/>
                </a:lnTo>
                <a:lnTo>
                  <a:pt x="5" y="498"/>
                </a:lnTo>
                <a:lnTo>
                  <a:pt x="0" y="484"/>
                </a:lnTo>
                <a:lnTo>
                  <a:pt x="0" y="481"/>
                </a:lnTo>
                <a:lnTo>
                  <a:pt x="73" y="488"/>
                </a:lnTo>
                <a:lnTo>
                  <a:pt x="164" y="496"/>
                </a:lnTo>
                <a:lnTo>
                  <a:pt x="247" y="503"/>
                </a:lnTo>
                <a:lnTo>
                  <a:pt x="330" y="509"/>
                </a:lnTo>
                <a:lnTo>
                  <a:pt x="335" y="509"/>
                </a:lnTo>
                <a:lnTo>
                  <a:pt x="341" y="501"/>
                </a:lnTo>
                <a:lnTo>
                  <a:pt x="347" y="383"/>
                </a:lnTo>
                <a:lnTo>
                  <a:pt x="356" y="281"/>
                </a:lnTo>
                <a:lnTo>
                  <a:pt x="373" y="11"/>
                </a:lnTo>
                <a:lnTo>
                  <a:pt x="375" y="2"/>
                </a:lnTo>
                <a:lnTo>
                  <a:pt x="379" y="0"/>
                </a:lnTo>
                <a:lnTo>
                  <a:pt x="501" y="9"/>
                </a:lnTo>
                <a:lnTo>
                  <a:pt x="594" y="13"/>
                </a:lnTo>
                <a:lnTo>
                  <a:pt x="631" y="13"/>
                </a:lnTo>
                <a:lnTo>
                  <a:pt x="639" y="13"/>
                </a:lnTo>
                <a:lnTo>
                  <a:pt x="648" y="17"/>
                </a:lnTo>
                <a:lnTo>
                  <a:pt x="641" y="219"/>
                </a:lnTo>
                <a:lnTo>
                  <a:pt x="639" y="230"/>
                </a:lnTo>
                <a:lnTo>
                  <a:pt x="648" y="232"/>
                </a:lnTo>
                <a:lnTo>
                  <a:pt x="654" y="236"/>
                </a:lnTo>
                <a:lnTo>
                  <a:pt x="667" y="251"/>
                </a:lnTo>
                <a:lnTo>
                  <a:pt x="673" y="256"/>
                </a:lnTo>
                <a:lnTo>
                  <a:pt x="682" y="251"/>
                </a:lnTo>
                <a:lnTo>
                  <a:pt x="688" y="254"/>
                </a:lnTo>
                <a:lnTo>
                  <a:pt x="695" y="254"/>
                </a:lnTo>
                <a:lnTo>
                  <a:pt x="699" y="245"/>
                </a:lnTo>
                <a:lnTo>
                  <a:pt x="701" y="249"/>
                </a:lnTo>
                <a:lnTo>
                  <a:pt x="707" y="254"/>
                </a:lnTo>
                <a:lnTo>
                  <a:pt x="714" y="260"/>
                </a:lnTo>
                <a:lnTo>
                  <a:pt x="714" y="266"/>
                </a:lnTo>
                <a:lnTo>
                  <a:pt x="714" y="275"/>
                </a:lnTo>
                <a:lnTo>
                  <a:pt x="722" y="275"/>
                </a:lnTo>
                <a:lnTo>
                  <a:pt x="726" y="277"/>
                </a:lnTo>
                <a:lnTo>
                  <a:pt x="733" y="275"/>
                </a:lnTo>
                <a:lnTo>
                  <a:pt x="741" y="279"/>
                </a:lnTo>
                <a:lnTo>
                  <a:pt x="754" y="283"/>
                </a:lnTo>
                <a:lnTo>
                  <a:pt x="763" y="283"/>
                </a:lnTo>
                <a:lnTo>
                  <a:pt x="769" y="283"/>
                </a:lnTo>
                <a:lnTo>
                  <a:pt x="773" y="288"/>
                </a:lnTo>
                <a:lnTo>
                  <a:pt x="778" y="292"/>
                </a:lnTo>
                <a:lnTo>
                  <a:pt x="786" y="290"/>
                </a:lnTo>
                <a:lnTo>
                  <a:pt x="792" y="285"/>
                </a:lnTo>
                <a:lnTo>
                  <a:pt x="807" y="285"/>
                </a:lnTo>
                <a:lnTo>
                  <a:pt x="816" y="285"/>
                </a:lnTo>
                <a:lnTo>
                  <a:pt x="814" y="292"/>
                </a:lnTo>
                <a:lnTo>
                  <a:pt x="818" y="300"/>
                </a:lnTo>
                <a:lnTo>
                  <a:pt x="827" y="300"/>
                </a:lnTo>
                <a:lnTo>
                  <a:pt x="829" y="305"/>
                </a:lnTo>
                <a:lnTo>
                  <a:pt x="829" y="315"/>
                </a:lnTo>
                <a:lnTo>
                  <a:pt x="835" y="317"/>
                </a:lnTo>
                <a:lnTo>
                  <a:pt x="841" y="313"/>
                </a:lnTo>
                <a:lnTo>
                  <a:pt x="854" y="303"/>
                </a:lnTo>
                <a:lnTo>
                  <a:pt x="861" y="305"/>
                </a:lnTo>
                <a:lnTo>
                  <a:pt x="863" y="313"/>
                </a:lnTo>
                <a:lnTo>
                  <a:pt x="871" y="313"/>
                </a:lnTo>
                <a:lnTo>
                  <a:pt x="873" y="320"/>
                </a:lnTo>
                <a:lnTo>
                  <a:pt x="880" y="320"/>
                </a:lnTo>
                <a:lnTo>
                  <a:pt x="893" y="315"/>
                </a:lnTo>
                <a:lnTo>
                  <a:pt x="899" y="315"/>
                </a:lnTo>
                <a:lnTo>
                  <a:pt x="897" y="322"/>
                </a:lnTo>
                <a:lnTo>
                  <a:pt x="899" y="330"/>
                </a:lnTo>
                <a:lnTo>
                  <a:pt x="901" y="332"/>
                </a:lnTo>
                <a:lnTo>
                  <a:pt x="905" y="330"/>
                </a:lnTo>
                <a:lnTo>
                  <a:pt x="910" y="317"/>
                </a:lnTo>
                <a:lnTo>
                  <a:pt x="916" y="313"/>
                </a:lnTo>
                <a:lnTo>
                  <a:pt x="918" y="307"/>
                </a:lnTo>
                <a:lnTo>
                  <a:pt x="920" y="307"/>
                </a:lnTo>
                <a:lnTo>
                  <a:pt x="927" y="309"/>
                </a:lnTo>
                <a:lnTo>
                  <a:pt x="933" y="315"/>
                </a:lnTo>
                <a:lnTo>
                  <a:pt x="939" y="317"/>
                </a:lnTo>
                <a:lnTo>
                  <a:pt x="946" y="313"/>
                </a:lnTo>
                <a:lnTo>
                  <a:pt x="952" y="313"/>
                </a:lnTo>
                <a:lnTo>
                  <a:pt x="959" y="322"/>
                </a:lnTo>
                <a:lnTo>
                  <a:pt x="965" y="326"/>
                </a:lnTo>
                <a:lnTo>
                  <a:pt x="973" y="328"/>
                </a:lnTo>
                <a:lnTo>
                  <a:pt x="980" y="334"/>
                </a:lnTo>
                <a:lnTo>
                  <a:pt x="982" y="328"/>
                </a:lnTo>
                <a:lnTo>
                  <a:pt x="990" y="328"/>
                </a:lnTo>
                <a:lnTo>
                  <a:pt x="999" y="317"/>
                </a:lnTo>
                <a:lnTo>
                  <a:pt x="1008" y="317"/>
                </a:lnTo>
                <a:lnTo>
                  <a:pt x="1014" y="313"/>
                </a:lnTo>
                <a:lnTo>
                  <a:pt x="1020" y="317"/>
                </a:lnTo>
                <a:lnTo>
                  <a:pt x="1029" y="317"/>
                </a:lnTo>
                <a:lnTo>
                  <a:pt x="1035" y="313"/>
                </a:lnTo>
                <a:lnTo>
                  <a:pt x="1048" y="307"/>
                </a:lnTo>
                <a:lnTo>
                  <a:pt x="1057" y="313"/>
                </a:lnTo>
                <a:lnTo>
                  <a:pt x="1061" y="315"/>
                </a:lnTo>
                <a:lnTo>
                  <a:pt x="1069" y="315"/>
                </a:lnTo>
                <a:lnTo>
                  <a:pt x="1074" y="313"/>
                </a:lnTo>
                <a:lnTo>
                  <a:pt x="1078" y="305"/>
                </a:lnTo>
                <a:lnTo>
                  <a:pt x="1084" y="305"/>
                </a:lnTo>
                <a:lnTo>
                  <a:pt x="1101" y="315"/>
                </a:lnTo>
                <a:lnTo>
                  <a:pt x="1114" y="326"/>
                </a:lnTo>
                <a:lnTo>
                  <a:pt x="1123" y="328"/>
                </a:lnTo>
                <a:lnTo>
                  <a:pt x="1129" y="334"/>
                </a:lnTo>
                <a:lnTo>
                  <a:pt x="1150" y="339"/>
                </a:lnTo>
                <a:lnTo>
                  <a:pt x="1152" y="341"/>
                </a:lnTo>
                <a:lnTo>
                  <a:pt x="1152" y="343"/>
                </a:lnTo>
                <a:lnTo>
                  <a:pt x="1161" y="349"/>
                </a:lnTo>
                <a:lnTo>
                  <a:pt x="1167" y="343"/>
                </a:lnTo>
                <a:lnTo>
                  <a:pt x="1191" y="347"/>
                </a:lnTo>
                <a:lnTo>
                  <a:pt x="1193" y="409"/>
                </a:lnTo>
                <a:lnTo>
                  <a:pt x="1195" y="524"/>
                </a:lnTo>
                <a:lnTo>
                  <a:pt x="1208" y="535"/>
                </a:lnTo>
                <a:lnTo>
                  <a:pt x="1214" y="541"/>
                </a:lnTo>
                <a:lnTo>
                  <a:pt x="1218" y="556"/>
                </a:lnTo>
                <a:lnTo>
                  <a:pt x="1218" y="567"/>
                </a:lnTo>
                <a:lnTo>
                  <a:pt x="1223" y="573"/>
                </a:lnTo>
                <a:lnTo>
                  <a:pt x="1227" y="582"/>
                </a:lnTo>
                <a:lnTo>
                  <a:pt x="1229" y="584"/>
                </a:lnTo>
                <a:lnTo>
                  <a:pt x="1233" y="590"/>
                </a:lnTo>
                <a:lnTo>
                  <a:pt x="1233" y="596"/>
                </a:lnTo>
                <a:lnTo>
                  <a:pt x="1244" y="611"/>
                </a:lnTo>
                <a:lnTo>
                  <a:pt x="1248" y="613"/>
                </a:lnTo>
                <a:lnTo>
                  <a:pt x="1246" y="620"/>
                </a:lnTo>
                <a:lnTo>
                  <a:pt x="1248" y="626"/>
                </a:lnTo>
                <a:lnTo>
                  <a:pt x="1246" y="633"/>
                </a:lnTo>
                <a:lnTo>
                  <a:pt x="1248" y="639"/>
                </a:lnTo>
                <a:lnTo>
                  <a:pt x="1246" y="645"/>
                </a:lnTo>
                <a:lnTo>
                  <a:pt x="1246" y="654"/>
                </a:lnTo>
                <a:lnTo>
                  <a:pt x="1242" y="660"/>
                </a:lnTo>
                <a:lnTo>
                  <a:pt x="1242" y="669"/>
                </a:lnTo>
                <a:lnTo>
                  <a:pt x="1235" y="675"/>
                </a:lnTo>
                <a:lnTo>
                  <a:pt x="1231" y="684"/>
                </a:lnTo>
                <a:lnTo>
                  <a:pt x="1233" y="697"/>
                </a:lnTo>
                <a:lnTo>
                  <a:pt x="1229" y="705"/>
                </a:lnTo>
                <a:lnTo>
                  <a:pt x="1233" y="714"/>
                </a:lnTo>
                <a:lnTo>
                  <a:pt x="1235" y="731"/>
                </a:lnTo>
                <a:lnTo>
                  <a:pt x="1233" y="739"/>
                </a:lnTo>
                <a:lnTo>
                  <a:pt x="1227" y="748"/>
                </a:lnTo>
                <a:lnTo>
                  <a:pt x="1227" y="748"/>
                </a:lnTo>
                <a:lnTo>
                  <a:pt x="1220" y="754"/>
                </a:lnTo>
                <a:lnTo>
                  <a:pt x="1212" y="767"/>
                </a:lnTo>
                <a:lnTo>
                  <a:pt x="1223" y="784"/>
                </a:lnTo>
                <a:lnTo>
                  <a:pt x="1201" y="786"/>
                </a:lnTo>
                <a:lnTo>
                  <a:pt x="1178" y="797"/>
                </a:lnTo>
                <a:lnTo>
                  <a:pt x="1157" y="807"/>
                </a:lnTo>
                <a:lnTo>
                  <a:pt x="1150" y="809"/>
                </a:lnTo>
                <a:lnTo>
                  <a:pt x="1142" y="814"/>
                </a:lnTo>
                <a:lnTo>
                  <a:pt x="1135" y="822"/>
                </a:lnTo>
                <a:lnTo>
                  <a:pt x="1133" y="822"/>
                </a:lnTo>
                <a:lnTo>
                  <a:pt x="1137" y="814"/>
                </a:lnTo>
                <a:lnTo>
                  <a:pt x="1152" y="803"/>
                </a:lnTo>
                <a:lnTo>
                  <a:pt x="1161" y="801"/>
                </a:lnTo>
                <a:lnTo>
                  <a:pt x="1163" y="799"/>
                </a:lnTo>
                <a:lnTo>
                  <a:pt x="1148" y="799"/>
                </a:lnTo>
                <a:lnTo>
                  <a:pt x="1133" y="803"/>
                </a:lnTo>
                <a:lnTo>
                  <a:pt x="1137" y="788"/>
                </a:lnTo>
                <a:lnTo>
                  <a:pt x="1137" y="777"/>
                </a:lnTo>
                <a:lnTo>
                  <a:pt x="1131" y="775"/>
                </a:lnTo>
                <a:lnTo>
                  <a:pt x="1125" y="782"/>
                </a:lnTo>
                <a:lnTo>
                  <a:pt x="1120" y="788"/>
                </a:lnTo>
                <a:lnTo>
                  <a:pt x="1110" y="782"/>
                </a:lnTo>
                <a:lnTo>
                  <a:pt x="1105" y="786"/>
                </a:lnTo>
                <a:lnTo>
                  <a:pt x="1110" y="792"/>
                </a:lnTo>
                <a:lnTo>
                  <a:pt x="1110" y="799"/>
                </a:lnTo>
                <a:lnTo>
                  <a:pt x="1116" y="805"/>
                </a:lnTo>
                <a:lnTo>
                  <a:pt x="1116" y="816"/>
                </a:lnTo>
                <a:lnTo>
                  <a:pt x="1125" y="818"/>
                </a:lnTo>
                <a:lnTo>
                  <a:pt x="1120" y="826"/>
                </a:lnTo>
                <a:lnTo>
                  <a:pt x="1114" y="831"/>
                </a:lnTo>
                <a:lnTo>
                  <a:pt x="1108" y="837"/>
                </a:lnTo>
                <a:lnTo>
                  <a:pt x="1097" y="846"/>
                </a:lnTo>
                <a:lnTo>
                  <a:pt x="1095" y="858"/>
                </a:lnTo>
                <a:lnTo>
                  <a:pt x="1082" y="871"/>
                </a:lnTo>
                <a:lnTo>
                  <a:pt x="1074" y="878"/>
                </a:lnTo>
                <a:lnTo>
                  <a:pt x="1065" y="882"/>
                </a:lnTo>
                <a:lnTo>
                  <a:pt x="1050" y="892"/>
                </a:lnTo>
                <a:lnTo>
                  <a:pt x="1037" y="892"/>
                </a:lnTo>
                <a:lnTo>
                  <a:pt x="1022" y="899"/>
                </a:lnTo>
                <a:lnTo>
                  <a:pt x="1022" y="905"/>
                </a:lnTo>
                <a:lnTo>
                  <a:pt x="1031" y="901"/>
                </a:lnTo>
                <a:lnTo>
                  <a:pt x="1037" y="899"/>
                </a:lnTo>
                <a:lnTo>
                  <a:pt x="1029" y="905"/>
                </a:lnTo>
                <a:lnTo>
                  <a:pt x="1014" y="910"/>
                </a:lnTo>
                <a:lnTo>
                  <a:pt x="993" y="922"/>
                </a:lnTo>
                <a:lnTo>
                  <a:pt x="995" y="920"/>
                </a:lnTo>
                <a:lnTo>
                  <a:pt x="1010" y="912"/>
                </a:lnTo>
                <a:lnTo>
                  <a:pt x="1012" y="905"/>
                </a:lnTo>
                <a:lnTo>
                  <a:pt x="997" y="912"/>
                </a:lnTo>
                <a:lnTo>
                  <a:pt x="1001" y="905"/>
                </a:lnTo>
                <a:lnTo>
                  <a:pt x="993" y="907"/>
                </a:lnTo>
                <a:lnTo>
                  <a:pt x="990" y="899"/>
                </a:lnTo>
                <a:lnTo>
                  <a:pt x="982" y="905"/>
                </a:lnTo>
                <a:lnTo>
                  <a:pt x="976" y="901"/>
                </a:lnTo>
                <a:lnTo>
                  <a:pt x="971" y="892"/>
                </a:lnTo>
                <a:lnTo>
                  <a:pt x="971" y="895"/>
                </a:lnTo>
                <a:lnTo>
                  <a:pt x="978" y="907"/>
                </a:lnTo>
                <a:lnTo>
                  <a:pt x="969" y="912"/>
                </a:lnTo>
                <a:lnTo>
                  <a:pt x="959" y="901"/>
                </a:lnTo>
                <a:lnTo>
                  <a:pt x="956" y="897"/>
                </a:lnTo>
                <a:lnTo>
                  <a:pt x="950" y="897"/>
                </a:lnTo>
                <a:lnTo>
                  <a:pt x="956" y="912"/>
                </a:lnTo>
                <a:lnTo>
                  <a:pt x="965" y="916"/>
                </a:lnTo>
                <a:lnTo>
                  <a:pt x="961" y="924"/>
                </a:lnTo>
                <a:lnTo>
                  <a:pt x="967" y="922"/>
                </a:lnTo>
                <a:lnTo>
                  <a:pt x="976" y="927"/>
                </a:lnTo>
                <a:lnTo>
                  <a:pt x="973" y="929"/>
                </a:lnTo>
                <a:lnTo>
                  <a:pt x="952" y="941"/>
                </a:lnTo>
                <a:lnTo>
                  <a:pt x="946" y="937"/>
                </a:lnTo>
                <a:lnTo>
                  <a:pt x="935" y="924"/>
                </a:lnTo>
                <a:lnTo>
                  <a:pt x="937" y="927"/>
                </a:lnTo>
                <a:lnTo>
                  <a:pt x="933" y="935"/>
                </a:lnTo>
                <a:lnTo>
                  <a:pt x="937" y="941"/>
                </a:lnTo>
                <a:lnTo>
                  <a:pt x="937" y="948"/>
                </a:lnTo>
                <a:lnTo>
                  <a:pt x="929" y="959"/>
                </a:lnTo>
                <a:lnTo>
                  <a:pt x="922" y="963"/>
                </a:lnTo>
                <a:lnTo>
                  <a:pt x="924" y="954"/>
                </a:lnTo>
                <a:lnTo>
                  <a:pt x="922" y="948"/>
                </a:lnTo>
                <a:lnTo>
                  <a:pt x="922" y="954"/>
                </a:lnTo>
                <a:lnTo>
                  <a:pt x="914" y="963"/>
                </a:lnTo>
                <a:lnTo>
                  <a:pt x="912" y="956"/>
                </a:lnTo>
                <a:lnTo>
                  <a:pt x="905" y="961"/>
                </a:lnTo>
                <a:lnTo>
                  <a:pt x="897" y="959"/>
                </a:lnTo>
                <a:lnTo>
                  <a:pt x="899" y="963"/>
                </a:lnTo>
                <a:lnTo>
                  <a:pt x="895" y="969"/>
                </a:lnTo>
                <a:lnTo>
                  <a:pt x="903" y="976"/>
                </a:lnTo>
                <a:lnTo>
                  <a:pt x="905" y="969"/>
                </a:lnTo>
                <a:lnTo>
                  <a:pt x="914" y="965"/>
                </a:lnTo>
                <a:lnTo>
                  <a:pt x="914" y="971"/>
                </a:lnTo>
                <a:lnTo>
                  <a:pt x="910" y="978"/>
                </a:lnTo>
                <a:lnTo>
                  <a:pt x="895" y="997"/>
                </a:lnTo>
                <a:lnTo>
                  <a:pt x="888" y="990"/>
                </a:lnTo>
                <a:lnTo>
                  <a:pt x="873" y="993"/>
                </a:lnTo>
                <a:lnTo>
                  <a:pt x="865" y="995"/>
                </a:lnTo>
                <a:lnTo>
                  <a:pt x="869" y="997"/>
                </a:lnTo>
                <a:lnTo>
                  <a:pt x="876" y="995"/>
                </a:lnTo>
                <a:lnTo>
                  <a:pt x="876" y="1001"/>
                </a:lnTo>
                <a:lnTo>
                  <a:pt x="882" y="1007"/>
                </a:lnTo>
                <a:lnTo>
                  <a:pt x="886" y="1010"/>
                </a:lnTo>
                <a:lnTo>
                  <a:pt x="888" y="1016"/>
                </a:lnTo>
                <a:lnTo>
                  <a:pt x="873" y="1052"/>
                </a:lnTo>
                <a:lnTo>
                  <a:pt x="863" y="1056"/>
                </a:lnTo>
                <a:lnTo>
                  <a:pt x="869" y="1050"/>
                </a:lnTo>
                <a:lnTo>
                  <a:pt x="863" y="1048"/>
                </a:lnTo>
                <a:lnTo>
                  <a:pt x="858" y="1050"/>
                </a:lnTo>
                <a:lnTo>
                  <a:pt x="850" y="1050"/>
                </a:lnTo>
                <a:lnTo>
                  <a:pt x="846" y="1044"/>
                </a:lnTo>
                <a:lnTo>
                  <a:pt x="837" y="1037"/>
                </a:lnTo>
                <a:lnTo>
                  <a:pt x="841" y="1046"/>
                </a:lnTo>
                <a:lnTo>
                  <a:pt x="846" y="1050"/>
                </a:lnTo>
                <a:lnTo>
                  <a:pt x="844" y="1059"/>
                </a:lnTo>
                <a:lnTo>
                  <a:pt x="858" y="1063"/>
                </a:lnTo>
                <a:lnTo>
                  <a:pt x="873" y="1059"/>
                </a:lnTo>
                <a:lnTo>
                  <a:pt x="871" y="1065"/>
                </a:lnTo>
                <a:lnTo>
                  <a:pt x="871" y="1074"/>
                </a:lnTo>
                <a:lnTo>
                  <a:pt x="867" y="1080"/>
                </a:lnTo>
                <a:lnTo>
                  <a:pt x="867" y="1088"/>
                </a:lnTo>
                <a:lnTo>
                  <a:pt x="861" y="1088"/>
                </a:lnTo>
                <a:lnTo>
                  <a:pt x="858" y="1095"/>
                </a:lnTo>
                <a:lnTo>
                  <a:pt x="867" y="1103"/>
                </a:lnTo>
                <a:lnTo>
                  <a:pt x="861" y="1101"/>
                </a:lnTo>
                <a:lnTo>
                  <a:pt x="861" y="1108"/>
                </a:lnTo>
                <a:lnTo>
                  <a:pt x="867" y="1114"/>
                </a:lnTo>
                <a:lnTo>
                  <a:pt x="871" y="1140"/>
                </a:lnTo>
                <a:lnTo>
                  <a:pt x="871" y="1148"/>
                </a:lnTo>
                <a:lnTo>
                  <a:pt x="884" y="1171"/>
                </a:lnTo>
                <a:lnTo>
                  <a:pt x="886" y="1186"/>
                </a:lnTo>
                <a:lnTo>
                  <a:pt x="890" y="1193"/>
                </a:lnTo>
                <a:lnTo>
                  <a:pt x="882" y="1193"/>
                </a:lnTo>
                <a:lnTo>
                  <a:pt x="888" y="1203"/>
                </a:lnTo>
                <a:lnTo>
                  <a:pt x="893" y="1195"/>
                </a:lnTo>
                <a:lnTo>
                  <a:pt x="893" y="1203"/>
                </a:lnTo>
                <a:lnTo>
                  <a:pt x="899" y="1195"/>
                </a:lnTo>
                <a:lnTo>
                  <a:pt x="901" y="1203"/>
                </a:lnTo>
                <a:lnTo>
                  <a:pt x="897" y="1206"/>
                </a:lnTo>
                <a:lnTo>
                  <a:pt x="880" y="1210"/>
                </a:lnTo>
                <a:lnTo>
                  <a:pt x="880" y="1216"/>
                </a:lnTo>
                <a:lnTo>
                  <a:pt x="873" y="1216"/>
                </a:lnTo>
                <a:lnTo>
                  <a:pt x="865" y="1212"/>
                </a:lnTo>
                <a:lnTo>
                  <a:pt x="863" y="1212"/>
                </a:lnTo>
                <a:lnTo>
                  <a:pt x="850" y="1197"/>
                </a:lnTo>
                <a:lnTo>
                  <a:pt x="844" y="1197"/>
                </a:lnTo>
                <a:lnTo>
                  <a:pt x="835" y="1193"/>
                </a:lnTo>
                <a:lnTo>
                  <a:pt x="820" y="1193"/>
                </a:lnTo>
                <a:lnTo>
                  <a:pt x="790" y="1191"/>
                </a:lnTo>
                <a:lnTo>
                  <a:pt x="784" y="1189"/>
                </a:lnTo>
                <a:lnTo>
                  <a:pt x="771" y="1176"/>
                </a:lnTo>
                <a:lnTo>
                  <a:pt x="763" y="1174"/>
                </a:lnTo>
                <a:lnTo>
                  <a:pt x="756" y="1171"/>
                </a:lnTo>
                <a:lnTo>
                  <a:pt x="748" y="1171"/>
                </a:lnTo>
                <a:lnTo>
                  <a:pt x="743" y="1169"/>
                </a:lnTo>
                <a:lnTo>
                  <a:pt x="739" y="1163"/>
                </a:lnTo>
                <a:lnTo>
                  <a:pt x="733" y="1157"/>
                </a:lnTo>
                <a:lnTo>
                  <a:pt x="729" y="1159"/>
                </a:lnTo>
                <a:lnTo>
                  <a:pt x="720" y="1154"/>
                </a:lnTo>
                <a:lnTo>
                  <a:pt x="707" y="1154"/>
                </a:lnTo>
                <a:lnTo>
                  <a:pt x="703" y="1152"/>
                </a:lnTo>
                <a:lnTo>
                  <a:pt x="703" y="1144"/>
                </a:lnTo>
                <a:lnTo>
                  <a:pt x="697" y="1137"/>
                </a:lnTo>
                <a:lnTo>
                  <a:pt x="695" y="1123"/>
                </a:lnTo>
                <a:lnTo>
                  <a:pt x="688" y="1108"/>
                </a:lnTo>
                <a:lnTo>
                  <a:pt x="684" y="1099"/>
                </a:lnTo>
                <a:lnTo>
                  <a:pt x="675" y="1086"/>
                </a:lnTo>
                <a:lnTo>
                  <a:pt x="669" y="1078"/>
                </a:lnTo>
                <a:lnTo>
                  <a:pt x="669" y="1071"/>
                </a:lnTo>
                <a:lnTo>
                  <a:pt x="671" y="1065"/>
                </a:lnTo>
                <a:lnTo>
                  <a:pt x="671" y="1056"/>
                </a:lnTo>
                <a:lnTo>
                  <a:pt x="663" y="1052"/>
                </a:lnTo>
                <a:lnTo>
                  <a:pt x="667" y="1044"/>
                </a:lnTo>
                <a:lnTo>
                  <a:pt x="667" y="1035"/>
                </a:lnTo>
                <a:lnTo>
                  <a:pt x="665" y="1029"/>
                </a:lnTo>
                <a:lnTo>
                  <a:pt x="665" y="1022"/>
                </a:lnTo>
                <a:lnTo>
                  <a:pt x="663" y="1018"/>
                </a:lnTo>
                <a:lnTo>
                  <a:pt x="656" y="1014"/>
                </a:lnTo>
                <a:lnTo>
                  <a:pt x="643" y="1010"/>
                </a:lnTo>
                <a:lnTo>
                  <a:pt x="631" y="990"/>
                </a:lnTo>
                <a:lnTo>
                  <a:pt x="629" y="984"/>
                </a:lnTo>
                <a:lnTo>
                  <a:pt x="624" y="976"/>
                </a:lnTo>
                <a:lnTo>
                  <a:pt x="618" y="971"/>
                </a:lnTo>
                <a:lnTo>
                  <a:pt x="616" y="965"/>
                </a:lnTo>
                <a:lnTo>
                  <a:pt x="609" y="954"/>
                </a:lnTo>
                <a:lnTo>
                  <a:pt x="601" y="950"/>
                </a:lnTo>
                <a:lnTo>
                  <a:pt x="594" y="946"/>
                </a:lnTo>
                <a:lnTo>
                  <a:pt x="588" y="931"/>
                </a:lnTo>
                <a:lnTo>
                  <a:pt x="584" y="916"/>
                </a:lnTo>
                <a:lnTo>
                  <a:pt x="586" y="914"/>
                </a:lnTo>
                <a:lnTo>
                  <a:pt x="580" y="905"/>
                </a:lnTo>
                <a:lnTo>
                  <a:pt x="575" y="899"/>
                </a:lnTo>
                <a:lnTo>
                  <a:pt x="571" y="892"/>
                </a:lnTo>
                <a:lnTo>
                  <a:pt x="571" y="890"/>
                </a:lnTo>
                <a:lnTo>
                  <a:pt x="569" y="884"/>
                </a:lnTo>
                <a:lnTo>
                  <a:pt x="560" y="867"/>
                </a:lnTo>
                <a:lnTo>
                  <a:pt x="556" y="850"/>
                </a:lnTo>
                <a:lnTo>
                  <a:pt x="550" y="841"/>
                </a:lnTo>
                <a:lnTo>
                  <a:pt x="541" y="826"/>
                </a:lnTo>
                <a:lnTo>
                  <a:pt x="522" y="812"/>
                </a:lnTo>
                <a:lnTo>
                  <a:pt x="520" y="805"/>
                </a:lnTo>
                <a:lnTo>
                  <a:pt x="514" y="801"/>
                </a:lnTo>
                <a:lnTo>
                  <a:pt x="505" y="797"/>
                </a:lnTo>
                <a:lnTo>
                  <a:pt x="503" y="788"/>
                </a:lnTo>
                <a:lnTo>
                  <a:pt x="496" y="790"/>
                </a:lnTo>
                <a:lnTo>
                  <a:pt x="494" y="784"/>
                </a:lnTo>
                <a:lnTo>
                  <a:pt x="490" y="777"/>
                </a:lnTo>
                <a:lnTo>
                  <a:pt x="486" y="771"/>
                </a:lnTo>
                <a:lnTo>
                  <a:pt x="479" y="767"/>
                </a:lnTo>
                <a:lnTo>
                  <a:pt x="473" y="763"/>
                </a:lnTo>
                <a:lnTo>
                  <a:pt x="465" y="767"/>
                </a:lnTo>
                <a:lnTo>
                  <a:pt x="445" y="763"/>
                </a:lnTo>
                <a:lnTo>
                  <a:pt x="439" y="763"/>
                </a:lnTo>
                <a:lnTo>
                  <a:pt x="430" y="760"/>
                </a:lnTo>
                <a:lnTo>
                  <a:pt x="424" y="763"/>
                </a:lnTo>
                <a:lnTo>
                  <a:pt x="416" y="760"/>
                </a:lnTo>
                <a:lnTo>
                  <a:pt x="405" y="754"/>
                </a:lnTo>
                <a:lnTo>
                  <a:pt x="396" y="754"/>
                </a:lnTo>
                <a:lnTo>
                  <a:pt x="392" y="760"/>
                </a:lnTo>
                <a:lnTo>
                  <a:pt x="386" y="763"/>
                </a:lnTo>
                <a:lnTo>
                  <a:pt x="379" y="763"/>
                </a:lnTo>
                <a:lnTo>
                  <a:pt x="371" y="765"/>
                </a:lnTo>
                <a:lnTo>
                  <a:pt x="364" y="767"/>
                </a:lnTo>
                <a:lnTo>
                  <a:pt x="360" y="769"/>
                </a:lnTo>
                <a:lnTo>
                  <a:pt x="356" y="777"/>
                </a:lnTo>
                <a:lnTo>
                  <a:pt x="343" y="807"/>
                </a:lnTo>
                <a:lnTo>
                  <a:pt x="339" y="809"/>
                </a:lnTo>
                <a:lnTo>
                  <a:pt x="337" y="818"/>
                </a:lnTo>
                <a:lnTo>
                  <a:pt x="335" y="824"/>
                </a:lnTo>
                <a:lnTo>
                  <a:pt x="328" y="826"/>
                </a:lnTo>
                <a:lnTo>
                  <a:pt x="324" y="835"/>
                </a:lnTo>
                <a:lnTo>
                  <a:pt x="315" y="839"/>
                </a:lnTo>
                <a:lnTo>
                  <a:pt x="313" y="846"/>
                </a:lnTo>
                <a:lnTo>
                  <a:pt x="303" y="846"/>
                </a:lnTo>
                <a:lnTo>
                  <a:pt x="296" y="843"/>
                </a:lnTo>
                <a:lnTo>
                  <a:pt x="294" y="841"/>
                </a:lnTo>
                <a:lnTo>
                  <a:pt x="288" y="841"/>
                </a:lnTo>
                <a:lnTo>
                  <a:pt x="281" y="835"/>
                </a:lnTo>
                <a:lnTo>
                  <a:pt x="273" y="826"/>
                </a:lnTo>
                <a:lnTo>
                  <a:pt x="254" y="818"/>
                </a:lnTo>
                <a:lnTo>
                  <a:pt x="252" y="812"/>
                </a:lnTo>
                <a:lnTo>
                  <a:pt x="237" y="807"/>
                </a:lnTo>
                <a:lnTo>
                  <a:pt x="230" y="805"/>
                </a:lnTo>
                <a:lnTo>
                  <a:pt x="213" y="790"/>
                </a:lnTo>
                <a:lnTo>
                  <a:pt x="207" y="782"/>
                </a:lnTo>
                <a:lnTo>
                  <a:pt x="201" y="777"/>
                </a:lnTo>
                <a:lnTo>
                  <a:pt x="194" y="775"/>
                </a:lnTo>
                <a:lnTo>
                  <a:pt x="183" y="765"/>
                </a:lnTo>
                <a:lnTo>
                  <a:pt x="169" y="728"/>
                </a:lnTo>
                <a:lnTo>
                  <a:pt x="169" y="716"/>
                </a:lnTo>
                <a:lnTo>
                  <a:pt x="171" y="707"/>
                </a:lnTo>
                <a:lnTo>
                  <a:pt x="171" y="701"/>
                </a:lnTo>
                <a:lnTo>
                  <a:pt x="166" y="694"/>
                </a:lnTo>
                <a:lnTo>
                  <a:pt x="160" y="679"/>
                </a:lnTo>
                <a:lnTo>
                  <a:pt x="156" y="677"/>
                </a:lnTo>
                <a:lnTo>
                  <a:pt x="154" y="662"/>
                </a:lnTo>
                <a:lnTo>
                  <a:pt x="152" y="654"/>
                </a:lnTo>
                <a:lnTo>
                  <a:pt x="147" y="652"/>
                </a:lnTo>
                <a:lnTo>
                  <a:pt x="145" y="645"/>
                </a:lnTo>
                <a:lnTo>
                  <a:pt x="139" y="641"/>
                </a:lnTo>
                <a:lnTo>
                  <a:pt x="124" y="628"/>
                </a:lnTo>
                <a:lnTo>
                  <a:pt x="117" y="624"/>
                </a:lnTo>
                <a:lnTo>
                  <a:pt x="109" y="620"/>
                </a:lnTo>
                <a:lnTo>
                  <a:pt x="96" y="605"/>
                </a:lnTo>
                <a:lnTo>
                  <a:pt x="92" y="596"/>
                </a:lnTo>
                <a:lnTo>
                  <a:pt x="79" y="584"/>
                </a:lnTo>
                <a:lnTo>
                  <a:pt x="64" y="564"/>
                </a:lnTo>
                <a:lnTo>
                  <a:pt x="58" y="558"/>
                </a:lnTo>
                <a:lnTo>
                  <a:pt x="45" y="550"/>
                </a:lnTo>
                <a:lnTo>
                  <a:pt x="37" y="545"/>
                </a:lnTo>
                <a:lnTo>
                  <a:pt x="30" y="530"/>
                </a:lnTo>
                <a:lnTo>
                  <a:pt x="30" y="524"/>
                </a:lnTo>
                <a:lnTo>
                  <a:pt x="26" y="518"/>
                </a:lnTo>
                <a:lnTo>
                  <a:pt x="20" y="511"/>
                </a:lnTo>
                <a:lnTo>
                  <a:pt x="15" y="511"/>
                </a:lnTo>
                <a:lnTo>
                  <a:pt x="15" y="509"/>
                </a:lnTo>
                <a:lnTo>
                  <a:pt x="9" y="507"/>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      Texas</a:t>
            </a:r>
          </a:p>
        </p:txBody>
      </p:sp>
      <p:sp>
        <p:nvSpPr>
          <p:cNvPr id="353" name="Freeform 851"/>
          <p:cNvSpPr>
            <a:spLocks noChangeAspect="1"/>
          </p:cNvSpPr>
          <p:nvPr/>
        </p:nvSpPr>
        <p:spPr bwMode="auto">
          <a:xfrm>
            <a:off x="4938268" y="4723545"/>
            <a:ext cx="720090" cy="638652"/>
          </a:xfrm>
          <a:custGeom>
            <a:avLst/>
            <a:gdLst>
              <a:gd name="T0" fmla="*/ 264 w 504"/>
              <a:gd name="T1" fmla="*/ 11 h 447"/>
              <a:gd name="T2" fmla="*/ 270 w 504"/>
              <a:gd name="T3" fmla="*/ 28 h 447"/>
              <a:gd name="T4" fmla="*/ 281 w 504"/>
              <a:gd name="T5" fmla="*/ 51 h 447"/>
              <a:gd name="T6" fmla="*/ 287 w 504"/>
              <a:gd name="T7" fmla="*/ 68 h 447"/>
              <a:gd name="T8" fmla="*/ 291 w 504"/>
              <a:gd name="T9" fmla="*/ 79 h 447"/>
              <a:gd name="T10" fmla="*/ 289 w 504"/>
              <a:gd name="T11" fmla="*/ 96 h 447"/>
              <a:gd name="T12" fmla="*/ 283 w 504"/>
              <a:gd name="T13" fmla="*/ 111 h 447"/>
              <a:gd name="T14" fmla="*/ 255 w 504"/>
              <a:gd name="T15" fmla="*/ 149 h 447"/>
              <a:gd name="T16" fmla="*/ 245 w 504"/>
              <a:gd name="T17" fmla="*/ 171 h 447"/>
              <a:gd name="T18" fmla="*/ 234 w 504"/>
              <a:gd name="T19" fmla="*/ 200 h 447"/>
              <a:gd name="T20" fmla="*/ 330 w 504"/>
              <a:gd name="T21" fmla="*/ 224 h 447"/>
              <a:gd name="T22" fmla="*/ 413 w 504"/>
              <a:gd name="T23" fmla="*/ 254 h 447"/>
              <a:gd name="T24" fmla="*/ 436 w 504"/>
              <a:gd name="T25" fmla="*/ 292 h 447"/>
              <a:gd name="T26" fmla="*/ 438 w 504"/>
              <a:gd name="T27" fmla="*/ 311 h 447"/>
              <a:gd name="T28" fmla="*/ 419 w 504"/>
              <a:gd name="T29" fmla="*/ 305 h 447"/>
              <a:gd name="T30" fmla="*/ 383 w 504"/>
              <a:gd name="T31" fmla="*/ 290 h 447"/>
              <a:gd name="T32" fmla="*/ 370 w 504"/>
              <a:gd name="T33" fmla="*/ 326 h 447"/>
              <a:gd name="T34" fmla="*/ 421 w 504"/>
              <a:gd name="T35" fmla="*/ 318 h 447"/>
              <a:gd name="T36" fmla="*/ 432 w 504"/>
              <a:gd name="T37" fmla="*/ 322 h 447"/>
              <a:gd name="T38" fmla="*/ 434 w 504"/>
              <a:gd name="T39" fmla="*/ 343 h 447"/>
              <a:gd name="T40" fmla="*/ 458 w 504"/>
              <a:gd name="T41" fmla="*/ 328 h 447"/>
              <a:gd name="T42" fmla="*/ 460 w 504"/>
              <a:gd name="T43" fmla="*/ 352 h 447"/>
              <a:gd name="T44" fmla="*/ 447 w 504"/>
              <a:gd name="T45" fmla="*/ 367 h 447"/>
              <a:gd name="T46" fmla="*/ 445 w 504"/>
              <a:gd name="T47" fmla="*/ 386 h 447"/>
              <a:gd name="T48" fmla="*/ 487 w 504"/>
              <a:gd name="T49" fmla="*/ 401 h 447"/>
              <a:gd name="T50" fmla="*/ 498 w 504"/>
              <a:gd name="T51" fmla="*/ 420 h 447"/>
              <a:gd name="T52" fmla="*/ 479 w 504"/>
              <a:gd name="T53" fmla="*/ 433 h 447"/>
              <a:gd name="T54" fmla="*/ 477 w 504"/>
              <a:gd name="T55" fmla="*/ 418 h 447"/>
              <a:gd name="T56" fmla="*/ 453 w 504"/>
              <a:gd name="T57" fmla="*/ 413 h 447"/>
              <a:gd name="T58" fmla="*/ 432 w 504"/>
              <a:gd name="T59" fmla="*/ 399 h 447"/>
              <a:gd name="T60" fmla="*/ 387 w 504"/>
              <a:gd name="T61" fmla="*/ 381 h 447"/>
              <a:gd name="T62" fmla="*/ 404 w 504"/>
              <a:gd name="T63" fmla="*/ 420 h 447"/>
              <a:gd name="T64" fmla="*/ 385 w 504"/>
              <a:gd name="T65" fmla="*/ 418 h 447"/>
              <a:gd name="T66" fmla="*/ 355 w 504"/>
              <a:gd name="T67" fmla="*/ 413 h 447"/>
              <a:gd name="T68" fmla="*/ 334 w 504"/>
              <a:gd name="T69" fmla="*/ 430 h 447"/>
              <a:gd name="T70" fmla="*/ 298 w 504"/>
              <a:gd name="T71" fmla="*/ 426 h 447"/>
              <a:gd name="T72" fmla="*/ 283 w 504"/>
              <a:gd name="T73" fmla="*/ 392 h 447"/>
              <a:gd name="T74" fmla="*/ 277 w 504"/>
              <a:gd name="T75" fmla="*/ 396 h 447"/>
              <a:gd name="T76" fmla="*/ 245 w 504"/>
              <a:gd name="T77" fmla="*/ 371 h 447"/>
              <a:gd name="T78" fmla="*/ 208 w 504"/>
              <a:gd name="T79" fmla="*/ 367 h 447"/>
              <a:gd name="T80" fmla="*/ 202 w 504"/>
              <a:gd name="T81" fmla="*/ 390 h 447"/>
              <a:gd name="T82" fmla="*/ 130 w 504"/>
              <a:gd name="T83" fmla="*/ 388 h 447"/>
              <a:gd name="T84" fmla="*/ 79 w 504"/>
              <a:gd name="T85" fmla="*/ 371 h 447"/>
              <a:gd name="T86" fmla="*/ 79 w 504"/>
              <a:gd name="T87" fmla="*/ 343 h 447"/>
              <a:gd name="T88" fmla="*/ 40 w 504"/>
              <a:gd name="T89" fmla="*/ 379 h 447"/>
              <a:gd name="T90" fmla="*/ 36 w 504"/>
              <a:gd name="T91" fmla="*/ 360 h 447"/>
              <a:gd name="T92" fmla="*/ 42 w 504"/>
              <a:gd name="T93" fmla="*/ 335 h 447"/>
              <a:gd name="T94" fmla="*/ 42 w 504"/>
              <a:gd name="T95" fmla="*/ 279 h 447"/>
              <a:gd name="T96" fmla="*/ 55 w 504"/>
              <a:gd name="T97" fmla="*/ 243 h 447"/>
              <a:gd name="T98" fmla="*/ 51 w 504"/>
              <a:gd name="T99" fmla="*/ 215 h 447"/>
              <a:gd name="T100" fmla="*/ 30 w 504"/>
              <a:gd name="T101" fmla="*/ 177 h 447"/>
              <a:gd name="T102" fmla="*/ 2 w 504"/>
              <a:gd name="T103" fmla="*/ 12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447">
                <a:moveTo>
                  <a:pt x="0" y="13"/>
                </a:moveTo>
                <a:lnTo>
                  <a:pt x="115" y="9"/>
                </a:lnTo>
                <a:lnTo>
                  <a:pt x="268" y="0"/>
                </a:lnTo>
                <a:lnTo>
                  <a:pt x="266" y="4"/>
                </a:lnTo>
                <a:lnTo>
                  <a:pt x="264" y="11"/>
                </a:lnTo>
                <a:lnTo>
                  <a:pt x="270" y="7"/>
                </a:lnTo>
                <a:lnTo>
                  <a:pt x="277" y="7"/>
                </a:lnTo>
                <a:lnTo>
                  <a:pt x="277" y="13"/>
                </a:lnTo>
                <a:lnTo>
                  <a:pt x="270" y="19"/>
                </a:lnTo>
                <a:lnTo>
                  <a:pt x="270" y="28"/>
                </a:lnTo>
                <a:lnTo>
                  <a:pt x="279" y="32"/>
                </a:lnTo>
                <a:lnTo>
                  <a:pt x="270" y="41"/>
                </a:lnTo>
                <a:lnTo>
                  <a:pt x="272" y="45"/>
                </a:lnTo>
                <a:lnTo>
                  <a:pt x="285" y="43"/>
                </a:lnTo>
                <a:lnTo>
                  <a:pt x="281" y="51"/>
                </a:lnTo>
                <a:lnTo>
                  <a:pt x="285" y="58"/>
                </a:lnTo>
                <a:lnTo>
                  <a:pt x="279" y="56"/>
                </a:lnTo>
                <a:lnTo>
                  <a:pt x="277" y="58"/>
                </a:lnTo>
                <a:lnTo>
                  <a:pt x="281" y="64"/>
                </a:lnTo>
                <a:lnTo>
                  <a:pt x="287" y="68"/>
                </a:lnTo>
                <a:lnTo>
                  <a:pt x="289" y="73"/>
                </a:lnTo>
                <a:lnTo>
                  <a:pt x="298" y="75"/>
                </a:lnTo>
                <a:lnTo>
                  <a:pt x="298" y="77"/>
                </a:lnTo>
                <a:lnTo>
                  <a:pt x="298" y="79"/>
                </a:lnTo>
                <a:lnTo>
                  <a:pt x="291" y="79"/>
                </a:lnTo>
                <a:lnTo>
                  <a:pt x="287" y="85"/>
                </a:lnTo>
                <a:lnTo>
                  <a:pt x="279" y="88"/>
                </a:lnTo>
                <a:lnTo>
                  <a:pt x="274" y="96"/>
                </a:lnTo>
                <a:lnTo>
                  <a:pt x="281" y="96"/>
                </a:lnTo>
                <a:lnTo>
                  <a:pt x="289" y="96"/>
                </a:lnTo>
                <a:lnTo>
                  <a:pt x="283" y="102"/>
                </a:lnTo>
                <a:lnTo>
                  <a:pt x="283" y="107"/>
                </a:lnTo>
                <a:lnTo>
                  <a:pt x="277" y="107"/>
                </a:lnTo>
                <a:lnTo>
                  <a:pt x="283" y="109"/>
                </a:lnTo>
                <a:lnTo>
                  <a:pt x="283" y="111"/>
                </a:lnTo>
                <a:lnTo>
                  <a:pt x="268" y="130"/>
                </a:lnTo>
                <a:lnTo>
                  <a:pt x="262" y="132"/>
                </a:lnTo>
                <a:lnTo>
                  <a:pt x="257" y="139"/>
                </a:lnTo>
                <a:lnTo>
                  <a:pt x="264" y="143"/>
                </a:lnTo>
                <a:lnTo>
                  <a:pt x="255" y="149"/>
                </a:lnTo>
                <a:lnTo>
                  <a:pt x="255" y="156"/>
                </a:lnTo>
                <a:lnTo>
                  <a:pt x="247" y="162"/>
                </a:lnTo>
                <a:lnTo>
                  <a:pt x="253" y="162"/>
                </a:lnTo>
                <a:lnTo>
                  <a:pt x="253" y="164"/>
                </a:lnTo>
                <a:lnTo>
                  <a:pt x="245" y="171"/>
                </a:lnTo>
                <a:lnTo>
                  <a:pt x="249" y="186"/>
                </a:lnTo>
                <a:lnTo>
                  <a:pt x="240" y="186"/>
                </a:lnTo>
                <a:lnTo>
                  <a:pt x="247" y="192"/>
                </a:lnTo>
                <a:lnTo>
                  <a:pt x="245" y="198"/>
                </a:lnTo>
                <a:lnTo>
                  <a:pt x="234" y="200"/>
                </a:lnTo>
                <a:lnTo>
                  <a:pt x="238" y="207"/>
                </a:lnTo>
                <a:lnTo>
                  <a:pt x="238" y="215"/>
                </a:lnTo>
                <a:lnTo>
                  <a:pt x="243" y="222"/>
                </a:lnTo>
                <a:lnTo>
                  <a:pt x="236" y="230"/>
                </a:lnTo>
                <a:lnTo>
                  <a:pt x="330" y="224"/>
                </a:lnTo>
                <a:lnTo>
                  <a:pt x="419" y="217"/>
                </a:lnTo>
                <a:lnTo>
                  <a:pt x="421" y="220"/>
                </a:lnTo>
                <a:lnTo>
                  <a:pt x="419" y="226"/>
                </a:lnTo>
                <a:lnTo>
                  <a:pt x="415" y="241"/>
                </a:lnTo>
                <a:lnTo>
                  <a:pt x="413" y="254"/>
                </a:lnTo>
                <a:lnTo>
                  <a:pt x="415" y="260"/>
                </a:lnTo>
                <a:lnTo>
                  <a:pt x="419" y="269"/>
                </a:lnTo>
                <a:lnTo>
                  <a:pt x="430" y="277"/>
                </a:lnTo>
                <a:lnTo>
                  <a:pt x="432" y="283"/>
                </a:lnTo>
                <a:lnTo>
                  <a:pt x="436" y="292"/>
                </a:lnTo>
                <a:lnTo>
                  <a:pt x="434" y="294"/>
                </a:lnTo>
                <a:lnTo>
                  <a:pt x="438" y="303"/>
                </a:lnTo>
                <a:lnTo>
                  <a:pt x="445" y="305"/>
                </a:lnTo>
                <a:lnTo>
                  <a:pt x="447" y="307"/>
                </a:lnTo>
                <a:lnTo>
                  <a:pt x="438" y="311"/>
                </a:lnTo>
                <a:lnTo>
                  <a:pt x="438" y="309"/>
                </a:lnTo>
                <a:lnTo>
                  <a:pt x="436" y="311"/>
                </a:lnTo>
                <a:lnTo>
                  <a:pt x="428" y="309"/>
                </a:lnTo>
                <a:lnTo>
                  <a:pt x="421" y="303"/>
                </a:lnTo>
                <a:lnTo>
                  <a:pt x="419" y="305"/>
                </a:lnTo>
                <a:lnTo>
                  <a:pt x="415" y="303"/>
                </a:lnTo>
                <a:lnTo>
                  <a:pt x="406" y="303"/>
                </a:lnTo>
                <a:lnTo>
                  <a:pt x="400" y="296"/>
                </a:lnTo>
                <a:lnTo>
                  <a:pt x="392" y="292"/>
                </a:lnTo>
                <a:lnTo>
                  <a:pt x="383" y="290"/>
                </a:lnTo>
                <a:lnTo>
                  <a:pt x="377" y="292"/>
                </a:lnTo>
                <a:lnTo>
                  <a:pt x="366" y="307"/>
                </a:lnTo>
                <a:lnTo>
                  <a:pt x="360" y="313"/>
                </a:lnTo>
                <a:lnTo>
                  <a:pt x="360" y="322"/>
                </a:lnTo>
                <a:lnTo>
                  <a:pt x="370" y="326"/>
                </a:lnTo>
                <a:lnTo>
                  <a:pt x="381" y="326"/>
                </a:lnTo>
                <a:lnTo>
                  <a:pt x="402" y="324"/>
                </a:lnTo>
                <a:lnTo>
                  <a:pt x="409" y="320"/>
                </a:lnTo>
                <a:lnTo>
                  <a:pt x="415" y="313"/>
                </a:lnTo>
                <a:lnTo>
                  <a:pt x="421" y="318"/>
                </a:lnTo>
                <a:lnTo>
                  <a:pt x="426" y="311"/>
                </a:lnTo>
                <a:lnTo>
                  <a:pt x="428" y="318"/>
                </a:lnTo>
                <a:lnTo>
                  <a:pt x="434" y="313"/>
                </a:lnTo>
                <a:lnTo>
                  <a:pt x="436" y="313"/>
                </a:lnTo>
                <a:lnTo>
                  <a:pt x="432" y="322"/>
                </a:lnTo>
                <a:lnTo>
                  <a:pt x="417" y="330"/>
                </a:lnTo>
                <a:lnTo>
                  <a:pt x="417" y="332"/>
                </a:lnTo>
                <a:lnTo>
                  <a:pt x="424" y="337"/>
                </a:lnTo>
                <a:lnTo>
                  <a:pt x="430" y="337"/>
                </a:lnTo>
                <a:lnTo>
                  <a:pt x="434" y="343"/>
                </a:lnTo>
                <a:lnTo>
                  <a:pt x="441" y="343"/>
                </a:lnTo>
                <a:lnTo>
                  <a:pt x="445" y="337"/>
                </a:lnTo>
                <a:lnTo>
                  <a:pt x="445" y="328"/>
                </a:lnTo>
                <a:lnTo>
                  <a:pt x="455" y="320"/>
                </a:lnTo>
                <a:lnTo>
                  <a:pt x="458" y="328"/>
                </a:lnTo>
                <a:lnTo>
                  <a:pt x="458" y="337"/>
                </a:lnTo>
                <a:lnTo>
                  <a:pt x="464" y="339"/>
                </a:lnTo>
                <a:lnTo>
                  <a:pt x="464" y="345"/>
                </a:lnTo>
                <a:lnTo>
                  <a:pt x="462" y="354"/>
                </a:lnTo>
                <a:lnTo>
                  <a:pt x="460" y="352"/>
                </a:lnTo>
                <a:lnTo>
                  <a:pt x="453" y="350"/>
                </a:lnTo>
                <a:lnTo>
                  <a:pt x="445" y="358"/>
                </a:lnTo>
                <a:lnTo>
                  <a:pt x="449" y="364"/>
                </a:lnTo>
                <a:lnTo>
                  <a:pt x="453" y="371"/>
                </a:lnTo>
                <a:lnTo>
                  <a:pt x="447" y="367"/>
                </a:lnTo>
                <a:lnTo>
                  <a:pt x="441" y="369"/>
                </a:lnTo>
                <a:lnTo>
                  <a:pt x="443" y="373"/>
                </a:lnTo>
                <a:lnTo>
                  <a:pt x="434" y="375"/>
                </a:lnTo>
                <a:lnTo>
                  <a:pt x="438" y="384"/>
                </a:lnTo>
                <a:lnTo>
                  <a:pt x="445" y="386"/>
                </a:lnTo>
                <a:lnTo>
                  <a:pt x="453" y="388"/>
                </a:lnTo>
                <a:lnTo>
                  <a:pt x="458" y="396"/>
                </a:lnTo>
                <a:lnTo>
                  <a:pt x="466" y="396"/>
                </a:lnTo>
                <a:lnTo>
                  <a:pt x="475" y="401"/>
                </a:lnTo>
                <a:lnTo>
                  <a:pt x="487" y="401"/>
                </a:lnTo>
                <a:lnTo>
                  <a:pt x="494" y="405"/>
                </a:lnTo>
                <a:lnTo>
                  <a:pt x="498" y="413"/>
                </a:lnTo>
                <a:lnTo>
                  <a:pt x="504" y="416"/>
                </a:lnTo>
                <a:lnTo>
                  <a:pt x="504" y="418"/>
                </a:lnTo>
                <a:lnTo>
                  <a:pt x="498" y="420"/>
                </a:lnTo>
                <a:lnTo>
                  <a:pt x="498" y="424"/>
                </a:lnTo>
                <a:lnTo>
                  <a:pt x="496" y="430"/>
                </a:lnTo>
                <a:lnTo>
                  <a:pt x="494" y="437"/>
                </a:lnTo>
                <a:lnTo>
                  <a:pt x="483" y="426"/>
                </a:lnTo>
                <a:lnTo>
                  <a:pt x="479" y="433"/>
                </a:lnTo>
                <a:lnTo>
                  <a:pt x="477" y="441"/>
                </a:lnTo>
                <a:lnTo>
                  <a:pt x="468" y="447"/>
                </a:lnTo>
                <a:lnTo>
                  <a:pt x="475" y="433"/>
                </a:lnTo>
                <a:lnTo>
                  <a:pt x="479" y="426"/>
                </a:lnTo>
                <a:lnTo>
                  <a:pt x="477" y="418"/>
                </a:lnTo>
                <a:lnTo>
                  <a:pt x="475" y="428"/>
                </a:lnTo>
                <a:lnTo>
                  <a:pt x="468" y="426"/>
                </a:lnTo>
                <a:lnTo>
                  <a:pt x="464" y="418"/>
                </a:lnTo>
                <a:lnTo>
                  <a:pt x="462" y="411"/>
                </a:lnTo>
                <a:lnTo>
                  <a:pt x="453" y="413"/>
                </a:lnTo>
                <a:lnTo>
                  <a:pt x="445" y="411"/>
                </a:lnTo>
                <a:lnTo>
                  <a:pt x="441" y="405"/>
                </a:lnTo>
                <a:lnTo>
                  <a:pt x="434" y="407"/>
                </a:lnTo>
                <a:lnTo>
                  <a:pt x="426" y="407"/>
                </a:lnTo>
                <a:lnTo>
                  <a:pt x="432" y="399"/>
                </a:lnTo>
                <a:lnTo>
                  <a:pt x="428" y="396"/>
                </a:lnTo>
                <a:lnTo>
                  <a:pt x="421" y="392"/>
                </a:lnTo>
                <a:lnTo>
                  <a:pt x="415" y="392"/>
                </a:lnTo>
                <a:lnTo>
                  <a:pt x="387" y="381"/>
                </a:lnTo>
                <a:lnTo>
                  <a:pt x="387" y="381"/>
                </a:lnTo>
                <a:lnTo>
                  <a:pt x="389" y="388"/>
                </a:lnTo>
                <a:lnTo>
                  <a:pt x="404" y="396"/>
                </a:lnTo>
                <a:lnTo>
                  <a:pt x="406" y="411"/>
                </a:lnTo>
                <a:lnTo>
                  <a:pt x="398" y="413"/>
                </a:lnTo>
                <a:lnTo>
                  <a:pt x="404" y="420"/>
                </a:lnTo>
                <a:lnTo>
                  <a:pt x="400" y="426"/>
                </a:lnTo>
                <a:lnTo>
                  <a:pt x="394" y="433"/>
                </a:lnTo>
                <a:lnTo>
                  <a:pt x="387" y="435"/>
                </a:lnTo>
                <a:lnTo>
                  <a:pt x="383" y="428"/>
                </a:lnTo>
                <a:lnTo>
                  <a:pt x="385" y="418"/>
                </a:lnTo>
                <a:lnTo>
                  <a:pt x="377" y="416"/>
                </a:lnTo>
                <a:lnTo>
                  <a:pt x="370" y="418"/>
                </a:lnTo>
                <a:lnTo>
                  <a:pt x="366" y="409"/>
                </a:lnTo>
                <a:lnTo>
                  <a:pt x="364" y="411"/>
                </a:lnTo>
                <a:lnTo>
                  <a:pt x="355" y="413"/>
                </a:lnTo>
                <a:lnTo>
                  <a:pt x="349" y="416"/>
                </a:lnTo>
                <a:lnTo>
                  <a:pt x="347" y="422"/>
                </a:lnTo>
                <a:lnTo>
                  <a:pt x="347" y="433"/>
                </a:lnTo>
                <a:lnTo>
                  <a:pt x="340" y="435"/>
                </a:lnTo>
                <a:lnTo>
                  <a:pt x="334" y="430"/>
                </a:lnTo>
                <a:lnTo>
                  <a:pt x="332" y="430"/>
                </a:lnTo>
                <a:lnTo>
                  <a:pt x="323" y="435"/>
                </a:lnTo>
                <a:lnTo>
                  <a:pt x="311" y="426"/>
                </a:lnTo>
                <a:lnTo>
                  <a:pt x="302" y="428"/>
                </a:lnTo>
                <a:lnTo>
                  <a:pt x="298" y="426"/>
                </a:lnTo>
                <a:lnTo>
                  <a:pt x="298" y="418"/>
                </a:lnTo>
                <a:lnTo>
                  <a:pt x="296" y="411"/>
                </a:lnTo>
                <a:lnTo>
                  <a:pt x="287" y="405"/>
                </a:lnTo>
                <a:lnTo>
                  <a:pt x="283" y="399"/>
                </a:lnTo>
                <a:lnTo>
                  <a:pt x="283" y="392"/>
                </a:lnTo>
                <a:lnTo>
                  <a:pt x="285" y="390"/>
                </a:lnTo>
                <a:lnTo>
                  <a:pt x="283" y="384"/>
                </a:lnTo>
                <a:lnTo>
                  <a:pt x="283" y="390"/>
                </a:lnTo>
                <a:lnTo>
                  <a:pt x="281" y="390"/>
                </a:lnTo>
                <a:lnTo>
                  <a:pt x="277" y="396"/>
                </a:lnTo>
                <a:lnTo>
                  <a:pt x="264" y="392"/>
                </a:lnTo>
                <a:lnTo>
                  <a:pt x="255" y="392"/>
                </a:lnTo>
                <a:lnTo>
                  <a:pt x="253" y="381"/>
                </a:lnTo>
                <a:lnTo>
                  <a:pt x="247" y="377"/>
                </a:lnTo>
                <a:lnTo>
                  <a:pt x="245" y="371"/>
                </a:lnTo>
                <a:lnTo>
                  <a:pt x="230" y="371"/>
                </a:lnTo>
                <a:lnTo>
                  <a:pt x="223" y="373"/>
                </a:lnTo>
                <a:lnTo>
                  <a:pt x="221" y="371"/>
                </a:lnTo>
                <a:lnTo>
                  <a:pt x="223" y="362"/>
                </a:lnTo>
                <a:lnTo>
                  <a:pt x="208" y="367"/>
                </a:lnTo>
                <a:lnTo>
                  <a:pt x="202" y="371"/>
                </a:lnTo>
                <a:lnTo>
                  <a:pt x="198" y="373"/>
                </a:lnTo>
                <a:lnTo>
                  <a:pt x="191" y="373"/>
                </a:lnTo>
                <a:lnTo>
                  <a:pt x="198" y="379"/>
                </a:lnTo>
                <a:lnTo>
                  <a:pt x="202" y="390"/>
                </a:lnTo>
                <a:lnTo>
                  <a:pt x="196" y="390"/>
                </a:lnTo>
                <a:lnTo>
                  <a:pt x="185" y="396"/>
                </a:lnTo>
                <a:lnTo>
                  <a:pt x="179" y="396"/>
                </a:lnTo>
                <a:lnTo>
                  <a:pt x="142" y="392"/>
                </a:lnTo>
                <a:lnTo>
                  <a:pt x="130" y="388"/>
                </a:lnTo>
                <a:lnTo>
                  <a:pt x="121" y="384"/>
                </a:lnTo>
                <a:lnTo>
                  <a:pt x="108" y="377"/>
                </a:lnTo>
                <a:lnTo>
                  <a:pt x="93" y="373"/>
                </a:lnTo>
                <a:lnTo>
                  <a:pt x="85" y="373"/>
                </a:lnTo>
                <a:lnTo>
                  <a:pt x="79" y="371"/>
                </a:lnTo>
                <a:lnTo>
                  <a:pt x="81" y="367"/>
                </a:lnTo>
                <a:lnTo>
                  <a:pt x="87" y="364"/>
                </a:lnTo>
                <a:lnTo>
                  <a:pt x="87" y="356"/>
                </a:lnTo>
                <a:lnTo>
                  <a:pt x="85" y="350"/>
                </a:lnTo>
                <a:lnTo>
                  <a:pt x="79" y="343"/>
                </a:lnTo>
                <a:lnTo>
                  <a:pt x="76" y="360"/>
                </a:lnTo>
                <a:lnTo>
                  <a:pt x="70" y="367"/>
                </a:lnTo>
                <a:lnTo>
                  <a:pt x="76" y="371"/>
                </a:lnTo>
                <a:lnTo>
                  <a:pt x="74" y="375"/>
                </a:lnTo>
                <a:lnTo>
                  <a:pt x="40" y="379"/>
                </a:lnTo>
                <a:lnTo>
                  <a:pt x="34" y="384"/>
                </a:lnTo>
                <a:lnTo>
                  <a:pt x="25" y="377"/>
                </a:lnTo>
                <a:lnTo>
                  <a:pt x="27" y="371"/>
                </a:lnTo>
                <a:lnTo>
                  <a:pt x="34" y="367"/>
                </a:lnTo>
                <a:lnTo>
                  <a:pt x="36" y="360"/>
                </a:lnTo>
                <a:lnTo>
                  <a:pt x="34" y="352"/>
                </a:lnTo>
                <a:lnTo>
                  <a:pt x="34" y="352"/>
                </a:lnTo>
                <a:lnTo>
                  <a:pt x="34" y="352"/>
                </a:lnTo>
                <a:lnTo>
                  <a:pt x="40" y="343"/>
                </a:lnTo>
                <a:lnTo>
                  <a:pt x="42" y="335"/>
                </a:lnTo>
                <a:lnTo>
                  <a:pt x="40" y="318"/>
                </a:lnTo>
                <a:lnTo>
                  <a:pt x="36" y="309"/>
                </a:lnTo>
                <a:lnTo>
                  <a:pt x="40" y="301"/>
                </a:lnTo>
                <a:lnTo>
                  <a:pt x="38" y="288"/>
                </a:lnTo>
                <a:lnTo>
                  <a:pt x="42" y="279"/>
                </a:lnTo>
                <a:lnTo>
                  <a:pt x="49" y="273"/>
                </a:lnTo>
                <a:lnTo>
                  <a:pt x="49" y="264"/>
                </a:lnTo>
                <a:lnTo>
                  <a:pt x="53" y="258"/>
                </a:lnTo>
                <a:lnTo>
                  <a:pt x="53" y="249"/>
                </a:lnTo>
                <a:lnTo>
                  <a:pt x="55" y="243"/>
                </a:lnTo>
                <a:lnTo>
                  <a:pt x="53" y="237"/>
                </a:lnTo>
                <a:lnTo>
                  <a:pt x="55" y="230"/>
                </a:lnTo>
                <a:lnTo>
                  <a:pt x="53" y="224"/>
                </a:lnTo>
                <a:lnTo>
                  <a:pt x="55" y="217"/>
                </a:lnTo>
                <a:lnTo>
                  <a:pt x="51" y="215"/>
                </a:lnTo>
                <a:lnTo>
                  <a:pt x="40" y="200"/>
                </a:lnTo>
                <a:lnTo>
                  <a:pt x="40" y="194"/>
                </a:lnTo>
                <a:lnTo>
                  <a:pt x="36" y="188"/>
                </a:lnTo>
                <a:lnTo>
                  <a:pt x="34" y="186"/>
                </a:lnTo>
                <a:lnTo>
                  <a:pt x="30" y="177"/>
                </a:lnTo>
                <a:lnTo>
                  <a:pt x="25" y="171"/>
                </a:lnTo>
                <a:lnTo>
                  <a:pt x="25" y="160"/>
                </a:lnTo>
                <a:lnTo>
                  <a:pt x="21" y="145"/>
                </a:lnTo>
                <a:lnTo>
                  <a:pt x="15" y="139"/>
                </a:lnTo>
                <a:lnTo>
                  <a:pt x="2" y="128"/>
                </a:lnTo>
                <a:lnTo>
                  <a:pt x="0" y="13"/>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r>
              <a:rPr lang="en-US" sz="1000" b="1" dirty="0">
                <a:solidFill>
                  <a:schemeClr val="bg1"/>
                </a:solidFill>
              </a:rPr>
              <a:t> La.</a:t>
            </a:r>
          </a:p>
        </p:txBody>
      </p:sp>
      <p:sp>
        <p:nvSpPr>
          <p:cNvPr id="354" name="Freeform 863"/>
          <p:cNvSpPr>
            <a:spLocks noChangeAspect="1"/>
          </p:cNvSpPr>
          <p:nvPr/>
        </p:nvSpPr>
        <p:spPr bwMode="auto">
          <a:xfrm>
            <a:off x="5007794" y="2474755"/>
            <a:ext cx="638652" cy="712945"/>
          </a:xfrm>
          <a:custGeom>
            <a:avLst/>
            <a:gdLst>
              <a:gd name="T0" fmla="*/ 70 w 447"/>
              <a:gd name="T1" fmla="*/ 36 h 499"/>
              <a:gd name="T2" fmla="*/ 119 w 447"/>
              <a:gd name="T3" fmla="*/ 15 h 499"/>
              <a:gd name="T4" fmla="*/ 140 w 447"/>
              <a:gd name="T5" fmla="*/ 4 h 499"/>
              <a:gd name="T6" fmla="*/ 155 w 447"/>
              <a:gd name="T7" fmla="*/ 13 h 499"/>
              <a:gd name="T8" fmla="*/ 149 w 447"/>
              <a:gd name="T9" fmla="*/ 34 h 499"/>
              <a:gd name="T10" fmla="*/ 159 w 447"/>
              <a:gd name="T11" fmla="*/ 34 h 499"/>
              <a:gd name="T12" fmla="*/ 187 w 447"/>
              <a:gd name="T13" fmla="*/ 41 h 499"/>
              <a:gd name="T14" fmla="*/ 206 w 447"/>
              <a:gd name="T15" fmla="*/ 51 h 499"/>
              <a:gd name="T16" fmla="*/ 315 w 447"/>
              <a:gd name="T17" fmla="*/ 92 h 499"/>
              <a:gd name="T18" fmla="*/ 340 w 447"/>
              <a:gd name="T19" fmla="*/ 92 h 499"/>
              <a:gd name="T20" fmla="*/ 372 w 447"/>
              <a:gd name="T21" fmla="*/ 100 h 499"/>
              <a:gd name="T22" fmla="*/ 391 w 447"/>
              <a:gd name="T23" fmla="*/ 117 h 499"/>
              <a:gd name="T24" fmla="*/ 400 w 447"/>
              <a:gd name="T25" fmla="*/ 132 h 499"/>
              <a:gd name="T26" fmla="*/ 400 w 447"/>
              <a:gd name="T27" fmla="*/ 160 h 499"/>
              <a:gd name="T28" fmla="*/ 411 w 447"/>
              <a:gd name="T29" fmla="*/ 173 h 499"/>
              <a:gd name="T30" fmla="*/ 419 w 447"/>
              <a:gd name="T31" fmla="*/ 185 h 499"/>
              <a:gd name="T32" fmla="*/ 419 w 447"/>
              <a:gd name="T33" fmla="*/ 198 h 499"/>
              <a:gd name="T34" fmla="*/ 404 w 447"/>
              <a:gd name="T35" fmla="*/ 213 h 499"/>
              <a:gd name="T36" fmla="*/ 394 w 447"/>
              <a:gd name="T37" fmla="*/ 245 h 499"/>
              <a:gd name="T38" fmla="*/ 404 w 447"/>
              <a:gd name="T39" fmla="*/ 245 h 499"/>
              <a:gd name="T40" fmla="*/ 417 w 447"/>
              <a:gd name="T41" fmla="*/ 226 h 499"/>
              <a:gd name="T42" fmla="*/ 436 w 447"/>
              <a:gd name="T43" fmla="*/ 211 h 499"/>
              <a:gd name="T44" fmla="*/ 445 w 447"/>
              <a:gd name="T45" fmla="*/ 232 h 499"/>
              <a:gd name="T46" fmla="*/ 434 w 447"/>
              <a:gd name="T47" fmla="*/ 275 h 499"/>
              <a:gd name="T48" fmla="*/ 432 w 447"/>
              <a:gd name="T49" fmla="*/ 298 h 499"/>
              <a:gd name="T50" fmla="*/ 425 w 447"/>
              <a:gd name="T51" fmla="*/ 326 h 499"/>
              <a:gd name="T52" fmla="*/ 423 w 447"/>
              <a:gd name="T53" fmla="*/ 358 h 499"/>
              <a:gd name="T54" fmla="*/ 419 w 447"/>
              <a:gd name="T55" fmla="*/ 388 h 499"/>
              <a:gd name="T56" fmla="*/ 419 w 447"/>
              <a:gd name="T57" fmla="*/ 424 h 499"/>
              <a:gd name="T58" fmla="*/ 430 w 447"/>
              <a:gd name="T59" fmla="*/ 445 h 499"/>
              <a:gd name="T60" fmla="*/ 432 w 447"/>
              <a:gd name="T61" fmla="*/ 467 h 499"/>
              <a:gd name="T62" fmla="*/ 332 w 447"/>
              <a:gd name="T63" fmla="*/ 490 h 499"/>
              <a:gd name="T64" fmla="*/ 172 w 447"/>
              <a:gd name="T65" fmla="*/ 479 h 499"/>
              <a:gd name="T66" fmla="*/ 159 w 447"/>
              <a:gd name="T67" fmla="*/ 460 h 499"/>
              <a:gd name="T68" fmla="*/ 151 w 447"/>
              <a:gd name="T69" fmla="*/ 430 h 499"/>
              <a:gd name="T70" fmla="*/ 149 w 447"/>
              <a:gd name="T71" fmla="*/ 407 h 499"/>
              <a:gd name="T72" fmla="*/ 144 w 447"/>
              <a:gd name="T73" fmla="*/ 390 h 499"/>
              <a:gd name="T74" fmla="*/ 140 w 447"/>
              <a:gd name="T75" fmla="*/ 373 h 499"/>
              <a:gd name="T76" fmla="*/ 125 w 447"/>
              <a:gd name="T77" fmla="*/ 337 h 499"/>
              <a:gd name="T78" fmla="*/ 104 w 447"/>
              <a:gd name="T79" fmla="*/ 326 h 499"/>
              <a:gd name="T80" fmla="*/ 70 w 447"/>
              <a:gd name="T81" fmla="*/ 292 h 499"/>
              <a:gd name="T82" fmla="*/ 49 w 447"/>
              <a:gd name="T83" fmla="*/ 277 h 499"/>
              <a:gd name="T84" fmla="*/ 21 w 447"/>
              <a:gd name="T85" fmla="*/ 264 h 499"/>
              <a:gd name="T86" fmla="*/ 12 w 447"/>
              <a:gd name="T87" fmla="*/ 237 h 499"/>
              <a:gd name="T88" fmla="*/ 10 w 447"/>
              <a:gd name="T89" fmla="*/ 198 h 499"/>
              <a:gd name="T90" fmla="*/ 4 w 447"/>
              <a:gd name="T91" fmla="*/ 164 h 499"/>
              <a:gd name="T92" fmla="*/ 4 w 447"/>
              <a:gd name="T93" fmla="*/ 143 h 499"/>
              <a:gd name="T94" fmla="*/ 25 w 447"/>
              <a:gd name="T95" fmla="*/ 119 h 499"/>
              <a:gd name="T96" fmla="*/ 44 w 447"/>
              <a:gd name="T97" fmla="*/ 96 h 499"/>
              <a:gd name="T98" fmla="*/ 51 w 447"/>
              <a:gd name="T99" fmla="*/ 3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499">
                <a:moveTo>
                  <a:pt x="55" y="28"/>
                </a:moveTo>
                <a:lnTo>
                  <a:pt x="61" y="34"/>
                </a:lnTo>
                <a:lnTo>
                  <a:pt x="70" y="36"/>
                </a:lnTo>
                <a:lnTo>
                  <a:pt x="76" y="34"/>
                </a:lnTo>
                <a:lnTo>
                  <a:pt x="104" y="24"/>
                </a:lnTo>
                <a:lnTo>
                  <a:pt x="119" y="15"/>
                </a:lnTo>
                <a:lnTo>
                  <a:pt x="125" y="13"/>
                </a:lnTo>
                <a:lnTo>
                  <a:pt x="134" y="9"/>
                </a:lnTo>
                <a:lnTo>
                  <a:pt x="140" y="4"/>
                </a:lnTo>
                <a:lnTo>
                  <a:pt x="149" y="0"/>
                </a:lnTo>
                <a:lnTo>
                  <a:pt x="157" y="4"/>
                </a:lnTo>
                <a:lnTo>
                  <a:pt x="155" y="13"/>
                </a:lnTo>
                <a:lnTo>
                  <a:pt x="151" y="19"/>
                </a:lnTo>
                <a:lnTo>
                  <a:pt x="151" y="26"/>
                </a:lnTo>
                <a:lnTo>
                  <a:pt x="149" y="34"/>
                </a:lnTo>
                <a:lnTo>
                  <a:pt x="147" y="38"/>
                </a:lnTo>
                <a:lnTo>
                  <a:pt x="153" y="38"/>
                </a:lnTo>
                <a:lnTo>
                  <a:pt x="159" y="34"/>
                </a:lnTo>
                <a:lnTo>
                  <a:pt x="168" y="36"/>
                </a:lnTo>
                <a:lnTo>
                  <a:pt x="174" y="38"/>
                </a:lnTo>
                <a:lnTo>
                  <a:pt x="187" y="41"/>
                </a:lnTo>
                <a:lnTo>
                  <a:pt x="191" y="43"/>
                </a:lnTo>
                <a:lnTo>
                  <a:pt x="198" y="47"/>
                </a:lnTo>
                <a:lnTo>
                  <a:pt x="206" y="51"/>
                </a:lnTo>
                <a:lnTo>
                  <a:pt x="215" y="66"/>
                </a:lnTo>
                <a:lnTo>
                  <a:pt x="289" y="81"/>
                </a:lnTo>
                <a:lnTo>
                  <a:pt x="315" y="92"/>
                </a:lnTo>
                <a:lnTo>
                  <a:pt x="317" y="92"/>
                </a:lnTo>
                <a:lnTo>
                  <a:pt x="332" y="94"/>
                </a:lnTo>
                <a:lnTo>
                  <a:pt x="340" y="92"/>
                </a:lnTo>
                <a:lnTo>
                  <a:pt x="347" y="94"/>
                </a:lnTo>
                <a:lnTo>
                  <a:pt x="366" y="96"/>
                </a:lnTo>
                <a:lnTo>
                  <a:pt x="372" y="100"/>
                </a:lnTo>
                <a:lnTo>
                  <a:pt x="374" y="113"/>
                </a:lnTo>
                <a:lnTo>
                  <a:pt x="381" y="113"/>
                </a:lnTo>
                <a:lnTo>
                  <a:pt x="391" y="117"/>
                </a:lnTo>
                <a:lnTo>
                  <a:pt x="400" y="124"/>
                </a:lnTo>
                <a:lnTo>
                  <a:pt x="398" y="126"/>
                </a:lnTo>
                <a:lnTo>
                  <a:pt x="400" y="132"/>
                </a:lnTo>
                <a:lnTo>
                  <a:pt x="400" y="147"/>
                </a:lnTo>
                <a:lnTo>
                  <a:pt x="398" y="156"/>
                </a:lnTo>
                <a:lnTo>
                  <a:pt x="400" y="160"/>
                </a:lnTo>
                <a:lnTo>
                  <a:pt x="406" y="158"/>
                </a:lnTo>
                <a:lnTo>
                  <a:pt x="415" y="158"/>
                </a:lnTo>
                <a:lnTo>
                  <a:pt x="411" y="173"/>
                </a:lnTo>
                <a:lnTo>
                  <a:pt x="411" y="179"/>
                </a:lnTo>
                <a:lnTo>
                  <a:pt x="417" y="185"/>
                </a:lnTo>
                <a:lnTo>
                  <a:pt x="419" y="185"/>
                </a:lnTo>
                <a:lnTo>
                  <a:pt x="421" y="188"/>
                </a:lnTo>
                <a:lnTo>
                  <a:pt x="419" y="194"/>
                </a:lnTo>
                <a:lnTo>
                  <a:pt x="419" y="198"/>
                </a:lnTo>
                <a:lnTo>
                  <a:pt x="413" y="205"/>
                </a:lnTo>
                <a:lnTo>
                  <a:pt x="404" y="207"/>
                </a:lnTo>
                <a:lnTo>
                  <a:pt x="404" y="213"/>
                </a:lnTo>
                <a:lnTo>
                  <a:pt x="400" y="222"/>
                </a:lnTo>
                <a:lnTo>
                  <a:pt x="396" y="237"/>
                </a:lnTo>
                <a:lnTo>
                  <a:pt x="394" y="245"/>
                </a:lnTo>
                <a:lnTo>
                  <a:pt x="394" y="251"/>
                </a:lnTo>
                <a:lnTo>
                  <a:pt x="400" y="251"/>
                </a:lnTo>
                <a:lnTo>
                  <a:pt x="404" y="245"/>
                </a:lnTo>
                <a:lnTo>
                  <a:pt x="411" y="241"/>
                </a:lnTo>
                <a:lnTo>
                  <a:pt x="417" y="232"/>
                </a:lnTo>
                <a:lnTo>
                  <a:pt x="417" y="226"/>
                </a:lnTo>
                <a:lnTo>
                  <a:pt x="421" y="217"/>
                </a:lnTo>
                <a:lnTo>
                  <a:pt x="430" y="215"/>
                </a:lnTo>
                <a:lnTo>
                  <a:pt x="436" y="211"/>
                </a:lnTo>
                <a:lnTo>
                  <a:pt x="443" y="217"/>
                </a:lnTo>
                <a:lnTo>
                  <a:pt x="447" y="224"/>
                </a:lnTo>
                <a:lnTo>
                  <a:pt x="445" y="232"/>
                </a:lnTo>
                <a:lnTo>
                  <a:pt x="436" y="251"/>
                </a:lnTo>
                <a:lnTo>
                  <a:pt x="436" y="266"/>
                </a:lnTo>
                <a:lnTo>
                  <a:pt x="434" y="275"/>
                </a:lnTo>
                <a:lnTo>
                  <a:pt x="438" y="288"/>
                </a:lnTo>
                <a:lnTo>
                  <a:pt x="438" y="292"/>
                </a:lnTo>
                <a:lnTo>
                  <a:pt x="432" y="298"/>
                </a:lnTo>
                <a:lnTo>
                  <a:pt x="428" y="305"/>
                </a:lnTo>
                <a:lnTo>
                  <a:pt x="425" y="320"/>
                </a:lnTo>
                <a:lnTo>
                  <a:pt x="425" y="326"/>
                </a:lnTo>
                <a:lnTo>
                  <a:pt x="428" y="341"/>
                </a:lnTo>
                <a:lnTo>
                  <a:pt x="428" y="349"/>
                </a:lnTo>
                <a:lnTo>
                  <a:pt x="423" y="358"/>
                </a:lnTo>
                <a:lnTo>
                  <a:pt x="423" y="364"/>
                </a:lnTo>
                <a:lnTo>
                  <a:pt x="423" y="371"/>
                </a:lnTo>
                <a:lnTo>
                  <a:pt x="419" y="388"/>
                </a:lnTo>
                <a:lnTo>
                  <a:pt x="417" y="401"/>
                </a:lnTo>
                <a:lnTo>
                  <a:pt x="421" y="418"/>
                </a:lnTo>
                <a:lnTo>
                  <a:pt x="419" y="424"/>
                </a:lnTo>
                <a:lnTo>
                  <a:pt x="425" y="430"/>
                </a:lnTo>
                <a:lnTo>
                  <a:pt x="425" y="439"/>
                </a:lnTo>
                <a:lnTo>
                  <a:pt x="430" y="445"/>
                </a:lnTo>
                <a:lnTo>
                  <a:pt x="432" y="452"/>
                </a:lnTo>
                <a:lnTo>
                  <a:pt x="432" y="460"/>
                </a:lnTo>
                <a:lnTo>
                  <a:pt x="432" y="467"/>
                </a:lnTo>
                <a:lnTo>
                  <a:pt x="434" y="481"/>
                </a:lnTo>
                <a:lnTo>
                  <a:pt x="430" y="481"/>
                </a:lnTo>
                <a:lnTo>
                  <a:pt x="332" y="490"/>
                </a:lnTo>
                <a:lnTo>
                  <a:pt x="200" y="499"/>
                </a:lnTo>
                <a:lnTo>
                  <a:pt x="193" y="484"/>
                </a:lnTo>
                <a:lnTo>
                  <a:pt x="172" y="479"/>
                </a:lnTo>
                <a:lnTo>
                  <a:pt x="166" y="477"/>
                </a:lnTo>
                <a:lnTo>
                  <a:pt x="161" y="469"/>
                </a:lnTo>
                <a:lnTo>
                  <a:pt x="159" y="460"/>
                </a:lnTo>
                <a:lnTo>
                  <a:pt x="155" y="454"/>
                </a:lnTo>
                <a:lnTo>
                  <a:pt x="155" y="441"/>
                </a:lnTo>
                <a:lnTo>
                  <a:pt x="151" y="430"/>
                </a:lnTo>
                <a:lnTo>
                  <a:pt x="159" y="415"/>
                </a:lnTo>
                <a:lnTo>
                  <a:pt x="155" y="409"/>
                </a:lnTo>
                <a:lnTo>
                  <a:pt x="149" y="407"/>
                </a:lnTo>
                <a:lnTo>
                  <a:pt x="147" y="398"/>
                </a:lnTo>
                <a:lnTo>
                  <a:pt x="144" y="396"/>
                </a:lnTo>
                <a:lnTo>
                  <a:pt x="144" y="390"/>
                </a:lnTo>
                <a:lnTo>
                  <a:pt x="142" y="383"/>
                </a:lnTo>
                <a:lnTo>
                  <a:pt x="142" y="379"/>
                </a:lnTo>
                <a:lnTo>
                  <a:pt x="140" y="373"/>
                </a:lnTo>
                <a:lnTo>
                  <a:pt x="138" y="354"/>
                </a:lnTo>
                <a:lnTo>
                  <a:pt x="132" y="343"/>
                </a:lnTo>
                <a:lnTo>
                  <a:pt x="125" y="337"/>
                </a:lnTo>
                <a:lnTo>
                  <a:pt x="119" y="332"/>
                </a:lnTo>
                <a:lnTo>
                  <a:pt x="110" y="330"/>
                </a:lnTo>
                <a:lnTo>
                  <a:pt x="104" y="326"/>
                </a:lnTo>
                <a:lnTo>
                  <a:pt x="89" y="313"/>
                </a:lnTo>
                <a:lnTo>
                  <a:pt x="81" y="298"/>
                </a:lnTo>
                <a:lnTo>
                  <a:pt x="70" y="292"/>
                </a:lnTo>
                <a:lnTo>
                  <a:pt x="59" y="288"/>
                </a:lnTo>
                <a:lnTo>
                  <a:pt x="53" y="283"/>
                </a:lnTo>
                <a:lnTo>
                  <a:pt x="49" y="277"/>
                </a:lnTo>
                <a:lnTo>
                  <a:pt x="36" y="275"/>
                </a:lnTo>
                <a:lnTo>
                  <a:pt x="27" y="271"/>
                </a:lnTo>
                <a:lnTo>
                  <a:pt x="21" y="264"/>
                </a:lnTo>
                <a:lnTo>
                  <a:pt x="10" y="256"/>
                </a:lnTo>
                <a:lnTo>
                  <a:pt x="12" y="247"/>
                </a:lnTo>
                <a:lnTo>
                  <a:pt x="12" y="237"/>
                </a:lnTo>
                <a:lnTo>
                  <a:pt x="10" y="219"/>
                </a:lnTo>
                <a:lnTo>
                  <a:pt x="12" y="213"/>
                </a:lnTo>
                <a:lnTo>
                  <a:pt x="10" y="198"/>
                </a:lnTo>
                <a:lnTo>
                  <a:pt x="19" y="181"/>
                </a:lnTo>
                <a:lnTo>
                  <a:pt x="10" y="166"/>
                </a:lnTo>
                <a:lnTo>
                  <a:pt x="4" y="164"/>
                </a:lnTo>
                <a:lnTo>
                  <a:pt x="0" y="158"/>
                </a:lnTo>
                <a:lnTo>
                  <a:pt x="0" y="149"/>
                </a:lnTo>
                <a:lnTo>
                  <a:pt x="4" y="143"/>
                </a:lnTo>
                <a:lnTo>
                  <a:pt x="8" y="136"/>
                </a:lnTo>
                <a:lnTo>
                  <a:pt x="10" y="128"/>
                </a:lnTo>
                <a:lnTo>
                  <a:pt x="25" y="119"/>
                </a:lnTo>
                <a:lnTo>
                  <a:pt x="38" y="111"/>
                </a:lnTo>
                <a:lnTo>
                  <a:pt x="42" y="104"/>
                </a:lnTo>
                <a:lnTo>
                  <a:pt x="44" y="96"/>
                </a:lnTo>
                <a:lnTo>
                  <a:pt x="40" y="38"/>
                </a:lnTo>
                <a:lnTo>
                  <a:pt x="46" y="38"/>
                </a:lnTo>
                <a:lnTo>
                  <a:pt x="51" y="32"/>
                </a:lnTo>
                <a:lnTo>
                  <a:pt x="51" y="30"/>
                </a:lnTo>
                <a:lnTo>
                  <a:pt x="55" y="28"/>
                </a:lnTo>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Wis.</a:t>
            </a:r>
          </a:p>
        </p:txBody>
      </p:sp>
      <p:sp>
        <p:nvSpPr>
          <p:cNvPr id="355" name="Freeform 874"/>
          <p:cNvSpPr>
            <a:spLocks noChangeAspect="1"/>
          </p:cNvSpPr>
          <p:nvPr/>
        </p:nvSpPr>
        <p:spPr bwMode="auto">
          <a:xfrm>
            <a:off x="5279104" y="4371757"/>
            <a:ext cx="455772" cy="788670"/>
          </a:xfrm>
          <a:custGeom>
            <a:avLst/>
            <a:gdLst>
              <a:gd name="T0" fmla="*/ 34 w 319"/>
              <a:gd name="T1" fmla="*/ 228 h 552"/>
              <a:gd name="T2" fmla="*/ 38 w 319"/>
              <a:gd name="T3" fmla="*/ 215 h 552"/>
              <a:gd name="T4" fmla="*/ 36 w 319"/>
              <a:gd name="T5" fmla="*/ 200 h 552"/>
              <a:gd name="T6" fmla="*/ 34 w 319"/>
              <a:gd name="T7" fmla="*/ 194 h 552"/>
              <a:gd name="T8" fmla="*/ 28 w 319"/>
              <a:gd name="T9" fmla="*/ 188 h 552"/>
              <a:gd name="T10" fmla="*/ 26 w 319"/>
              <a:gd name="T11" fmla="*/ 169 h 552"/>
              <a:gd name="T12" fmla="*/ 38 w 319"/>
              <a:gd name="T13" fmla="*/ 164 h 552"/>
              <a:gd name="T14" fmla="*/ 38 w 319"/>
              <a:gd name="T15" fmla="*/ 156 h 552"/>
              <a:gd name="T16" fmla="*/ 40 w 319"/>
              <a:gd name="T17" fmla="*/ 139 h 552"/>
              <a:gd name="T18" fmla="*/ 49 w 319"/>
              <a:gd name="T19" fmla="*/ 120 h 552"/>
              <a:gd name="T20" fmla="*/ 47 w 319"/>
              <a:gd name="T21" fmla="*/ 105 h 552"/>
              <a:gd name="T22" fmla="*/ 64 w 319"/>
              <a:gd name="T23" fmla="*/ 96 h 552"/>
              <a:gd name="T24" fmla="*/ 72 w 319"/>
              <a:gd name="T25" fmla="*/ 88 h 552"/>
              <a:gd name="T26" fmla="*/ 81 w 319"/>
              <a:gd name="T27" fmla="*/ 64 h 552"/>
              <a:gd name="T28" fmla="*/ 79 w 319"/>
              <a:gd name="T29" fmla="*/ 58 h 552"/>
              <a:gd name="T30" fmla="*/ 79 w 319"/>
              <a:gd name="T31" fmla="*/ 39 h 552"/>
              <a:gd name="T32" fmla="*/ 85 w 319"/>
              <a:gd name="T33" fmla="*/ 30 h 552"/>
              <a:gd name="T34" fmla="*/ 102 w 319"/>
              <a:gd name="T35" fmla="*/ 26 h 552"/>
              <a:gd name="T36" fmla="*/ 224 w 319"/>
              <a:gd name="T37" fmla="*/ 7 h 552"/>
              <a:gd name="T38" fmla="*/ 296 w 319"/>
              <a:gd name="T39" fmla="*/ 5 h 552"/>
              <a:gd name="T40" fmla="*/ 319 w 319"/>
              <a:gd name="T41" fmla="*/ 518 h 552"/>
              <a:gd name="T42" fmla="*/ 300 w 319"/>
              <a:gd name="T43" fmla="*/ 522 h 552"/>
              <a:gd name="T44" fmla="*/ 285 w 319"/>
              <a:gd name="T45" fmla="*/ 526 h 552"/>
              <a:gd name="T46" fmla="*/ 275 w 319"/>
              <a:gd name="T47" fmla="*/ 522 h 552"/>
              <a:gd name="T48" fmla="*/ 243 w 319"/>
              <a:gd name="T49" fmla="*/ 533 h 552"/>
              <a:gd name="T50" fmla="*/ 232 w 319"/>
              <a:gd name="T51" fmla="*/ 535 h 552"/>
              <a:gd name="T52" fmla="*/ 224 w 319"/>
              <a:gd name="T53" fmla="*/ 546 h 552"/>
              <a:gd name="T54" fmla="*/ 211 w 319"/>
              <a:gd name="T55" fmla="*/ 550 h 552"/>
              <a:gd name="T56" fmla="*/ 202 w 319"/>
              <a:gd name="T57" fmla="*/ 537 h 552"/>
              <a:gd name="T58" fmla="*/ 185 w 319"/>
              <a:gd name="T59" fmla="*/ 514 h 552"/>
              <a:gd name="T60" fmla="*/ 181 w 319"/>
              <a:gd name="T61" fmla="*/ 486 h 552"/>
              <a:gd name="T62" fmla="*/ 185 w 319"/>
              <a:gd name="T63" fmla="*/ 462 h 552"/>
              <a:gd name="T64" fmla="*/ 9 w 319"/>
              <a:gd name="T65" fmla="*/ 467 h 552"/>
              <a:gd name="T66" fmla="*/ 0 w 319"/>
              <a:gd name="T67" fmla="*/ 445 h 552"/>
              <a:gd name="T68" fmla="*/ 6 w 319"/>
              <a:gd name="T69" fmla="*/ 431 h 552"/>
              <a:gd name="T70" fmla="*/ 19 w 319"/>
              <a:gd name="T71" fmla="*/ 409 h 552"/>
              <a:gd name="T72" fmla="*/ 21 w 319"/>
              <a:gd name="T73" fmla="*/ 401 h 552"/>
              <a:gd name="T74" fmla="*/ 23 w 319"/>
              <a:gd name="T75" fmla="*/ 384 h 552"/>
              <a:gd name="T76" fmla="*/ 49 w 319"/>
              <a:gd name="T77" fmla="*/ 356 h 552"/>
              <a:gd name="T78" fmla="*/ 49 w 319"/>
              <a:gd name="T79" fmla="*/ 352 h 552"/>
              <a:gd name="T80" fmla="*/ 47 w 319"/>
              <a:gd name="T81" fmla="*/ 341 h 552"/>
              <a:gd name="T82" fmla="*/ 53 w 319"/>
              <a:gd name="T83" fmla="*/ 330 h 552"/>
              <a:gd name="T84" fmla="*/ 64 w 319"/>
              <a:gd name="T85" fmla="*/ 322 h 552"/>
              <a:gd name="T86" fmla="*/ 53 w 319"/>
              <a:gd name="T87" fmla="*/ 313 h 552"/>
              <a:gd name="T88" fmla="*/ 45 w 319"/>
              <a:gd name="T89" fmla="*/ 301 h 552"/>
              <a:gd name="T90" fmla="*/ 51 w 319"/>
              <a:gd name="T91" fmla="*/ 288 h 552"/>
              <a:gd name="T92" fmla="*/ 45 w 319"/>
              <a:gd name="T93" fmla="*/ 277 h 552"/>
              <a:gd name="T94" fmla="*/ 43 w 319"/>
              <a:gd name="T95" fmla="*/ 258 h 552"/>
              <a:gd name="T96" fmla="*/ 30 w 319"/>
              <a:gd name="T97" fmla="*/ 25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 h="552">
                <a:moveTo>
                  <a:pt x="34" y="245"/>
                </a:moveTo>
                <a:lnTo>
                  <a:pt x="34" y="235"/>
                </a:lnTo>
                <a:lnTo>
                  <a:pt x="34" y="228"/>
                </a:lnTo>
                <a:lnTo>
                  <a:pt x="40" y="228"/>
                </a:lnTo>
                <a:lnTo>
                  <a:pt x="40" y="228"/>
                </a:lnTo>
                <a:lnTo>
                  <a:pt x="38" y="215"/>
                </a:lnTo>
                <a:lnTo>
                  <a:pt x="36" y="215"/>
                </a:lnTo>
                <a:lnTo>
                  <a:pt x="34" y="207"/>
                </a:lnTo>
                <a:lnTo>
                  <a:pt x="36" y="200"/>
                </a:lnTo>
                <a:lnTo>
                  <a:pt x="34" y="200"/>
                </a:lnTo>
                <a:lnTo>
                  <a:pt x="28" y="198"/>
                </a:lnTo>
                <a:lnTo>
                  <a:pt x="34" y="194"/>
                </a:lnTo>
                <a:lnTo>
                  <a:pt x="32" y="190"/>
                </a:lnTo>
                <a:lnTo>
                  <a:pt x="23" y="196"/>
                </a:lnTo>
                <a:lnTo>
                  <a:pt x="28" y="188"/>
                </a:lnTo>
                <a:lnTo>
                  <a:pt x="23" y="181"/>
                </a:lnTo>
                <a:lnTo>
                  <a:pt x="30" y="175"/>
                </a:lnTo>
                <a:lnTo>
                  <a:pt x="26" y="169"/>
                </a:lnTo>
                <a:lnTo>
                  <a:pt x="30" y="166"/>
                </a:lnTo>
                <a:lnTo>
                  <a:pt x="32" y="169"/>
                </a:lnTo>
                <a:lnTo>
                  <a:pt x="38" y="164"/>
                </a:lnTo>
                <a:lnTo>
                  <a:pt x="32" y="162"/>
                </a:lnTo>
                <a:lnTo>
                  <a:pt x="32" y="156"/>
                </a:lnTo>
                <a:lnTo>
                  <a:pt x="38" y="156"/>
                </a:lnTo>
                <a:lnTo>
                  <a:pt x="40" y="152"/>
                </a:lnTo>
                <a:lnTo>
                  <a:pt x="38" y="145"/>
                </a:lnTo>
                <a:lnTo>
                  <a:pt x="40" y="139"/>
                </a:lnTo>
                <a:lnTo>
                  <a:pt x="34" y="134"/>
                </a:lnTo>
                <a:lnTo>
                  <a:pt x="53" y="126"/>
                </a:lnTo>
                <a:lnTo>
                  <a:pt x="49" y="120"/>
                </a:lnTo>
                <a:lnTo>
                  <a:pt x="49" y="113"/>
                </a:lnTo>
                <a:lnTo>
                  <a:pt x="53" y="111"/>
                </a:lnTo>
                <a:lnTo>
                  <a:pt x="47" y="105"/>
                </a:lnTo>
                <a:lnTo>
                  <a:pt x="55" y="107"/>
                </a:lnTo>
                <a:lnTo>
                  <a:pt x="57" y="103"/>
                </a:lnTo>
                <a:lnTo>
                  <a:pt x="64" y="96"/>
                </a:lnTo>
                <a:lnTo>
                  <a:pt x="62" y="90"/>
                </a:lnTo>
                <a:lnTo>
                  <a:pt x="68" y="90"/>
                </a:lnTo>
                <a:lnTo>
                  <a:pt x="72" y="88"/>
                </a:lnTo>
                <a:lnTo>
                  <a:pt x="79" y="79"/>
                </a:lnTo>
                <a:lnTo>
                  <a:pt x="77" y="75"/>
                </a:lnTo>
                <a:lnTo>
                  <a:pt x="81" y="64"/>
                </a:lnTo>
                <a:lnTo>
                  <a:pt x="77" y="62"/>
                </a:lnTo>
                <a:lnTo>
                  <a:pt x="77" y="49"/>
                </a:lnTo>
                <a:lnTo>
                  <a:pt x="79" y="58"/>
                </a:lnTo>
                <a:lnTo>
                  <a:pt x="87" y="54"/>
                </a:lnTo>
                <a:lnTo>
                  <a:pt x="79" y="49"/>
                </a:lnTo>
                <a:lnTo>
                  <a:pt x="79" y="39"/>
                </a:lnTo>
                <a:lnTo>
                  <a:pt x="81" y="47"/>
                </a:lnTo>
                <a:lnTo>
                  <a:pt x="87" y="47"/>
                </a:lnTo>
                <a:lnTo>
                  <a:pt x="85" y="30"/>
                </a:lnTo>
                <a:lnTo>
                  <a:pt x="89" y="34"/>
                </a:lnTo>
                <a:lnTo>
                  <a:pt x="96" y="32"/>
                </a:lnTo>
                <a:lnTo>
                  <a:pt x="102" y="26"/>
                </a:lnTo>
                <a:lnTo>
                  <a:pt x="102" y="17"/>
                </a:lnTo>
                <a:lnTo>
                  <a:pt x="98" y="15"/>
                </a:lnTo>
                <a:lnTo>
                  <a:pt x="224" y="7"/>
                </a:lnTo>
                <a:lnTo>
                  <a:pt x="292" y="0"/>
                </a:lnTo>
                <a:lnTo>
                  <a:pt x="292" y="0"/>
                </a:lnTo>
                <a:lnTo>
                  <a:pt x="296" y="5"/>
                </a:lnTo>
                <a:lnTo>
                  <a:pt x="302" y="9"/>
                </a:lnTo>
                <a:lnTo>
                  <a:pt x="296" y="350"/>
                </a:lnTo>
                <a:lnTo>
                  <a:pt x="319" y="518"/>
                </a:lnTo>
                <a:lnTo>
                  <a:pt x="319" y="520"/>
                </a:lnTo>
                <a:lnTo>
                  <a:pt x="315" y="528"/>
                </a:lnTo>
                <a:lnTo>
                  <a:pt x="300" y="522"/>
                </a:lnTo>
                <a:lnTo>
                  <a:pt x="298" y="526"/>
                </a:lnTo>
                <a:lnTo>
                  <a:pt x="292" y="528"/>
                </a:lnTo>
                <a:lnTo>
                  <a:pt x="285" y="526"/>
                </a:lnTo>
                <a:lnTo>
                  <a:pt x="277" y="520"/>
                </a:lnTo>
                <a:lnTo>
                  <a:pt x="266" y="522"/>
                </a:lnTo>
                <a:lnTo>
                  <a:pt x="275" y="522"/>
                </a:lnTo>
                <a:lnTo>
                  <a:pt x="273" y="524"/>
                </a:lnTo>
                <a:lnTo>
                  <a:pt x="258" y="526"/>
                </a:lnTo>
                <a:lnTo>
                  <a:pt x="243" y="533"/>
                </a:lnTo>
                <a:lnTo>
                  <a:pt x="236" y="535"/>
                </a:lnTo>
                <a:lnTo>
                  <a:pt x="238" y="533"/>
                </a:lnTo>
                <a:lnTo>
                  <a:pt x="232" y="535"/>
                </a:lnTo>
                <a:lnTo>
                  <a:pt x="232" y="535"/>
                </a:lnTo>
                <a:lnTo>
                  <a:pt x="230" y="539"/>
                </a:lnTo>
                <a:lnTo>
                  <a:pt x="224" y="546"/>
                </a:lnTo>
                <a:lnTo>
                  <a:pt x="219" y="552"/>
                </a:lnTo>
                <a:lnTo>
                  <a:pt x="213" y="552"/>
                </a:lnTo>
                <a:lnTo>
                  <a:pt x="211" y="550"/>
                </a:lnTo>
                <a:lnTo>
                  <a:pt x="204" y="548"/>
                </a:lnTo>
                <a:lnTo>
                  <a:pt x="200" y="539"/>
                </a:lnTo>
                <a:lnTo>
                  <a:pt x="202" y="537"/>
                </a:lnTo>
                <a:lnTo>
                  <a:pt x="198" y="528"/>
                </a:lnTo>
                <a:lnTo>
                  <a:pt x="196" y="522"/>
                </a:lnTo>
                <a:lnTo>
                  <a:pt x="185" y="514"/>
                </a:lnTo>
                <a:lnTo>
                  <a:pt x="181" y="505"/>
                </a:lnTo>
                <a:lnTo>
                  <a:pt x="179" y="499"/>
                </a:lnTo>
                <a:lnTo>
                  <a:pt x="181" y="486"/>
                </a:lnTo>
                <a:lnTo>
                  <a:pt x="185" y="471"/>
                </a:lnTo>
                <a:lnTo>
                  <a:pt x="187" y="465"/>
                </a:lnTo>
                <a:lnTo>
                  <a:pt x="185" y="462"/>
                </a:lnTo>
                <a:lnTo>
                  <a:pt x="96" y="469"/>
                </a:lnTo>
                <a:lnTo>
                  <a:pt x="2" y="475"/>
                </a:lnTo>
                <a:lnTo>
                  <a:pt x="9" y="467"/>
                </a:lnTo>
                <a:lnTo>
                  <a:pt x="4" y="460"/>
                </a:lnTo>
                <a:lnTo>
                  <a:pt x="4" y="452"/>
                </a:lnTo>
                <a:lnTo>
                  <a:pt x="0" y="445"/>
                </a:lnTo>
                <a:lnTo>
                  <a:pt x="11" y="443"/>
                </a:lnTo>
                <a:lnTo>
                  <a:pt x="13" y="437"/>
                </a:lnTo>
                <a:lnTo>
                  <a:pt x="6" y="431"/>
                </a:lnTo>
                <a:lnTo>
                  <a:pt x="15" y="431"/>
                </a:lnTo>
                <a:lnTo>
                  <a:pt x="11" y="416"/>
                </a:lnTo>
                <a:lnTo>
                  <a:pt x="19" y="409"/>
                </a:lnTo>
                <a:lnTo>
                  <a:pt x="19" y="407"/>
                </a:lnTo>
                <a:lnTo>
                  <a:pt x="13" y="407"/>
                </a:lnTo>
                <a:lnTo>
                  <a:pt x="21" y="401"/>
                </a:lnTo>
                <a:lnTo>
                  <a:pt x="21" y="394"/>
                </a:lnTo>
                <a:lnTo>
                  <a:pt x="30" y="388"/>
                </a:lnTo>
                <a:lnTo>
                  <a:pt x="23" y="384"/>
                </a:lnTo>
                <a:lnTo>
                  <a:pt x="28" y="377"/>
                </a:lnTo>
                <a:lnTo>
                  <a:pt x="34" y="375"/>
                </a:lnTo>
                <a:lnTo>
                  <a:pt x="49" y="356"/>
                </a:lnTo>
                <a:lnTo>
                  <a:pt x="49" y="354"/>
                </a:lnTo>
                <a:lnTo>
                  <a:pt x="43" y="352"/>
                </a:lnTo>
                <a:lnTo>
                  <a:pt x="49" y="352"/>
                </a:lnTo>
                <a:lnTo>
                  <a:pt x="49" y="347"/>
                </a:lnTo>
                <a:lnTo>
                  <a:pt x="55" y="341"/>
                </a:lnTo>
                <a:lnTo>
                  <a:pt x="47" y="341"/>
                </a:lnTo>
                <a:lnTo>
                  <a:pt x="40" y="341"/>
                </a:lnTo>
                <a:lnTo>
                  <a:pt x="45" y="333"/>
                </a:lnTo>
                <a:lnTo>
                  <a:pt x="53" y="330"/>
                </a:lnTo>
                <a:lnTo>
                  <a:pt x="57" y="324"/>
                </a:lnTo>
                <a:lnTo>
                  <a:pt x="64" y="324"/>
                </a:lnTo>
                <a:lnTo>
                  <a:pt x="64" y="322"/>
                </a:lnTo>
                <a:lnTo>
                  <a:pt x="64" y="320"/>
                </a:lnTo>
                <a:lnTo>
                  <a:pt x="55" y="318"/>
                </a:lnTo>
                <a:lnTo>
                  <a:pt x="53" y="313"/>
                </a:lnTo>
                <a:lnTo>
                  <a:pt x="47" y="309"/>
                </a:lnTo>
                <a:lnTo>
                  <a:pt x="43" y="303"/>
                </a:lnTo>
                <a:lnTo>
                  <a:pt x="45" y="301"/>
                </a:lnTo>
                <a:lnTo>
                  <a:pt x="51" y="303"/>
                </a:lnTo>
                <a:lnTo>
                  <a:pt x="47" y="296"/>
                </a:lnTo>
                <a:lnTo>
                  <a:pt x="51" y="288"/>
                </a:lnTo>
                <a:lnTo>
                  <a:pt x="38" y="290"/>
                </a:lnTo>
                <a:lnTo>
                  <a:pt x="36" y="286"/>
                </a:lnTo>
                <a:lnTo>
                  <a:pt x="45" y="277"/>
                </a:lnTo>
                <a:lnTo>
                  <a:pt x="36" y="273"/>
                </a:lnTo>
                <a:lnTo>
                  <a:pt x="36" y="264"/>
                </a:lnTo>
                <a:lnTo>
                  <a:pt x="43" y="258"/>
                </a:lnTo>
                <a:lnTo>
                  <a:pt x="43" y="252"/>
                </a:lnTo>
                <a:lnTo>
                  <a:pt x="36" y="252"/>
                </a:lnTo>
                <a:lnTo>
                  <a:pt x="30" y="256"/>
                </a:lnTo>
                <a:lnTo>
                  <a:pt x="32" y="249"/>
                </a:lnTo>
                <a:lnTo>
                  <a:pt x="34" y="245"/>
                </a:lnTo>
              </a:path>
            </a:pathLst>
          </a:custGeom>
          <a:solidFill>
            <a:srgbClr val="C00000"/>
          </a:solidFill>
          <a:ln w="9525" cap="flat">
            <a:solidFill>
              <a:srgbClr val="FFFFFF"/>
            </a:solidFill>
            <a:prstDash val="solid"/>
            <a:miter lim="800000"/>
            <a:headEnd/>
            <a:tailEnd/>
          </a:ln>
        </p:spPr>
        <p:txBody>
          <a:bodyPr vert="horz" wrap="square" lIns="0" tIns="45720" rIns="0" bIns="45720" numCol="1" anchor="ctr" anchorCtr="0" compatLnSpc="1">
            <a:prstTxWarp prst="textNoShape">
              <a:avLst/>
            </a:prstTxWarp>
          </a:bodyPr>
          <a:lstStyle/>
          <a:p>
            <a:pPr algn="ctr"/>
            <a:r>
              <a:rPr lang="en-US" sz="1000" b="1" dirty="0">
                <a:solidFill>
                  <a:schemeClr val="bg1"/>
                </a:solidFill>
              </a:rPr>
              <a:t> Miss.</a:t>
            </a:r>
          </a:p>
        </p:txBody>
      </p:sp>
      <p:sp>
        <p:nvSpPr>
          <p:cNvPr id="356" name="Freeform 893"/>
          <p:cNvSpPr>
            <a:spLocks noChangeAspect="1"/>
          </p:cNvSpPr>
          <p:nvPr/>
        </p:nvSpPr>
        <p:spPr bwMode="auto">
          <a:xfrm>
            <a:off x="7932060" y="3490861"/>
            <a:ext cx="8573" cy="30006"/>
          </a:xfrm>
          <a:custGeom>
            <a:avLst/>
            <a:gdLst>
              <a:gd name="T0" fmla="*/ 0 w 6"/>
              <a:gd name="T1" fmla="*/ 21 h 21"/>
              <a:gd name="T2" fmla="*/ 6 w 6"/>
              <a:gd name="T3" fmla="*/ 0 h 21"/>
              <a:gd name="T4" fmla="*/ 6 w 6"/>
              <a:gd name="T5" fmla="*/ 6 h 21"/>
              <a:gd name="T6" fmla="*/ 0 w 6"/>
              <a:gd name="T7" fmla="*/ 21 h 21"/>
            </a:gdLst>
            <a:ahLst/>
            <a:cxnLst>
              <a:cxn ang="0">
                <a:pos x="T0" y="T1"/>
              </a:cxn>
              <a:cxn ang="0">
                <a:pos x="T2" y="T3"/>
              </a:cxn>
              <a:cxn ang="0">
                <a:pos x="T4" y="T5"/>
              </a:cxn>
              <a:cxn ang="0">
                <a:pos x="T6" y="T7"/>
              </a:cxn>
            </a:cxnLst>
            <a:rect l="0" t="0" r="r" b="b"/>
            <a:pathLst>
              <a:path w="6" h="21">
                <a:moveTo>
                  <a:pt x="0" y="21"/>
                </a:moveTo>
                <a:lnTo>
                  <a:pt x="6" y="0"/>
                </a:lnTo>
                <a:lnTo>
                  <a:pt x="6" y="6"/>
                </a:lnTo>
                <a:lnTo>
                  <a:pt x="0" y="21"/>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57" name="Freeform 894"/>
          <p:cNvSpPr>
            <a:spLocks noChangeAspect="1"/>
          </p:cNvSpPr>
          <p:nvPr/>
        </p:nvSpPr>
        <p:spPr bwMode="auto">
          <a:xfrm>
            <a:off x="7932060" y="3490861"/>
            <a:ext cx="8573" cy="30006"/>
          </a:xfrm>
          <a:custGeom>
            <a:avLst/>
            <a:gdLst>
              <a:gd name="T0" fmla="*/ 0 w 6"/>
              <a:gd name="T1" fmla="*/ 21 h 21"/>
              <a:gd name="T2" fmla="*/ 6 w 6"/>
              <a:gd name="T3" fmla="*/ 0 h 21"/>
              <a:gd name="T4" fmla="*/ 6 w 6"/>
              <a:gd name="T5" fmla="*/ 6 h 21"/>
              <a:gd name="T6" fmla="*/ 0 w 6"/>
              <a:gd name="T7" fmla="*/ 21 h 21"/>
            </a:gdLst>
            <a:ahLst/>
            <a:cxnLst>
              <a:cxn ang="0">
                <a:pos x="T0" y="T1"/>
              </a:cxn>
              <a:cxn ang="0">
                <a:pos x="T2" y="T3"/>
              </a:cxn>
              <a:cxn ang="0">
                <a:pos x="T4" y="T5"/>
              </a:cxn>
              <a:cxn ang="0">
                <a:pos x="T6" y="T7"/>
              </a:cxn>
            </a:cxnLst>
            <a:rect l="0" t="0" r="r" b="b"/>
            <a:pathLst>
              <a:path w="6" h="21">
                <a:moveTo>
                  <a:pt x="0" y="21"/>
                </a:moveTo>
                <a:lnTo>
                  <a:pt x="6" y="0"/>
                </a:lnTo>
                <a:lnTo>
                  <a:pt x="6" y="6"/>
                </a:lnTo>
                <a:lnTo>
                  <a:pt x="0" y="21"/>
                </a:lnTo>
              </a:path>
            </a:pathLst>
          </a:custGeom>
          <a:solidFill>
            <a:schemeClr val="bg2"/>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58" name="Freeform 910"/>
          <p:cNvSpPr>
            <a:spLocks noChangeAspect="1"/>
          </p:cNvSpPr>
          <p:nvPr/>
        </p:nvSpPr>
        <p:spPr bwMode="auto">
          <a:xfrm>
            <a:off x="6196408" y="3884457"/>
            <a:ext cx="1080135" cy="490062"/>
          </a:xfrm>
          <a:custGeom>
            <a:avLst/>
            <a:gdLst>
              <a:gd name="T0" fmla="*/ 21 w 756"/>
              <a:gd name="T1" fmla="*/ 264 h 343"/>
              <a:gd name="T2" fmla="*/ 47 w 756"/>
              <a:gd name="T3" fmla="*/ 233 h 343"/>
              <a:gd name="T4" fmla="*/ 100 w 756"/>
              <a:gd name="T5" fmla="*/ 198 h 343"/>
              <a:gd name="T6" fmla="*/ 121 w 756"/>
              <a:gd name="T7" fmla="*/ 179 h 343"/>
              <a:gd name="T8" fmla="*/ 141 w 756"/>
              <a:gd name="T9" fmla="*/ 173 h 343"/>
              <a:gd name="T10" fmla="*/ 162 w 756"/>
              <a:gd name="T11" fmla="*/ 152 h 343"/>
              <a:gd name="T12" fmla="*/ 194 w 756"/>
              <a:gd name="T13" fmla="*/ 128 h 343"/>
              <a:gd name="T14" fmla="*/ 209 w 756"/>
              <a:gd name="T15" fmla="*/ 98 h 343"/>
              <a:gd name="T16" fmla="*/ 326 w 756"/>
              <a:gd name="T17" fmla="*/ 75 h 343"/>
              <a:gd name="T18" fmla="*/ 709 w 756"/>
              <a:gd name="T19" fmla="*/ 7 h 343"/>
              <a:gd name="T20" fmla="*/ 737 w 756"/>
              <a:gd name="T21" fmla="*/ 39 h 343"/>
              <a:gd name="T22" fmla="*/ 722 w 756"/>
              <a:gd name="T23" fmla="*/ 34 h 343"/>
              <a:gd name="T24" fmla="*/ 698 w 756"/>
              <a:gd name="T25" fmla="*/ 32 h 343"/>
              <a:gd name="T26" fmla="*/ 705 w 756"/>
              <a:gd name="T27" fmla="*/ 49 h 343"/>
              <a:gd name="T28" fmla="*/ 686 w 756"/>
              <a:gd name="T29" fmla="*/ 51 h 343"/>
              <a:gd name="T30" fmla="*/ 662 w 756"/>
              <a:gd name="T31" fmla="*/ 69 h 343"/>
              <a:gd name="T32" fmla="*/ 656 w 756"/>
              <a:gd name="T33" fmla="*/ 43 h 343"/>
              <a:gd name="T34" fmla="*/ 654 w 756"/>
              <a:gd name="T35" fmla="*/ 58 h 343"/>
              <a:gd name="T36" fmla="*/ 673 w 756"/>
              <a:gd name="T37" fmla="*/ 79 h 343"/>
              <a:gd name="T38" fmla="*/ 703 w 756"/>
              <a:gd name="T39" fmla="*/ 69 h 343"/>
              <a:gd name="T40" fmla="*/ 724 w 756"/>
              <a:gd name="T41" fmla="*/ 79 h 343"/>
              <a:gd name="T42" fmla="*/ 724 w 756"/>
              <a:gd name="T43" fmla="*/ 100 h 343"/>
              <a:gd name="T44" fmla="*/ 739 w 756"/>
              <a:gd name="T45" fmla="*/ 71 h 343"/>
              <a:gd name="T46" fmla="*/ 754 w 756"/>
              <a:gd name="T47" fmla="*/ 75 h 343"/>
              <a:gd name="T48" fmla="*/ 743 w 756"/>
              <a:gd name="T49" fmla="*/ 100 h 343"/>
              <a:gd name="T50" fmla="*/ 711 w 756"/>
              <a:gd name="T51" fmla="*/ 137 h 343"/>
              <a:gd name="T52" fmla="*/ 692 w 756"/>
              <a:gd name="T53" fmla="*/ 132 h 343"/>
              <a:gd name="T54" fmla="*/ 684 w 756"/>
              <a:gd name="T55" fmla="*/ 130 h 343"/>
              <a:gd name="T56" fmla="*/ 660 w 756"/>
              <a:gd name="T57" fmla="*/ 137 h 343"/>
              <a:gd name="T58" fmla="*/ 677 w 756"/>
              <a:gd name="T59" fmla="*/ 145 h 343"/>
              <a:gd name="T60" fmla="*/ 690 w 756"/>
              <a:gd name="T61" fmla="*/ 160 h 343"/>
              <a:gd name="T62" fmla="*/ 684 w 756"/>
              <a:gd name="T63" fmla="*/ 186 h 343"/>
              <a:gd name="T64" fmla="*/ 656 w 756"/>
              <a:gd name="T65" fmla="*/ 179 h 343"/>
              <a:gd name="T66" fmla="*/ 681 w 756"/>
              <a:gd name="T67" fmla="*/ 194 h 343"/>
              <a:gd name="T68" fmla="*/ 705 w 756"/>
              <a:gd name="T69" fmla="*/ 181 h 343"/>
              <a:gd name="T70" fmla="*/ 709 w 756"/>
              <a:gd name="T71" fmla="*/ 186 h 343"/>
              <a:gd name="T72" fmla="*/ 724 w 756"/>
              <a:gd name="T73" fmla="*/ 184 h 343"/>
              <a:gd name="T74" fmla="*/ 707 w 756"/>
              <a:gd name="T75" fmla="*/ 211 h 343"/>
              <a:gd name="T76" fmla="*/ 688 w 756"/>
              <a:gd name="T77" fmla="*/ 213 h 343"/>
              <a:gd name="T78" fmla="*/ 654 w 756"/>
              <a:gd name="T79" fmla="*/ 224 h 343"/>
              <a:gd name="T80" fmla="*/ 632 w 756"/>
              <a:gd name="T81" fmla="*/ 243 h 343"/>
              <a:gd name="T82" fmla="*/ 630 w 756"/>
              <a:gd name="T83" fmla="*/ 245 h 343"/>
              <a:gd name="T84" fmla="*/ 603 w 756"/>
              <a:gd name="T85" fmla="*/ 294 h 343"/>
              <a:gd name="T86" fmla="*/ 592 w 756"/>
              <a:gd name="T87" fmla="*/ 299 h 343"/>
              <a:gd name="T88" fmla="*/ 588 w 756"/>
              <a:gd name="T89" fmla="*/ 333 h 343"/>
              <a:gd name="T90" fmla="*/ 543 w 756"/>
              <a:gd name="T91" fmla="*/ 343 h 343"/>
              <a:gd name="T92" fmla="*/ 322 w 756"/>
              <a:gd name="T93" fmla="*/ 273 h 343"/>
              <a:gd name="T94" fmla="*/ 300 w 756"/>
              <a:gd name="T95" fmla="*/ 250 h 343"/>
              <a:gd name="T96" fmla="*/ 175 w 756"/>
              <a:gd name="T97" fmla="*/ 256 h 343"/>
              <a:gd name="T98" fmla="*/ 134 w 756"/>
              <a:gd name="T99" fmla="*/ 27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343">
                <a:moveTo>
                  <a:pt x="0" y="305"/>
                </a:moveTo>
                <a:lnTo>
                  <a:pt x="0" y="275"/>
                </a:lnTo>
                <a:lnTo>
                  <a:pt x="15" y="273"/>
                </a:lnTo>
                <a:lnTo>
                  <a:pt x="21" y="264"/>
                </a:lnTo>
                <a:lnTo>
                  <a:pt x="21" y="256"/>
                </a:lnTo>
                <a:lnTo>
                  <a:pt x="26" y="247"/>
                </a:lnTo>
                <a:lnTo>
                  <a:pt x="32" y="241"/>
                </a:lnTo>
                <a:lnTo>
                  <a:pt x="47" y="233"/>
                </a:lnTo>
                <a:lnTo>
                  <a:pt x="60" y="233"/>
                </a:lnTo>
                <a:lnTo>
                  <a:pt x="66" y="228"/>
                </a:lnTo>
                <a:lnTo>
                  <a:pt x="87" y="209"/>
                </a:lnTo>
                <a:lnTo>
                  <a:pt x="100" y="198"/>
                </a:lnTo>
                <a:lnTo>
                  <a:pt x="107" y="198"/>
                </a:lnTo>
                <a:lnTo>
                  <a:pt x="111" y="192"/>
                </a:lnTo>
                <a:lnTo>
                  <a:pt x="115" y="177"/>
                </a:lnTo>
                <a:lnTo>
                  <a:pt x="121" y="179"/>
                </a:lnTo>
                <a:lnTo>
                  <a:pt x="124" y="173"/>
                </a:lnTo>
                <a:lnTo>
                  <a:pt x="126" y="169"/>
                </a:lnTo>
                <a:lnTo>
                  <a:pt x="134" y="164"/>
                </a:lnTo>
                <a:lnTo>
                  <a:pt x="141" y="173"/>
                </a:lnTo>
                <a:lnTo>
                  <a:pt x="145" y="173"/>
                </a:lnTo>
                <a:lnTo>
                  <a:pt x="151" y="164"/>
                </a:lnTo>
                <a:lnTo>
                  <a:pt x="156" y="158"/>
                </a:lnTo>
                <a:lnTo>
                  <a:pt x="162" y="152"/>
                </a:lnTo>
                <a:lnTo>
                  <a:pt x="175" y="147"/>
                </a:lnTo>
                <a:lnTo>
                  <a:pt x="181" y="152"/>
                </a:lnTo>
                <a:lnTo>
                  <a:pt x="190" y="143"/>
                </a:lnTo>
                <a:lnTo>
                  <a:pt x="194" y="128"/>
                </a:lnTo>
                <a:lnTo>
                  <a:pt x="200" y="122"/>
                </a:lnTo>
                <a:lnTo>
                  <a:pt x="207" y="120"/>
                </a:lnTo>
                <a:lnTo>
                  <a:pt x="209" y="105"/>
                </a:lnTo>
                <a:lnTo>
                  <a:pt x="209" y="98"/>
                </a:lnTo>
                <a:lnTo>
                  <a:pt x="213" y="88"/>
                </a:lnTo>
                <a:lnTo>
                  <a:pt x="226" y="90"/>
                </a:lnTo>
                <a:lnTo>
                  <a:pt x="256" y="86"/>
                </a:lnTo>
                <a:lnTo>
                  <a:pt x="326" y="75"/>
                </a:lnTo>
                <a:lnTo>
                  <a:pt x="522" y="39"/>
                </a:lnTo>
                <a:lnTo>
                  <a:pt x="620" y="20"/>
                </a:lnTo>
                <a:lnTo>
                  <a:pt x="707" y="0"/>
                </a:lnTo>
                <a:lnTo>
                  <a:pt x="709" y="7"/>
                </a:lnTo>
                <a:lnTo>
                  <a:pt x="716" y="13"/>
                </a:lnTo>
                <a:lnTo>
                  <a:pt x="722" y="15"/>
                </a:lnTo>
                <a:lnTo>
                  <a:pt x="722" y="20"/>
                </a:lnTo>
                <a:lnTo>
                  <a:pt x="737" y="39"/>
                </a:lnTo>
                <a:lnTo>
                  <a:pt x="737" y="47"/>
                </a:lnTo>
                <a:lnTo>
                  <a:pt x="733" y="37"/>
                </a:lnTo>
                <a:lnTo>
                  <a:pt x="718" y="26"/>
                </a:lnTo>
                <a:lnTo>
                  <a:pt x="722" y="34"/>
                </a:lnTo>
                <a:lnTo>
                  <a:pt x="728" y="41"/>
                </a:lnTo>
                <a:lnTo>
                  <a:pt x="720" y="41"/>
                </a:lnTo>
                <a:lnTo>
                  <a:pt x="705" y="32"/>
                </a:lnTo>
                <a:lnTo>
                  <a:pt x="698" y="32"/>
                </a:lnTo>
                <a:lnTo>
                  <a:pt x="705" y="34"/>
                </a:lnTo>
                <a:lnTo>
                  <a:pt x="711" y="41"/>
                </a:lnTo>
                <a:lnTo>
                  <a:pt x="711" y="47"/>
                </a:lnTo>
                <a:lnTo>
                  <a:pt x="705" y="49"/>
                </a:lnTo>
                <a:lnTo>
                  <a:pt x="698" y="47"/>
                </a:lnTo>
                <a:lnTo>
                  <a:pt x="703" y="54"/>
                </a:lnTo>
                <a:lnTo>
                  <a:pt x="692" y="51"/>
                </a:lnTo>
                <a:lnTo>
                  <a:pt x="686" y="51"/>
                </a:lnTo>
                <a:lnTo>
                  <a:pt x="694" y="58"/>
                </a:lnTo>
                <a:lnTo>
                  <a:pt x="677" y="71"/>
                </a:lnTo>
                <a:lnTo>
                  <a:pt x="671" y="66"/>
                </a:lnTo>
                <a:lnTo>
                  <a:pt x="662" y="69"/>
                </a:lnTo>
                <a:lnTo>
                  <a:pt x="656" y="54"/>
                </a:lnTo>
                <a:lnTo>
                  <a:pt x="656" y="47"/>
                </a:lnTo>
                <a:lnTo>
                  <a:pt x="656" y="45"/>
                </a:lnTo>
                <a:lnTo>
                  <a:pt x="656" y="43"/>
                </a:lnTo>
                <a:lnTo>
                  <a:pt x="652" y="39"/>
                </a:lnTo>
                <a:lnTo>
                  <a:pt x="656" y="45"/>
                </a:lnTo>
                <a:lnTo>
                  <a:pt x="652" y="51"/>
                </a:lnTo>
                <a:lnTo>
                  <a:pt x="654" y="58"/>
                </a:lnTo>
                <a:lnTo>
                  <a:pt x="658" y="66"/>
                </a:lnTo>
                <a:lnTo>
                  <a:pt x="664" y="73"/>
                </a:lnTo>
                <a:lnTo>
                  <a:pt x="664" y="81"/>
                </a:lnTo>
                <a:lnTo>
                  <a:pt x="673" y="79"/>
                </a:lnTo>
                <a:lnTo>
                  <a:pt x="679" y="77"/>
                </a:lnTo>
                <a:lnTo>
                  <a:pt x="688" y="71"/>
                </a:lnTo>
                <a:lnTo>
                  <a:pt x="703" y="75"/>
                </a:lnTo>
                <a:lnTo>
                  <a:pt x="703" y="69"/>
                </a:lnTo>
                <a:lnTo>
                  <a:pt x="713" y="64"/>
                </a:lnTo>
                <a:lnTo>
                  <a:pt x="722" y="64"/>
                </a:lnTo>
                <a:lnTo>
                  <a:pt x="724" y="71"/>
                </a:lnTo>
                <a:lnTo>
                  <a:pt x="724" y="79"/>
                </a:lnTo>
                <a:lnTo>
                  <a:pt x="720" y="88"/>
                </a:lnTo>
                <a:lnTo>
                  <a:pt x="726" y="90"/>
                </a:lnTo>
                <a:lnTo>
                  <a:pt x="722" y="96"/>
                </a:lnTo>
                <a:lnTo>
                  <a:pt x="724" y="100"/>
                </a:lnTo>
                <a:lnTo>
                  <a:pt x="733" y="94"/>
                </a:lnTo>
                <a:lnTo>
                  <a:pt x="730" y="79"/>
                </a:lnTo>
                <a:lnTo>
                  <a:pt x="730" y="71"/>
                </a:lnTo>
                <a:lnTo>
                  <a:pt x="739" y="71"/>
                </a:lnTo>
                <a:lnTo>
                  <a:pt x="741" y="64"/>
                </a:lnTo>
                <a:lnTo>
                  <a:pt x="741" y="62"/>
                </a:lnTo>
                <a:lnTo>
                  <a:pt x="747" y="69"/>
                </a:lnTo>
                <a:lnTo>
                  <a:pt x="754" y="75"/>
                </a:lnTo>
                <a:lnTo>
                  <a:pt x="754" y="90"/>
                </a:lnTo>
                <a:lnTo>
                  <a:pt x="756" y="96"/>
                </a:lnTo>
                <a:lnTo>
                  <a:pt x="750" y="103"/>
                </a:lnTo>
                <a:lnTo>
                  <a:pt x="743" y="100"/>
                </a:lnTo>
                <a:lnTo>
                  <a:pt x="743" y="107"/>
                </a:lnTo>
                <a:lnTo>
                  <a:pt x="733" y="130"/>
                </a:lnTo>
                <a:lnTo>
                  <a:pt x="728" y="137"/>
                </a:lnTo>
                <a:lnTo>
                  <a:pt x="711" y="137"/>
                </a:lnTo>
                <a:lnTo>
                  <a:pt x="705" y="135"/>
                </a:lnTo>
                <a:lnTo>
                  <a:pt x="701" y="128"/>
                </a:lnTo>
                <a:lnTo>
                  <a:pt x="701" y="135"/>
                </a:lnTo>
                <a:lnTo>
                  <a:pt x="692" y="132"/>
                </a:lnTo>
                <a:lnTo>
                  <a:pt x="686" y="126"/>
                </a:lnTo>
                <a:lnTo>
                  <a:pt x="690" y="122"/>
                </a:lnTo>
                <a:lnTo>
                  <a:pt x="681" y="124"/>
                </a:lnTo>
                <a:lnTo>
                  <a:pt x="684" y="130"/>
                </a:lnTo>
                <a:lnTo>
                  <a:pt x="686" y="137"/>
                </a:lnTo>
                <a:lnTo>
                  <a:pt x="681" y="135"/>
                </a:lnTo>
                <a:lnTo>
                  <a:pt x="673" y="139"/>
                </a:lnTo>
                <a:lnTo>
                  <a:pt x="660" y="137"/>
                </a:lnTo>
                <a:lnTo>
                  <a:pt x="645" y="132"/>
                </a:lnTo>
                <a:lnTo>
                  <a:pt x="643" y="135"/>
                </a:lnTo>
                <a:lnTo>
                  <a:pt x="645" y="137"/>
                </a:lnTo>
                <a:lnTo>
                  <a:pt x="677" y="145"/>
                </a:lnTo>
                <a:lnTo>
                  <a:pt x="686" y="145"/>
                </a:lnTo>
                <a:lnTo>
                  <a:pt x="701" y="152"/>
                </a:lnTo>
                <a:lnTo>
                  <a:pt x="698" y="158"/>
                </a:lnTo>
                <a:lnTo>
                  <a:pt x="690" y="160"/>
                </a:lnTo>
                <a:lnTo>
                  <a:pt x="688" y="167"/>
                </a:lnTo>
                <a:lnTo>
                  <a:pt x="694" y="164"/>
                </a:lnTo>
                <a:lnTo>
                  <a:pt x="694" y="171"/>
                </a:lnTo>
                <a:lnTo>
                  <a:pt x="684" y="186"/>
                </a:lnTo>
                <a:lnTo>
                  <a:pt x="679" y="188"/>
                </a:lnTo>
                <a:lnTo>
                  <a:pt x="671" y="188"/>
                </a:lnTo>
                <a:lnTo>
                  <a:pt x="662" y="181"/>
                </a:lnTo>
                <a:lnTo>
                  <a:pt x="656" y="179"/>
                </a:lnTo>
                <a:lnTo>
                  <a:pt x="650" y="175"/>
                </a:lnTo>
                <a:lnTo>
                  <a:pt x="654" y="181"/>
                </a:lnTo>
                <a:lnTo>
                  <a:pt x="667" y="192"/>
                </a:lnTo>
                <a:lnTo>
                  <a:pt x="681" y="194"/>
                </a:lnTo>
                <a:lnTo>
                  <a:pt x="696" y="186"/>
                </a:lnTo>
                <a:lnTo>
                  <a:pt x="703" y="188"/>
                </a:lnTo>
                <a:lnTo>
                  <a:pt x="701" y="181"/>
                </a:lnTo>
                <a:lnTo>
                  <a:pt x="705" y="181"/>
                </a:lnTo>
                <a:lnTo>
                  <a:pt x="705" y="179"/>
                </a:lnTo>
                <a:lnTo>
                  <a:pt x="707" y="173"/>
                </a:lnTo>
                <a:lnTo>
                  <a:pt x="711" y="179"/>
                </a:lnTo>
                <a:lnTo>
                  <a:pt x="709" y="186"/>
                </a:lnTo>
                <a:lnTo>
                  <a:pt x="716" y="186"/>
                </a:lnTo>
                <a:lnTo>
                  <a:pt x="720" y="177"/>
                </a:lnTo>
                <a:lnTo>
                  <a:pt x="722" y="177"/>
                </a:lnTo>
                <a:lnTo>
                  <a:pt x="724" y="184"/>
                </a:lnTo>
                <a:lnTo>
                  <a:pt x="722" y="190"/>
                </a:lnTo>
                <a:lnTo>
                  <a:pt x="716" y="196"/>
                </a:lnTo>
                <a:lnTo>
                  <a:pt x="709" y="211"/>
                </a:lnTo>
                <a:lnTo>
                  <a:pt x="707" y="211"/>
                </a:lnTo>
                <a:lnTo>
                  <a:pt x="698" y="207"/>
                </a:lnTo>
                <a:lnTo>
                  <a:pt x="696" y="213"/>
                </a:lnTo>
                <a:lnTo>
                  <a:pt x="692" y="207"/>
                </a:lnTo>
                <a:lnTo>
                  <a:pt x="688" y="213"/>
                </a:lnTo>
                <a:lnTo>
                  <a:pt x="686" y="218"/>
                </a:lnTo>
                <a:lnTo>
                  <a:pt x="679" y="218"/>
                </a:lnTo>
                <a:lnTo>
                  <a:pt x="662" y="226"/>
                </a:lnTo>
                <a:lnTo>
                  <a:pt x="654" y="224"/>
                </a:lnTo>
                <a:lnTo>
                  <a:pt x="647" y="237"/>
                </a:lnTo>
                <a:lnTo>
                  <a:pt x="643" y="243"/>
                </a:lnTo>
                <a:lnTo>
                  <a:pt x="641" y="245"/>
                </a:lnTo>
                <a:lnTo>
                  <a:pt x="632" y="243"/>
                </a:lnTo>
                <a:lnTo>
                  <a:pt x="639" y="237"/>
                </a:lnTo>
                <a:lnTo>
                  <a:pt x="630" y="233"/>
                </a:lnTo>
                <a:lnTo>
                  <a:pt x="635" y="239"/>
                </a:lnTo>
                <a:lnTo>
                  <a:pt x="630" y="245"/>
                </a:lnTo>
                <a:lnTo>
                  <a:pt x="635" y="252"/>
                </a:lnTo>
                <a:lnTo>
                  <a:pt x="620" y="264"/>
                </a:lnTo>
                <a:lnTo>
                  <a:pt x="609" y="279"/>
                </a:lnTo>
                <a:lnTo>
                  <a:pt x="603" y="294"/>
                </a:lnTo>
                <a:lnTo>
                  <a:pt x="601" y="303"/>
                </a:lnTo>
                <a:lnTo>
                  <a:pt x="601" y="324"/>
                </a:lnTo>
                <a:lnTo>
                  <a:pt x="596" y="305"/>
                </a:lnTo>
                <a:lnTo>
                  <a:pt x="592" y="299"/>
                </a:lnTo>
                <a:lnTo>
                  <a:pt x="592" y="299"/>
                </a:lnTo>
                <a:lnTo>
                  <a:pt x="596" y="313"/>
                </a:lnTo>
                <a:lnTo>
                  <a:pt x="594" y="328"/>
                </a:lnTo>
                <a:lnTo>
                  <a:pt x="588" y="333"/>
                </a:lnTo>
                <a:lnTo>
                  <a:pt x="575" y="333"/>
                </a:lnTo>
                <a:lnTo>
                  <a:pt x="562" y="337"/>
                </a:lnTo>
                <a:lnTo>
                  <a:pt x="547" y="343"/>
                </a:lnTo>
                <a:lnTo>
                  <a:pt x="543" y="343"/>
                </a:lnTo>
                <a:lnTo>
                  <a:pt x="539" y="341"/>
                </a:lnTo>
                <a:lnTo>
                  <a:pt x="424" y="258"/>
                </a:lnTo>
                <a:lnTo>
                  <a:pt x="324" y="275"/>
                </a:lnTo>
                <a:lnTo>
                  <a:pt x="322" y="273"/>
                </a:lnTo>
                <a:lnTo>
                  <a:pt x="322" y="267"/>
                </a:lnTo>
                <a:lnTo>
                  <a:pt x="317" y="258"/>
                </a:lnTo>
                <a:lnTo>
                  <a:pt x="307" y="247"/>
                </a:lnTo>
                <a:lnTo>
                  <a:pt x="300" y="250"/>
                </a:lnTo>
                <a:lnTo>
                  <a:pt x="292" y="243"/>
                </a:lnTo>
                <a:lnTo>
                  <a:pt x="262" y="245"/>
                </a:lnTo>
                <a:lnTo>
                  <a:pt x="181" y="254"/>
                </a:lnTo>
                <a:lnTo>
                  <a:pt x="175" y="256"/>
                </a:lnTo>
                <a:lnTo>
                  <a:pt x="166" y="260"/>
                </a:lnTo>
                <a:lnTo>
                  <a:pt x="153" y="264"/>
                </a:lnTo>
                <a:lnTo>
                  <a:pt x="141" y="275"/>
                </a:lnTo>
                <a:lnTo>
                  <a:pt x="134" y="275"/>
                </a:lnTo>
                <a:lnTo>
                  <a:pt x="111" y="288"/>
                </a:lnTo>
                <a:lnTo>
                  <a:pt x="0" y="305"/>
                </a:lnTo>
              </a:path>
            </a:pathLst>
          </a:custGeom>
          <a:solidFill>
            <a:srgbClr val="C00000"/>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N.C.</a:t>
            </a:r>
          </a:p>
        </p:txBody>
      </p:sp>
      <p:sp>
        <p:nvSpPr>
          <p:cNvPr id="359" name="Freeform 927"/>
          <p:cNvSpPr>
            <a:spLocks noChangeAspect="1"/>
          </p:cNvSpPr>
          <p:nvPr/>
        </p:nvSpPr>
        <p:spPr bwMode="auto">
          <a:xfrm>
            <a:off x="6571973" y="2473116"/>
            <a:ext cx="764382" cy="685800"/>
          </a:xfrm>
          <a:custGeom>
            <a:avLst/>
            <a:gdLst>
              <a:gd name="T0" fmla="*/ 4 w 535"/>
              <a:gd name="T1" fmla="*/ 411 h 480"/>
              <a:gd name="T2" fmla="*/ 32 w 535"/>
              <a:gd name="T3" fmla="*/ 379 h 480"/>
              <a:gd name="T4" fmla="*/ 47 w 535"/>
              <a:gd name="T5" fmla="*/ 365 h 480"/>
              <a:gd name="T6" fmla="*/ 62 w 535"/>
              <a:gd name="T7" fmla="*/ 343 h 480"/>
              <a:gd name="T8" fmla="*/ 53 w 535"/>
              <a:gd name="T9" fmla="*/ 320 h 480"/>
              <a:gd name="T10" fmla="*/ 55 w 535"/>
              <a:gd name="T11" fmla="*/ 311 h 480"/>
              <a:gd name="T12" fmla="*/ 41 w 535"/>
              <a:gd name="T13" fmla="*/ 303 h 480"/>
              <a:gd name="T14" fmla="*/ 36 w 535"/>
              <a:gd name="T15" fmla="*/ 290 h 480"/>
              <a:gd name="T16" fmla="*/ 51 w 535"/>
              <a:gd name="T17" fmla="*/ 282 h 480"/>
              <a:gd name="T18" fmla="*/ 66 w 535"/>
              <a:gd name="T19" fmla="*/ 275 h 480"/>
              <a:gd name="T20" fmla="*/ 109 w 535"/>
              <a:gd name="T21" fmla="*/ 262 h 480"/>
              <a:gd name="T22" fmla="*/ 158 w 535"/>
              <a:gd name="T23" fmla="*/ 269 h 480"/>
              <a:gd name="T24" fmla="*/ 185 w 535"/>
              <a:gd name="T25" fmla="*/ 258 h 480"/>
              <a:gd name="T26" fmla="*/ 207 w 535"/>
              <a:gd name="T27" fmla="*/ 258 h 480"/>
              <a:gd name="T28" fmla="*/ 217 w 535"/>
              <a:gd name="T29" fmla="*/ 247 h 480"/>
              <a:gd name="T30" fmla="*/ 228 w 535"/>
              <a:gd name="T31" fmla="*/ 233 h 480"/>
              <a:gd name="T32" fmla="*/ 245 w 535"/>
              <a:gd name="T33" fmla="*/ 218 h 480"/>
              <a:gd name="T34" fmla="*/ 258 w 535"/>
              <a:gd name="T35" fmla="*/ 211 h 480"/>
              <a:gd name="T36" fmla="*/ 253 w 535"/>
              <a:gd name="T37" fmla="*/ 196 h 480"/>
              <a:gd name="T38" fmla="*/ 247 w 535"/>
              <a:gd name="T39" fmla="*/ 177 h 480"/>
              <a:gd name="T40" fmla="*/ 256 w 535"/>
              <a:gd name="T41" fmla="*/ 167 h 480"/>
              <a:gd name="T42" fmla="*/ 249 w 535"/>
              <a:gd name="T43" fmla="*/ 164 h 480"/>
              <a:gd name="T44" fmla="*/ 241 w 535"/>
              <a:gd name="T45" fmla="*/ 158 h 480"/>
              <a:gd name="T46" fmla="*/ 241 w 535"/>
              <a:gd name="T47" fmla="*/ 162 h 480"/>
              <a:gd name="T48" fmla="*/ 234 w 535"/>
              <a:gd name="T49" fmla="*/ 149 h 480"/>
              <a:gd name="T50" fmla="*/ 256 w 535"/>
              <a:gd name="T51" fmla="*/ 128 h 480"/>
              <a:gd name="T52" fmla="*/ 271 w 535"/>
              <a:gd name="T53" fmla="*/ 109 h 480"/>
              <a:gd name="T54" fmla="*/ 292 w 535"/>
              <a:gd name="T55" fmla="*/ 62 h 480"/>
              <a:gd name="T56" fmla="*/ 332 w 535"/>
              <a:gd name="T57" fmla="*/ 26 h 480"/>
              <a:gd name="T58" fmla="*/ 390 w 535"/>
              <a:gd name="T59" fmla="*/ 15 h 480"/>
              <a:gd name="T60" fmla="*/ 445 w 535"/>
              <a:gd name="T61" fmla="*/ 3 h 480"/>
              <a:gd name="T62" fmla="*/ 447 w 535"/>
              <a:gd name="T63" fmla="*/ 17 h 480"/>
              <a:gd name="T64" fmla="*/ 454 w 535"/>
              <a:gd name="T65" fmla="*/ 41 h 480"/>
              <a:gd name="T66" fmla="*/ 462 w 535"/>
              <a:gd name="T67" fmla="*/ 56 h 480"/>
              <a:gd name="T68" fmla="*/ 464 w 535"/>
              <a:gd name="T69" fmla="*/ 71 h 480"/>
              <a:gd name="T70" fmla="*/ 469 w 535"/>
              <a:gd name="T71" fmla="*/ 86 h 480"/>
              <a:gd name="T72" fmla="*/ 464 w 535"/>
              <a:gd name="T73" fmla="*/ 103 h 480"/>
              <a:gd name="T74" fmla="*/ 473 w 535"/>
              <a:gd name="T75" fmla="*/ 124 h 480"/>
              <a:gd name="T76" fmla="*/ 477 w 535"/>
              <a:gd name="T77" fmla="*/ 152 h 480"/>
              <a:gd name="T78" fmla="*/ 483 w 535"/>
              <a:gd name="T79" fmla="*/ 152 h 480"/>
              <a:gd name="T80" fmla="*/ 511 w 535"/>
              <a:gd name="T81" fmla="*/ 233 h 480"/>
              <a:gd name="T82" fmla="*/ 515 w 535"/>
              <a:gd name="T83" fmla="*/ 245 h 480"/>
              <a:gd name="T84" fmla="*/ 513 w 535"/>
              <a:gd name="T85" fmla="*/ 322 h 480"/>
              <a:gd name="T86" fmla="*/ 530 w 535"/>
              <a:gd name="T87" fmla="*/ 407 h 480"/>
              <a:gd name="T88" fmla="*/ 535 w 535"/>
              <a:gd name="T89" fmla="*/ 422 h 480"/>
              <a:gd name="T90" fmla="*/ 524 w 535"/>
              <a:gd name="T91" fmla="*/ 437 h 480"/>
              <a:gd name="T92" fmla="*/ 524 w 535"/>
              <a:gd name="T93" fmla="*/ 460 h 480"/>
              <a:gd name="T94" fmla="*/ 515 w 535"/>
              <a:gd name="T95" fmla="*/ 471 h 480"/>
              <a:gd name="T96" fmla="*/ 509 w 535"/>
              <a:gd name="T97" fmla="*/ 480 h 480"/>
              <a:gd name="T98" fmla="*/ 511 w 535"/>
              <a:gd name="T99" fmla="*/ 441 h 480"/>
              <a:gd name="T100" fmla="*/ 498 w 535"/>
              <a:gd name="T101" fmla="*/ 424 h 480"/>
              <a:gd name="T102" fmla="*/ 496 w 535"/>
              <a:gd name="T103" fmla="*/ 420 h 480"/>
              <a:gd name="T104" fmla="*/ 505 w 535"/>
              <a:gd name="T105" fmla="*/ 435 h 480"/>
              <a:gd name="T106" fmla="*/ 434 w 535"/>
              <a:gd name="T107" fmla="*/ 426 h 480"/>
              <a:gd name="T108" fmla="*/ 426 w 535"/>
              <a:gd name="T109" fmla="*/ 420 h 480"/>
              <a:gd name="T110" fmla="*/ 407 w 535"/>
              <a:gd name="T111" fmla="*/ 416 h 480"/>
              <a:gd name="T112" fmla="*/ 398 w 535"/>
              <a:gd name="T113" fmla="*/ 401 h 480"/>
              <a:gd name="T114" fmla="*/ 383 w 535"/>
              <a:gd name="T115" fmla="*/ 379 h 480"/>
              <a:gd name="T116" fmla="*/ 375 w 535"/>
              <a:gd name="T117" fmla="*/ 373 h 480"/>
              <a:gd name="T118" fmla="*/ 366 w 535"/>
              <a:gd name="T119" fmla="*/ 369 h 480"/>
              <a:gd name="T120" fmla="*/ 175 w 535"/>
              <a:gd name="T121" fmla="*/ 409 h 480"/>
              <a:gd name="T122" fmla="*/ 6 w 535"/>
              <a:gd name="T123" fmla="*/ 441 h 480"/>
              <a:gd name="T124" fmla="*/ 0 w 535"/>
              <a:gd name="T125" fmla="*/ 41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5" h="480">
                <a:moveTo>
                  <a:pt x="0" y="414"/>
                </a:moveTo>
                <a:lnTo>
                  <a:pt x="4" y="411"/>
                </a:lnTo>
                <a:lnTo>
                  <a:pt x="19" y="394"/>
                </a:lnTo>
                <a:lnTo>
                  <a:pt x="32" y="379"/>
                </a:lnTo>
                <a:lnTo>
                  <a:pt x="41" y="371"/>
                </a:lnTo>
                <a:lnTo>
                  <a:pt x="47" y="365"/>
                </a:lnTo>
                <a:lnTo>
                  <a:pt x="49" y="356"/>
                </a:lnTo>
                <a:lnTo>
                  <a:pt x="62" y="343"/>
                </a:lnTo>
                <a:lnTo>
                  <a:pt x="62" y="335"/>
                </a:lnTo>
                <a:lnTo>
                  <a:pt x="53" y="320"/>
                </a:lnTo>
                <a:lnTo>
                  <a:pt x="55" y="313"/>
                </a:lnTo>
                <a:lnTo>
                  <a:pt x="55" y="311"/>
                </a:lnTo>
                <a:lnTo>
                  <a:pt x="41" y="309"/>
                </a:lnTo>
                <a:lnTo>
                  <a:pt x="41" y="303"/>
                </a:lnTo>
                <a:lnTo>
                  <a:pt x="36" y="290"/>
                </a:lnTo>
                <a:lnTo>
                  <a:pt x="36" y="290"/>
                </a:lnTo>
                <a:lnTo>
                  <a:pt x="45" y="286"/>
                </a:lnTo>
                <a:lnTo>
                  <a:pt x="51" y="282"/>
                </a:lnTo>
                <a:lnTo>
                  <a:pt x="60" y="279"/>
                </a:lnTo>
                <a:lnTo>
                  <a:pt x="66" y="275"/>
                </a:lnTo>
                <a:lnTo>
                  <a:pt x="81" y="269"/>
                </a:lnTo>
                <a:lnTo>
                  <a:pt x="109" y="262"/>
                </a:lnTo>
                <a:lnTo>
                  <a:pt x="139" y="262"/>
                </a:lnTo>
                <a:lnTo>
                  <a:pt x="158" y="269"/>
                </a:lnTo>
                <a:lnTo>
                  <a:pt x="170" y="260"/>
                </a:lnTo>
                <a:lnTo>
                  <a:pt x="185" y="258"/>
                </a:lnTo>
                <a:lnTo>
                  <a:pt x="200" y="256"/>
                </a:lnTo>
                <a:lnTo>
                  <a:pt x="207" y="258"/>
                </a:lnTo>
                <a:lnTo>
                  <a:pt x="211" y="252"/>
                </a:lnTo>
                <a:lnTo>
                  <a:pt x="217" y="247"/>
                </a:lnTo>
                <a:lnTo>
                  <a:pt x="224" y="241"/>
                </a:lnTo>
                <a:lnTo>
                  <a:pt x="228" y="233"/>
                </a:lnTo>
                <a:lnTo>
                  <a:pt x="236" y="226"/>
                </a:lnTo>
                <a:lnTo>
                  <a:pt x="245" y="218"/>
                </a:lnTo>
                <a:lnTo>
                  <a:pt x="253" y="218"/>
                </a:lnTo>
                <a:lnTo>
                  <a:pt x="258" y="211"/>
                </a:lnTo>
                <a:lnTo>
                  <a:pt x="258" y="203"/>
                </a:lnTo>
                <a:lnTo>
                  <a:pt x="253" y="196"/>
                </a:lnTo>
                <a:lnTo>
                  <a:pt x="253" y="192"/>
                </a:lnTo>
                <a:lnTo>
                  <a:pt x="247" y="177"/>
                </a:lnTo>
                <a:lnTo>
                  <a:pt x="253" y="175"/>
                </a:lnTo>
                <a:lnTo>
                  <a:pt x="256" y="167"/>
                </a:lnTo>
                <a:lnTo>
                  <a:pt x="260" y="160"/>
                </a:lnTo>
                <a:lnTo>
                  <a:pt x="249" y="164"/>
                </a:lnTo>
                <a:lnTo>
                  <a:pt x="249" y="154"/>
                </a:lnTo>
                <a:lnTo>
                  <a:pt x="241" y="158"/>
                </a:lnTo>
                <a:lnTo>
                  <a:pt x="243" y="167"/>
                </a:lnTo>
                <a:lnTo>
                  <a:pt x="241" y="162"/>
                </a:lnTo>
                <a:lnTo>
                  <a:pt x="234" y="156"/>
                </a:lnTo>
                <a:lnTo>
                  <a:pt x="234" y="149"/>
                </a:lnTo>
                <a:lnTo>
                  <a:pt x="249" y="135"/>
                </a:lnTo>
                <a:lnTo>
                  <a:pt x="256" y="128"/>
                </a:lnTo>
                <a:lnTo>
                  <a:pt x="260" y="124"/>
                </a:lnTo>
                <a:lnTo>
                  <a:pt x="271" y="109"/>
                </a:lnTo>
                <a:lnTo>
                  <a:pt x="268" y="100"/>
                </a:lnTo>
                <a:lnTo>
                  <a:pt x="292" y="62"/>
                </a:lnTo>
                <a:lnTo>
                  <a:pt x="317" y="34"/>
                </a:lnTo>
                <a:lnTo>
                  <a:pt x="332" y="26"/>
                </a:lnTo>
                <a:lnTo>
                  <a:pt x="339" y="26"/>
                </a:lnTo>
                <a:lnTo>
                  <a:pt x="390" y="15"/>
                </a:lnTo>
                <a:lnTo>
                  <a:pt x="445" y="0"/>
                </a:lnTo>
                <a:lnTo>
                  <a:pt x="445" y="3"/>
                </a:lnTo>
                <a:lnTo>
                  <a:pt x="447" y="9"/>
                </a:lnTo>
                <a:lnTo>
                  <a:pt x="447" y="17"/>
                </a:lnTo>
                <a:lnTo>
                  <a:pt x="452" y="24"/>
                </a:lnTo>
                <a:lnTo>
                  <a:pt x="454" y="41"/>
                </a:lnTo>
                <a:lnTo>
                  <a:pt x="456" y="49"/>
                </a:lnTo>
                <a:lnTo>
                  <a:pt x="462" y="56"/>
                </a:lnTo>
                <a:lnTo>
                  <a:pt x="464" y="62"/>
                </a:lnTo>
                <a:lnTo>
                  <a:pt x="464" y="71"/>
                </a:lnTo>
                <a:lnTo>
                  <a:pt x="466" y="77"/>
                </a:lnTo>
                <a:lnTo>
                  <a:pt x="469" y="86"/>
                </a:lnTo>
                <a:lnTo>
                  <a:pt x="464" y="88"/>
                </a:lnTo>
                <a:lnTo>
                  <a:pt x="464" y="103"/>
                </a:lnTo>
                <a:lnTo>
                  <a:pt x="469" y="118"/>
                </a:lnTo>
                <a:lnTo>
                  <a:pt x="473" y="124"/>
                </a:lnTo>
                <a:lnTo>
                  <a:pt x="477" y="139"/>
                </a:lnTo>
                <a:lnTo>
                  <a:pt x="477" y="152"/>
                </a:lnTo>
                <a:lnTo>
                  <a:pt x="479" y="158"/>
                </a:lnTo>
                <a:lnTo>
                  <a:pt x="483" y="152"/>
                </a:lnTo>
                <a:lnTo>
                  <a:pt x="494" y="160"/>
                </a:lnTo>
                <a:lnTo>
                  <a:pt x="511" y="233"/>
                </a:lnTo>
                <a:lnTo>
                  <a:pt x="509" y="239"/>
                </a:lnTo>
                <a:lnTo>
                  <a:pt x="515" y="245"/>
                </a:lnTo>
                <a:lnTo>
                  <a:pt x="513" y="252"/>
                </a:lnTo>
                <a:lnTo>
                  <a:pt x="513" y="322"/>
                </a:lnTo>
                <a:lnTo>
                  <a:pt x="515" y="326"/>
                </a:lnTo>
                <a:lnTo>
                  <a:pt x="530" y="407"/>
                </a:lnTo>
                <a:lnTo>
                  <a:pt x="535" y="416"/>
                </a:lnTo>
                <a:lnTo>
                  <a:pt x="535" y="422"/>
                </a:lnTo>
                <a:lnTo>
                  <a:pt x="524" y="435"/>
                </a:lnTo>
                <a:lnTo>
                  <a:pt x="524" y="437"/>
                </a:lnTo>
                <a:lnTo>
                  <a:pt x="530" y="446"/>
                </a:lnTo>
                <a:lnTo>
                  <a:pt x="524" y="460"/>
                </a:lnTo>
                <a:lnTo>
                  <a:pt x="522" y="469"/>
                </a:lnTo>
                <a:lnTo>
                  <a:pt x="515" y="471"/>
                </a:lnTo>
                <a:lnTo>
                  <a:pt x="511" y="480"/>
                </a:lnTo>
                <a:lnTo>
                  <a:pt x="509" y="480"/>
                </a:lnTo>
                <a:lnTo>
                  <a:pt x="511" y="463"/>
                </a:lnTo>
                <a:lnTo>
                  <a:pt x="511" y="441"/>
                </a:lnTo>
                <a:lnTo>
                  <a:pt x="507" y="431"/>
                </a:lnTo>
                <a:lnTo>
                  <a:pt x="498" y="424"/>
                </a:lnTo>
                <a:lnTo>
                  <a:pt x="498" y="418"/>
                </a:lnTo>
                <a:lnTo>
                  <a:pt x="496" y="420"/>
                </a:lnTo>
                <a:lnTo>
                  <a:pt x="498" y="426"/>
                </a:lnTo>
                <a:lnTo>
                  <a:pt x="505" y="435"/>
                </a:lnTo>
                <a:lnTo>
                  <a:pt x="509" y="452"/>
                </a:lnTo>
                <a:lnTo>
                  <a:pt x="434" y="426"/>
                </a:lnTo>
                <a:lnTo>
                  <a:pt x="434" y="424"/>
                </a:lnTo>
                <a:lnTo>
                  <a:pt x="426" y="420"/>
                </a:lnTo>
                <a:lnTo>
                  <a:pt x="420" y="420"/>
                </a:lnTo>
                <a:lnTo>
                  <a:pt x="407" y="416"/>
                </a:lnTo>
                <a:lnTo>
                  <a:pt x="400" y="407"/>
                </a:lnTo>
                <a:lnTo>
                  <a:pt x="398" y="401"/>
                </a:lnTo>
                <a:lnTo>
                  <a:pt x="392" y="386"/>
                </a:lnTo>
                <a:lnTo>
                  <a:pt x="383" y="379"/>
                </a:lnTo>
                <a:lnTo>
                  <a:pt x="377" y="379"/>
                </a:lnTo>
                <a:lnTo>
                  <a:pt x="375" y="373"/>
                </a:lnTo>
                <a:lnTo>
                  <a:pt x="366" y="369"/>
                </a:lnTo>
                <a:lnTo>
                  <a:pt x="366" y="369"/>
                </a:lnTo>
                <a:lnTo>
                  <a:pt x="290" y="386"/>
                </a:lnTo>
                <a:lnTo>
                  <a:pt x="175" y="409"/>
                </a:lnTo>
                <a:lnTo>
                  <a:pt x="73" y="431"/>
                </a:lnTo>
                <a:lnTo>
                  <a:pt x="6" y="441"/>
                </a:lnTo>
                <a:lnTo>
                  <a:pt x="2" y="416"/>
                </a:lnTo>
                <a:lnTo>
                  <a:pt x="0" y="414"/>
                </a:lnTo>
                <a:close/>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chemeClr val="bg1"/>
              </a:solidFill>
            </a:endParaRPr>
          </a:p>
          <a:p>
            <a:pPr algn="ctr"/>
            <a:r>
              <a:rPr lang="en-US" sz="1000" b="1" dirty="0">
                <a:solidFill>
                  <a:schemeClr val="bg1"/>
                </a:solidFill>
              </a:rPr>
              <a:t>         </a:t>
            </a:r>
            <a:r>
              <a:rPr lang="en-US" sz="1000" b="1" dirty="0">
                <a:solidFill>
                  <a:srgbClr val="5A5A5A"/>
                </a:solidFill>
              </a:rPr>
              <a:t>N.Y.</a:t>
            </a:r>
          </a:p>
        </p:txBody>
      </p:sp>
      <p:sp>
        <p:nvSpPr>
          <p:cNvPr id="360" name="Freeform 930"/>
          <p:cNvSpPr>
            <a:spLocks noChangeAspect="1"/>
          </p:cNvSpPr>
          <p:nvPr/>
        </p:nvSpPr>
        <p:spPr bwMode="auto">
          <a:xfrm>
            <a:off x="7299578" y="3027714"/>
            <a:ext cx="228599" cy="142875"/>
          </a:xfrm>
          <a:custGeom>
            <a:avLst/>
            <a:gdLst>
              <a:gd name="T0" fmla="*/ 51 w 160"/>
              <a:gd name="T1" fmla="*/ 78 h 100"/>
              <a:gd name="T2" fmla="*/ 23 w 160"/>
              <a:gd name="T3" fmla="*/ 93 h 100"/>
              <a:gd name="T4" fmla="*/ 11 w 160"/>
              <a:gd name="T5" fmla="*/ 100 h 100"/>
              <a:gd name="T6" fmla="*/ 17 w 160"/>
              <a:gd name="T7" fmla="*/ 93 h 100"/>
              <a:gd name="T8" fmla="*/ 2 w 160"/>
              <a:gd name="T9" fmla="*/ 98 h 100"/>
              <a:gd name="T10" fmla="*/ 0 w 160"/>
              <a:gd name="T11" fmla="*/ 96 h 100"/>
              <a:gd name="T12" fmla="*/ 0 w 160"/>
              <a:gd name="T13" fmla="*/ 89 h 100"/>
              <a:gd name="T14" fmla="*/ 4 w 160"/>
              <a:gd name="T15" fmla="*/ 81 h 100"/>
              <a:gd name="T16" fmla="*/ 17 w 160"/>
              <a:gd name="T17" fmla="*/ 72 h 100"/>
              <a:gd name="T18" fmla="*/ 19 w 160"/>
              <a:gd name="T19" fmla="*/ 64 h 100"/>
              <a:gd name="T20" fmla="*/ 26 w 160"/>
              <a:gd name="T21" fmla="*/ 66 h 100"/>
              <a:gd name="T22" fmla="*/ 26 w 160"/>
              <a:gd name="T23" fmla="*/ 59 h 100"/>
              <a:gd name="T24" fmla="*/ 32 w 160"/>
              <a:gd name="T25" fmla="*/ 53 h 100"/>
              <a:gd name="T26" fmla="*/ 38 w 160"/>
              <a:gd name="T27" fmla="*/ 55 h 100"/>
              <a:gd name="T28" fmla="*/ 53 w 160"/>
              <a:gd name="T29" fmla="*/ 47 h 100"/>
              <a:gd name="T30" fmla="*/ 60 w 160"/>
              <a:gd name="T31" fmla="*/ 47 h 100"/>
              <a:gd name="T32" fmla="*/ 64 w 160"/>
              <a:gd name="T33" fmla="*/ 40 h 100"/>
              <a:gd name="T34" fmla="*/ 70 w 160"/>
              <a:gd name="T35" fmla="*/ 38 h 100"/>
              <a:gd name="T36" fmla="*/ 92 w 160"/>
              <a:gd name="T37" fmla="*/ 32 h 100"/>
              <a:gd name="T38" fmla="*/ 106 w 160"/>
              <a:gd name="T39" fmla="*/ 25 h 100"/>
              <a:gd name="T40" fmla="*/ 128 w 160"/>
              <a:gd name="T41" fmla="*/ 0 h 100"/>
              <a:gd name="T42" fmla="*/ 121 w 160"/>
              <a:gd name="T43" fmla="*/ 12 h 100"/>
              <a:gd name="T44" fmla="*/ 121 w 160"/>
              <a:gd name="T45" fmla="*/ 21 h 100"/>
              <a:gd name="T46" fmla="*/ 113 w 160"/>
              <a:gd name="T47" fmla="*/ 27 h 100"/>
              <a:gd name="T48" fmla="*/ 109 w 160"/>
              <a:gd name="T49" fmla="*/ 34 h 100"/>
              <a:gd name="T50" fmla="*/ 115 w 160"/>
              <a:gd name="T51" fmla="*/ 34 h 100"/>
              <a:gd name="T52" fmla="*/ 119 w 160"/>
              <a:gd name="T53" fmla="*/ 32 h 100"/>
              <a:gd name="T54" fmla="*/ 130 w 160"/>
              <a:gd name="T55" fmla="*/ 17 h 100"/>
              <a:gd name="T56" fmla="*/ 136 w 160"/>
              <a:gd name="T57" fmla="*/ 12 h 100"/>
              <a:gd name="T58" fmla="*/ 143 w 160"/>
              <a:gd name="T59" fmla="*/ 10 h 100"/>
              <a:gd name="T60" fmla="*/ 145 w 160"/>
              <a:gd name="T61" fmla="*/ 12 h 100"/>
              <a:gd name="T62" fmla="*/ 153 w 160"/>
              <a:gd name="T63" fmla="*/ 10 h 100"/>
              <a:gd name="T64" fmla="*/ 160 w 160"/>
              <a:gd name="T65" fmla="*/ 4 h 100"/>
              <a:gd name="T66" fmla="*/ 151 w 160"/>
              <a:gd name="T67" fmla="*/ 17 h 100"/>
              <a:gd name="T68" fmla="*/ 143 w 160"/>
              <a:gd name="T69" fmla="*/ 21 h 100"/>
              <a:gd name="T70" fmla="*/ 130 w 160"/>
              <a:gd name="T71" fmla="*/ 34 h 100"/>
              <a:gd name="T72" fmla="*/ 121 w 160"/>
              <a:gd name="T73" fmla="*/ 34 h 100"/>
              <a:gd name="T74" fmla="*/ 119 w 160"/>
              <a:gd name="T75" fmla="*/ 40 h 100"/>
              <a:gd name="T76" fmla="*/ 106 w 160"/>
              <a:gd name="T77" fmla="*/ 51 h 100"/>
              <a:gd name="T78" fmla="*/ 98 w 160"/>
              <a:gd name="T79" fmla="*/ 51 h 100"/>
              <a:gd name="T80" fmla="*/ 92 w 160"/>
              <a:gd name="T81" fmla="*/ 57 h 100"/>
              <a:gd name="T82" fmla="*/ 83 w 160"/>
              <a:gd name="T83" fmla="*/ 59 h 100"/>
              <a:gd name="T84" fmla="*/ 68 w 160"/>
              <a:gd name="T85" fmla="*/ 68 h 100"/>
              <a:gd name="T86" fmla="*/ 62 w 160"/>
              <a:gd name="T87" fmla="*/ 72 h 100"/>
              <a:gd name="T88" fmla="*/ 53 w 160"/>
              <a:gd name="T89" fmla="*/ 78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23" y="93"/>
                </a:lnTo>
                <a:lnTo>
                  <a:pt x="11" y="100"/>
                </a:lnTo>
                <a:lnTo>
                  <a:pt x="17" y="93"/>
                </a:lnTo>
                <a:lnTo>
                  <a:pt x="2" y="98"/>
                </a:lnTo>
                <a:lnTo>
                  <a:pt x="0" y="96"/>
                </a:lnTo>
                <a:lnTo>
                  <a:pt x="0" y="89"/>
                </a:lnTo>
                <a:lnTo>
                  <a:pt x="4" y="81"/>
                </a:lnTo>
                <a:lnTo>
                  <a:pt x="17" y="72"/>
                </a:lnTo>
                <a:lnTo>
                  <a:pt x="19" y="64"/>
                </a:lnTo>
                <a:lnTo>
                  <a:pt x="26" y="66"/>
                </a:lnTo>
                <a:lnTo>
                  <a:pt x="26" y="59"/>
                </a:lnTo>
                <a:lnTo>
                  <a:pt x="32" y="53"/>
                </a:lnTo>
                <a:lnTo>
                  <a:pt x="38" y="55"/>
                </a:lnTo>
                <a:lnTo>
                  <a:pt x="53" y="47"/>
                </a:lnTo>
                <a:lnTo>
                  <a:pt x="60" y="47"/>
                </a:lnTo>
                <a:lnTo>
                  <a:pt x="64" y="40"/>
                </a:lnTo>
                <a:lnTo>
                  <a:pt x="70" y="38"/>
                </a:lnTo>
                <a:lnTo>
                  <a:pt x="92" y="32"/>
                </a:lnTo>
                <a:lnTo>
                  <a:pt x="106" y="25"/>
                </a:lnTo>
                <a:lnTo>
                  <a:pt x="128" y="0"/>
                </a:lnTo>
                <a:lnTo>
                  <a:pt x="121" y="12"/>
                </a:lnTo>
                <a:lnTo>
                  <a:pt x="121" y="21"/>
                </a:lnTo>
                <a:lnTo>
                  <a:pt x="113" y="27"/>
                </a:lnTo>
                <a:lnTo>
                  <a:pt x="109" y="34"/>
                </a:lnTo>
                <a:lnTo>
                  <a:pt x="115" y="34"/>
                </a:lnTo>
                <a:lnTo>
                  <a:pt x="119" y="32"/>
                </a:lnTo>
                <a:lnTo>
                  <a:pt x="130" y="17"/>
                </a:lnTo>
                <a:lnTo>
                  <a:pt x="136" y="12"/>
                </a:lnTo>
                <a:lnTo>
                  <a:pt x="143" y="10"/>
                </a:lnTo>
                <a:lnTo>
                  <a:pt x="145" y="12"/>
                </a:lnTo>
                <a:lnTo>
                  <a:pt x="153" y="10"/>
                </a:lnTo>
                <a:lnTo>
                  <a:pt x="160" y="4"/>
                </a:lnTo>
                <a:lnTo>
                  <a:pt x="151" y="17"/>
                </a:lnTo>
                <a:lnTo>
                  <a:pt x="143" y="21"/>
                </a:lnTo>
                <a:lnTo>
                  <a:pt x="130" y="34"/>
                </a:lnTo>
                <a:lnTo>
                  <a:pt x="121" y="34"/>
                </a:lnTo>
                <a:lnTo>
                  <a:pt x="119" y="40"/>
                </a:lnTo>
                <a:lnTo>
                  <a:pt x="106" y="51"/>
                </a:lnTo>
                <a:lnTo>
                  <a:pt x="98" y="51"/>
                </a:lnTo>
                <a:lnTo>
                  <a:pt x="92" y="57"/>
                </a:lnTo>
                <a:lnTo>
                  <a:pt x="83" y="59"/>
                </a:lnTo>
                <a:lnTo>
                  <a:pt x="68" y="68"/>
                </a:lnTo>
                <a:lnTo>
                  <a:pt x="62" y="72"/>
                </a:lnTo>
                <a:lnTo>
                  <a:pt x="53" y="78"/>
                </a:lnTo>
                <a:lnTo>
                  <a:pt x="51" y="78"/>
                </a:lnTo>
              </a:path>
            </a:pathLst>
          </a:custGeom>
          <a:solidFill>
            <a:srgbClr val="BEBEBE"/>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61" name="Freeform 935"/>
          <p:cNvSpPr>
            <a:spLocks noChangeAspect="1"/>
          </p:cNvSpPr>
          <p:nvPr/>
        </p:nvSpPr>
        <p:spPr bwMode="auto">
          <a:xfrm>
            <a:off x="7311340" y="2732008"/>
            <a:ext cx="425767" cy="225744"/>
          </a:xfrm>
          <a:custGeom>
            <a:avLst/>
            <a:gdLst>
              <a:gd name="T0" fmla="*/ 64 w 298"/>
              <a:gd name="T1" fmla="*/ 54 h 158"/>
              <a:gd name="T2" fmla="*/ 166 w 298"/>
              <a:gd name="T3" fmla="*/ 22 h 158"/>
              <a:gd name="T4" fmla="*/ 173 w 298"/>
              <a:gd name="T5" fmla="*/ 13 h 158"/>
              <a:gd name="T6" fmla="*/ 186 w 298"/>
              <a:gd name="T7" fmla="*/ 2 h 158"/>
              <a:gd name="T8" fmla="*/ 192 w 298"/>
              <a:gd name="T9" fmla="*/ 0 h 158"/>
              <a:gd name="T10" fmla="*/ 196 w 298"/>
              <a:gd name="T11" fmla="*/ 11 h 158"/>
              <a:gd name="T12" fmla="*/ 205 w 298"/>
              <a:gd name="T13" fmla="*/ 24 h 158"/>
              <a:gd name="T14" fmla="*/ 209 w 298"/>
              <a:gd name="T15" fmla="*/ 22 h 158"/>
              <a:gd name="T16" fmla="*/ 215 w 298"/>
              <a:gd name="T17" fmla="*/ 28 h 158"/>
              <a:gd name="T18" fmla="*/ 198 w 298"/>
              <a:gd name="T19" fmla="*/ 43 h 158"/>
              <a:gd name="T20" fmla="*/ 194 w 298"/>
              <a:gd name="T21" fmla="*/ 54 h 158"/>
              <a:gd name="T22" fmla="*/ 190 w 298"/>
              <a:gd name="T23" fmla="*/ 62 h 158"/>
              <a:gd name="T24" fmla="*/ 200 w 298"/>
              <a:gd name="T25" fmla="*/ 73 h 158"/>
              <a:gd name="T26" fmla="*/ 215 w 298"/>
              <a:gd name="T27" fmla="*/ 68 h 158"/>
              <a:gd name="T28" fmla="*/ 237 w 298"/>
              <a:gd name="T29" fmla="*/ 90 h 158"/>
              <a:gd name="T30" fmla="*/ 228 w 298"/>
              <a:gd name="T31" fmla="*/ 94 h 158"/>
              <a:gd name="T32" fmla="*/ 243 w 298"/>
              <a:gd name="T33" fmla="*/ 98 h 158"/>
              <a:gd name="T34" fmla="*/ 254 w 298"/>
              <a:gd name="T35" fmla="*/ 115 h 158"/>
              <a:gd name="T36" fmla="*/ 269 w 298"/>
              <a:gd name="T37" fmla="*/ 117 h 158"/>
              <a:gd name="T38" fmla="*/ 290 w 298"/>
              <a:gd name="T39" fmla="*/ 98 h 158"/>
              <a:gd name="T40" fmla="*/ 279 w 298"/>
              <a:gd name="T41" fmla="*/ 88 h 158"/>
              <a:gd name="T42" fmla="*/ 269 w 298"/>
              <a:gd name="T43" fmla="*/ 75 h 158"/>
              <a:gd name="T44" fmla="*/ 269 w 298"/>
              <a:gd name="T45" fmla="*/ 73 h 158"/>
              <a:gd name="T46" fmla="*/ 283 w 298"/>
              <a:gd name="T47" fmla="*/ 79 h 158"/>
              <a:gd name="T48" fmla="*/ 298 w 298"/>
              <a:gd name="T49" fmla="*/ 107 h 158"/>
              <a:gd name="T50" fmla="*/ 286 w 298"/>
              <a:gd name="T51" fmla="*/ 117 h 158"/>
              <a:gd name="T52" fmla="*/ 260 w 298"/>
              <a:gd name="T53" fmla="*/ 128 h 158"/>
              <a:gd name="T54" fmla="*/ 252 w 298"/>
              <a:gd name="T55" fmla="*/ 141 h 158"/>
              <a:gd name="T56" fmla="*/ 241 w 298"/>
              <a:gd name="T57" fmla="*/ 128 h 158"/>
              <a:gd name="T58" fmla="*/ 235 w 298"/>
              <a:gd name="T59" fmla="*/ 126 h 158"/>
              <a:gd name="T60" fmla="*/ 224 w 298"/>
              <a:gd name="T61" fmla="*/ 139 h 158"/>
              <a:gd name="T62" fmla="*/ 213 w 298"/>
              <a:gd name="T63" fmla="*/ 149 h 158"/>
              <a:gd name="T64" fmla="*/ 207 w 298"/>
              <a:gd name="T65" fmla="*/ 154 h 158"/>
              <a:gd name="T66" fmla="*/ 196 w 298"/>
              <a:gd name="T67" fmla="*/ 141 h 158"/>
              <a:gd name="T68" fmla="*/ 198 w 298"/>
              <a:gd name="T69" fmla="*/ 126 h 158"/>
              <a:gd name="T70" fmla="*/ 192 w 298"/>
              <a:gd name="T71" fmla="*/ 137 h 158"/>
              <a:gd name="T72" fmla="*/ 186 w 298"/>
              <a:gd name="T73" fmla="*/ 132 h 158"/>
              <a:gd name="T74" fmla="*/ 181 w 298"/>
              <a:gd name="T75" fmla="*/ 122 h 158"/>
              <a:gd name="T76" fmla="*/ 173 w 298"/>
              <a:gd name="T77" fmla="*/ 113 h 158"/>
              <a:gd name="T78" fmla="*/ 139 w 298"/>
              <a:gd name="T79" fmla="*/ 117 h 158"/>
              <a:gd name="T80" fmla="*/ 124 w 298"/>
              <a:gd name="T81" fmla="*/ 120 h 158"/>
              <a:gd name="T82" fmla="*/ 75 w 298"/>
              <a:gd name="T83" fmla="*/ 132 h 158"/>
              <a:gd name="T84" fmla="*/ 58 w 298"/>
              <a:gd name="T85" fmla="*/ 137 h 158"/>
              <a:gd name="T86" fmla="*/ 2 w 298"/>
              <a:gd name="T87" fmla="*/ 147 h 158"/>
              <a:gd name="T88" fmla="*/ 0 w 298"/>
              <a:gd name="T8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158">
                <a:moveTo>
                  <a:pt x="2" y="66"/>
                </a:moveTo>
                <a:lnTo>
                  <a:pt x="64" y="54"/>
                </a:lnTo>
                <a:lnTo>
                  <a:pt x="158" y="32"/>
                </a:lnTo>
                <a:lnTo>
                  <a:pt x="166" y="22"/>
                </a:lnTo>
                <a:lnTo>
                  <a:pt x="171" y="13"/>
                </a:lnTo>
                <a:lnTo>
                  <a:pt x="173" y="13"/>
                </a:lnTo>
                <a:lnTo>
                  <a:pt x="177" y="7"/>
                </a:lnTo>
                <a:lnTo>
                  <a:pt x="186" y="2"/>
                </a:lnTo>
                <a:lnTo>
                  <a:pt x="188" y="0"/>
                </a:lnTo>
                <a:lnTo>
                  <a:pt x="192" y="0"/>
                </a:lnTo>
                <a:lnTo>
                  <a:pt x="190" y="7"/>
                </a:lnTo>
                <a:lnTo>
                  <a:pt x="196" y="11"/>
                </a:lnTo>
                <a:lnTo>
                  <a:pt x="196" y="17"/>
                </a:lnTo>
                <a:lnTo>
                  <a:pt x="205" y="24"/>
                </a:lnTo>
                <a:lnTo>
                  <a:pt x="211" y="22"/>
                </a:lnTo>
                <a:lnTo>
                  <a:pt x="209" y="22"/>
                </a:lnTo>
                <a:lnTo>
                  <a:pt x="217" y="19"/>
                </a:lnTo>
                <a:lnTo>
                  <a:pt x="215" y="28"/>
                </a:lnTo>
                <a:lnTo>
                  <a:pt x="200" y="36"/>
                </a:lnTo>
                <a:lnTo>
                  <a:pt x="198" y="43"/>
                </a:lnTo>
                <a:lnTo>
                  <a:pt x="198" y="47"/>
                </a:lnTo>
                <a:lnTo>
                  <a:pt x="194" y="54"/>
                </a:lnTo>
                <a:lnTo>
                  <a:pt x="196" y="62"/>
                </a:lnTo>
                <a:lnTo>
                  <a:pt x="190" y="62"/>
                </a:lnTo>
                <a:lnTo>
                  <a:pt x="194" y="68"/>
                </a:lnTo>
                <a:lnTo>
                  <a:pt x="200" y="73"/>
                </a:lnTo>
                <a:lnTo>
                  <a:pt x="209" y="68"/>
                </a:lnTo>
                <a:lnTo>
                  <a:pt x="215" y="68"/>
                </a:lnTo>
                <a:lnTo>
                  <a:pt x="230" y="83"/>
                </a:lnTo>
                <a:lnTo>
                  <a:pt x="237" y="90"/>
                </a:lnTo>
                <a:lnTo>
                  <a:pt x="228" y="88"/>
                </a:lnTo>
                <a:lnTo>
                  <a:pt x="228" y="94"/>
                </a:lnTo>
                <a:lnTo>
                  <a:pt x="237" y="96"/>
                </a:lnTo>
                <a:lnTo>
                  <a:pt x="243" y="98"/>
                </a:lnTo>
                <a:lnTo>
                  <a:pt x="249" y="113"/>
                </a:lnTo>
                <a:lnTo>
                  <a:pt x="254" y="115"/>
                </a:lnTo>
                <a:lnTo>
                  <a:pt x="262" y="115"/>
                </a:lnTo>
                <a:lnTo>
                  <a:pt x="269" y="117"/>
                </a:lnTo>
                <a:lnTo>
                  <a:pt x="283" y="105"/>
                </a:lnTo>
                <a:lnTo>
                  <a:pt x="290" y="98"/>
                </a:lnTo>
                <a:lnTo>
                  <a:pt x="286" y="88"/>
                </a:lnTo>
                <a:lnTo>
                  <a:pt x="279" y="88"/>
                </a:lnTo>
                <a:lnTo>
                  <a:pt x="277" y="79"/>
                </a:lnTo>
                <a:lnTo>
                  <a:pt x="269" y="75"/>
                </a:lnTo>
                <a:lnTo>
                  <a:pt x="262" y="73"/>
                </a:lnTo>
                <a:lnTo>
                  <a:pt x="269" y="73"/>
                </a:lnTo>
                <a:lnTo>
                  <a:pt x="277" y="75"/>
                </a:lnTo>
                <a:lnTo>
                  <a:pt x="283" y="79"/>
                </a:lnTo>
                <a:lnTo>
                  <a:pt x="294" y="92"/>
                </a:lnTo>
                <a:lnTo>
                  <a:pt x="298" y="107"/>
                </a:lnTo>
                <a:lnTo>
                  <a:pt x="294" y="115"/>
                </a:lnTo>
                <a:lnTo>
                  <a:pt x="286" y="117"/>
                </a:lnTo>
                <a:lnTo>
                  <a:pt x="264" y="128"/>
                </a:lnTo>
                <a:lnTo>
                  <a:pt x="260" y="128"/>
                </a:lnTo>
                <a:lnTo>
                  <a:pt x="258" y="134"/>
                </a:lnTo>
                <a:lnTo>
                  <a:pt x="252" y="141"/>
                </a:lnTo>
                <a:lnTo>
                  <a:pt x="245" y="143"/>
                </a:lnTo>
                <a:lnTo>
                  <a:pt x="241" y="128"/>
                </a:lnTo>
                <a:lnTo>
                  <a:pt x="241" y="122"/>
                </a:lnTo>
                <a:lnTo>
                  <a:pt x="235" y="126"/>
                </a:lnTo>
                <a:lnTo>
                  <a:pt x="230" y="132"/>
                </a:lnTo>
                <a:lnTo>
                  <a:pt x="224" y="139"/>
                </a:lnTo>
                <a:lnTo>
                  <a:pt x="220" y="152"/>
                </a:lnTo>
                <a:lnTo>
                  <a:pt x="213" y="149"/>
                </a:lnTo>
                <a:lnTo>
                  <a:pt x="207" y="158"/>
                </a:lnTo>
                <a:lnTo>
                  <a:pt x="207" y="154"/>
                </a:lnTo>
                <a:lnTo>
                  <a:pt x="203" y="143"/>
                </a:lnTo>
                <a:lnTo>
                  <a:pt x="196" y="141"/>
                </a:lnTo>
                <a:lnTo>
                  <a:pt x="198" y="134"/>
                </a:lnTo>
                <a:lnTo>
                  <a:pt x="198" y="126"/>
                </a:lnTo>
                <a:lnTo>
                  <a:pt x="198" y="132"/>
                </a:lnTo>
                <a:lnTo>
                  <a:pt x="192" y="137"/>
                </a:lnTo>
                <a:lnTo>
                  <a:pt x="188" y="134"/>
                </a:lnTo>
                <a:lnTo>
                  <a:pt x="186" y="132"/>
                </a:lnTo>
                <a:lnTo>
                  <a:pt x="181" y="128"/>
                </a:lnTo>
                <a:lnTo>
                  <a:pt x="181" y="122"/>
                </a:lnTo>
                <a:lnTo>
                  <a:pt x="177" y="122"/>
                </a:lnTo>
                <a:lnTo>
                  <a:pt x="173" y="113"/>
                </a:lnTo>
                <a:lnTo>
                  <a:pt x="166" y="109"/>
                </a:lnTo>
                <a:lnTo>
                  <a:pt x="139" y="117"/>
                </a:lnTo>
                <a:lnTo>
                  <a:pt x="134" y="117"/>
                </a:lnTo>
                <a:lnTo>
                  <a:pt x="124" y="120"/>
                </a:lnTo>
                <a:lnTo>
                  <a:pt x="83" y="128"/>
                </a:lnTo>
                <a:lnTo>
                  <a:pt x="75" y="132"/>
                </a:lnTo>
                <a:lnTo>
                  <a:pt x="71" y="132"/>
                </a:lnTo>
                <a:lnTo>
                  <a:pt x="58" y="137"/>
                </a:lnTo>
                <a:lnTo>
                  <a:pt x="49" y="137"/>
                </a:lnTo>
                <a:lnTo>
                  <a:pt x="2" y="147"/>
                </a:lnTo>
                <a:lnTo>
                  <a:pt x="0" y="143"/>
                </a:lnTo>
                <a:lnTo>
                  <a:pt x="0" y="73"/>
                </a:lnTo>
                <a:lnTo>
                  <a:pt x="2" y="66"/>
                </a:lnTo>
                <a:close/>
              </a:path>
            </a:pathLst>
          </a:custGeom>
          <a:solidFill>
            <a:srgbClr val="194196"/>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62" name="Freeform 946"/>
          <p:cNvSpPr>
            <a:spLocks noChangeAspect="1"/>
          </p:cNvSpPr>
          <p:nvPr/>
        </p:nvSpPr>
        <p:spPr bwMode="auto">
          <a:xfrm>
            <a:off x="7446961" y="1965854"/>
            <a:ext cx="465774" cy="737235"/>
          </a:xfrm>
          <a:custGeom>
            <a:avLst/>
            <a:gdLst>
              <a:gd name="T0" fmla="*/ 11 w 326"/>
              <a:gd name="T1" fmla="*/ 277 h 516"/>
              <a:gd name="T2" fmla="*/ 19 w 326"/>
              <a:gd name="T3" fmla="*/ 262 h 516"/>
              <a:gd name="T4" fmla="*/ 19 w 326"/>
              <a:gd name="T5" fmla="*/ 250 h 516"/>
              <a:gd name="T6" fmla="*/ 28 w 326"/>
              <a:gd name="T7" fmla="*/ 233 h 516"/>
              <a:gd name="T8" fmla="*/ 43 w 326"/>
              <a:gd name="T9" fmla="*/ 199 h 516"/>
              <a:gd name="T10" fmla="*/ 34 w 326"/>
              <a:gd name="T11" fmla="*/ 169 h 516"/>
              <a:gd name="T12" fmla="*/ 39 w 326"/>
              <a:gd name="T13" fmla="*/ 107 h 516"/>
              <a:gd name="T14" fmla="*/ 85 w 326"/>
              <a:gd name="T15" fmla="*/ 9 h 516"/>
              <a:gd name="T16" fmla="*/ 107 w 326"/>
              <a:gd name="T17" fmla="*/ 32 h 516"/>
              <a:gd name="T18" fmla="*/ 126 w 326"/>
              <a:gd name="T19" fmla="*/ 13 h 516"/>
              <a:gd name="T20" fmla="*/ 147 w 326"/>
              <a:gd name="T21" fmla="*/ 0 h 516"/>
              <a:gd name="T22" fmla="*/ 183 w 326"/>
              <a:gd name="T23" fmla="*/ 17 h 516"/>
              <a:gd name="T24" fmla="*/ 230 w 326"/>
              <a:gd name="T25" fmla="*/ 139 h 516"/>
              <a:gd name="T26" fmla="*/ 234 w 326"/>
              <a:gd name="T27" fmla="*/ 158 h 516"/>
              <a:gd name="T28" fmla="*/ 249 w 326"/>
              <a:gd name="T29" fmla="*/ 171 h 516"/>
              <a:gd name="T30" fmla="*/ 271 w 326"/>
              <a:gd name="T31" fmla="*/ 171 h 516"/>
              <a:gd name="T32" fmla="*/ 275 w 326"/>
              <a:gd name="T33" fmla="*/ 192 h 516"/>
              <a:gd name="T34" fmla="*/ 288 w 326"/>
              <a:gd name="T35" fmla="*/ 213 h 516"/>
              <a:gd name="T36" fmla="*/ 303 w 326"/>
              <a:gd name="T37" fmla="*/ 209 h 516"/>
              <a:gd name="T38" fmla="*/ 309 w 326"/>
              <a:gd name="T39" fmla="*/ 237 h 516"/>
              <a:gd name="T40" fmla="*/ 320 w 326"/>
              <a:gd name="T41" fmla="*/ 233 h 516"/>
              <a:gd name="T42" fmla="*/ 318 w 326"/>
              <a:gd name="T43" fmla="*/ 260 h 516"/>
              <a:gd name="T44" fmla="*/ 305 w 326"/>
              <a:gd name="T45" fmla="*/ 271 h 516"/>
              <a:gd name="T46" fmla="*/ 298 w 326"/>
              <a:gd name="T47" fmla="*/ 273 h 516"/>
              <a:gd name="T48" fmla="*/ 283 w 326"/>
              <a:gd name="T49" fmla="*/ 284 h 516"/>
              <a:gd name="T50" fmla="*/ 273 w 326"/>
              <a:gd name="T51" fmla="*/ 284 h 516"/>
              <a:gd name="T52" fmla="*/ 271 w 326"/>
              <a:gd name="T53" fmla="*/ 305 h 516"/>
              <a:gd name="T54" fmla="*/ 264 w 326"/>
              <a:gd name="T55" fmla="*/ 299 h 516"/>
              <a:gd name="T56" fmla="*/ 260 w 326"/>
              <a:gd name="T57" fmla="*/ 316 h 516"/>
              <a:gd name="T58" fmla="*/ 239 w 326"/>
              <a:gd name="T59" fmla="*/ 311 h 516"/>
              <a:gd name="T60" fmla="*/ 226 w 326"/>
              <a:gd name="T61" fmla="*/ 318 h 516"/>
              <a:gd name="T62" fmla="*/ 228 w 326"/>
              <a:gd name="T63" fmla="*/ 339 h 516"/>
              <a:gd name="T64" fmla="*/ 207 w 326"/>
              <a:gd name="T65" fmla="*/ 331 h 516"/>
              <a:gd name="T66" fmla="*/ 203 w 326"/>
              <a:gd name="T67" fmla="*/ 318 h 516"/>
              <a:gd name="T68" fmla="*/ 188 w 326"/>
              <a:gd name="T69" fmla="*/ 328 h 516"/>
              <a:gd name="T70" fmla="*/ 190 w 326"/>
              <a:gd name="T71" fmla="*/ 350 h 516"/>
              <a:gd name="T72" fmla="*/ 192 w 326"/>
              <a:gd name="T73" fmla="*/ 371 h 516"/>
              <a:gd name="T74" fmla="*/ 177 w 326"/>
              <a:gd name="T75" fmla="*/ 384 h 516"/>
              <a:gd name="T76" fmla="*/ 166 w 326"/>
              <a:gd name="T77" fmla="*/ 399 h 516"/>
              <a:gd name="T78" fmla="*/ 158 w 326"/>
              <a:gd name="T79" fmla="*/ 392 h 516"/>
              <a:gd name="T80" fmla="*/ 156 w 326"/>
              <a:gd name="T81" fmla="*/ 394 h 516"/>
              <a:gd name="T82" fmla="*/ 156 w 326"/>
              <a:gd name="T83" fmla="*/ 399 h 516"/>
              <a:gd name="T84" fmla="*/ 145 w 326"/>
              <a:gd name="T85" fmla="*/ 403 h 516"/>
              <a:gd name="T86" fmla="*/ 139 w 326"/>
              <a:gd name="T87" fmla="*/ 394 h 516"/>
              <a:gd name="T88" fmla="*/ 134 w 326"/>
              <a:gd name="T89" fmla="*/ 401 h 516"/>
              <a:gd name="T90" fmla="*/ 145 w 326"/>
              <a:gd name="T91" fmla="*/ 426 h 516"/>
              <a:gd name="T92" fmla="*/ 134 w 326"/>
              <a:gd name="T93" fmla="*/ 420 h 516"/>
              <a:gd name="T94" fmla="*/ 130 w 326"/>
              <a:gd name="T95" fmla="*/ 426 h 516"/>
              <a:gd name="T96" fmla="*/ 113 w 326"/>
              <a:gd name="T97" fmla="*/ 437 h 516"/>
              <a:gd name="T98" fmla="*/ 109 w 326"/>
              <a:gd name="T99" fmla="*/ 460 h 516"/>
              <a:gd name="T100" fmla="*/ 100 w 326"/>
              <a:gd name="T101" fmla="*/ 486 h 516"/>
              <a:gd name="T102" fmla="*/ 100 w 326"/>
              <a:gd name="T103" fmla="*/ 509 h 516"/>
              <a:gd name="T104" fmla="*/ 83 w 326"/>
              <a:gd name="T105" fmla="*/ 507 h 516"/>
              <a:gd name="T106" fmla="*/ 68 w 326"/>
              <a:gd name="T107" fmla="*/ 490 h 516"/>
              <a:gd name="T108" fmla="*/ 62 w 326"/>
              <a:gd name="T109" fmla="*/ 469 h 516"/>
              <a:gd name="T110" fmla="*/ 0 w 326"/>
              <a:gd name="T111" fmla="*/ 28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516">
                <a:moveTo>
                  <a:pt x="0" y="282"/>
                </a:moveTo>
                <a:lnTo>
                  <a:pt x="4" y="275"/>
                </a:lnTo>
                <a:lnTo>
                  <a:pt x="11" y="277"/>
                </a:lnTo>
                <a:lnTo>
                  <a:pt x="19" y="275"/>
                </a:lnTo>
                <a:lnTo>
                  <a:pt x="17" y="269"/>
                </a:lnTo>
                <a:lnTo>
                  <a:pt x="19" y="262"/>
                </a:lnTo>
                <a:lnTo>
                  <a:pt x="22" y="260"/>
                </a:lnTo>
                <a:lnTo>
                  <a:pt x="28" y="265"/>
                </a:lnTo>
                <a:lnTo>
                  <a:pt x="19" y="250"/>
                </a:lnTo>
                <a:lnTo>
                  <a:pt x="22" y="247"/>
                </a:lnTo>
                <a:lnTo>
                  <a:pt x="24" y="241"/>
                </a:lnTo>
                <a:lnTo>
                  <a:pt x="28" y="233"/>
                </a:lnTo>
                <a:lnTo>
                  <a:pt x="39" y="218"/>
                </a:lnTo>
                <a:lnTo>
                  <a:pt x="36" y="213"/>
                </a:lnTo>
                <a:lnTo>
                  <a:pt x="43" y="199"/>
                </a:lnTo>
                <a:lnTo>
                  <a:pt x="36" y="190"/>
                </a:lnTo>
                <a:lnTo>
                  <a:pt x="36" y="177"/>
                </a:lnTo>
                <a:lnTo>
                  <a:pt x="34" y="169"/>
                </a:lnTo>
                <a:lnTo>
                  <a:pt x="36" y="147"/>
                </a:lnTo>
                <a:lnTo>
                  <a:pt x="43" y="137"/>
                </a:lnTo>
                <a:lnTo>
                  <a:pt x="39" y="107"/>
                </a:lnTo>
                <a:lnTo>
                  <a:pt x="70" y="9"/>
                </a:lnTo>
                <a:lnTo>
                  <a:pt x="79" y="7"/>
                </a:lnTo>
                <a:lnTo>
                  <a:pt x="85" y="9"/>
                </a:lnTo>
                <a:lnTo>
                  <a:pt x="90" y="24"/>
                </a:lnTo>
                <a:lnTo>
                  <a:pt x="98" y="30"/>
                </a:lnTo>
                <a:lnTo>
                  <a:pt x="107" y="32"/>
                </a:lnTo>
                <a:lnTo>
                  <a:pt x="113" y="24"/>
                </a:lnTo>
                <a:lnTo>
                  <a:pt x="119" y="22"/>
                </a:lnTo>
                <a:lnTo>
                  <a:pt x="126" y="13"/>
                </a:lnTo>
                <a:lnTo>
                  <a:pt x="132" y="11"/>
                </a:lnTo>
                <a:lnTo>
                  <a:pt x="139" y="3"/>
                </a:lnTo>
                <a:lnTo>
                  <a:pt x="147" y="0"/>
                </a:lnTo>
                <a:lnTo>
                  <a:pt x="156" y="3"/>
                </a:lnTo>
                <a:lnTo>
                  <a:pt x="168" y="7"/>
                </a:lnTo>
                <a:lnTo>
                  <a:pt x="183" y="17"/>
                </a:lnTo>
                <a:lnTo>
                  <a:pt x="190" y="20"/>
                </a:lnTo>
                <a:lnTo>
                  <a:pt x="222" y="115"/>
                </a:lnTo>
                <a:lnTo>
                  <a:pt x="230" y="139"/>
                </a:lnTo>
                <a:lnTo>
                  <a:pt x="230" y="145"/>
                </a:lnTo>
                <a:lnTo>
                  <a:pt x="234" y="154"/>
                </a:lnTo>
                <a:lnTo>
                  <a:pt x="234" y="158"/>
                </a:lnTo>
                <a:lnTo>
                  <a:pt x="237" y="167"/>
                </a:lnTo>
                <a:lnTo>
                  <a:pt x="243" y="164"/>
                </a:lnTo>
                <a:lnTo>
                  <a:pt x="249" y="171"/>
                </a:lnTo>
                <a:lnTo>
                  <a:pt x="258" y="171"/>
                </a:lnTo>
                <a:lnTo>
                  <a:pt x="264" y="167"/>
                </a:lnTo>
                <a:lnTo>
                  <a:pt x="271" y="171"/>
                </a:lnTo>
                <a:lnTo>
                  <a:pt x="269" y="179"/>
                </a:lnTo>
                <a:lnTo>
                  <a:pt x="271" y="186"/>
                </a:lnTo>
                <a:lnTo>
                  <a:pt x="275" y="192"/>
                </a:lnTo>
                <a:lnTo>
                  <a:pt x="275" y="201"/>
                </a:lnTo>
                <a:lnTo>
                  <a:pt x="279" y="207"/>
                </a:lnTo>
                <a:lnTo>
                  <a:pt x="288" y="213"/>
                </a:lnTo>
                <a:lnTo>
                  <a:pt x="292" y="207"/>
                </a:lnTo>
                <a:lnTo>
                  <a:pt x="298" y="207"/>
                </a:lnTo>
                <a:lnTo>
                  <a:pt x="303" y="209"/>
                </a:lnTo>
                <a:lnTo>
                  <a:pt x="305" y="211"/>
                </a:lnTo>
                <a:lnTo>
                  <a:pt x="318" y="224"/>
                </a:lnTo>
                <a:lnTo>
                  <a:pt x="309" y="237"/>
                </a:lnTo>
                <a:lnTo>
                  <a:pt x="315" y="243"/>
                </a:lnTo>
                <a:lnTo>
                  <a:pt x="322" y="235"/>
                </a:lnTo>
                <a:lnTo>
                  <a:pt x="320" y="233"/>
                </a:lnTo>
                <a:lnTo>
                  <a:pt x="326" y="239"/>
                </a:lnTo>
                <a:lnTo>
                  <a:pt x="326" y="245"/>
                </a:lnTo>
                <a:lnTo>
                  <a:pt x="318" y="260"/>
                </a:lnTo>
                <a:lnTo>
                  <a:pt x="311" y="265"/>
                </a:lnTo>
                <a:lnTo>
                  <a:pt x="300" y="262"/>
                </a:lnTo>
                <a:lnTo>
                  <a:pt x="305" y="271"/>
                </a:lnTo>
                <a:lnTo>
                  <a:pt x="298" y="269"/>
                </a:lnTo>
                <a:lnTo>
                  <a:pt x="298" y="273"/>
                </a:lnTo>
                <a:lnTo>
                  <a:pt x="298" y="273"/>
                </a:lnTo>
                <a:lnTo>
                  <a:pt x="292" y="277"/>
                </a:lnTo>
                <a:lnTo>
                  <a:pt x="292" y="284"/>
                </a:lnTo>
                <a:lnTo>
                  <a:pt x="283" y="284"/>
                </a:lnTo>
                <a:lnTo>
                  <a:pt x="283" y="292"/>
                </a:lnTo>
                <a:lnTo>
                  <a:pt x="279" y="290"/>
                </a:lnTo>
                <a:lnTo>
                  <a:pt x="273" y="284"/>
                </a:lnTo>
                <a:lnTo>
                  <a:pt x="269" y="292"/>
                </a:lnTo>
                <a:lnTo>
                  <a:pt x="271" y="299"/>
                </a:lnTo>
                <a:lnTo>
                  <a:pt x="271" y="305"/>
                </a:lnTo>
                <a:lnTo>
                  <a:pt x="269" y="299"/>
                </a:lnTo>
                <a:lnTo>
                  <a:pt x="266" y="305"/>
                </a:lnTo>
                <a:lnTo>
                  <a:pt x="264" y="299"/>
                </a:lnTo>
                <a:lnTo>
                  <a:pt x="260" y="303"/>
                </a:lnTo>
                <a:lnTo>
                  <a:pt x="262" y="309"/>
                </a:lnTo>
                <a:lnTo>
                  <a:pt x="260" y="316"/>
                </a:lnTo>
                <a:lnTo>
                  <a:pt x="256" y="309"/>
                </a:lnTo>
                <a:lnTo>
                  <a:pt x="237" y="303"/>
                </a:lnTo>
                <a:lnTo>
                  <a:pt x="239" y="311"/>
                </a:lnTo>
                <a:lnTo>
                  <a:pt x="230" y="318"/>
                </a:lnTo>
                <a:lnTo>
                  <a:pt x="224" y="309"/>
                </a:lnTo>
                <a:lnTo>
                  <a:pt x="226" y="318"/>
                </a:lnTo>
                <a:lnTo>
                  <a:pt x="224" y="324"/>
                </a:lnTo>
                <a:lnTo>
                  <a:pt x="224" y="333"/>
                </a:lnTo>
                <a:lnTo>
                  <a:pt x="228" y="339"/>
                </a:lnTo>
                <a:lnTo>
                  <a:pt x="217" y="335"/>
                </a:lnTo>
                <a:lnTo>
                  <a:pt x="205" y="335"/>
                </a:lnTo>
                <a:lnTo>
                  <a:pt x="207" y="331"/>
                </a:lnTo>
                <a:lnTo>
                  <a:pt x="209" y="322"/>
                </a:lnTo>
                <a:lnTo>
                  <a:pt x="200" y="324"/>
                </a:lnTo>
                <a:lnTo>
                  <a:pt x="203" y="318"/>
                </a:lnTo>
                <a:lnTo>
                  <a:pt x="196" y="309"/>
                </a:lnTo>
                <a:lnTo>
                  <a:pt x="198" y="322"/>
                </a:lnTo>
                <a:lnTo>
                  <a:pt x="188" y="328"/>
                </a:lnTo>
                <a:lnTo>
                  <a:pt x="192" y="335"/>
                </a:lnTo>
                <a:lnTo>
                  <a:pt x="192" y="343"/>
                </a:lnTo>
                <a:lnTo>
                  <a:pt x="190" y="350"/>
                </a:lnTo>
                <a:lnTo>
                  <a:pt x="190" y="358"/>
                </a:lnTo>
                <a:lnTo>
                  <a:pt x="190" y="365"/>
                </a:lnTo>
                <a:lnTo>
                  <a:pt x="192" y="371"/>
                </a:lnTo>
                <a:lnTo>
                  <a:pt x="188" y="380"/>
                </a:lnTo>
                <a:lnTo>
                  <a:pt x="185" y="388"/>
                </a:lnTo>
                <a:lnTo>
                  <a:pt x="177" y="384"/>
                </a:lnTo>
                <a:lnTo>
                  <a:pt x="168" y="384"/>
                </a:lnTo>
                <a:lnTo>
                  <a:pt x="166" y="390"/>
                </a:lnTo>
                <a:lnTo>
                  <a:pt x="166" y="399"/>
                </a:lnTo>
                <a:lnTo>
                  <a:pt x="166" y="405"/>
                </a:lnTo>
                <a:lnTo>
                  <a:pt x="160" y="401"/>
                </a:lnTo>
                <a:lnTo>
                  <a:pt x="158" y="392"/>
                </a:lnTo>
                <a:lnTo>
                  <a:pt x="158" y="386"/>
                </a:lnTo>
                <a:lnTo>
                  <a:pt x="158" y="388"/>
                </a:lnTo>
                <a:lnTo>
                  <a:pt x="156" y="394"/>
                </a:lnTo>
                <a:lnTo>
                  <a:pt x="160" y="409"/>
                </a:lnTo>
                <a:lnTo>
                  <a:pt x="154" y="405"/>
                </a:lnTo>
                <a:lnTo>
                  <a:pt x="156" y="399"/>
                </a:lnTo>
                <a:lnTo>
                  <a:pt x="151" y="392"/>
                </a:lnTo>
                <a:lnTo>
                  <a:pt x="147" y="392"/>
                </a:lnTo>
                <a:lnTo>
                  <a:pt x="145" y="403"/>
                </a:lnTo>
                <a:lnTo>
                  <a:pt x="151" y="411"/>
                </a:lnTo>
                <a:lnTo>
                  <a:pt x="149" y="418"/>
                </a:lnTo>
                <a:lnTo>
                  <a:pt x="139" y="394"/>
                </a:lnTo>
                <a:lnTo>
                  <a:pt x="139" y="386"/>
                </a:lnTo>
                <a:lnTo>
                  <a:pt x="134" y="392"/>
                </a:lnTo>
                <a:lnTo>
                  <a:pt x="134" y="401"/>
                </a:lnTo>
                <a:lnTo>
                  <a:pt x="137" y="397"/>
                </a:lnTo>
                <a:lnTo>
                  <a:pt x="147" y="420"/>
                </a:lnTo>
                <a:lnTo>
                  <a:pt x="145" y="426"/>
                </a:lnTo>
                <a:lnTo>
                  <a:pt x="139" y="414"/>
                </a:lnTo>
                <a:lnTo>
                  <a:pt x="137" y="411"/>
                </a:lnTo>
                <a:lnTo>
                  <a:pt x="134" y="420"/>
                </a:lnTo>
                <a:lnTo>
                  <a:pt x="132" y="426"/>
                </a:lnTo>
                <a:lnTo>
                  <a:pt x="130" y="420"/>
                </a:lnTo>
                <a:lnTo>
                  <a:pt x="130" y="426"/>
                </a:lnTo>
                <a:lnTo>
                  <a:pt x="126" y="414"/>
                </a:lnTo>
                <a:lnTo>
                  <a:pt x="115" y="429"/>
                </a:lnTo>
                <a:lnTo>
                  <a:pt x="113" y="437"/>
                </a:lnTo>
                <a:lnTo>
                  <a:pt x="115" y="443"/>
                </a:lnTo>
                <a:lnTo>
                  <a:pt x="119" y="446"/>
                </a:lnTo>
                <a:lnTo>
                  <a:pt x="109" y="460"/>
                </a:lnTo>
                <a:lnTo>
                  <a:pt x="113" y="467"/>
                </a:lnTo>
                <a:lnTo>
                  <a:pt x="107" y="480"/>
                </a:lnTo>
                <a:lnTo>
                  <a:pt x="100" y="486"/>
                </a:lnTo>
                <a:lnTo>
                  <a:pt x="100" y="495"/>
                </a:lnTo>
                <a:lnTo>
                  <a:pt x="102" y="501"/>
                </a:lnTo>
                <a:lnTo>
                  <a:pt x="100" y="509"/>
                </a:lnTo>
                <a:lnTo>
                  <a:pt x="94" y="516"/>
                </a:lnTo>
                <a:lnTo>
                  <a:pt x="90" y="514"/>
                </a:lnTo>
                <a:lnTo>
                  <a:pt x="83" y="507"/>
                </a:lnTo>
                <a:lnTo>
                  <a:pt x="83" y="501"/>
                </a:lnTo>
                <a:lnTo>
                  <a:pt x="75" y="497"/>
                </a:lnTo>
                <a:lnTo>
                  <a:pt x="68" y="490"/>
                </a:lnTo>
                <a:lnTo>
                  <a:pt x="64" y="484"/>
                </a:lnTo>
                <a:lnTo>
                  <a:pt x="62" y="478"/>
                </a:lnTo>
                <a:lnTo>
                  <a:pt x="62" y="469"/>
                </a:lnTo>
                <a:lnTo>
                  <a:pt x="53" y="448"/>
                </a:lnTo>
                <a:lnTo>
                  <a:pt x="0" y="286"/>
                </a:lnTo>
                <a:lnTo>
                  <a:pt x="0" y="282"/>
                </a:lnTo>
              </a:path>
            </a:pathLst>
          </a:custGeom>
          <a:solidFill>
            <a:srgbClr val="E69696"/>
          </a:solidFill>
          <a:ln w="9525" cap="flat">
            <a:solidFill>
              <a:srgbClr val="FFFFFF"/>
            </a:solidFill>
            <a:prstDash val="solid"/>
            <a:miter lim="800000"/>
            <a:headEnd/>
            <a:tailEnd/>
          </a:ln>
        </p:spPr>
        <p:txBody>
          <a:bodyPr vert="horz" wrap="square" lIns="0" tIns="45720" rIns="0" bIns="45720" numCol="1" anchor="ctr" anchorCtr="0" compatLnSpc="1">
            <a:prstTxWarp prst="textNoShape">
              <a:avLst/>
            </a:prstTxWarp>
          </a:bodyPr>
          <a:lstStyle/>
          <a:p>
            <a:pPr algn="ctr"/>
            <a:r>
              <a:rPr lang="en-US" sz="1000" b="1" dirty="0">
                <a:solidFill>
                  <a:schemeClr val="bg1"/>
                </a:solidFill>
              </a:rPr>
              <a:t>Maine</a:t>
            </a:r>
          </a:p>
        </p:txBody>
      </p:sp>
      <p:sp>
        <p:nvSpPr>
          <p:cNvPr id="363" name="Freeform 975"/>
          <p:cNvSpPr>
            <a:spLocks noChangeAspect="1"/>
          </p:cNvSpPr>
          <p:nvPr/>
        </p:nvSpPr>
        <p:spPr bwMode="auto">
          <a:xfrm>
            <a:off x="1254254" y="2841411"/>
            <a:ext cx="1034415" cy="1737360"/>
          </a:xfrm>
          <a:custGeom>
            <a:avLst/>
            <a:gdLst>
              <a:gd name="T0" fmla="*/ 59 w 724"/>
              <a:gd name="T1" fmla="*/ 36 h 1216"/>
              <a:gd name="T2" fmla="*/ 63 w 724"/>
              <a:gd name="T3" fmla="*/ 0 h 1216"/>
              <a:gd name="T4" fmla="*/ 338 w 724"/>
              <a:gd name="T5" fmla="*/ 343 h 1216"/>
              <a:gd name="T6" fmla="*/ 692 w 724"/>
              <a:gd name="T7" fmla="*/ 971 h 1216"/>
              <a:gd name="T8" fmla="*/ 704 w 724"/>
              <a:gd name="T9" fmla="*/ 1009 h 1216"/>
              <a:gd name="T10" fmla="*/ 724 w 724"/>
              <a:gd name="T11" fmla="*/ 1048 h 1216"/>
              <a:gd name="T12" fmla="*/ 683 w 724"/>
              <a:gd name="T13" fmla="*/ 1080 h 1216"/>
              <a:gd name="T14" fmla="*/ 672 w 724"/>
              <a:gd name="T15" fmla="*/ 1122 h 1216"/>
              <a:gd name="T16" fmla="*/ 651 w 724"/>
              <a:gd name="T17" fmla="*/ 1158 h 1216"/>
              <a:gd name="T18" fmla="*/ 657 w 724"/>
              <a:gd name="T19" fmla="*/ 1182 h 1216"/>
              <a:gd name="T20" fmla="*/ 657 w 724"/>
              <a:gd name="T21" fmla="*/ 1210 h 1216"/>
              <a:gd name="T22" fmla="*/ 640 w 724"/>
              <a:gd name="T23" fmla="*/ 1214 h 1216"/>
              <a:gd name="T24" fmla="*/ 410 w 724"/>
              <a:gd name="T25" fmla="*/ 1182 h 1216"/>
              <a:gd name="T26" fmla="*/ 406 w 724"/>
              <a:gd name="T27" fmla="*/ 1169 h 1216"/>
              <a:gd name="T28" fmla="*/ 408 w 724"/>
              <a:gd name="T29" fmla="*/ 1139 h 1216"/>
              <a:gd name="T30" fmla="*/ 372 w 724"/>
              <a:gd name="T31" fmla="*/ 1063 h 1216"/>
              <a:gd name="T32" fmla="*/ 344 w 724"/>
              <a:gd name="T33" fmla="*/ 1033 h 1216"/>
              <a:gd name="T34" fmla="*/ 325 w 724"/>
              <a:gd name="T35" fmla="*/ 1026 h 1216"/>
              <a:gd name="T36" fmla="*/ 319 w 724"/>
              <a:gd name="T37" fmla="*/ 997 h 1216"/>
              <a:gd name="T38" fmla="*/ 259 w 724"/>
              <a:gd name="T39" fmla="*/ 954 h 1216"/>
              <a:gd name="T40" fmla="*/ 219 w 724"/>
              <a:gd name="T41" fmla="*/ 931 h 1216"/>
              <a:gd name="T42" fmla="*/ 185 w 724"/>
              <a:gd name="T43" fmla="*/ 914 h 1216"/>
              <a:gd name="T44" fmla="*/ 146 w 724"/>
              <a:gd name="T45" fmla="*/ 894 h 1216"/>
              <a:gd name="T46" fmla="*/ 155 w 724"/>
              <a:gd name="T47" fmla="*/ 865 h 1216"/>
              <a:gd name="T48" fmla="*/ 157 w 724"/>
              <a:gd name="T49" fmla="*/ 824 h 1216"/>
              <a:gd name="T50" fmla="*/ 151 w 724"/>
              <a:gd name="T51" fmla="*/ 803 h 1216"/>
              <a:gd name="T52" fmla="*/ 123 w 724"/>
              <a:gd name="T53" fmla="*/ 760 h 1216"/>
              <a:gd name="T54" fmla="*/ 110 w 724"/>
              <a:gd name="T55" fmla="*/ 715 h 1216"/>
              <a:gd name="T56" fmla="*/ 85 w 724"/>
              <a:gd name="T57" fmla="*/ 673 h 1216"/>
              <a:gd name="T58" fmla="*/ 104 w 724"/>
              <a:gd name="T59" fmla="*/ 630 h 1216"/>
              <a:gd name="T60" fmla="*/ 91 w 724"/>
              <a:gd name="T61" fmla="*/ 600 h 1216"/>
              <a:gd name="T62" fmla="*/ 68 w 724"/>
              <a:gd name="T63" fmla="*/ 558 h 1216"/>
              <a:gd name="T64" fmla="*/ 68 w 724"/>
              <a:gd name="T65" fmla="*/ 524 h 1216"/>
              <a:gd name="T66" fmla="*/ 85 w 724"/>
              <a:gd name="T67" fmla="*/ 496 h 1216"/>
              <a:gd name="T68" fmla="*/ 83 w 724"/>
              <a:gd name="T69" fmla="*/ 522 h 1216"/>
              <a:gd name="T70" fmla="*/ 108 w 724"/>
              <a:gd name="T71" fmla="*/ 543 h 1216"/>
              <a:gd name="T72" fmla="*/ 95 w 724"/>
              <a:gd name="T73" fmla="*/ 505 h 1216"/>
              <a:gd name="T74" fmla="*/ 93 w 724"/>
              <a:gd name="T75" fmla="*/ 477 h 1216"/>
              <a:gd name="T76" fmla="*/ 125 w 724"/>
              <a:gd name="T77" fmla="*/ 479 h 1216"/>
              <a:gd name="T78" fmla="*/ 172 w 724"/>
              <a:gd name="T79" fmla="*/ 496 h 1216"/>
              <a:gd name="T80" fmla="*/ 146 w 724"/>
              <a:gd name="T81" fmla="*/ 485 h 1216"/>
              <a:gd name="T82" fmla="*/ 134 w 724"/>
              <a:gd name="T83" fmla="*/ 481 h 1216"/>
              <a:gd name="T84" fmla="*/ 108 w 724"/>
              <a:gd name="T85" fmla="*/ 473 h 1216"/>
              <a:gd name="T86" fmla="*/ 85 w 724"/>
              <a:gd name="T87" fmla="*/ 468 h 1216"/>
              <a:gd name="T88" fmla="*/ 78 w 724"/>
              <a:gd name="T89" fmla="*/ 494 h 1216"/>
              <a:gd name="T90" fmla="*/ 57 w 724"/>
              <a:gd name="T91" fmla="*/ 466 h 1216"/>
              <a:gd name="T92" fmla="*/ 49 w 724"/>
              <a:gd name="T93" fmla="*/ 449 h 1216"/>
              <a:gd name="T94" fmla="*/ 46 w 724"/>
              <a:gd name="T95" fmla="*/ 426 h 1216"/>
              <a:gd name="T96" fmla="*/ 44 w 724"/>
              <a:gd name="T97" fmla="*/ 413 h 1216"/>
              <a:gd name="T98" fmla="*/ 23 w 724"/>
              <a:gd name="T99" fmla="*/ 370 h 1216"/>
              <a:gd name="T100" fmla="*/ 14 w 724"/>
              <a:gd name="T101" fmla="*/ 324 h 1216"/>
              <a:gd name="T102" fmla="*/ 25 w 724"/>
              <a:gd name="T103" fmla="*/ 264 h 1216"/>
              <a:gd name="T104" fmla="*/ 19 w 724"/>
              <a:gd name="T105" fmla="*/ 221 h 1216"/>
              <a:gd name="T106" fmla="*/ 2 w 724"/>
              <a:gd name="T107" fmla="*/ 179 h 1216"/>
              <a:gd name="T108" fmla="*/ 19 w 724"/>
              <a:gd name="T109" fmla="*/ 136 h 1216"/>
              <a:gd name="T110" fmla="*/ 34 w 724"/>
              <a:gd name="T111" fmla="*/ 119 h 1216"/>
              <a:gd name="T112" fmla="*/ 57 w 724"/>
              <a:gd name="T113" fmla="*/ 6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4" h="1216">
                <a:moveTo>
                  <a:pt x="57" y="66"/>
                </a:moveTo>
                <a:lnTo>
                  <a:pt x="59" y="53"/>
                </a:lnTo>
                <a:lnTo>
                  <a:pt x="61" y="51"/>
                </a:lnTo>
                <a:lnTo>
                  <a:pt x="59" y="36"/>
                </a:lnTo>
                <a:lnTo>
                  <a:pt x="61" y="30"/>
                </a:lnTo>
                <a:lnTo>
                  <a:pt x="55" y="21"/>
                </a:lnTo>
                <a:lnTo>
                  <a:pt x="59" y="15"/>
                </a:lnTo>
                <a:lnTo>
                  <a:pt x="63" y="0"/>
                </a:lnTo>
                <a:lnTo>
                  <a:pt x="68" y="0"/>
                </a:lnTo>
                <a:lnTo>
                  <a:pt x="249" y="49"/>
                </a:lnTo>
                <a:lnTo>
                  <a:pt x="400" y="89"/>
                </a:lnTo>
                <a:lnTo>
                  <a:pt x="338" y="343"/>
                </a:lnTo>
                <a:lnTo>
                  <a:pt x="321" y="417"/>
                </a:lnTo>
                <a:lnTo>
                  <a:pt x="583" y="801"/>
                </a:lnTo>
                <a:lnTo>
                  <a:pt x="694" y="965"/>
                </a:lnTo>
                <a:lnTo>
                  <a:pt x="692" y="971"/>
                </a:lnTo>
                <a:lnTo>
                  <a:pt x="692" y="977"/>
                </a:lnTo>
                <a:lnTo>
                  <a:pt x="700" y="994"/>
                </a:lnTo>
                <a:lnTo>
                  <a:pt x="702" y="1003"/>
                </a:lnTo>
                <a:lnTo>
                  <a:pt x="704" y="1009"/>
                </a:lnTo>
                <a:lnTo>
                  <a:pt x="706" y="1018"/>
                </a:lnTo>
                <a:lnTo>
                  <a:pt x="706" y="1026"/>
                </a:lnTo>
                <a:lnTo>
                  <a:pt x="719" y="1041"/>
                </a:lnTo>
                <a:lnTo>
                  <a:pt x="724" y="1048"/>
                </a:lnTo>
                <a:lnTo>
                  <a:pt x="719" y="1054"/>
                </a:lnTo>
                <a:lnTo>
                  <a:pt x="694" y="1067"/>
                </a:lnTo>
                <a:lnTo>
                  <a:pt x="689" y="1075"/>
                </a:lnTo>
                <a:lnTo>
                  <a:pt x="683" y="1080"/>
                </a:lnTo>
                <a:lnTo>
                  <a:pt x="681" y="1092"/>
                </a:lnTo>
                <a:lnTo>
                  <a:pt x="679" y="1105"/>
                </a:lnTo>
                <a:lnTo>
                  <a:pt x="675" y="1114"/>
                </a:lnTo>
                <a:lnTo>
                  <a:pt x="672" y="1122"/>
                </a:lnTo>
                <a:lnTo>
                  <a:pt x="660" y="1137"/>
                </a:lnTo>
                <a:lnTo>
                  <a:pt x="653" y="1144"/>
                </a:lnTo>
                <a:lnTo>
                  <a:pt x="649" y="1150"/>
                </a:lnTo>
                <a:lnTo>
                  <a:pt x="651" y="1158"/>
                </a:lnTo>
                <a:lnTo>
                  <a:pt x="651" y="1165"/>
                </a:lnTo>
                <a:lnTo>
                  <a:pt x="647" y="1173"/>
                </a:lnTo>
                <a:lnTo>
                  <a:pt x="649" y="1180"/>
                </a:lnTo>
                <a:lnTo>
                  <a:pt x="657" y="1182"/>
                </a:lnTo>
                <a:lnTo>
                  <a:pt x="664" y="1186"/>
                </a:lnTo>
                <a:lnTo>
                  <a:pt x="664" y="1193"/>
                </a:lnTo>
                <a:lnTo>
                  <a:pt x="664" y="1205"/>
                </a:lnTo>
                <a:lnTo>
                  <a:pt x="657" y="1210"/>
                </a:lnTo>
                <a:lnTo>
                  <a:pt x="655" y="1216"/>
                </a:lnTo>
                <a:lnTo>
                  <a:pt x="647" y="1216"/>
                </a:lnTo>
                <a:lnTo>
                  <a:pt x="645" y="1214"/>
                </a:lnTo>
                <a:lnTo>
                  <a:pt x="640" y="1214"/>
                </a:lnTo>
                <a:lnTo>
                  <a:pt x="638" y="1214"/>
                </a:lnTo>
                <a:lnTo>
                  <a:pt x="415" y="1193"/>
                </a:lnTo>
                <a:lnTo>
                  <a:pt x="413" y="1190"/>
                </a:lnTo>
                <a:lnTo>
                  <a:pt x="410" y="1182"/>
                </a:lnTo>
                <a:lnTo>
                  <a:pt x="406" y="1173"/>
                </a:lnTo>
                <a:lnTo>
                  <a:pt x="410" y="1182"/>
                </a:lnTo>
                <a:lnTo>
                  <a:pt x="413" y="1173"/>
                </a:lnTo>
                <a:lnTo>
                  <a:pt x="406" y="1169"/>
                </a:lnTo>
                <a:lnTo>
                  <a:pt x="404" y="1176"/>
                </a:lnTo>
                <a:lnTo>
                  <a:pt x="404" y="1167"/>
                </a:lnTo>
                <a:lnTo>
                  <a:pt x="406" y="1152"/>
                </a:lnTo>
                <a:lnTo>
                  <a:pt x="408" y="1139"/>
                </a:lnTo>
                <a:lnTo>
                  <a:pt x="406" y="1124"/>
                </a:lnTo>
                <a:lnTo>
                  <a:pt x="402" y="1107"/>
                </a:lnTo>
                <a:lnTo>
                  <a:pt x="396" y="1092"/>
                </a:lnTo>
                <a:lnTo>
                  <a:pt x="372" y="1063"/>
                </a:lnTo>
                <a:lnTo>
                  <a:pt x="364" y="1056"/>
                </a:lnTo>
                <a:lnTo>
                  <a:pt x="359" y="1050"/>
                </a:lnTo>
                <a:lnTo>
                  <a:pt x="351" y="1037"/>
                </a:lnTo>
                <a:lnTo>
                  <a:pt x="344" y="1033"/>
                </a:lnTo>
                <a:lnTo>
                  <a:pt x="336" y="1033"/>
                </a:lnTo>
                <a:lnTo>
                  <a:pt x="334" y="1037"/>
                </a:lnTo>
                <a:lnTo>
                  <a:pt x="325" y="1033"/>
                </a:lnTo>
                <a:lnTo>
                  <a:pt x="325" y="1026"/>
                </a:lnTo>
                <a:lnTo>
                  <a:pt x="327" y="1018"/>
                </a:lnTo>
                <a:lnTo>
                  <a:pt x="327" y="1012"/>
                </a:lnTo>
                <a:lnTo>
                  <a:pt x="321" y="997"/>
                </a:lnTo>
                <a:lnTo>
                  <a:pt x="319" y="997"/>
                </a:lnTo>
                <a:lnTo>
                  <a:pt x="291" y="990"/>
                </a:lnTo>
                <a:lnTo>
                  <a:pt x="276" y="982"/>
                </a:lnTo>
                <a:lnTo>
                  <a:pt x="261" y="969"/>
                </a:lnTo>
                <a:lnTo>
                  <a:pt x="259" y="954"/>
                </a:lnTo>
                <a:lnTo>
                  <a:pt x="251" y="948"/>
                </a:lnTo>
                <a:lnTo>
                  <a:pt x="247" y="941"/>
                </a:lnTo>
                <a:lnTo>
                  <a:pt x="234" y="933"/>
                </a:lnTo>
                <a:lnTo>
                  <a:pt x="219" y="931"/>
                </a:lnTo>
                <a:lnTo>
                  <a:pt x="212" y="928"/>
                </a:lnTo>
                <a:lnTo>
                  <a:pt x="200" y="918"/>
                </a:lnTo>
                <a:lnTo>
                  <a:pt x="191" y="916"/>
                </a:lnTo>
                <a:lnTo>
                  <a:pt x="185" y="914"/>
                </a:lnTo>
                <a:lnTo>
                  <a:pt x="163" y="911"/>
                </a:lnTo>
                <a:lnTo>
                  <a:pt x="157" y="903"/>
                </a:lnTo>
                <a:lnTo>
                  <a:pt x="153" y="897"/>
                </a:lnTo>
                <a:lnTo>
                  <a:pt x="146" y="894"/>
                </a:lnTo>
                <a:lnTo>
                  <a:pt x="149" y="886"/>
                </a:lnTo>
                <a:lnTo>
                  <a:pt x="153" y="879"/>
                </a:lnTo>
                <a:lnTo>
                  <a:pt x="151" y="871"/>
                </a:lnTo>
                <a:lnTo>
                  <a:pt x="155" y="865"/>
                </a:lnTo>
                <a:lnTo>
                  <a:pt x="155" y="850"/>
                </a:lnTo>
                <a:lnTo>
                  <a:pt x="161" y="839"/>
                </a:lnTo>
                <a:lnTo>
                  <a:pt x="161" y="833"/>
                </a:lnTo>
                <a:lnTo>
                  <a:pt x="157" y="824"/>
                </a:lnTo>
                <a:lnTo>
                  <a:pt x="149" y="822"/>
                </a:lnTo>
                <a:lnTo>
                  <a:pt x="144" y="816"/>
                </a:lnTo>
                <a:lnTo>
                  <a:pt x="144" y="807"/>
                </a:lnTo>
                <a:lnTo>
                  <a:pt x="151" y="803"/>
                </a:lnTo>
                <a:lnTo>
                  <a:pt x="149" y="794"/>
                </a:lnTo>
                <a:lnTo>
                  <a:pt x="136" y="781"/>
                </a:lnTo>
                <a:lnTo>
                  <a:pt x="132" y="767"/>
                </a:lnTo>
                <a:lnTo>
                  <a:pt x="123" y="760"/>
                </a:lnTo>
                <a:lnTo>
                  <a:pt x="121" y="752"/>
                </a:lnTo>
                <a:lnTo>
                  <a:pt x="119" y="745"/>
                </a:lnTo>
                <a:lnTo>
                  <a:pt x="112" y="730"/>
                </a:lnTo>
                <a:lnTo>
                  <a:pt x="110" y="715"/>
                </a:lnTo>
                <a:lnTo>
                  <a:pt x="104" y="709"/>
                </a:lnTo>
                <a:lnTo>
                  <a:pt x="100" y="696"/>
                </a:lnTo>
                <a:lnTo>
                  <a:pt x="89" y="681"/>
                </a:lnTo>
                <a:lnTo>
                  <a:pt x="85" y="673"/>
                </a:lnTo>
                <a:lnTo>
                  <a:pt x="87" y="658"/>
                </a:lnTo>
                <a:lnTo>
                  <a:pt x="87" y="643"/>
                </a:lnTo>
                <a:lnTo>
                  <a:pt x="102" y="637"/>
                </a:lnTo>
                <a:lnTo>
                  <a:pt x="104" y="630"/>
                </a:lnTo>
                <a:lnTo>
                  <a:pt x="108" y="630"/>
                </a:lnTo>
                <a:lnTo>
                  <a:pt x="108" y="615"/>
                </a:lnTo>
                <a:lnTo>
                  <a:pt x="104" y="600"/>
                </a:lnTo>
                <a:lnTo>
                  <a:pt x="91" y="600"/>
                </a:lnTo>
                <a:lnTo>
                  <a:pt x="83" y="594"/>
                </a:lnTo>
                <a:lnTo>
                  <a:pt x="70" y="573"/>
                </a:lnTo>
                <a:lnTo>
                  <a:pt x="68" y="564"/>
                </a:lnTo>
                <a:lnTo>
                  <a:pt x="68" y="558"/>
                </a:lnTo>
                <a:lnTo>
                  <a:pt x="70" y="554"/>
                </a:lnTo>
                <a:lnTo>
                  <a:pt x="72" y="547"/>
                </a:lnTo>
                <a:lnTo>
                  <a:pt x="72" y="532"/>
                </a:lnTo>
                <a:lnTo>
                  <a:pt x="68" y="524"/>
                </a:lnTo>
                <a:lnTo>
                  <a:pt x="74" y="511"/>
                </a:lnTo>
                <a:lnTo>
                  <a:pt x="74" y="502"/>
                </a:lnTo>
                <a:lnTo>
                  <a:pt x="78" y="496"/>
                </a:lnTo>
                <a:lnTo>
                  <a:pt x="85" y="496"/>
                </a:lnTo>
                <a:lnTo>
                  <a:pt x="87" y="500"/>
                </a:lnTo>
                <a:lnTo>
                  <a:pt x="87" y="507"/>
                </a:lnTo>
                <a:lnTo>
                  <a:pt x="83" y="515"/>
                </a:lnTo>
                <a:lnTo>
                  <a:pt x="83" y="522"/>
                </a:lnTo>
                <a:lnTo>
                  <a:pt x="89" y="526"/>
                </a:lnTo>
                <a:lnTo>
                  <a:pt x="93" y="534"/>
                </a:lnTo>
                <a:lnTo>
                  <a:pt x="100" y="543"/>
                </a:lnTo>
                <a:lnTo>
                  <a:pt x="108" y="543"/>
                </a:lnTo>
                <a:lnTo>
                  <a:pt x="102" y="537"/>
                </a:lnTo>
                <a:lnTo>
                  <a:pt x="102" y="522"/>
                </a:lnTo>
                <a:lnTo>
                  <a:pt x="100" y="509"/>
                </a:lnTo>
                <a:lnTo>
                  <a:pt x="95" y="505"/>
                </a:lnTo>
                <a:lnTo>
                  <a:pt x="93" y="498"/>
                </a:lnTo>
                <a:lnTo>
                  <a:pt x="95" y="492"/>
                </a:lnTo>
                <a:lnTo>
                  <a:pt x="91" y="483"/>
                </a:lnTo>
                <a:lnTo>
                  <a:pt x="93" y="477"/>
                </a:lnTo>
                <a:lnTo>
                  <a:pt x="102" y="477"/>
                </a:lnTo>
                <a:lnTo>
                  <a:pt x="108" y="473"/>
                </a:lnTo>
                <a:lnTo>
                  <a:pt x="115" y="479"/>
                </a:lnTo>
                <a:lnTo>
                  <a:pt x="125" y="479"/>
                </a:lnTo>
                <a:lnTo>
                  <a:pt x="146" y="490"/>
                </a:lnTo>
                <a:lnTo>
                  <a:pt x="161" y="483"/>
                </a:lnTo>
                <a:lnTo>
                  <a:pt x="172" y="498"/>
                </a:lnTo>
                <a:lnTo>
                  <a:pt x="172" y="496"/>
                </a:lnTo>
                <a:lnTo>
                  <a:pt x="168" y="490"/>
                </a:lnTo>
                <a:lnTo>
                  <a:pt x="161" y="483"/>
                </a:lnTo>
                <a:lnTo>
                  <a:pt x="153" y="485"/>
                </a:lnTo>
                <a:lnTo>
                  <a:pt x="146" y="485"/>
                </a:lnTo>
                <a:lnTo>
                  <a:pt x="153" y="481"/>
                </a:lnTo>
                <a:lnTo>
                  <a:pt x="155" y="477"/>
                </a:lnTo>
                <a:lnTo>
                  <a:pt x="149" y="481"/>
                </a:lnTo>
                <a:lnTo>
                  <a:pt x="134" y="481"/>
                </a:lnTo>
                <a:lnTo>
                  <a:pt x="127" y="475"/>
                </a:lnTo>
                <a:lnTo>
                  <a:pt x="121" y="473"/>
                </a:lnTo>
                <a:lnTo>
                  <a:pt x="115" y="477"/>
                </a:lnTo>
                <a:lnTo>
                  <a:pt x="108" y="473"/>
                </a:lnTo>
                <a:lnTo>
                  <a:pt x="102" y="466"/>
                </a:lnTo>
                <a:lnTo>
                  <a:pt x="95" y="460"/>
                </a:lnTo>
                <a:lnTo>
                  <a:pt x="89" y="462"/>
                </a:lnTo>
                <a:lnTo>
                  <a:pt x="85" y="468"/>
                </a:lnTo>
                <a:lnTo>
                  <a:pt x="87" y="477"/>
                </a:lnTo>
                <a:lnTo>
                  <a:pt x="80" y="481"/>
                </a:lnTo>
                <a:lnTo>
                  <a:pt x="85" y="490"/>
                </a:lnTo>
                <a:lnTo>
                  <a:pt x="78" y="494"/>
                </a:lnTo>
                <a:lnTo>
                  <a:pt x="70" y="488"/>
                </a:lnTo>
                <a:lnTo>
                  <a:pt x="66" y="479"/>
                </a:lnTo>
                <a:lnTo>
                  <a:pt x="59" y="475"/>
                </a:lnTo>
                <a:lnTo>
                  <a:pt x="57" y="466"/>
                </a:lnTo>
                <a:lnTo>
                  <a:pt x="49" y="460"/>
                </a:lnTo>
                <a:lnTo>
                  <a:pt x="42" y="464"/>
                </a:lnTo>
                <a:lnTo>
                  <a:pt x="44" y="456"/>
                </a:lnTo>
                <a:lnTo>
                  <a:pt x="49" y="449"/>
                </a:lnTo>
                <a:lnTo>
                  <a:pt x="51" y="441"/>
                </a:lnTo>
                <a:lnTo>
                  <a:pt x="55" y="456"/>
                </a:lnTo>
                <a:lnTo>
                  <a:pt x="53" y="441"/>
                </a:lnTo>
                <a:lnTo>
                  <a:pt x="46" y="426"/>
                </a:lnTo>
                <a:lnTo>
                  <a:pt x="46" y="426"/>
                </a:lnTo>
                <a:lnTo>
                  <a:pt x="44" y="428"/>
                </a:lnTo>
                <a:lnTo>
                  <a:pt x="46" y="422"/>
                </a:lnTo>
                <a:lnTo>
                  <a:pt x="44" y="413"/>
                </a:lnTo>
                <a:lnTo>
                  <a:pt x="40" y="407"/>
                </a:lnTo>
                <a:lnTo>
                  <a:pt x="34" y="400"/>
                </a:lnTo>
                <a:lnTo>
                  <a:pt x="29" y="392"/>
                </a:lnTo>
                <a:lnTo>
                  <a:pt x="23" y="370"/>
                </a:lnTo>
                <a:lnTo>
                  <a:pt x="14" y="356"/>
                </a:lnTo>
                <a:lnTo>
                  <a:pt x="8" y="343"/>
                </a:lnTo>
                <a:lnTo>
                  <a:pt x="14" y="334"/>
                </a:lnTo>
                <a:lnTo>
                  <a:pt x="14" y="324"/>
                </a:lnTo>
                <a:lnTo>
                  <a:pt x="14" y="294"/>
                </a:lnTo>
                <a:lnTo>
                  <a:pt x="21" y="281"/>
                </a:lnTo>
                <a:lnTo>
                  <a:pt x="25" y="275"/>
                </a:lnTo>
                <a:lnTo>
                  <a:pt x="25" y="264"/>
                </a:lnTo>
                <a:lnTo>
                  <a:pt x="27" y="258"/>
                </a:lnTo>
                <a:lnTo>
                  <a:pt x="25" y="251"/>
                </a:lnTo>
                <a:lnTo>
                  <a:pt x="25" y="243"/>
                </a:lnTo>
                <a:lnTo>
                  <a:pt x="19" y="221"/>
                </a:lnTo>
                <a:lnTo>
                  <a:pt x="14" y="215"/>
                </a:lnTo>
                <a:lnTo>
                  <a:pt x="14" y="206"/>
                </a:lnTo>
                <a:lnTo>
                  <a:pt x="0" y="185"/>
                </a:lnTo>
                <a:lnTo>
                  <a:pt x="2" y="179"/>
                </a:lnTo>
                <a:lnTo>
                  <a:pt x="2" y="166"/>
                </a:lnTo>
                <a:lnTo>
                  <a:pt x="6" y="151"/>
                </a:lnTo>
                <a:lnTo>
                  <a:pt x="14" y="145"/>
                </a:lnTo>
                <a:lnTo>
                  <a:pt x="19" y="136"/>
                </a:lnTo>
                <a:lnTo>
                  <a:pt x="25" y="134"/>
                </a:lnTo>
                <a:lnTo>
                  <a:pt x="34" y="130"/>
                </a:lnTo>
                <a:lnTo>
                  <a:pt x="31" y="128"/>
                </a:lnTo>
                <a:lnTo>
                  <a:pt x="34" y="119"/>
                </a:lnTo>
                <a:lnTo>
                  <a:pt x="38" y="113"/>
                </a:lnTo>
                <a:lnTo>
                  <a:pt x="42" y="104"/>
                </a:lnTo>
                <a:lnTo>
                  <a:pt x="40" y="98"/>
                </a:lnTo>
                <a:lnTo>
                  <a:pt x="57" y="66"/>
                </a:lnTo>
                <a:close/>
              </a:path>
            </a:pathLst>
          </a:custGeom>
          <a:solidFill>
            <a:srgbClr val="BEBEBE"/>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r>
              <a:rPr lang="en-US" sz="1000" b="1" dirty="0">
                <a:solidFill>
                  <a:schemeClr val="bg1"/>
                </a:solidFill>
              </a:rPr>
              <a:t>     </a:t>
            </a:r>
            <a:r>
              <a:rPr lang="en-US" sz="1000" b="1" dirty="0">
                <a:solidFill>
                  <a:srgbClr val="5A5A5A"/>
                </a:solidFill>
              </a:rPr>
              <a:t>Calif.</a:t>
            </a:r>
          </a:p>
        </p:txBody>
      </p:sp>
      <p:sp>
        <p:nvSpPr>
          <p:cNvPr id="364" name="Freeform 774"/>
          <p:cNvSpPr>
            <a:spLocks noChangeAspect="1"/>
          </p:cNvSpPr>
          <p:nvPr/>
        </p:nvSpPr>
        <p:spPr bwMode="auto">
          <a:xfrm>
            <a:off x="6248356" y="3487227"/>
            <a:ext cx="985837" cy="562927"/>
          </a:xfrm>
          <a:custGeom>
            <a:avLst/>
            <a:gdLst>
              <a:gd name="T0" fmla="*/ 30 w 690"/>
              <a:gd name="T1" fmla="*/ 377 h 394"/>
              <a:gd name="T2" fmla="*/ 62 w 690"/>
              <a:gd name="T3" fmla="*/ 354 h 394"/>
              <a:gd name="T4" fmla="*/ 77 w 690"/>
              <a:gd name="T5" fmla="*/ 326 h 394"/>
              <a:gd name="T6" fmla="*/ 134 w 690"/>
              <a:gd name="T7" fmla="*/ 275 h 394"/>
              <a:gd name="T8" fmla="*/ 173 w 690"/>
              <a:gd name="T9" fmla="*/ 299 h 394"/>
              <a:gd name="T10" fmla="*/ 209 w 690"/>
              <a:gd name="T11" fmla="*/ 286 h 394"/>
              <a:gd name="T12" fmla="*/ 234 w 690"/>
              <a:gd name="T13" fmla="*/ 264 h 394"/>
              <a:gd name="T14" fmla="*/ 281 w 690"/>
              <a:gd name="T15" fmla="*/ 247 h 394"/>
              <a:gd name="T16" fmla="*/ 279 w 690"/>
              <a:gd name="T17" fmla="*/ 224 h 394"/>
              <a:gd name="T18" fmla="*/ 300 w 690"/>
              <a:gd name="T19" fmla="*/ 173 h 394"/>
              <a:gd name="T20" fmla="*/ 313 w 690"/>
              <a:gd name="T21" fmla="*/ 141 h 394"/>
              <a:gd name="T22" fmla="*/ 328 w 690"/>
              <a:gd name="T23" fmla="*/ 122 h 394"/>
              <a:gd name="T24" fmla="*/ 354 w 690"/>
              <a:gd name="T25" fmla="*/ 118 h 394"/>
              <a:gd name="T26" fmla="*/ 364 w 690"/>
              <a:gd name="T27" fmla="*/ 79 h 394"/>
              <a:gd name="T28" fmla="*/ 392 w 690"/>
              <a:gd name="T29" fmla="*/ 62 h 394"/>
              <a:gd name="T30" fmla="*/ 407 w 690"/>
              <a:gd name="T31" fmla="*/ 20 h 394"/>
              <a:gd name="T32" fmla="*/ 456 w 690"/>
              <a:gd name="T33" fmla="*/ 22 h 394"/>
              <a:gd name="T34" fmla="*/ 483 w 690"/>
              <a:gd name="T35" fmla="*/ 7 h 394"/>
              <a:gd name="T36" fmla="*/ 503 w 690"/>
              <a:gd name="T37" fmla="*/ 24 h 394"/>
              <a:gd name="T38" fmla="*/ 528 w 690"/>
              <a:gd name="T39" fmla="*/ 37 h 394"/>
              <a:gd name="T40" fmla="*/ 528 w 690"/>
              <a:gd name="T41" fmla="*/ 64 h 394"/>
              <a:gd name="T42" fmla="*/ 520 w 690"/>
              <a:gd name="T43" fmla="*/ 69 h 394"/>
              <a:gd name="T44" fmla="*/ 520 w 690"/>
              <a:gd name="T45" fmla="*/ 103 h 394"/>
              <a:gd name="T46" fmla="*/ 547 w 690"/>
              <a:gd name="T47" fmla="*/ 96 h 394"/>
              <a:gd name="T48" fmla="*/ 571 w 690"/>
              <a:gd name="T49" fmla="*/ 113 h 394"/>
              <a:gd name="T50" fmla="*/ 594 w 690"/>
              <a:gd name="T51" fmla="*/ 122 h 394"/>
              <a:gd name="T52" fmla="*/ 609 w 690"/>
              <a:gd name="T53" fmla="*/ 128 h 394"/>
              <a:gd name="T54" fmla="*/ 622 w 690"/>
              <a:gd name="T55" fmla="*/ 147 h 394"/>
              <a:gd name="T56" fmla="*/ 609 w 690"/>
              <a:gd name="T57" fmla="*/ 160 h 394"/>
              <a:gd name="T58" fmla="*/ 577 w 690"/>
              <a:gd name="T59" fmla="*/ 141 h 394"/>
              <a:gd name="T60" fmla="*/ 547 w 690"/>
              <a:gd name="T61" fmla="*/ 120 h 394"/>
              <a:gd name="T62" fmla="*/ 567 w 690"/>
              <a:gd name="T63" fmla="*/ 137 h 394"/>
              <a:gd name="T64" fmla="*/ 598 w 690"/>
              <a:gd name="T65" fmla="*/ 160 h 394"/>
              <a:gd name="T66" fmla="*/ 622 w 690"/>
              <a:gd name="T67" fmla="*/ 175 h 394"/>
              <a:gd name="T68" fmla="*/ 637 w 690"/>
              <a:gd name="T69" fmla="*/ 192 h 394"/>
              <a:gd name="T70" fmla="*/ 618 w 690"/>
              <a:gd name="T71" fmla="*/ 194 h 394"/>
              <a:gd name="T72" fmla="*/ 592 w 690"/>
              <a:gd name="T73" fmla="*/ 190 h 394"/>
              <a:gd name="T74" fmla="*/ 620 w 690"/>
              <a:gd name="T75" fmla="*/ 213 h 394"/>
              <a:gd name="T76" fmla="*/ 641 w 690"/>
              <a:gd name="T77" fmla="*/ 226 h 394"/>
              <a:gd name="T78" fmla="*/ 624 w 690"/>
              <a:gd name="T79" fmla="*/ 233 h 394"/>
              <a:gd name="T80" fmla="*/ 596 w 690"/>
              <a:gd name="T81" fmla="*/ 222 h 394"/>
              <a:gd name="T82" fmla="*/ 579 w 690"/>
              <a:gd name="T83" fmla="*/ 220 h 394"/>
              <a:gd name="T84" fmla="*/ 547 w 690"/>
              <a:gd name="T85" fmla="*/ 218 h 394"/>
              <a:gd name="T86" fmla="*/ 596 w 690"/>
              <a:gd name="T87" fmla="*/ 224 h 394"/>
              <a:gd name="T88" fmla="*/ 611 w 690"/>
              <a:gd name="T89" fmla="*/ 235 h 394"/>
              <a:gd name="T90" fmla="*/ 633 w 690"/>
              <a:gd name="T91" fmla="*/ 247 h 394"/>
              <a:gd name="T92" fmla="*/ 643 w 690"/>
              <a:gd name="T93" fmla="*/ 239 h 394"/>
              <a:gd name="T94" fmla="*/ 690 w 690"/>
              <a:gd name="T95" fmla="*/ 275 h 394"/>
              <a:gd name="T96" fmla="*/ 677 w 690"/>
              <a:gd name="T97" fmla="*/ 271 h 394"/>
              <a:gd name="T98" fmla="*/ 673 w 690"/>
              <a:gd name="T99" fmla="*/ 279 h 394"/>
              <a:gd name="T100" fmla="*/ 222 w 690"/>
              <a:gd name="T101" fmla="*/ 365 h 394"/>
              <a:gd name="T102" fmla="*/ 139 w 690"/>
              <a:gd name="T103" fmla="*/ 375 h 394"/>
              <a:gd name="T104" fmla="*/ 0 w 690"/>
              <a:gd name="T10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0" h="394">
                <a:moveTo>
                  <a:pt x="0" y="394"/>
                </a:moveTo>
                <a:lnTo>
                  <a:pt x="15" y="384"/>
                </a:lnTo>
                <a:lnTo>
                  <a:pt x="21" y="384"/>
                </a:lnTo>
                <a:lnTo>
                  <a:pt x="30" y="377"/>
                </a:lnTo>
                <a:lnTo>
                  <a:pt x="47" y="371"/>
                </a:lnTo>
                <a:lnTo>
                  <a:pt x="47" y="362"/>
                </a:lnTo>
                <a:lnTo>
                  <a:pt x="56" y="358"/>
                </a:lnTo>
                <a:lnTo>
                  <a:pt x="62" y="354"/>
                </a:lnTo>
                <a:lnTo>
                  <a:pt x="68" y="348"/>
                </a:lnTo>
                <a:lnTo>
                  <a:pt x="68" y="341"/>
                </a:lnTo>
                <a:lnTo>
                  <a:pt x="77" y="335"/>
                </a:lnTo>
                <a:lnTo>
                  <a:pt x="77" y="326"/>
                </a:lnTo>
                <a:lnTo>
                  <a:pt x="81" y="318"/>
                </a:lnTo>
                <a:lnTo>
                  <a:pt x="107" y="301"/>
                </a:lnTo>
                <a:lnTo>
                  <a:pt x="134" y="267"/>
                </a:lnTo>
                <a:lnTo>
                  <a:pt x="134" y="275"/>
                </a:lnTo>
                <a:lnTo>
                  <a:pt x="141" y="282"/>
                </a:lnTo>
                <a:lnTo>
                  <a:pt x="147" y="288"/>
                </a:lnTo>
                <a:lnTo>
                  <a:pt x="162" y="296"/>
                </a:lnTo>
                <a:lnTo>
                  <a:pt x="173" y="299"/>
                </a:lnTo>
                <a:lnTo>
                  <a:pt x="188" y="290"/>
                </a:lnTo>
                <a:lnTo>
                  <a:pt x="190" y="284"/>
                </a:lnTo>
                <a:lnTo>
                  <a:pt x="202" y="288"/>
                </a:lnTo>
                <a:lnTo>
                  <a:pt x="209" y="286"/>
                </a:lnTo>
                <a:lnTo>
                  <a:pt x="224" y="279"/>
                </a:lnTo>
                <a:lnTo>
                  <a:pt x="232" y="277"/>
                </a:lnTo>
                <a:lnTo>
                  <a:pt x="234" y="271"/>
                </a:lnTo>
                <a:lnTo>
                  <a:pt x="234" y="264"/>
                </a:lnTo>
                <a:lnTo>
                  <a:pt x="245" y="267"/>
                </a:lnTo>
                <a:lnTo>
                  <a:pt x="258" y="256"/>
                </a:lnTo>
                <a:lnTo>
                  <a:pt x="266" y="256"/>
                </a:lnTo>
                <a:lnTo>
                  <a:pt x="281" y="247"/>
                </a:lnTo>
                <a:lnTo>
                  <a:pt x="281" y="245"/>
                </a:lnTo>
                <a:lnTo>
                  <a:pt x="279" y="239"/>
                </a:lnTo>
                <a:lnTo>
                  <a:pt x="285" y="233"/>
                </a:lnTo>
                <a:lnTo>
                  <a:pt x="279" y="224"/>
                </a:lnTo>
                <a:lnTo>
                  <a:pt x="281" y="211"/>
                </a:lnTo>
                <a:lnTo>
                  <a:pt x="290" y="196"/>
                </a:lnTo>
                <a:lnTo>
                  <a:pt x="296" y="188"/>
                </a:lnTo>
                <a:lnTo>
                  <a:pt x="300" y="173"/>
                </a:lnTo>
                <a:lnTo>
                  <a:pt x="300" y="164"/>
                </a:lnTo>
                <a:lnTo>
                  <a:pt x="307" y="158"/>
                </a:lnTo>
                <a:lnTo>
                  <a:pt x="311" y="143"/>
                </a:lnTo>
                <a:lnTo>
                  <a:pt x="313" y="141"/>
                </a:lnTo>
                <a:lnTo>
                  <a:pt x="313" y="132"/>
                </a:lnTo>
                <a:lnTo>
                  <a:pt x="313" y="118"/>
                </a:lnTo>
                <a:lnTo>
                  <a:pt x="322" y="115"/>
                </a:lnTo>
                <a:lnTo>
                  <a:pt x="328" y="122"/>
                </a:lnTo>
                <a:lnTo>
                  <a:pt x="330" y="126"/>
                </a:lnTo>
                <a:lnTo>
                  <a:pt x="343" y="128"/>
                </a:lnTo>
                <a:lnTo>
                  <a:pt x="351" y="126"/>
                </a:lnTo>
                <a:lnTo>
                  <a:pt x="354" y="118"/>
                </a:lnTo>
                <a:lnTo>
                  <a:pt x="358" y="103"/>
                </a:lnTo>
                <a:lnTo>
                  <a:pt x="360" y="96"/>
                </a:lnTo>
                <a:lnTo>
                  <a:pt x="362" y="86"/>
                </a:lnTo>
                <a:lnTo>
                  <a:pt x="364" y="79"/>
                </a:lnTo>
                <a:lnTo>
                  <a:pt x="373" y="79"/>
                </a:lnTo>
                <a:lnTo>
                  <a:pt x="379" y="77"/>
                </a:lnTo>
                <a:lnTo>
                  <a:pt x="386" y="62"/>
                </a:lnTo>
                <a:lnTo>
                  <a:pt x="392" y="62"/>
                </a:lnTo>
                <a:lnTo>
                  <a:pt x="398" y="56"/>
                </a:lnTo>
                <a:lnTo>
                  <a:pt x="403" y="41"/>
                </a:lnTo>
                <a:lnTo>
                  <a:pt x="407" y="34"/>
                </a:lnTo>
                <a:lnTo>
                  <a:pt x="407" y="20"/>
                </a:lnTo>
                <a:lnTo>
                  <a:pt x="409" y="11"/>
                </a:lnTo>
                <a:lnTo>
                  <a:pt x="407" y="5"/>
                </a:lnTo>
                <a:lnTo>
                  <a:pt x="415" y="0"/>
                </a:lnTo>
                <a:lnTo>
                  <a:pt x="456" y="22"/>
                </a:lnTo>
                <a:lnTo>
                  <a:pt x="460" y="15"/>
                </a:lnTo>
                <a:lnTo>
                  <a:pt x="462" y="2"/>
                </a:lnTo>
                <a:lnTo>
                  <a:pt x="477" y="2"/>
                </a:lnTo>
                <a:lnTo>
                  <a:pt x="483" y="7"/>
                </a:lnTo>
                <a:lnTo>
                  <a:pt x="488" y="13"/>
                </a:lnTo>
                <a:lnTo>
                  <a:pt x="486" y="20"/>
                </a:lnTo>
                <a:lnTo>
                  <a:pt x="494" y="26"/>
                </a:lnTo>
                <a:lnTo>
                  <a:pt x="503" y="24"/>
                </a:lnTo>
                <a:lnTo>
                  <a:pt x="511" y="28"/>
                </a:lnTo>
                <a:lnTo>
                  <a:pt x="518" y="32"/>
                </a:lnTo>
                <a:lnTo>
                  <a:pt x="522" y="34"/>
                </a:lnTo>
                <a:lnTo>
                  <a:pt x="528" y="37"/>
                </a:lnTo>
                <a:lnTo>
                  <a:pt x="532" y="45"/>
                </a:lnTo>
                <a:lnTo>
                  <a:pt x="532" y="49"/>
                </a:lnTo>
                <a:lnTo>
                  <a:pt x="535" y="56"/>
                </a:lnTo>
                <a:lnTo>
                  <a:pt x="528" y="64"/>
                </a:lnTo>
                <a:lnTo>
                  <a:pt x="528" y="66"/>
                </a:lnTo>
                <a:lnTo>
                  <a:pt x="526" y="71"/>
                </a:lnTo>
                <a:lnTo>
                  <a:pt x="524" y="71"/>
                </a:lnTo>
                <a:lnTo>
                  <a:pt x="520" y="69"/>
                </a:lnTo>
                <a:lnTo>
                  <a:pt x="518" y="90"/>
                </a:lnTo>
                <a:lnTo>
                  <a:pt x="520" y="96"/>
                </a:lnTo>
                <a:lnTo>
                  <a:pt x="518" y="96"/>
                </a:lnTo>
                <a:lnTo>
                  <a:pt x="520" y="103"/>
                </a:lnTo>
                <a:lnTo>
                  <a:pt x="526" y="105"/>
                </a:lnTo>
                <a:lnTo>
                  <a:pt x="530" y="103"/>
                </a:lnTo>
                <a:lnTo>
                  <a:pt x="539" y="96"/>
                </a:lnTo>
                <a:lnTo>
                  <a:pt x="547" y="96"/>
                </a:lnTo>
                <a:lnTo>
                  <a:pt x="547" y="103"/>
                </a:lnTo>
                <a:lnTo>
                  <a:pt x="558" y="113"/>
                </a:lnTo>
                <a:lnTo>
                  <a:pt x="562" y="115"/>
                </a:lnTo>
                <a:lnTo>
                  <a:pt x="571" y="113"/>
                </a:lnTo>
                <a:lnTo>
                  <a:pt x="573" y="115"/>
                </a:lnTo>
                <a:lnTo>
                  <a:pt x="586" y="113"/>
                </a:lnTo>
                <a:lnTo>
                  <a:pt x="588" y="115"/>
                </a:lnTo>
                <a:lnTo>
                  <a:pt x="594" y="122"/>
                </a:lnTo>
                <a:lnTo>
                  <a:pt x="594" y="126"/>
                </a:lnTo>
                <a:lnTo>
                  <a:pt x="603" y="126"/>
                </a:lnTo>
                <a:lnTo>
                  <a:pt x="603" y="128"/>
                </a:lnTo>
                <a:lnTo>
                  <a:pt x="609" y="128"/>
                </a:lnTo>
                <a:lnTo>
                  <a:pt x="624" y="135"/>
                </a:lnTo>
                <a:lnTo>
                  <a:pt x="624" y="141"/>
                </a:lnTo>
                <a:lnTo>
                  <a:pt x="618" y="141"/>
                </a:lnTo>
                <a:lnTo>
                  <a:pt x="622" y="147"/>
                </a:lnTo>
                <a:lnTo>
                  <a:pt x="622" y="156"/>
                </a:lnTo>
                <a:lnTo>
                  <a:pt x="618" y="164"/>
                </a:lnTo>
                <a:lnTo>
                  <a:pt x="609" y="162"/>
                </a:lnTo>
                <a:lnTo>
                  <a:pt x="609" y="160"/>
                </a:lnTo>
                <a:lnTo>
                  <a:pt x="603" y="160"/>
                </a:lnTo>
                <a:lnTo>
                  <a:pt x="588" y="149"/>
                </a:lnTo>
                <a:lnTo>
                  <a:pt x="584" y="147"/>
                </a:lnTo>
                <a:lnTo>
                  <a:pt x="577" y="141"/>
                </a:lnTo>
                <a:lnTo>
                  <a:pt x="571" y="137"/>
                </a:lnTo>
                <a:lnTo>
                  <a:pt x="564" y="130"/>
                </a:lnTo>
                <a:lnTo>
                  <a:pt x="556" y="124"/>
                </a:lnTo>
                <a:lnTo>
                  <a:pt x="547" y="120"/>
                </a:lnTo>
                <a:lnTo>
                  <a:pt x="541" y="122"/>
                </a:lnTo>
                <a:lnTo>
                  <a:pt x="547" y="122"/>
                </a:lnTo>
                <a:lnTo>
                  <a:pt x="562" y="130"/>
                </a:lnTo>
                <a:lnTo>
                  <a:pt x="567" y="137"/>
                </a:lnTo>
                <a:lnTo>
                  <a:pt x="571" y="141"/>
                </a:lnTo>
                <a:lnTo>
                  <a:pt x="577" y="145"/>
                </a:lnTo>
                <a:lnTo>
                  <a:pt x="584" y="154"/>
                </a:lnTo>
                <a:lnTo>
                  <a:pt x="598" y="160"/>
                </a:lnTo>
                <a:lnTo>
                  <a:pt x="601" y="164"/>
                </a:lnTo>
                <a:lnTo>
                  <a:pt x="607" y="169"/>
                </a:lnTo>
                <a:lnTo>
                  <a:pt x="613" y="169"/>
                </a:lnTo>
                <a:lnTo>
                  <a:pt x="622" y="175"/>
                </a:lnTo>
                <a:lnTo>
                  <a:pt x="618" y="177"/>
                </a:lnTo>
                <a:lnTo>
                  <a:pt x="626" y="179"/>
                </a:lnTo>
                <a:lnTo>
                  <a:pt x="633" y="179"/>
                </a:lnTo>
                <a:lnTo>
                  <a:pt x="637" y="192"/>
                </a:lnTo>
                <a:lnTo>
                  <a:pt x="635" y="198"/>
                </a:lnTo>
                <a:lnTo>
                  <a:pt x="628" y="194"/>
                </a:lnTo>
                <a:lnTo>
                  <a:pt x="620" y="192"/>
                </a:lnTo>
                <a:lnTo>
                  <a:pt x="618" y="194"/>
                </a:lnTo>
                <a:lnTo>
                  <a:pt x="624" y="201"/>
                </a:lnTo>
                <a:lnTo>
                  <a:pt x="620" y="209"/>
                </a:lnTo>
                <a:lnTo>
                  <a:pt x="607" y="203"/>
                </a:lnTo>
                <a:lnTo>
                  <a:pt x="592" y="190"/>
                </a:lnTo>
                <a:lnTo>
                  <a:pt x="584" y="188"/>
                </a:lnTo>
                <a:lnTo>
                  <a:pt x="601" y="201"/>
                </a:lnTo>
                <a:lnTo>
                  <a:pt x="607" y="207"/>
                </a:lnTo>
                <a:lnTo>
                  <a:pt x="620" y="213"/>
                </a:lnTo>
                <a:lnTo>
                  <a:pt x="628" y="211"/>
                </a:lnTo>
                <a:lnTo>
                  <a:pt x="630" y="218"/>
                </a:lnTo>
                <a:lnTo>
                  <a:pt x="639" y="220"/>
                </a:lnTo>
                <a:lnTo>
                  <a:pt x="641" y="226"/>
                </a:lnTo>
                <a:lnTo>
                  <a:pt x="639" y="235"/>
                </a:lnTo>
                <a:lnTo>
                  <a:pt x="635" y="237"/>
                </a:lnTo>
                <a:lnTo>
                  <a:pt x="630" y="241"/>
                </a:lnTo>
                <a:lnTo>
                  <a:pt x="624" y="233"/>
                </a:lnTo>
                <a:lnTo>
                  <a:pt x="616" y="230"/>
                </a:lnTo>
                <a:lnTo>
                  <a:pt x="609" y="224"/>
                </a:lnTo>
                <a:lnTo>
                  <a:pt x="603" y="215"/>
                </a:lnTo>
                <a:lnTo>
                  <a:pt x="596" y="222"/>
                </a:lnTo>
                <a:lnTo>
                  <a:pt x="590" y="218"/>
                </a:lnTo>
                <a:lnTo>
                  <a:pt x="581" y="211"/>
                </a:lnTo>
                <a:lnTo>
                  <a:pt x="581" y="220"/>
                </a:lnTo>
                <a:lnTo>
                  <a:pt x="579" y="220"/>
                </a:lnTo>
                <a:lnTo>
                  <a:pt x="571" y="213"/>
                </a:lnTo>
                <a:lnTo>
                  <a:pt x="556" y="215"/>
                </a:lnTo>
                <a:lnTo>
                  <a:pt x="550" y="213"/>
                </a:lnTo>
                <a:lnTo>
                  <a:pt x="547" y="218"/>
                </a:lnTo>
                <a:lnTo>
                  <a:pt x="569" y="218"/>
                </a:lnTo>
                <a:lnTo>
                  <a:pt x="584" y="224"/>
                </a:lnTo>
                <a:lnTo>
                  <a:pt x="590" y="222"/>
                </a:lnTo>
                <a:lnTo>
                  <a:pt x="596" y="224"/>
                </a:lnTo>
                <a:lnTo>
                  <a:pt x="605" y="222"/>
                </a:lnTo>
                <a:lnTo>
                  <a:pt x="607" y="228"/>
                </a:lnTo>
                <a:lnTo>
                  <a:pt x="611" y="237"/>
                </a:lnTo>
                <a:lnTo>
                  <a:pt x="611" y="235"/>
                </a:lnTo>
                <a:lnTo>
                  <a:pt x="620" y="241"/>
                </a:lnTo>
                <a:lnTo>
                  <a:pt x="626" y="247"/>
                </a:lnTo>
                <a:lnTo>
                  <a:pt x="624" y="254"/>
                </a:lnTo>
                <a:lnTo>
                  <a:pt x="633" y="247"/>
                </a:lnTo>
                <a:lnTo>
                  <a:pt x="637" y="247"/>
                </a:lnTo>
                <a:lnTo>
                  <a:pt x="643" y="252"/>
                </a:lnTo>
                <a:lnTo>
                  <a:pt x="641" y="247"/>
                </a:lnTo>
                <a:lnTo>
                  <a:pt x="643" y="239"/>
                </a:lnTo>
                <a:lnTo>
                  <a:pt x="650" y="241"/>
                </a:lnTo>
                <a:lnTo>
                  <a:pt x="671" y="239"/>
                </a:lnTo>
                <a:lnTo>
                  <a:pt x="677" y="254"/>
                </a:lnTo>
                <a:lnTo>
                  <a:pt x="690" y="275"/>
                </a:lnTo>
                <a:lnTo>
                  <a:pt x="688" y="277"/>
                </a:lnTo>
                <a:lnTo>
                  <a:pt x="684" y="269"/>
                </a:lnTo>
                <a:lnTo>
                  <a:pt x="677" y="262"/>
                </a:lnTo>
                <a:lnTo>
                  <a:pt x="677" y="271"/>
                </a:lnTo>
                <a:lnTo>
                  <a:pt x="679" y="277"/>
                </a:lnTo>
                <a:lnTo>
                  <a:pt x="675" y="279"/>
                </a:lnTo>
                <a:lnTo>
                  <a:pt x="671" y="275"/>
                </a:lnTo>
                <a:lnTo>
                  <a:pt x="673" y="279"/>
                </a:lnTo>
                <a:lnTo>
                  <a:pt x="586" y="299"/>
                </a:lnTo>
                <a:lnTo>
                  <a:pt x="488" y="318"/>
                </a:lnTo>
                <a:lnTo>
                  <a:pt x="292" y="354"/>
                </a:lnTo>
                <a:lnTo>
                  <a:pt x="222" y="365"/>
                </a:lnTo>
                <a:lnTo>
                  <a:pt x="192" y="369"/>
                </a:lnTo>
                <a:lnTo>
                  <a:pt x="179" y="367"/>
                </a:lnTo>
                <a:lnTo>
                  <a:pt x="168" y="369"/>
                </a:lnTo>
                <a:lnTo>
                  <a:pt x="139" y="375"/>
                </a:lnTo>
                <a:lnTo>
                  <a:pt x="102" y="379"/>
                </a:lnTo>
                <a:lnTo>
                  <a:pt x="43" y="390"/>
                </a:lnTo>
                <a:lnTo>
                  <a:pt x="28" y="390"/>
                </a:lnTo>
                <a:lnTo>
                  <a:pt x="0" y="394"/>
                </a:lnTo>
                <a:close/>
              </a:path>
            </a:pathLst>
          </a:custGeom>
          <a:solidFill>
            <a:srgbClr val="194196"/>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chemeClr val="bg1"/>
                </a:solidFill>
              </a:rPr>
              <a:t>      Va.  </a:t>
            </a:r>
          </a:p>
        </p:txBody>
      </p:sp>
      <p:sp>
        <p:nvSpPr>
          <p:cNvPr id="365" name="Freeform 776"/>
          <p:cNvSpPr>
            <a:spLocks noChangeAspect="1"/>
          </p:cNvSpPr>
          <p:nvPr/>
        </p:nvSpPr>
        <p:spPr bwMode="auto">
          <a:xfrm>
            <a:off x="7178448" y="3629832"/>
            <a:ext cx="51435" cy="154305"/>
          </a:xfrm>
          <a:custGeom>
            <a:avLst/>
            <a:gdLst>
              <a:gd name="T0" fmla="*/ 13 w 36"/>
              <a:gd name="T1" fmla="*/ 81 h 108"/>
              <a:gd name="T2" fmla="*/ 13 w 36"/>
              <a:gd name="T3" fmla="*/ 93 h 108"/>
              <a:gd name="T4" fmla="*/ 9 w 36"/>
              <a:gd name="T5" fmla="*/ 108 h 108"/>
              <a:gd name="T6" fmla="*/ 0 w 36"/>
              <a:gd name="T7" fmla="*/ 98 h 108"/>
              <a:gd name="T8" fmla="*/ 0 w 36"/>
              <a:gd name="T9" fmla="*/ 83 h 108"/>
              <a:gd name="T10" fmla="*/ 2 w 36"/>
              <a:gd name="T11" fmla="*/ 81 h 108"/>
              <a:gd name="T12" fmla="*/ 0 w 36"/>
              <a:gd name="T13" fmla="*/ 74 h 108"/>
              <a:gd name="T14" fmla="*/ 0 w 36"/>
              <a:gd name="T15" fmla="*/ 59 h 108"/>
              <a:gd name="T16" fmla="*/ 6 w 36"/>
              <a:gd name="T17" fmla="*/ 46 h 108"/>
              <a:gd name="T18" fmla="*/ 6 w 36"/>
              <a:gd name="T19" fmla="*/ 32 h 108"/>
              <a:gd name="T20" fmla="*/ 13 w 36"/>
              <a:gd name="T21" fmla="*/ 32 h 108"/>
              <a:gd name="T22" fmla="*/ 15 w 36"/>
              <a:gd name="T23" fmla="*/ 25 h 108"/>
              <a:gd name="T24" fmla="*/ 9 w 36"/>
              <a:gd name="T25" fmla="*/ 19 h 108"/>
              <a:gd name="T26" fmla="*/ 15 w 36"/>
              <a:gd name="T27" fmla="*/ 12 h 108"/>
              <a:gd name="T28" fmla="*/ 21 w 36"/>
              <a:gd name="T29" fmla="*/ 6 h 108"/>
              <a:gd name="T30" fmla="*/ 36 w 36"/>
              <a:gd name="T31" fmla="*/ 0 h 108"/>
              <a:gd name="T32" fmla="*/ 34 w 36"/>
              <a:gd name="T33" fmla="*/ 10 h 108"/>
              <a:gd name="T34" fmla="*/ 36 w 36"/>
              <a:gd name="T35" fmla="*/ 17 h 108"/>
              <a:gd name="T36" fmla="*/ 30 w 36"/>
              <a:gd name="T37" fmla="*/ 27 h 108"/>
              <a:gd name="T38" fmla="*/ 28 w 36"/>
              <a:gd name="T39" fmla="*/ 42 h 108"/>
              <a:gd name="T40" fmla="*/ 28 w 36"/>
              <a:gd name="T41" fmla="*/ 57 h 108"/>
              <a:gd name="T42" fmla="*/ 26 w 36"/>
              <a:gd name="T43" fmla="*/ 63 h 108"/>
              <a:gd name="T44" fmla="*/ 26 w 36"/>
              <a:gd name="T45" fmla="*/ 63 h 108"/>
              <a:gd name="T46" fmla="*/ 19 w 36"/>
              <a:gd name="T47" fmla="*/ 59 h 108"/>
              <a:gd name="T48" fmla="*/ 17 w 36"/>
              <a:gd name="T49" fmla="*/ 66 h 108"/>
              <a:gd name="T50" fmla="*/ 13 w 36"/>
              <a:gd name="T51" fmla="*/ 74 h 108"/>
              <a:gd name="T52" fmla="*/ 13 w 36"/>
              <a:gd name="T53"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08">
                <a:moveTo>
                  <a:pt x="13" y="81"/>
                </a:moveTo>
                <a:lnTo>
                  <a:pt x="13" y="93"/>
                </a:lnTo>
                <a:lnTo>
                  <a:pt x="9" y="108"/>
                </a:lnTo>
                <a:lnTo>
                  <a:pt x="0" y="98"/>
                </a:lnTo>
                <a:lnTo>
                  <a:pt x="0" y="83"/>
                </a:lnTo>
                <a:lnTo>
                  <a:pt x="2" y="81"/>
                </a:lnTo>
                <a:lnTo>
                  <a:pt x="0" y="74"/>
                </a:lnTo>
                <a:lnTo>
                  <a:pt x="0" y="59"/>
                </a:lnTo>
                <a:lnTo>
                  <a:pt x="6" y="46"/>
                </a:lnTo>
                <a:lnTo>
                  <a:pt x="6" y="32"/>
                </a:lnTo>
                <a:lnTo>
                  <a:pt x="13" y="32"/>
                </a:lnTo>
                <a:lnTo>
                  <a:pt x="15" y="25"/>
                </a:lnTo>
                <a:lnTo>
                  <a:pt x="9" y="19"/>
                </a:lnTo>
                <a:lnTo>
                  <a:pt x="15" y="12"/>
                </a:lnTo>
                <a:lnTo>
                  <a:pt x="21" y="6"/>
                </a:lnTo>
                <a:lnTo>
                  <a:pt x="36" y="0"/>
                </a:lnTo>
                <a:lnTo>
                  <a:pt x="34" y="10"/>
                </a:lnTo>
                <a:lnTo>
                  <a:pt x="36" y="17"/>
                </a:lnTo>
                <a:lnTo>
                  <a:pt x="30" y="27"/>
                </a:lnTo>
                <a:lnTo>
                  <a:pt x="28" y="42"/>
                </a:lnTo>
                <a:lnTo>
                  <a:pt x="28" y="57"/>
                </a:lnTo>
                <a:lnTo>
                  <a:pt x="26" y="63"/>
                </a:lnTo>
                <a:lnTo>
                  <a:pt x="26" y="63"/>
                </a:lnTo>
                <a:lnTo>
                  <a:pt x="19" y="59"/>
                </a:lnTo>
                <a:lnTo>
                  <a:pt x="17" y="66"/>
                </a:lnTo>
                <a:lnTo>
                  <a:pt x="13" y="74"/>
                </a:lnTo>
                <a:lnTo>
                  <a:pt x="13" y="81"/>
                </a:lnTo>
                <a:close/>
              </a:path>
            </a:pathLst>
          </a:custGeom>
          <a:solidFill>
            <a:srgbClr val="BEBEBE"/>
          </a:solidFill>
          <a:ln w="9525">
            <a:solidFill>
              <a:schemeClr val="bg1"/>
            </a:solidFill>
          </a:ln>
        </p:spPr>
        <p:txBody>
          <a:bodyPr vert="horz" wrap="square" lIns="91440" tIns="45720" rIns="91440" bIns="45720" numCol="1" anchor="t" anchorCtr="0" compatLnSpc="1">
            <a:prstTxWarp prst="textNoShape">
              <a:avLst/>
            </a:prstTxWarp>
          </a:bodyPr>
          <a:lstStyle/>
          <a:p>
            <a:endParaRPr lang="en-US" dirty="0">
              <a:solidFill>
                <a:prstClr val="black"/>
              </a:solidFill>
            </a:endParaRPr>
          </a:p>
        </p:txBody>
      </p:sp>
      <p:sp>
        <p:nvSpPr>
          <p:cNvPr id="366" name="Freeform 875"/>
          <p:cNvSpPr>
            <a:spLocks noChangeAspect="1"/>
          </p:cNvSpPr>
          <p:nvPr/>
        </p:nvSpPr>
        <p:spPr bwMode="auto">
          <a:xfrm>
            <a:off x="5279463" y="2417934"/>
            <a:ext cx="732949" cy="325755"/>
          </a:xfrm>
          <a:custGeom>
            <a:avLst/>
            <a:gdLst>
              <a:gd name="T0" fmla="*/ 30 w 513"/>
              <a:gd name="T1" fmla="*/ 66 h 228"/>
              <a:gd name="T2" fmla="*/ 57 w 513"/>
              <a:gd name="T3" fmla="*/ 47 h 228"/>
              <a:gd name="T4" fmla="*/ 79 w 513"/>
              <a:gd name="T5" fmla="*/ 42 h 228"/>
              <a:gd name="T6" fmla="*/ 109 w 513"/>
              <a:gd name="T7" fmla="*/ 23 h 228"/>
              <a:gd name="T8" fmla="*/ 132 w 513"/>
              <a:gd name="T9" fmla="*/ 6 h 228"/>
              <a:gd name="T10" fmla="*/ 147 w 513"/>
              <a:gd name="T11" fmla="*/ 38 h 228"/>
              <a:gd name="T12" fmla="*/ 153 w 513"/>
              <a:gd name="T13" fmla="*/ 36 h 228"/>
              <a:gd name="T14" fmla="*/ 162 w 513"/>
              <a:gd name="T15" fmla="*/ 38 h 228"/>
              <a:gd name="T16" fmla="*/ 177 w 513"/>
              <a:gd name="T17" fmla="*/ 27 h 228"/>
              <a:gd name="T18" fmla="*/ 207 w 513"/>
              <a:gd name="T19" fmla="*/ 34 h 228"/>
              <a:gd name="T20" fmla="*/ 230 w 513"/>
              <a:gd name="T21" fmla="*/ 57 h 228"/>
              <a:gd name="T22" fmla="*/ 249 w 513"/>
              <a:gd name="T23" fmla="*/ 68 h 228"/>
              <a:gd name="T24" fmla="*/ 281 w 513"/>
              <a:gd name="T25" fmla="*/ 70 h 228"/>
              <a:gd name="T26" fmla="*/ 305 w 513"/>
              <a:gd name="T27" fmla="*/ 57 h 228"/>
              <a:gd name="T28" fmla="*/ 339 w 513"/>
              <a:gd name="T29" fmla="*/ 38 h 228"/>
              <a:gd name="T30" fmla="*/ 381 w 513"/>
              <a:gd name="T31" fmla="*/ 32 h 228"/>
              <a:gd name="T32" fmla="*/ 417 w 513"/>
              <a:gd name="T33" fmla="*/ 17 h 228"/>
              <a:gd name="T34" fmla="*/ 434 w 513"/>
              <a:gd name="T35" fmla="*/ 51 h 228"/>
              <a:gd name="T36" fmla="*/ 460 w 513"/>
              <a:gd name="T37" fmla="*/ 49 h 228"/>
              <a:gd name="T38" fmla="*/ 471 w 513"/>
              <a:gd name="T39" fmla="*/ 42 h 228"/>
              <a:gd name="T40" fmla="*/ 483 w 513"/>
              <a:gd name="T41" fmla="*/ 64 h 228"/>
              <a:gd name="T42" fmla="*/ 494 w 513"/>
              <a:gd name="T43" fmla="*/ 76 h 228"/>
              <a:gd name="T44" fmla="*/ 509 w 513"/>
              <a:gd name="T45" fmla="*/ 89 h 228"/>
              <a:gd name="T46" fmla="*/ 473 w 513"/>
              <a:gd name="T47" fmla="*/ 98 h 228"/>
              <a:gd name="T48" fmla="*/ 451 w 513"/>
              <a:gd name="T49" fmla="*/ 98 h 228"/>
              <a:gd name="T50" fmla="*/ 443 w 513"/>
              <a:gd name="T51" fmla="*/ 115 h 228"/>
              <a:gd name="T52" fmla="*/ 405 w 513"/>
              <a:gd name="T53" fmla="*/ 100 h 228"/>
              <a:gd name="T54" fmla="*/ 377 w 513"/>
              <a:gd name="T55" fmla="*/ 110 h 228"/>
              <a:gd name="T56" fmla="*/ 349 w 513"/>
              <a:gd name="T57" fmla="*/ 119 h 228"/>
              <a:gd name="T58" fmla="*/ 330 w 513"/>
              <a:gd name="T59" fmla="*/ 123 h 228"/>
              <a:gd name="T60" fmla="*/ 317 w 513"/>
              <a:gd name="T61" fmla="*/ 142 h 228"/>
              <a:gd name="T62" fmla="*/ 298 w 513"/>
              <a:gd name="T63" fmla="*/ 157 h 228"/>
              <a:gd name="T64" fmla="*/ 309 w 513"/>
              <a:gd name="T65" fmla="*/ 136 h 228"/>
              <a:gd name="T66" fmla="*/ 287 w 513"/>
              <a:gd name="T67" fmla="*/ 144 h 228"/>
              <a:gd name="T68" fmla="*/ 275 w 513"/>
              <a:gd name="T69" fmla="*/ 147 h 228"/>
              <a:gd name="T70" fmla="*/ 270 w 513"/>
              <a:gd name="T71" fmla="*/ 142 h 228"/>
              <a:gd name="T72" fmla="*/ 256 w 513"/>
              <a:gd name="T73" fmla="*/ 172 h 228"/>
              <a:gd name="T74" fmla="*/ 234 w 513"/>
              <a:gd name="T75" fmla="*/ 221 h 228"/>
              <a:gd name="T76" fmla="*/ 230 w 513"/>
              <a:gd name="T77" fmla="*/ 225 h 228"/>
              <a:gd name="T78" fmla="*/ 228 w 513"/>
              <a:gd name="T79" fmla="*/ 198 h 228"/>
              <a:gd name="T80" fmla="*/ 211 w 513"/>
              <a:gd name="T81" fmla="*/ 196 h 228"/>
              <a:gd name="T82" fmla="*/ 211 w 513"/>
              <a:gd name="T83" fmla="*/ 166 h 228"/>
              <a:gd name="T84" fmla="*/ 194 w 513"/>
              <a:gd name="T85" fmla="*/ 153 h 228"/>
              <a:gd name="T86" fmla="*/ 179 w 513"/>
              <a:gd name="T87" fmla="*/ 136 h 228"/>
              <a:gd name="T88" fmla="*/ 145 w 513"/>
              <a:gd name="T89" fmla="*/ 134 h 228"/>
              <a:gd name="T90" fmla="*/ 102 w 513"/>
              <a:gd name="T91" fmla="*/ 121 h 228"/>
              <a:gd name="T92" fmla="*/ 11 w 513"/>
              <a:gd name="T93" fmla="*/ 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3" h="228">
                <a:moveTo>
                  <a:pt x="0" y="81"/>
                </a:moveTo>
                <a:lnTo>
                  <a:pt x="6" y="76"/>
                </a:lnTo>
                <a:lnTo>
                  <a:pt x="30" y="66"/>
                </a:lnTo>
                <a:lnTo>
                  <a:pt x="43" y="51"/>
                </a:lnTo>
                <a:lnTo>
                  <a:pt x="49" y="47"/>
                </a:lnTo>
                <a:lnTo>
                  <a:pt x="57" y="47"/>
                </a:lnTo>
                <a:lnTo>
                  <a:pt x="64" y="47"/>
                </a:lnTo>
                <a:lnTo>
                  <a:pt x="72" y="44"/>
                </a:lnTo>
                <a:lnTo>
                  <a:pt x="79" y="42"/>
                </a:lnTo>
                <a:lnTo>
                  <a:pt x="85" y="38"/>
                </a:lnTo>
                <a:lnTo>
                  <a:pt x="94" y="29"/>
                </a:lnTo>
                <a:lnTo>
                  <a:pt x="109" y="23"/>
                </a:lnTo>
                <a:lnTo>
                  <a:pt x="113" y="17"/>
                </a:lnTo>
                <a:lnTo>
                  <a:pt x="128" y="0"/>
                </a:lnTo>
                <a:lnTo>
                  <a:pt x="132" y="6"/>
                </a:lnTo>
                <a:lnTo>
                  <a:pt x="136" y="8"/>
                </a:lnTo>
                <a:lnTo>
                  <a:pt x="149" y="23"/>
                </a:lnTo>
                <a:lnTo>
                  <a:pt x="147" y="38"/>
                </a:lnTo>
                <a:lnTo>
                  <a:pt x="149" y="44"/>
                </a:lnTo>
                <a:lnTo>
                  <a:pt x="153" y="42"/>
                </a:lnTo>
                <a:lnTo>
                  <a:pt x="153" y="36"/>
                </a:lnTo>
                <a:lnTo>
                  <a:pt x="162" y="32"/>
                </a:lnTo>
                <a:lnTo>
                  <a:pt x="168" y="23"/>
                </a:lnTo>
                <a:lnTo>
                  <a:pt x="162" y="38"/>
                </a:lnTo>
                <a:lnTo>
                  <a:pt x="166" y="36"/>
                </a:lnTo>
                <a:lnTo>
                  <a:pt x="170" y="29"/>
                </a:lnTo>
                <a:lnTo>
                  <a:pt x="177" y="27"/>
                </a:lnTo>
                <a:lnTo>
                  <a:pt x="192" y="27"/>
                </a:lnTo>
                <a:lnTo>
                  <a:pt x="200" y="27"/>
                </a:lnTo>
                <a:lnTo>
                  <a:pt x="207" y="34"/>
                </a:lnTo>
                <a:lnTo>
                  <a:pt x="213" y="36"/>
                </a:lnTo>
                <a:lnTo>
                  <a:pt x="217" y="44"/>
                </a:lnTo>
                <a:lnTo>
                  <a:pt x="230" y="57"/>
                </a:lnTo>
                <a:lnTo>
                  <a:pt x="234" y="66"/>
                </a:lnTo>
                <a:lnTo>
                  <a:pt x="243" y="68"/>
                </a:lnTo>
                <a:lnTo>
                  <a:pt x="249" y="68"/>
                </a:lnTo>
                <a:lnTo>
                  <a:pt x="266" y="61"/>
                </a:lnTo>
                <a:lnTo>
                  <a:pt x="273" y="68"/>
                </a:lnTo>
                <a:lnTo>
                  <a:pt x="281" y="70"/>
                </a:lnTo>
                <a:lnTo>
                  <a:pt x="287" y="68"/>
                </a:lnTo>
                <a:lnTo>
                  <a:pt x="294" y="72"/>
                </a:lnTo>
                <a:lnTo>
                  <a:pt x="305" y="57"/>
                </a:lnTo>
                <a:lnTo>
                  <a:pt x="319" y="47"/>
                </a:lnTo>
                <a:lnTo>
                  <a:pt x="326" y="40"/>
                </a:lnTo>
                <a:lnTo>
                  <a:pt x="339" y="38"/>
                </a:lnTo>
                <a:lnTo>
                  <a:pt x="345" y="36"/>
                </a:lnTo>
                <a:lnTo>
                  <a:pt x="375" y="34"/>
                </a:lnTo>
                <a:lnTo>
                  <a:pt x="381" y="32"/>
                </a:lnTo>
                <a:lnTo>
                  <a:pt x="396" y="23"/>
                </a:lnTo>
                <a:lnTo>
                  <a:pt x="402" y="19"/>
                </a:lnTo>
                <a:lnTo>
                  <a:pt x="417" y="17"/>
                </a:lnTo>
                <a:lnTo>
                  <a:pt x="417" y="44"/>
                </a:lnTo>
                <a:lnTo>
                  <a:pt x="422" y="49"/>
                </a:lnTo>
                <a:lnTo>
                  <a:pt x="434" y="51"/>
                </a:lnTo>
                <a:lnTo>
                  <a:pt x="449" y="47"/>
                </a:lnTo>
                <a:lnTo>
                  <a:pt x="454" y="53"/>
                </a:lnTo>
                <a:lnTo>
                  <a:pt x="460" y="49"/>
                </a:lnTo>
                <a:lnTo>
                  <a:pt x="464" y="44"/>
                </a:lnTo>
                <a:lnTo>
                  <a:pt x="466" y="42"/>
                </a:lnTo>
                <a:lnTo>
                  <a:pt x="471" y="42"/>
                </a:lnTo>
                <a:lnTo>
                  <a:pt x="477" y="49"/>
                </a:lnTo>
                <a:lnTo>
                  <a:pt x="481" y="55"/>
                </a:lnTo>
                <a:lnTo>
                  <a:pt x="483" y="64"/>
                </a:lnTo>
                <a:lnTo>
                  <a:pt x="483" y="70"/>
                </a:lnTo>
                <a:lnTo>
                  <a:pt x="492" y="76"/>
                </a:lnTo>
                <a:lnTo>
                  <a:pt x="494" y="76"/>
                </a:lnTo>
                <a:lnTo>
                  <a:pt x="500" y="78"/>
                </a:lnTo>
                <a:lnTo>
                  <a:pt x="500" y="85"/>
                </a:lnTo>
                <a:lnTo>
                  <a:pt x="509" y="89"/>
                </a:lnTo>
                <a:lnTo>
                  <a:pt x="513" y="95"/>
                </a:lnTo>
                <a:lnTo>
                  <a:pt x="507" y="98"/>
                </a:lnTo>
                <a:lnTo>
                  <a:pt x="473" y="98"/>
                </a:lnTo>
                <a:lnTo>
                  <a:pt x="464" y="100"/>
                </a:lnTo>
                <a:lnTo>
                  <a:pt x="458" y="95"/>
                </a:lnTo>
                <a:lnTo>
                  <a:pt x="451" y="98"/>
                </a:lnTo>
                <a:lnTo>
                  <a:pt x="449" y="106"/>
                </a:lnTo>
                <a:lnTo>
                  <a:pt x="449" y="119"/>
                </a:lnTo>
                <a:lnTo>
                  <a:pt x="443" y="115"/>
                </a:lnTo>
                <a:lnTo>
                  <a:pt x="426" y="104"/>
                </a:lnTo>
                <a:lnTo>
                  <a:pt x="413" y="98"/>
                </a:lnTo>
                <a:lnTo>
                  <a:pt x="405" y="100"/>
                </a:lnTo>
                <a:lnTo>
                  <a:pt x="398" y="98"/>
                </a:lnTo>
                <a:lnTo>
                  <a:pt x="383" y="100"/>
                </a:lnTo>
                <a:lnTo>
                  <a:pt x="377" y="110"/>
                </a:lnTo>
                <a:lnTo>
                  <a:pt x="371" y="115"/>
                </a:lnTo>
                <a:lnTo>
                  <a:pt x="362" y="115"/>
                </a:lnTo>
                <a:lnTo>
                  <a:pt x="349" y="119"/>
                </a:lnTo>
                <a:lnTo>
                  <a:pt x="343" y="117"/>
                </a:lnTo>
                <a:lnTo>
                  <a:pt x="334" y="119"/>
                </a:lnTo>
                <a:lnTo>
                  <a:pt x="330" y="123"/>
                </a:lnTo>
                <a:lnTo>
                  <a:pt x="326" y="130"/>
                </a:lnTo>
                <a:lnTo>
                  <a:pt x="324" y="138"/>
                </a:lnTo>
                <a:lnTo>
                  <a:pt x="317" y="142"/>
                </a:lnTo>
                <a:lnTo>
                  <a:pt x="309" y="151"/>
                </a:lnTo>
                <a:lnTo>
                  <a:pt x="305" y="157"/>
                </a:lnTo>
                <a:lnTo>
                  <a:pt x="298" y="157"/>
                </a:lnTo>
                <a:lnTo>
                  <a:pt x="302" y="149"/>
                </a:lnTo>
                <a:lnTo>
                  <a:pt x="309" y="142"/>
                </a:lnTo>
                <a:lnTo>
                  <a:pt x="309" y="136"/>
                </a:lnTo>
                <a:lnTo>
                  <a:pt x="302" y="134"/>
                </a:lnTo>
                <a:lnTo>
                  <a:pt x="296" y="136"/>
                </a:lnTo>
                <a:lnTo>
                  <a:pt x="287" y="144"/>
                </a:lnTo>
                <a:lnTo>
                  <a:pt x="287" y="149"/>
                </a:lnTo>
                <a:lnTo>
                  <a:pt x="279" y="155"/>
                </a:lnTo>
                <a:lnTo>
                  <a:pt x="275" y="147"/>
                </a:lnTo>
                <a:lnTo>
                  <a:pt x="273" y="140"/>
                </a:lnTo>
                <a:lnTo>
                  <a:pt x="275" y="134"/>
                </a:lnTo>
                <a:lnTo>
                  <a:pt x="270" y="142"/>
                </a:lnTo>
                <a:lnTo>
                  <a:pt x="266" y="157"/>
                </a:lnTo>
                <a:lnTo>
                  <a:pt x="260" y="166"/>
                </a:lnTo>
                <a:lnTo>
                  <a:pt x="256" y="172"/>
                </a:lnTo>
                <a:lnTo>
                  <a:pt x="251" y="187"/>
                </a:lnTo>
                <a:lnTo>
                  <a:pt x="243" y="208"/>
                </a:lnTo>
                <a:lnTo>
                  <a:pt x="234" y="221"/>
                </a:lnTo>
                <a:lnTo>
                  <a:pt x="234" y="228"/>
                </a:lnTo>
                <a:lnTo>
                  <a:pt x="232" y="225"/>
                </a:lnTo>
                <a:lnTo>
                  <a:pt x="230" y="225"/>
                </a:lnTo>
                <a:lnTo>
                  <a:pt x="224" y="219"/>
                </a:lnTo>
                <a:lnTo>
                  <a:pt x="224" y="213"/>
                </a:lnTo>
                <a:lnTo>
                  <a:pt x="228" y="198"/>
                </a:lnTo>
                <a:lnTo>
                  <a:pt x="219" y="198"/>
                </a:lnTo>
                <a:lnTo>
                  <a:pt x="213" y="200"/>
                </a:lnTo>
                <a:lnTo>
                  <a:pt x="211" y="196"/>
                </a:lnTo>
                <a:lnTo>
                  <a:pt x="213" y="187"/>
                </a:lnTo>
                <a:lnTo>
                  <a:pt x="213" y="172"/>
                </a:lnTo>
                <a:lnTo>
                  <a:pt x="211" y="166"/>
                </a:lnTo>
                <a:lnTo>
                  <a:pt x="213" y="164"/>
                </a:lnTo>
                <a:lnTo>
                  <a:pt x="204" y="157"/>
                </a:lnTo>
                <a:lnTo>
                  <a:pt x="194" y="153"/>
                </a:lnTo>
                <a:lnTo>
                  <a:pt x="187" y="153"/>
                </a:lnTo>
                <a:lnTo>
                  <a:pt x="185" y="140"/>
                </a:lnTo>
                <a:lnTo>
                  <a:pt x="179" y="136"/>
                </a:lnTo>
                <a:lnTo>
                  <a:pt x="160" y="134"/>
                </a:lnTo>
                <a:lnTo>
                  <a:pt x="153" y="132"/>
                </a:lnTo>
                <a:lnTo>
                  <a:pt x="145" y="134"/>
                </a:lnTo>
                <a:lnTo>
                  <a:pt x="130" y="132"/>
                </a:lnTo>
                <a:lnTo>
                  <a:pt x="128" y="132"/>
                </a:lnTo>
                <a:lnTo>
                  <a:pt x="102" y="121"/>
                </a:lnTo>
                <a:lnTo>
                  <a:pt x="28" y="106"/>
                </a:lnTo>
                <a:lnTo>
                  <a:pt x="19" y="91"/>
                </a:lnTo>
                <a:lnTo>
                  <a:pt x="11" y="87"/>
                </a:lnTo>
                <a:lnTo>
                  <a:pt x="4" y="83"/>
                </a:lnTo>
                <a:lnTo>
                  <a:pt x="0" y="81"/>
                </a:lnTo>
                <a:close/>
              </a:path>
            </a:pathLst>
          </a:custGeom>
          <a:solidFill>
            <a:srgbClr val="3296FA"/>
          </a:solidFill>
          <a:ln w="9525">
            <a:solidFill>
              <a:schemeClr val="bg1"/>
            </a:solid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67" name="Freeform 881"/>
          <p:cNvSpPr>
            <a:spLocks noChangeAspect="1"/>
          </p:cNvSpPr>
          <p:nvPr/>
        </p:nvSpPr>
        <p:spPr bwMode="auto">
          <a:xfrm>
            <a:off x="5761203" y="2594167"/>
            <a:ext cx="495776" cy="675798"/>
          </a:xfrm>
          <a:custGeom>
            <a:avLst/>
            <a:gdLst>
              <a:gd name="T0" fmla="*/ 13 w 347"/>
              <a:gd name="T1" fmla="*/ 464 h 473"/>
              <a:gd name="T2" fmla="*/ 28 w 347"/>
              <a:gd name="T3" fmla="*/ 428 h 473"/>
              <a:gd name="T4" fmla="*/ 41 w 347"/>
              <a:gd name="T5" fmla="*/ 379 h 473"/>
              <a:gd name="T6" fmla="*/ 28 w 347"/>
              <a:gd name="T7" fmla="*/ 307 h 473"/>
              <a:gd name="T8" fmla="*/ 4 w 347"/>
              <a:gd name="T9" fmla="*/ 264 h 473"/>
              <a:gd name="T10" fmla="*/ 11 w 347"/>
              <a:gd name="T11" fmla="*/ 243 h 473"/>
              <a:gd name="T12" fmla="*/ 2 w 347"/>
              <a:gd name="T13" fmla="*/ 207 h 473"/>
              <a:gd name="T14" fmla="*/ 17 w 347"/>
              <a:gd name="T15" fmla="*/ 171 h 473"/>
              <a:gd name="T16" fmla="*/ 13 w 347"/>
              <a:gd name="T17" fmla="*/ 136 h 473"/>
              <a:gd name="T18" fmla="*/ 26 w 347"/>
              <a:gd name="T19" fmla="*/ 117 h 473"/>
              <a:gd name="T20" fmla="*/ 47 w 347"/>
              <a:gd name="T21" fmla="*/ 100 h 473"/>
              <a:gd name="T22" fmla="*/ 56 w 347"/>
              <a:gd name="T23" fmla="*/ 79 h 473"/>
              <a:gd name="T24" fmla="*/ 60 w 347"/>
              <a:gd name="T25" fmla="*/ 98 h 473"/>
              <a:gd name="T26" fmla="*/ 60 w 347"/>
              <a:gd name="T27" fmla="*/ 119 h 473"/>
              <a:gd name="T28" fmla="*/ 70 w 347"/>
              <a:gd name="T29" fmla="*/ 98 h 473"/>
              <a:gd name="T30" fmla="*/ 75 w 347"/>
              <a:gd name="T31" fmla="*/ 113 h 473"/>
              <a:gd name="T32" fmla="*/ 79 w 347"/>
              <a:gd name="T33" fmla="*/ 90 h 473"/>
              <a:gd name="T34" fmla="*/ 87 w 347"/>
              <a:gd name="T35" fmla="*/ 56 h 473"/>
              <a:gd name="T36" fmla="*/ 102 w 347"/>
              <a:gd name="T37" fmla="*/ 45 h 473"/>
              <a:gd name="T38" fmla="*/ 92 w 347"/>
              <a:gd name="T39" fmla="*/ 26 h 473"/>
              <a:gd name="T40" fmla="*/ 111 w 347"/>
              <a:gd name="T41" fmla="*/ 7 h 473"/>
              <a:gd name="T42" fmla="*/ 132 w 347"/>
              <a:gd name="T43" fmla="*/ 7 h 473"/>
              <a:gd name="T44" fmla="*/ 151 w 347"/>
              <a:gd name="T45" fmla="*/ 11 h 473"/>
              <a:gd name="T46" fmla="*/ 171 w 347"/>
              <a:gd name="T47" fmla="*/ 24 h 473"/>
              <a:gd name="T48" fmla="*/ 192 w 347"/>
              <a:gd name="T49" fmla="*/ 30 h 473"/>
              <a:gd name="T50" fmla="*/ 222 w 347"/>
              <a:gd name="T51" fmla="*/ 39 h 473"/>
              <a:gd name="T52" fmla="*/ 237 w 347"/>
              <a:gd name="T53" fmla="*/ 56 h 473"/>
              <a:gd name="T54" fmla="*/ 234 w 347"/>
              <a:gd name="T55" fmla="*/ 68 h 473"/>
              <a:gd name="T56" fmla="*/ 243 w 347"/>
              <a:gd name="T57" fmla="*/ 88 h 473"/>
              <a:gd name="T58" fmla="*/ 249 w 347"/>
              <a:gd name="T59" fmla="*/ 124 h 473"/>
              <a:gd name="T60" fmla="*/ 239 w 347"/>
              <a:gd name="T61" fmla="*/ 158 h 473"/>
              <a:gd name="T62" fmla="*/ 228 w 347"/>
              <a:gd name="T63" fmla="*/ 192 h 473"/>
              <a:gd name="T64" fmla="*/ 211 w 347"/>
              <a:gd name="T65" fmla="*/ 213 h 473"/>
              <a:gd name="T66" fmla="*/ 228 w 347"/>
              <a:gd name="T67" fmla="*/ 232 h 473"/>
              <a:gd name="T68" fmla="*/ 245 w 347"/>
              <a:gd name="T69" fmla="*/ 222 h 473"/>
              <a:gd name="T70" fmla="*/ 254 w 347"/>
              <a:gd name="T71" fmla="*/ 196 h 473"/>
              <a:gd name="T72" fmla="*/ 275 w 347"/>
              <a:gd name="T73" fmla="*/ 183 h 473"/>
              <a:gd name="T74" fmla="*/ 300 w 347"/>
              <a:gd name="T75" fmla="*/ 179 h 473"/>
              <a:gd name="T76" fmla="*/ 324 w 347"/>
              <a:gd name="T77" fmla="*/ 228 h 473"/>
              <a:gd name="T78" fmla="*/ 337 w 347"/>
              <a:gd name="T79" fmla="*/ 266 h 473"/>
              <a:gd name="T80" fmla="*/ 347 w 347"/>
              <a:gd name="T81" fmla="*/ 286 h 473"/>
              <a:gd name="T82" fmla="*/ 345 w 347"/>
              <a:gd name="T83" fmla="*/ 309 h 473"/>
              <a:gd name="T84" fmla="*/ 341 w 347"/>
              <a:gd name="T85" fmla="*/ 339 h 473"/>
              <a:gd name="T86" fmla="*/ 334 w 347"/>
              <a:gd name="T87" fmla="*/ 330 h 473"/>
              <a:gd name="T88" fmla="*/ 324 w 347"/>
              <a:gd name="T89" fmla="*/ 337 h 473"/>
              <a:gd name="T90" fmla="*/ 313 w 347"/>
              <a:gd name="T91" fmla="*/ 367 h 473"/>
              <a:gd name="T92" fmla="*/ 303 w 347"/>
              <a:gd name="T93" fmla="*/ 377 h 473"/>
              <a:gd name="T94" fmla="*/ 288 w 347"/>
              <a:gd name="T95" fmla="*/ 426 h 473"/>
              <a:gd name="T96" fmla="*/ 173 w 347"/>
              <a:gd name="T97" fmla="*/ 460 h 473"/>
              <a:gd name="T98" fmla="*/ 7 w 347"/>
              <a:gd name="T99"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7" h="473">
                <a:moveTo>
                  <a:pt x="2" y="473"/>
                </a:moveTo>
                <a:lnTo>
                  <a:pt x="4" y="471"/>
                </a:lnTo>
                <a:lnTo>
                  <a:pt x="13" y="464"/>
                </a:lnTo>
                <a:lnTo>
                  <a:pt x="17" y="456"/>
                </a:lnTo>
                <a:lnTo>
                  <a:pt x="21" y="450"/>
                </a:lnTo>
                <a:lnTo>
                  <a:pt x="28" y="428"/>
                </a:lnTo>
                <a:lnTo>
                  <a:pt x="34" y="413"/>
                </a:lnTo>
                <a:lnTo>
                  <a:pt x="36" y="405"/>
                </a:lnTo>
                <a:lnTo>
                  <a:pt x="41" y="379"/>
                </a:lnTo>
                <a:lnTo>
                  <a:pt x="41" y="358"/>
                </a:lnTo>
                <a:lnTo>
                  <a:pt x="36" y="328"/>
                </a:lnTo>
                <a:lnTo>
                  <a:pt x="28" y="307"/>
                </a:lnTo>
                <a:lnTo>
                  <a:pt x="32" y="300"/>
                </a:lnTo>
                <a:lnTo>
                  <a:pt x="26" y="303"/>
                </a:lnTo>
                <a:lnTo>
                  <a:pt x="4" y="264"/>
                </a:lnTo>
                <a:lnTo>
                  <a:pt x="2" y="258"/>
                </a:lnTo>
                <a:lnTo>
                  <a:pt x="7" y="252"/>
                </a:lnTo>
                <a:lnTo>
                  <a:pt x="11" y="243"/>
                </a:lnTo>
                <a:lnTo>
                  <a:pt x="4" y="222"/>
                </a:lnTo>
                <a:lnTo>
                  <a:pt x="0" y="215"/>
                </a:lnTo>
                <a:lnTo>
                  <a:pt x="2" y="207"/>
                </a:lnTo>
                <a:lnTo>
                  <a:pt x="9" y="200"/>
                </a:lnTo>
                <a:lnTo>
                  <a:pt x="17" y="179"/>
                </a:lnTo>
                <a:lnTo>
                  <a:pt x="17" y="171"/>
                </a:lnTo>
                <a:lnTo>
                  <a:pt x="15" y="164"/>
                </a:lnTo>
                <a:lnTo>
                  <a:pt x="17" y="151"/>
                </a:lnTo>
                <a:lnTo>
                  <a:pt x="13" y="136"/>
                </a:lnTo>
                <a:lnTo>
                  <a:pt x="19" y="132"/>
                </a:lnTo>
                <a:lnTo>
                  <a:pt x="26" y="126"/>
                </a:lnTo>
                <a:lnTo>
                  <a:pt x="26" y="117"/>
                </a:lnTo>
                <a:lnTo>
                  <a:pt x="34" y="105"/>
                </a:lnTo>
                <a:lnTo>
                  <a:pt x="41" y="107"/>
                </a:lnTo>
                <a:lnTo>
                  <a:pt x="47" y="100"/>
                </a:lnTo>
                <a:lnTo>
                  <a:pt x="49" y="94"/>
                </a:lnTo>
                <a:lnTo>
                  <a:pt x="53" y="85"/>
                </a:lnTo>
                <a:lnTo>
                  <a:pt x="56" y="79"/>
                </a:lnTo>
                <a:lnTo>
                  <a:pt x="62" y="73"/>
                </a:lnTo>
                <a:lnTo>
                  <a:pt x="60" y="94"/>
                </a:lnTo>
                <a:lnTo>
                  <a:pt x="60" y="98"/>
                </a:lnTo>
                <a:lnTo>
                  <a:pt x="62" y="107"/>
                </a:lnTo>
                <a:lnTo>
                  <a:pt x="60" y="113"/>
                </a:lnTo>
                <a:lnTo>
                  <a:pt x="60" y="119"/>
                </a:lnTo>
                <a:lnTo>
                  <a:pt x="66" y="113"/>
                </a:lnTo>
                <a:lnTo>
                  <a:pt x="68" y="98"/>
                </a:lnTo>
                <a:lnTo>
                  <a:pt x="70" y="98"/>
                </a:lnTo>
                <a:lnTo>
                  <a:pt x="70" y="113"/>
                </a:lnTo>
                <a:lnTo>
                  <a:pt x="68" y="119"/>
                </a:lnTo>
                <a:lnTo>
                  <a:pt x="75" y="113"/>
                </a:lnTo>
                <a:lnTo>
                  <a:pt x="77" y="105"/>
                </a:lnTo>
                <a:lnTo>
                  <a:pt x="79" y="98"/>
                </a:lnTo>
                <a:lnTo>
                  <a:pt x="79" y="90"/>
                </a:lnTo>
                <a:lnTo>
                  <a:pt x="75" y="68"/>
                </a:lnTo>
                <a:lnTo>
                  <a:pt x="79" y="60"/>
                </a:lnTo>
                <a:lnTo>
                  <a:pt x="87" y="56"/>
                </a:lnTo>
                <a:lnTo>
                  <a:pt x="94" y="51"/>
                </a:lnTo>
                <a:lnTo>
                  <a:pt x="105" y="51"/>
                </a:lnTo>
                <a:lnTo>
                  <a:pt x="102" y="45"/>
                </a:lnTo>
                <a:lnTo>
                  <a:pt x="96" y="41"/>
                </a:lnTo>
                <a:lnTo>
                  <a:pt x="92" y="32"/>
                </a:lnTo>
                <a:lnTo>
                  <a:pt x="92" y="26"/>
                </a:lnTo>
                <a:lnTo>
                  <a:pt x="100" y="17"/>
                </a:lnTo>
                <a:lnTo>
                  <a:pt x="105" y="11"/>
                </a:lnTo>
                <a:lnTo>
                  <a:pt x="111" y="7"/>
                </a:lnTo>
                <a:lnTo>
                  <a:pt x="117" y="0"/>
                </a:lnTo>
                <a:lnTo>
                  <a:pt x="124" y="4"/>
                </a:lnTo>
                <a:lnTo>
                  <a:pt x="132" y="7"/>
                </a:lnTo>
                <a:lnTo>
                  <a:pt x="139" y="13"/>
                </a:lnTo>
                <a:lnTo>
                  <a:pt x="145" y="13"/>
                </a:lnTo>
                <a:lnTo>
                  <a:pt x="151" y="11"/>
                </a:lnTo>
                <a:lnTo>
                  <a:pt x="158" y="13"/>
                </a:lnTo>
                <a:lnTo>
                  <a:pt x="166" y="17"/>
                </a:lnTo>
                <a:lnTo>
                  <a:pt x="171" y="24"/>
                </a:lnTo>
                <a:lnTo>
                  <a:pt x="177" y="26"/>
                </a:lnTo>
                <a:lnTo>
                  <a:pt x="183" y="26"/>
                </a:lnTo>
                <a:lnTo>
                  <a:pt x="192" y="30"/>
                </a:lnTo>
                <a:lnTo>
                  <a:pt x="207" y="34"/>
                </a:lnTo>
                <a:lnTo>
                  <a:pt x="213" y="39"/>
                </a:lnTo>
                <a:lnTo>
                  <a:pt x="222" y="39"/>
                </a:lnTo>
                <a:lnTo>
                  <a:pt x="228" y="43"/>
                </a:lnTo>
                <a:lnTo>
                  <a:pt x="230" y="49"/>
                </a:lnTo>
                <a:lnTo>
                  <a:pt x="237" y="56"/>
                </a:lnTo>
                <a:lnTo>
                  <a:pt x="241" y="60"/>
                </a:lnTo>
                <a:lnTo>
                  <a:pt x="241" y="66"/>
                </a:lnTo>
                <a:lnTo>
                  <a:pt x="234" y="68"/>
                </a:lnTo>
                <a:lnTo>
                  <a:pt x="230" y="77"/>
                </a:lnTo>
                <a:lnTo>
                  <a:pt x="234" y="83"/>
                </a:lnTo>
                <a:lnTo>
                  <a:pt x="243" y="88"/>
                </a:lnTo>
                <a:lnTo>
                  <a:pt x="245" y="96"/>
                </a:lnTo>
                <a:lnTo>
                  <a:pt x="249" y="109"/>
                </a:lnTo>
                <a:lnTo>
                  <a:pt x="249" y="124"/>
                </a:lnTo>
                <a:lnTo>
                  <a:pt x="251" y="147"/>
                </a:lnTo>
                <a:lnTo>
                  <a:pt x="245" y="154"/>
                </a:lnTo>
                <a:lnTo>
                  <a:pt x="239" y="158"/>
                </a:lnTo>
                <a:lnTo>
                  <a:pt x="237" y="164"/>
                </a:lnTo>
                <a:lnTo>
                  <a:pt x="234" y="179"/>
                </a:lnTo>
                <a:lnTo>
                  <a:pt x="228" y="192"/>
                </a:lnTo>
                <a:lnTo>
                  <a:pt x="220" y="192"/>
                </a:lnTo>
                <a:lnTo>
                  <a:pt x="213" y="198"/>
                </a:lnTo>
                <a:lnTo>
                  <a:pt x="211" y="213"/>
                </a:lnTo>
                <a:lnTo>
                  <a:pt x="211" y="224"/>
                </a:lnTo>
                <a:lnTo>
                  <a:pt x="222" y="232"/>
                </a:lnTo>
                <a:lnTo>
                  <a:pt x="228" y="232"/>
                </a:lnTo>
                <a:lnTo>
                  <a:pt x="237" y="234"/>
                </a:lnTo>
                <a:lnTo>
                  <a:pt x="241" y="228"/>
                </a:lnTo>
                <a:lnTo>
                  <a:pt x="245" y="222"/>
                </a:lnTo>
                <a:lnTo>
                  <a:pt x="251" y="215"/>
                </a:lnTo>
                <a:lnTo>
                  <a:pt x="256" y="203"/>
                </a:lnTo>
                <a:lnTo>
                  <a:pt x="254" y="196"/>
                </a:lnTo>
                <a:lnTo>
                  <a:pt x="260" y="192"/>
                </a:lnTo>
                <a:lnTo>
                  <a:pt x="268" y="185"/>
                </a:lnTo>
                <a:lnTo>
                  <a:pt x="275" y="183"/>
                </a:lnTo>
                <a:lnTo>
                  <a:pt x="286" y="175"/>
                </a:lnTo>
                <a:lnTo>
                  <a:pt x="294" y="177"/>
                </a:lnTo>
                <a:lnTo>
                  <a:pt x="300" y="179"/>
                </a:lnTo>
                <a:lnTo>
                  <a:pt x="307" y="185"/>
                </a:lnTo>
                <a:lnTo>
                  <a:pt x="315" y="200"/>
                </a:lnTo>
                <a:lnTo>
                  <a:pt x="324" y="228"/>
                </a:lnTo>
                <a:lnTo>
                  <a:pt x="328" y="237"/>
                </a:lnTo>
                <a:lnTo>
                  <a:pt x="332" y="252"/>
                </a:lnTo>
                <a:lnTo>
                  <a:pt x="337" y="266"/>
                </a:lnTo>
                <a:lnTo>
                  <a:pt x="339" y="275"/>
                </a:lnTo>
                <a:lnTo>
                  <a:pt x="347" y="286"/>
                </a:lnTo>
                <a:lnTo>
                  <a:pt x="347" y="286"/>
                </a:lnTo>
                <a:lnTo>
                  <a:pt x="347" y="292"/>
                </a:lnTo>
                <a:lnTo>
                  <a:pt x="345" y="294"/>
                </a:lnTo>
                <a:lnTo>
                  <a:pt x="345" y="309"/>
                </a:lnTo>
                <a:lnTo>
                  <a:pt x="347" y="315"/>
                </a:lnTo>
                <a:lnTo>
                  <a:pt x="345" y="330"/>
                </a:lnTo>
                <a:lnTo>
                  <a:pt x="341" y="339"/>
                </a:lnTo>
                <a:lnTo>
                  <a:pt x="337" y="341"/>
                </a:lnTo>
                <a:lnTo>
                  <a:pt x="337" y="339"/>
                </a:lnTo>
                <a:lnTo>
                  <a:pt x="334" y="330"/>
                </a:lnTo>
                <a:lnTo>
                  <a:pt x="332" y="326"/>
                </a:lnTo>
                <a:lnTo>
                  <a:pt x="324" y="330"/>
                </a:lnTo>
                <a:lnTo>
                  <a:pt x="324" y="337"/>
                </a:lnTo>
                <a:lnTo>
                  <a:pt x="317" y="343"/>
                </a:lnTo>
                <a:lnTo>
                  <a:pt x="320" y="358"/>
                </a:lnTo>
                <a:lnTo>
                  <a:pt x="313" y="367"/>
                </a:lnTo>
                <a:lnTo>
                  <a:pt x="305" y="371"/>
                </a:lnTo>
                <a:lnTo>
                  <a:pt x="305" y="373"/>
                </a:lnTo>
                <a:lnTo>
                  <a:pt x="303" y="377"/>
                </a:lnTo>
                <a:lnTo>
                  <a:pt x="300" y="384"/>
                </a:lnTo>
                <a:lnTo>
                  <a:pt x="298" y="405"/>
                </a:lnTo>
                <a:lnTo>
                  <a:pt x="288" y="426"/>
                </a:lnTo>
                <a:lnTo>
                  <a:pt x="281" y="441"/>
                </a:lnTo>
                <a:lnTo>
                  <a:pt x="247" y="447"/>
                </a:lnTo>
                <a:lnTo>
                  <a:pt x="173" y="460"/>
                </a:lnTo>
                <a:lnTo>
                  <a:pt x="164" y="454"/>
                </a:lnTo>
                <a:lnTo>
                  <a:pt x="47" y="469"/>
                </a:lnTo>
                <a:lnTo>
                  <a:pt x="7" y="473"/>
                </a:lnTo>
                <a:lnTo>
                  <a:pt x="2" y="473"/>
                </a:lnTo>
                <a:close/>
              </a:path>
            </a:pathLst>
          </a:custGeom>
          <a:solidFill>
            <a:srgbClr val="3296FA"/>
          </a:solidFill>
          <a:ln w="9525" cap="flat">
            <a:solidFill>
              <a:srgbClr val="FFFFFF"/>
            </a:solidFill>
            <a:prstDash val="solid"/>
            <a:miter lim="800000"/>
            <a:headEnd/>
            <a:tailEnd/>
          </a:ln>
        </p:spPr>
        <p:txBody>
          <a:bodyPr vert="horz" wrap="square" lIns="0" tIns="45720" rIns="0" bIns="45720" numCol="1" anchor="ctr" anchorCtr="0" compatLnSpc="1">
            <a:prstTxWarp prst="textNoShape">
              <a:avLst/>
            </a:prstTxWarp>
          </a:bodyPr>
          <a:lstStyle/>
          <a:p>
            <a:pPr algn="ctr"/>
            <a:endParaRPr lang="en-US" sz="1000" b="1" dirty="0">
              <a:solidFill>
                <a:schemeClr val="bg1"/>
              </a:solidFill>
            </a:endParaRPr>
          </a:p>
          <a:p>
            <a:pPr algn="ctr"/>
            <a:r>
              <a:rPr lang="en-US" sz="1000" b="1" dirty="0">
                <a:solidFill>
                  <a:schemeClr val="bg1"/>
                </a:solidFill>
              </a:rPr>
              <a:t>Mich.</a:t>
            </a:r>
          </a:p>
        </p:txBody>
      </p:sp>
      <p:sp>
        <p:nvSpPr>
          <p:cNvPr id="368" name="Freeform 963"/>
          <p:cNvSpPr>
            <a:spLocks noChangeAspect="1"/>
          </p:cNvSpPr>
          <p:nvPr/>
        </p:nvSpPr>
        <p:spPr bwMode="auto">
          <a:xfrm>
            <a:off x="3342491" y="5590138"/>
            <a:ext cx="147162" cy="150019"/>
          </a:xfrm>
          <a:custGeom>
            <a:avLst/>
            <a:gdLst>
              <a:gd name="T0" fmla="*/ 45 w 103"/>
              <a:gd name="T1" fmla="*/ 105 h 105"/>
              <a:gd name="T2" fmla="*/ 54 w 103"/>
              <a:gd name="T3" fmla="*/ 105 h 105"/>
              <a:gd name="T4" fmla="*/ 56 w 103"/>
              <a:gd name="T5" fmla="*/ 96 h 105"/>
              <a:gd name="T6" fmla="*/ 56 w 103"/>
              <a:gd name="T7" fmla="*/ 90 h 105"/>
              <a:gd name="T8" fmla="*/ 62 w 103"/>
              <a:gd name="T9" fmla="*/ 83 h 105"/>
              <a:gd name="T10" fmla="*/ 66 w 103"/>
              <a:gd name="T11" fmla="*/ 77 h 105"/>
              <a:gd name="T12" fmla="*/ 71 w 103"/>
              <a:gd name="T13" fmla="*/ 71 h 105"/>
              <a:gd name="T14" fmla="*/ 77 w 103"/>
              <a:gd name="T15" fmla="*/ 68 h 105"/>
              <a:gd name="T16" fmla="*/ 83 w 103"/>
              <a:gd name="T17" fmla="*/ 64 h 105"/>
              <a:gd name="T18" fmla="*/ 92 w 103"/>
              <a:gd name="T19" fmla="*/ 60 h 105"/>
              <a:gd name="T20" fmla="*/ 96 w 103"/>
              <a:gd name="T21" fmla="*/ 51 h 105"/>
              <a:gd name="T22" fmla="*/ 96 w 103"/>
              <a:gd name="T23" fmla="*/ 49 h 105"/>
              <a:gd name="T24" fmla="*/ 103 w 103"/>
              <a:gd name="T25" fmla="*/ 43 h 105"/>
              <a:gd name="T26" fmla="*/ 100 w 103"/>
              <a:gd name="T27" fmla="*/ 37 h 105"/>
              <a:gd name="T28" fmla="*/ 92 w 103"/>
              <a:gd name="T29" fmla="*/ 34 h 105"/>
              <a:gd name="T30" fmla="*/ 86 w 103"/>
              <a:gd name="T31" fmla="*/ 28 h 105"/>
              <a:gd name="T32" fmla="*/ 79 w 103"/>
              <a:gd name="T33" fmla="*/ 26 h 105"/>
              <a:gd name="T34" fmla="*/ 73 w 103"/>
              <a:gd name="T35" fmla="*/ 20 h 105"/>
              <a:gd name="T36" fmla="*/ 68 w 103"/>
              <a:gd name="T37" fmla="*/ 15 h 105"/>
              <a:gd name="T38" fmla="*/ 60 w 103"/>
              <a:gd name="T39" fmla="*/ 9 h 105"/>
              <a:gd name="T40" fmla="*/ 39 w 103"/>
              <a:gd name="T41" fmla="*/ 7 h 105"/>
              <a:gd name="T42" fmla="*/ 30 w 103"/>
              <a:gd name="T43" fmla="*/ 5 h 105"/>
              <a:gd name="T44" fmla="*/ 22 w 103"/>
              <a:gd name="T45" fmla="*/ 7 h 105"/>
              <a:gd name="T46" fmla="*/ 15 w 103"/>
              <a:gd name="T47" fmla="*/ 5 h 105"/>
              <a:gd name="T48" fmla="*/ 7 w 103"/>
              <a:gd name="T49" fmla="*/ 0 h 105"/>
              <a:gd name="T50" fmla="*/ 2 w 103"/>
              <a:gd name="T51" fmla="*/ 0 h 105"/>
              <a:gd name="T52" fmla="*/ 0 w 103"/>
              <a:gd name="T53" fmla="*/ 9 h 105"/>
              <a:gd name="T54" fmla="*/ 2 w 103"/>
              <a:gd name="T55" fmla="*/ 15 h 105"/>
              <a:gd name="T56" fmla="*/ 11 w 103"/>
              <a:gd name="T57" fmla="*/ 22 h 105"/>
              <a:gd name="T58" fmla="*/ 9 w 103"/>
              <a:gd name="T59" fmla="*/ 28 h 105"/>
              <a:gd name="T60" fmla="*/ 7 w 103"/>
              <a:gd name="T61" fmla="*/ 37 h 105"/>
              <a:gd name="T62" fmla="*/ 7 w 103"/>
              <a:gd name="T63" fmla="*/ 37 h 105"/>
              <a:gd name="T64" fmla="*/ 0 w 103"/>
              <a:gd name="T65" fmla="*/ 45 h 105"/>
              <a:gd name="T66" fmla="*/ 0 w 103"/>
              <a:gd name="T67" fmla="*/ 51 h 105"/>
              <a:gd name="T68" fmla="*/ 7 w 103"/>
              <a:gd name="T69" fmla="*/ 58 h 105"/>
              <a:gd name="T70" fmla="*/ 11 w 103"/>
              <a:gd name="T71" fmla="*/ 62 h 105"/>
              <a:gd name="T72" fmla="*/ 17 w 103"/>
              <a:gd name="T73" fmla="*/ 68 h 105"/>
              <a:gd name="T74" fmla="*/ 17 w 103"/>
              <a:gd name="T75" fmla="*/ 71 h 105"/>
              <a:gd name="T76" fmla="*/ 22 w 103"/>
              <a:gd name="T77" fmla="*/ 77 h 105"/>
              <a:gd name="T78" fmla="*/ 24 w 103"/>
              <a:gd name="T79" fmla="*/ 83 h 105"/>
              <a:gd name="T80" fmla="*/ 26 w 103"/>
              <a:gd name="T81" fmla="*/ 98 h 105"/>
              <a:gd name="T82" fmla="*/ 32 w 103"/>
              <a:gd name="T83" fmla="*/ 103 h 105"/>
              <a:gd name="T84" fmla="*/ 39 w 103"/>
              <a:gd name="T85" fmla="*/ 103 h 105"/>
              <a:gd name="T86" fmla="*/ 45 w 103"/>
              <a:gd name="T87" fmla="*/ 105 h 105"/>
              <a:gd name="T88" fmla="*/ 45 w 103"/>
              <a:gd name="T8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105">
                <a:moveTo>
                  <a:pt x="45" y="105"/>
                </a:moveTo>
                <a:lnTo>
                  <a:pt x="54" y="105"/>
                </a:lnTo>
                <a:lnTo>
                  <a:pt x="56" y="96"/>
                </a:lnTo>
                <a:lnTo>
                  <a:pt x="56" y="90"/>
                </a:lnTo>
                <a:lnTo>
                  <a:pt x="62" y="83"/>
                </a:lnTo>
                <a:lnTo>
                  <a:pt x="66" y="77"/>
                </a:lnTo>
                <a:lnTo>
                  <a:pt x="71" y="71"/>
                </a:lnTo>
                <a:lnTo>
                  <a:pt x="77" y="68"/>
                </a:lnTo>
                <a:lnTo>
                  <a:pt x="83" y="64"/>
                </a:lnTo>
                <a:lnTo>
                  <a:pt x="92" y="60"/>
                </a:lnTo>
                <a:lnTo>
                  <a:pt x="96" y="51"/>
                </a:lnTo>
                <a:lnTo>
                  <a:pt x="96" y="49"/>
                </a:lnTo>
                <a:lnTo>
                  <a:pt x="103" y="43"/>
                </a:lnTo>
                <a:lnTo>
                  <a:pt x="100" y="37"/>
                </a:lnTo>
                <a:lnTo>
                  <a:pt x="92" y="34"/>
                </a:lnTo>
                <a:lnTo>
                  <a:pt x="86" y="28"/>
                </a:lnTo>
                <a:lnTo>
                  <a:pt x="79" y="26"/>
                </a:lnTo>
                <a:lnTo>
                  <a:pt x="73" y="20"/>
                </a:lnTo>
                <a:lnTo>
                  <a:pt x="68" y="15"/>
                </a:lnTo>
                <a:lnTo>
                  <a:pt x="60" y="9"/>
                </a:lnTo>
                <a:lnTo>
                  <a:pt x="39" y="7"/>
                </a:lnTo>
                <a:lnTo>
                  <a:pt x="30" y="5"/>
                </a:lnTo>
                <a:lnTo>
                  <a:pt x="22" y="7"/>
                </a:lnTo>
                <a:lnTo>
                  <a:pt x="15" y="5"/>
                </a:lnTo>
                <a:lnTo>
                  <a:pt x="7" y="0"/>
                </a:lnTo>
                <a:lnTo>
                  <a:pt x="2" y="0"/>
                </a:lnTo>
                <a:lnTo>
                  <a:pt x="0" y="9"/>
                </a:lnTo>
                <a:lnTo>
                  <a:pt x="2" y="15"/>
                </a:lnTo>
                <a:lnTo>
                  <a:pt x="11" y="22"/>
                </a:lnTo>
                <a:lnTo>
                  <a:pt x="9" y="28"/>
                </a:lnTo>
                <a:lnTo>
                  <a:pt x="7" y="37"/>
                </a:lnTo>
                <a:lnTo>
                  <a:pt x="7" y="37"/>
                </a:lnTo>
                <a:lnTo>
                  <a:pt x="0" y="45"/>
                </a:lnTo>
                <a:lnTo>
                  <a:pt x="0" y="51"/>
                </a:lnTo>
                <a:lnTo>
                  <a:pt x="7" y="58"/>
                </a:lnTo>
                <a:lnTo>
                  <a:pt x="11" y="62"/>
                </a:lnTo>
                <a:lnTo>
                  <a:pt x="17" y="68"/>
                </a:lnTo>
                <a:lnTo>
                  <a:pt x="17" y="71"/>
                </a:lnTo>
                <a:lnTo>
                  <a:pt x="22" y="77"/>
                </a:lnTo>
                <a:lnTo>
                  <a:pt x="24" y="83"/>
                </a:lnTo>
                <a:lnTo>
                  <a:pt x="26" y="98"/>
                </a:lnTo>
                <a:lnTo>
                  <a:pt x="32" y="103"/>
                </a:lnTo>
                <a:lnTo>
                  <a:pt x="39" y="103"/>
                </a:lnTo>
                <a:lnTo>
                  <a:pt x="45" y="105"/>
                </a:lnTo>
                <a:lnTo>
                  <a:pt x="45" y="105"/>
                </a:lnTo>
                <a:close/>
              </a:path>
            </a:pathLst>
          </a:custGeom>
          <a:solidFill>
            <a:srgbClr val="194196"/>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69" name="Freeform 951"/>
          <p:cNvSpPr>
            <a:spLocks noChangeAspect="1"/>
          </p:cNvSpPr>
          <p:nvPr/>
        </p:nvSpPr>
        <p:spPr bwMode="auto">
          <a:xfrm>
            <a:off x="2728129" y="5529812"/>
            <a:ext cx="14287" cy="30006"/>
          </a:xfrm>
          <a:custGeom>
            <a:avLst/>
            <a:gdLst>
              <a:gd name="T0" fmla="*/ 6 w 10"/>
              <a:gd name="T1" fmla="*/ 21 h 21"/>
              <a:gd name="T2" fmla="*/ 6 w 10"/>
              <a:gd name="T3" fmla="*/ 19 h 21"/>
              <a:gd name="T4" fmla="*/ 10 w 10"/>
              <a:gd name="T5" fmla="*/ 11 h 21"/>
              <a:gd name="T6" fmla="*/ 10 w 10"/>
              <a:gd name="T7" fmla="*/ 6 h 21"/>
              <a:gd name="T8" fmla="*/ 10 w 10"/>
              <a:gd name="T9" fmla="*/ 0 h 21"/>
              <a:gd name="T10" fmla="*/ 4 w 10"/>
              <a:gd name="T11" fmla="*/ 6 h 21"/>
              <a:gd name="T12" fmla="*/ 0 w 10"/>
              <a:gd name="T13" fmla="*/ 15 h 21"/>
              <a:gd name="T14" fmla="*/ 6 w 1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21"/>
                </a:moveTo>
                <a:lnTo>
                  <a:pt x="6" y="19"/>
                </a:lnTo>
                <a:lnTo>
                  <a:pt x="10" y="11"/>
                </a:lnTo>
                <a:lnTo>
                  <a:pt x="10" y="6"/>
                </a:lnTo>
                <a:lnTo>
                  <a:pt x="10" y="0"/>
                </a:lnTo>
                <a:lnTo>
                  <a:pt x="4" y="6"/>
                </a:lnTo>
                <a:lnTo>
                  <a:pt x="0" y="15"/>
                </a:lnTo>
                <a:lnTo>
                  <a:pt x="6" y="21"/>
                </a:lnTo>
                <a:close/>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0" name="Freeform 952"/>
          <p:cNvSpPr>
            <a:spLocks noChangeAspect="1"/>
          </p:cNvSpPr>
          <p:nvPr/>
        </p:nvSpPr>
        <p:spPr bwMode="auto">
          <a:xfrm>
            <a:off x="2728129" y="5529812"/>
            <a:ext cx="14287" cy="30006"/>
          </a:xfrm>
          <a:custGeom>
            <a:avLst/>
            <a:gdLst>
              <a:gd name="T0" fmla="*/ 6 w 10"/>
              <a:gd name="T1" fmla="*/ 21 h 21"/>
              <a:gd name="T2" fmla="*/ 6 w 10"/>
              <a:gd name="T3" fmla="*/ 19 h 21"/>
              <a:gd name="T4" fmla="*/ 10 w 10"/>
              <a:gd name="T5" fmla="*/ 11 h 21"/>
              <a:gd name="T6" fmla="*/ 10 w 10"/>
              <a:gd name="T7" fmla="*/ 6 h 21"/>
              <a:gd name="T8" fmla="*/ 10 w 10"/>
              <a:gd name="T9" fmla="*/ 0 h 21"/>
              <a:gd name="T10" fmla="*/ 4 w 10"/>
              <a:gd name="T11" fmla="*/ 6 h 21"/>
              <a:gd name="T12" fmla="*/ 0 w 10"/>
              <a:gd name="T13" fmla="*/ 15 h 21"/>
              <a:gd name="T14" fmla="*/ 6 w 1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21"/>
                </a:moveTo>
                <a:lnTo>
                  <a:pt x="6" y="19"/>
                </a:lnTo>
                <a:lnTo>
                  <a:pt x="10" y="11"/>
                </a:lnTo>
                <a:lnTo>
                  <a:pt x="10" y="6"/>
                </a:lnTo>
                <a:lnTo>
                  <a:pt x="10" y="0"/>
                </a:lnTo>
                <a:lnTo>
                  <a:pt x="4" y="6"/>
                </a:lnTo>
                <a:lnTo>
                  <a:pt x="0" y="15"/>
                </a:lnTo>
                <a:lnTo>
                  <a:pt x="6" y="21"/>
                </a:lnTo>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1" name="Freeform 953"/>
          <p:cNvSpPr>
            <a:spLocks noChangeAspect="1"/>
          </p:cNvSpPr>
          <p:nvPr/>
        </p:nvSpPr>
        <p:spPr bwMode="auto">
          <a:xfrm>
            <a:off x="2775754" y="5472660"/>
            <a:ext cx="54294" cy="45720"/>
          </a:xfrm>
          <a:custGeom>
            <a:avLst/>
            <a:gdLst>
              <a:gd name="T0" fmla="*/ 32 w 38"/>
              <a:gd name="T1" fmla="*/ 32 h 32"/>
              <a:gd name="T2" fmla="*/ 32 w 38"/>
              <a:gd name="T3" fmla="*/ 30 h 32"/>
              <a:gd name="T4" fmla="*/ 38 w 38"/>
              <a:gd name="T5" fmla="*/ 23 h 32"/>
              <a:gd name="T6" fmla="*/ 36 w 38"/>
              <a:gd name="T7" fmla="*/ 15 h 32"/>
              <a:gd name="T8" fmla="*/ 36 w 38"/>
              <a:gd name="T9" fmla="*/ 6 h 32"/>
              <a:gd name="T10" fmla="*/ 36 w 38"/>
              <a:gd name="T11" fmla="*/ 6 h 32"/>
              <a:gd name="T12" fmla="*/ 27 w 38"/>
              <a:gd name="T13" fmla="*/ 0 h 32"/>
              <a:gd name="T14" fmla="*/ 21 w 38"/>
              <a:gd name="T15" fmla="*/ 2 h 32"/>
              <a:gd name="T16" fmla="*/ 15 w 38"/>
              <a:gd name="T17" fmla="*/ 4 h 32"/>
              <a:gd name="T18" fmla="*/ 8 w 38"/>
              <a:gd name="T19" fmla="*/ 10 h 32"/>
              <a:gd name="T20" fmla="*/ 2 w 38"/>
              <a:gd name="T21" fmla="*/ 17 h 32"/>
              <a:gd name="T22" fmla="*/ 2 w 38"/>
              <a:gd name="T23" fmla="*/ 17 h 32"/>
              <a:gd name="T24" fmla="*/ 0 w 38"/>
              <a:gd name="T25" fmla="*/ 25 h 32"/>
              <a:gd name="T26" fmla="*/ 8 w 38"/>
              <a:gd name="T27" fmla="*/ 30 h 32"/>
              <a:gd name="T28" fmla="*/ 23 w 38"/>
              <a:gd name="T29" fmla="*/ 32 h 32"/>
              <a:gd name="T30" fmla="*/ 32 w 38"/>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2">
                <a:moveTo>
                  <a:pt x="32" y="32"/>
                </a:moveTo>
                <a:lnTo>
                  <a:pt x="32" y="30"/>
                </a:lnTo>
                <a:lnTo>
                  <a:pt x="38" y="23"/>
                </a:lnTo>
                <a:lnTo>
                  <a:pt x="36" y="15"/>
                </a:lnTo>
                <a:lnTo>
                  <a:pt x="36" y="6"/>
                </a:lnTo>
                <a:lnTo>
                  <a:pt x="36" y="6"/>
                </a:lnTo>
                <a:lnTo>
                  <a:pt x="27" y="0"/>
                </a:lnTo>
                <a:lnTo>
                  <a:pt x="21" y="2"/>
                </a:lnTo>
                <a:lnTo>
                  <a:pt x="15" y="4"/>
                </a:lnTo>
                <a:lnTo>
                  <a:pt x="8" y="10"/>
                </a:lnTo>
                <a:lnTo>
                  <a:pt x="2" y="17"/>
                </a:lnTo>
                <a:lnTo>
                  <a:pt x="2" y="17"/>
                </a:lnTo>
                <a:lnTo>
                  <a:pt x="0" y="25"/>
                </a:lnTo>
                <a:lnTo>
                  <a:pt x="8" y="30"/>
                </a:lnTo>
                <a:lnTo>
                  <a:pt x="23" y="32"/>
                </a:lnTo>
                <a:lnTo>
                  <a:pt x="32" y="32"/>
                </a:lnTo>
                <a:close/>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2" name="Freeform 954"/>
          <p:cNvSpPr>
            <a:spLocks noChangeAspect="1"/>
          </p:cNvSpPr>
          <p:nvPr/>
        </p:nvSpPr>
        <p:spPr bwMode="auto">
          <a:xfrm>
            <a:off x="2775754" y="5472660"/>
            <a:ext cx="54294" cy="45720"/>
          </a:xfrm>
          <a:custGeom>
            <a:avLst/>
            <a:gdLst>
              <a:gd name="T0" fmla="*/ 32 w 38"/>
              <a:gd name="T1" fmla="*/ 32 h 32"/>
              <a:gd name="T2" fmla="*/ 32 w 38"/>
              <a:gd name="T3" fmla="*/ 30 h 32"/>
              <a:gd name="T4" fmla="*/ 38 w 38"/>
              <a:gd name="T5" fmla="*/ 23 h 32"/>
              <a:gd name="T6" fmla="*/ 36 w 38"/>
              <a:gd name="T7" fmla="*/ 15 h 32"/>
              <a:gd name="T8" fmla="*/ 36 w 38"/>
              <a:gd name="T9" fmla="*/ 6 h 32"/>
              <a:gd name="T10" fmla="*/ 36 w 38"/>
              <a:gd name="T11" fmla="*/ 6 h 32"/>
              <a:gd name="T12" fmla="*/ 27 w 38"/>
              <a:gd name="T13" fmla="*/ 0 h 32"/>
              <a:gd name="T14" fmla="*/ 21 w 38"/>
              <a:gd name="T15" fmla="*/ 2 h 32"/>
              <a:gd name="T16" fmla="*/ 15 w 38"/>
              <a:gd name="T17" fmla="*/ 4 h 32"/>
              <a:gd name="T18" fmla="*/ 8 w 38"/>
              <a:gd name="T19" fmla="*/ 10 h 32"/>
              <a:gd name="T20" fmla="*/ 2 w 38"/>
              <a:gd name="T21" fmla="*/ 17 h 32"/>
              <a:gd name="T22" fmla="*/ 2 w 38"/>
              <a:gd name="T23" fmla="*/ 17 h 32"/>
              <a:gd name="T24" fmla="*/ 0 w 38"/>
              <a:gd name="T25" fmla="*/ 25 h 32"/>
              <a:gd name="T26" fmla="*/ 8 w 38"/>
              <a:gd name="T27" fmla="*/ 30 h 32"/>
              <a:gd name="T28" fmla="*/ 23 w 38"/>
              <a:gd name="T29" fmla="*/ 32 h 32"/>
              <a:gd name="T30" fmla="*/ 32 w 38"/>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2">
                <a:moveTo>
                  <a:pt x="32" y="32"/>
                </a:moveTo>
                <a:lnTo>
                  <a:pt x="32" y="30"/>
                </a:lnTo>
                <a:lnTo>
                  <a:pt x="38" y="23"/>
                </a:lnTo>
                <a:lnTo>
                  <a:pt x="36" y="15"/>
                </a:lnTo>
                <a:lnTo>
                  <a:pt x="36" y="6"/>
                </a:lnTo>
                <a:lnTo>
                  <a:pt x="36" y="6"/>
                </a:lnTo>
                <a:lnTo>
                  <a:pt x="27" y="0"/>
                </a:lnTo>
                <a:lnTo>
                  <a:pt x="21" y="2"/>
                </a:lnTo>
                <a:lnTo>
                  <a:pt x="15" y="4"/>
                </a:lnTo>
                <a:lnTo>
                  <a:pt x="8" y="10"/>
                </a:lnTo>
                <a:lnTo>
                  <a:pt x="2" y="17"/>
                </a:lnTo>
                <a:lnTo>
                  <a:pt x="2" y="17"/>
                </a:lnTo>
                <a:lnTo>
                  <a:pt x="0" y="25"/>
                </a:lnTo>
                <a:lnTo>
                  <a:pt x="8" y="30"/>
                </a:lnTo>
                <a:lnTo>
                  <a:pt x="23" y="32"/>
                </a:lnTo>
                <a:lnTo>
                  <a:pt x="32" y="32"/>
                </a:lnTo>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3" name="Freeform 955"/>
          <p:cNvSpPr>
            <a:spLocks noChangeAspect="1"/>
          </p:cNvSpPr>
          <p:nvPr/>
        </p:nvSpPr>
        <p:spPr bwMode="auto">
          <a:xfrm>
            <a:off x="2988479" y="5488536"/>
            <a:ext cx="75726" cy="50005"/>
          </a:xfrm>
          <a:custGeom>
            <a:avLst/>
            <a:gdLst>
              <a:gd name="T0" fmla="*/ 40 w 53"/>
              <a:gd name="T1" fmla="*/ 32 h 35"/>
              <a:gd name="T2" fmla="*/ 47 w 53"/>
              <a:gd name="T3" fmla="*/ 28 h 35"/>
              <a:gd name="T4" fmla="*/ 53 w 53"/>
              <a:gd name="T5" fmla="*/ 26 h 35"/>
              <a:gd name="T6" fmla="*/ 47 w 53"/>
              <a:gd name="T7" fmla="*/ 20 h 35"/>
              <a:gd name="T8" fmla="*/ 42 w 53"/>
              <a:gd name="T9" fmla="*/ 13 h 35"/>
              <a:gd name="T10" fmla="*/ 36 w 53"/>
              <a:gd name="T11" fmla="*/ 17 h 35"/>
              <a:gd name="T12" fmla="*/ 32 w 53"/>
              <a:gd name="T13" fmla="*/ 11 h 35"/>
              <a:gd name="T14" fmla="*/ 17 w 53"/>
              <a:gd name="T15" fmla="*/ 0 h 35"/>
              <a:gd name="T16" fmla="*/ 10 w 53"/>
              <a:gd name="T17" fmla="*/ 5 h 35"/>
              <a:gd name="T18" fmla="*/ 6 w 53"/>
              <a:gd name="T19" fmla="*/ 13 h 35"/>
              <a:gd name="T20" fmla="*/ 0 w 53"/>
              <a:gd name="T21" fmla="*/ 15 h 35"/>
              <a:gd name="T22" fmla="*/ 0 w 53"/>
              <a:gd name="T23" fmla="*/ 20 h 35"/>
              <a:gd name="T24" fmla="*/ 4 w 53"/>
              <a:gd name="T25" fmla="*/ 26 h 35"/>
              <a:gd name="T26" fmla="*/ 13 w 53"/>
              <a:gd name="T27" fmla="*/ 30 h 35"/>
              <a:gd name="T28" fmla="*/ 21 w 53"/>
              <a:gd name="T29" fmla="*/ 35 h 35"/>
              <a:gd name="T30" fmla="*/ 27 w 53"/>
              <a:gd name="T31" fmla="*/ 32 h 35"/>
              <a:gd name="T32" fmla="*/ 25 w 53"/>
              <a:gd name="T33" fmla="*/ 28 h 35"/>
              <a:gd name="T34" fmla="*/ 32 w 53"/>
              <a:gd name="T35" fmla="*/ 28 h 35"/>
              <a:gd name="T36" fmla="*/ 40 w 53"/>
              <a:gd name="T37"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5">
                <a:moveTo>
                  <a:pt x="40" y="32"/>
                </a:moveTo>
                <a:lnTo>
                  <a:pt x="47" y="28"/>
                </a:lnTo>
                <a:lnTo>
                  <a:pt x="53" y="26"/>
                </a:lnTo>
                <a:lnTo>
                  <a:pt x="47" y="20"/>
                </a:lnTo>
                <a:lnTo>
                  <a:pt x="42" y="13"/>
                </a:lnTo>
                <a:lnTo>
                  <a:pt x="36" y="17"/>
                </a:lnTo>
                <a:lnTo>
                  <a:pt x="32" y="11"/>
                </a:lnTo>
                <a:lnTo>
                  <a:pt x="17" y="0"/>
                </a:lnTo>
                <a:lnTo>
                  <a:pt x="10" y="5"/>
                </a:lnTo>
                <a:lnTo>
                  <a:pt x="6" y="13"/>
                </a:lnTo>
                <a:lnTo>
                  <a:pt x="0" y="15"/>
                </a:lnTo>
                <a:lnTo>
                  <a:pt x="0" y="20"/>
                </a:lnTo>
                <a:lnTo>
                  <a:pt x="4" y="26"/>
                </a:lnTo>
                <a:lnTo>
                  <a:pt x="13" y="30"/>
                </a:lnTo>
                <a:lnTo>
                  <a:pt x="21" y="35"/>
                </a:lnTo>
                <a:lnTo>
                  <a:pt x="27" y="32"/>
                </a:lnTo>
                <a:lnTo>
                  <a:pt x="25" y="28"/>
                </a:lnTo>
                <a:lnTo>
                  <a:pt x="32" y="28"/>
                </a:lnTo>
                <a:lnTo>
                  <a:pt x="40" y="32"/>
                </a:lnTo>
                <a:close/>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4" name="Freeform 956"/>
          <p:cNvSpPr>
            <a:spLocks noChangeAspect="1"/>
          </p:cNvSpPr>
          <p:nvPr/>
        </p:nvSpPr>
        <p:spPr bwMode="auto">
          <a:xfrm>
            <a:off x="2988479" y="5488536"/>
            <a:ext cx="75726" cy="50005"/>
          </a:xfrm>
          <a:custGeom>
            <a:avLst/>
            <a:gdLst>
              <a:gd name="T0" fmla="*/ 40 w 53"/>
              <a:gd name="T1" fmla="*/ 32 h 35"/>
              <a:gd name="T2" fmla="*/ 47 w 53"/>
              <a:gd name="T3" fmla="*/ 28 h 35"/>
              <a:gd name="T4" fmla="*/ 53 w 53"/>
              <a:gd name="T5" fmla="*/ 26 h 35"/>
              <a:gd name="T6" fmla="*/ 47 w 53"/>
              <a:gd name="T7" fmla="*/ 20 h 35"/>
              <a:gd name="T8" fmla="*/ 42 w 53"/>
              <a:gd name="T9" fmla="*/ 13 h 35"/>
              <a:gd name="T10" fmla="*/ 36 w 53"/>
              <a:gd name="T11" fmla="*/ 17 h 35"/>
              <a:gd name="T12" fmla="*/ 32 w 53"/>
              <a:gd name="T13" fmla="*/ 11 h 35"/>
              <a:gd name="T14" fmla="*/ 17 w 53"/>
              <a:gd name="T15" fmla="*/ 0 h 35"/>
              <a:gd name="T16" fmla="*/ 10 w 53"/>
              <a:gd name="T17" fmla="*/ 5 h 35"/>
              <a:gd name="T18" fmla="*/ 6 w 53"/>
              <a:gd name="T19" fmla="*/ 13 h 35"/>
              <a:gd name="T20" fmla="*/ 0 w 53"/>
              <a:gd name="T21" fmla="*/ 15 h 35"/>
              <a:gd name="T22" fmla="*/ 0 w 53"/>
              <a:gd name="T23" fmla="*/ 20 h 35"/>
              <a:gd name="T24" fmla="*/ 4 w 53"/>
              <a:gd name="T25" fmla="*/ 26 h 35"/>
              <a:gd name="T26" fmla="*/ 13 w 53"/>
              <a:gd name="T27" fmla="*/ 30 h 35"/>
              <a:gd name="T28" fmla="*/ 21 w 53"/>
              <a:gd name="T29" fmla="*/ 35 h 35"/>
              <a:gd name="T30" fmla="*/ 27 w 53"/>
              <a:gd name="T31" fmla="*/ 32 h 35"/>
              <a:gd name="T32" fmla="*/ 25 w 53"/>
              <a:gd name="T33" fmla="*/ 28 h 35"/>
              <a:gd name="T34" fmla="*/ 32 w 53"/>
              <a:gd name="T35" fmla="*/ 28 h 35"/>
              <a:gd name="T36" fmla="*/ 40 w 53"/>
              <a:gd name="T37"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5">
                <a:moveTo>
                  <a:pt x="40" y="32"/>
                </a:moveTo>
                <a:lnTo>
                  <a:pt x="47" y="28"/>
                </a:lnTo>
                <a:lnTo>
                  <a:pt x="53" y="26"/>
                </a:lnTo>
                <a:lnTo>
                  <a:pt x="47" y="20"/>
                </a:lnTo>
                <a:lnTo>
                  <a:pt x="42" y="13"/>
                </a:lnTo>
                <a:lnTo>
                  <a:pt x="36" y="17"/>
                </a:lnTo>
                <a:lnTo>
                  <a:pt x="32" y="11"/>
                </a:lnTo>
                <a:lnTo>
                  <a:pt x="17" y="0"/>
                </a:lnTo>
                <a:lnTo>
                  <a:pt x="10" y="5"/>
                </a:lnTo>
                <a:lnTo>
                  <a:pt x="6" y="13"/>
                </a:lnTo>
                <a:lnTo>
                  <a:pt x="0" y="15"/>
                </a:lnTo>
                <a:lnTo>
                  <a:pt x="0" y="20"/>
                </a:lnTo>
                <a:lnTo>
                  <a:pt x="4" y="26"/>
                </a:lnTo>
                <a:lnTo>
                  <a:pt x="13" y="30"/>
                </a:lnTo>
                <a:lnTo>
                  <a:pt x="21" y="35"/>
                </a:lnTo>
                <a:lnTo>
                  <a:pt x="27" y="32"/>
                </a:lnTo>
                <a:lnTo>
                  <a:pt x="25" y="28"/>
                </a:lnTo>
                <a:lnTo>
                  <a:pt x="32" y="28"/>
                </a:lnTo>
                <a:lnTo>
                  <a:pt x="40" y="32"/>
                </a:lnTo>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5" name="Freeform 957"/>
          <p:cNvSpPr>
            <a:spLocks noChangeAspect="1"/>
          </p:cNvSpPr>
          <p:nvPr/>
        </p:nvSpPr>
        <p:spPr bwMode="auto">
          <a:xfrm>
            <a:off x="3123416" y="5512350"/>
            <a:ext cx="61436" cy="28575"/>
          </a:xfrm>
          <a:custGeom>
            <a:avLst/>
            <a:gdLst>
              <a:gd name="T0" fmla="*/ 36 w 43"/>
              <a:gd name="T1" fmla="*/ 13 h 20"/>
              <a:gd name="T2" fmla="*/ 36 w 43"/>
              <a:gd name="T3" fmla="*/ 11 h 20"/>
              <a:gd name="T4" fmla="*/ 43 w 43"/>
              <a:gd name="T5" fmla="*/ 7 h 20"/>
              <a:gd name="T6" fmla="*/ 40 w 43"/>
              <a:gd name="T7" fmla="*/ 0 h 20"/>
              <a:gd name="T8" fmla="*/ 36 w 43"/>
              <a:gd name="T9" fmla="*/ 0 h 20"/>
              <a:gd name="T10" fmla="*/ 30 w 43"/>
              <a:gd name="T11" fmla="*/ 2 h 20"/>
              <a:gd name="T12" fmla="*/ 23 w 43"/>
              <a:gd name="T13" fmla="*/ 5 h 20"/>
              <a:gd name="T14" fmla="*/ 15 w 43"/>
              <a:gd name="T15" fmla="*/ 5 h 20"/>
              <a:gd name="T16" fmla="*/ 8 w 43"/>
              <a:gd name="T17" fmla="*/ 7 h 20"/>
              <a:gd name="T18" fmla="*/ 0 w 43"/>
              <a:gd name="T19" fmla="*/ 9 h 20"/>
              <a:gd name="T20" fmla="*/ 2 w 43"/>
              <a:gd name="T21" fmla="*/ 11 h 20"/>
              <a:gd name="T22" fmla="*/ 0 w 43"/>
              <a:gd name="T23" fmla="*/ 20 h 20"/>
              <a:gd name="T24" fmla="*/ 13 w 43"/>
              <a:gd name="T25" fmla="*/ 15 h 20"/>
              <a:gd name="T26" fmla="*/ 19 w 43"/>
              <a:gd name="T27" fmla="*/ 11 h 20"/>
              <a:gd name="T28" fmla="*/ 28 w 43"/>
              <a:gd name="T29" fmla="*/ 13 h 20"/>
              <a:gd name="T30" fmla="*/ 36 w 43"/>
              <a:gd name="T3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0">
                <a:moveTo>
                  <a:pt x="36" y="13"/>
                </a:moveTo>
                <a:lnTo>
                  <a:pt x="36" y="11"/>
                </a:lnTo>
                <a:lnTo>
                  <a:pt x="43" y="7"/>
                </a:lnTo>
                <a:lnTo>
                  <a:pt x="40" y="0"/>
                </a:lnTo>
                <a:lnTo>
                  <a:pt x="36" y="0"/>
                </a:lnTo>
                <a:lnTo>
                  <a:pt x="30" y="2"/>
                </a:lnTo>
                <a:lnTo>
                  <a:pt x="23" y="5"/>
                </a:lnTo>
                <a:lnTo>
                  <a:pt x="15" y="5"/>
                </a:lnTo>
                <a:lnTo>
                  <a:pt x="8" y="7"/>
                </a:lnTo>
                <a:lnTo>
                  <a:pt x="0" y="9"/>
                </a:lnTo>
                <a:lnTo>
                  <a:pt x="2" y="11"/>
                </a:lnTo>
                <a:lnTo>
                  <a:pt x="0" y="20"/>
                </a:lnTo>
                <a:lnTo>
                  <a:pt x="13" y="15"/>
                </a:lnTo>
                <a:lnTo>
                  <a:pt x="19" y="11"/>
                </a:lnTo>
                <a:lnTo>
                  <a:pt x="28" y="13"/>
                </a:lnTo>
                <a:lnTo>
                  <a:pt x="36" y="13"/>
                </a:lnTo>
                <a:close/>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6" name="Freeform 958"/>
          <p:cNvSpPr>
            <a:spLocks noChangeAspect="1"/>
          </p:cNvSpPr>
          <p:nvPr/>
        </p:nvSpPr>
        <p:spPr bwMode="auto">
          <a:xfrm>
            <a:off x="3123416" y="5512350"/>
            <a:ext cx="61436" cy="28575"/>
          </a:xfrm>
          <a:custGeom>
            <a:avLst/>
            <a:gdLst>
              <a:gd name="T0" fmla="*/ 36 w 43"/>
              <a:gd name="T1" fmla="*/ 13 h 20"/>
              <a:gd name="T2" fmla="*/ 36 w 43"/>
              <a:gd name="T3" fmla="*/ 11 h 20"/>
              <a:gd name="T4" fmla="*/ 43 w 43"/>
              <a:gd name="T5" fmla="*/ 7 h 20"/>
              <a:gd name="T6" fmla="*/ 40 w 43"/>
              <a:gd name="T7" fmla="*/ 0 h 20"/>
              <a:gd name="T8" fmla="*/ 36 w 43"/>
              <a:gd name="T9" fmla="*/ 0 h 20"/>
              <a:gd name="T10" fmla="*/ 30 w 43"/>
              <a:gd name="T11" fmla="*/ 2 h 20"/>
              <a:gd name="T12" fmla="*/ 23 w 43"/>
              <a:gd name="T13" fmla="*/ 5 h 20"/>
              <a:gd name="T14" fmla="*/ 15 w 43"/>
              <a:gd name="T15" fmla="*/ 5 h 20"/>
              <a:gd name="T16" fmla="*/ 8 w 43"/>
              <a:gd name="T17" fmla="*/ 7 h 20"/>
              <a:gd name="T18" fmla="*/ 0 w 43"/>
              <a:gd name="T19" fmla="*/ 9 h 20"/>
              <a:gd name="T20" fmla="*/ 2 w 43"/>
              <a:gd name="T21" fmla="*/ 11 h 20"/>
              <a:gd name="T22" fmla="*/ 0 w 43"/>
              <a:gd name="T23" fmla="*/ 20 h 20"/>
              <a:gd name="T24" fmla="*/ 13 w 43"/>
              <a:gd name="T25" fmla="*/ 15 h 20"/>
              <a:gd name="T26" fmla="*/ 19 w 43"/>
              <a:gd name="T27" fmla="*/ 11 h 20"/>
              <a:gd name="T28" fmla="*/ 28 w 43"/>
              <a:gd name="T29" fmla="*/ 13 h 20"/>
              <a:gd name="T30" fmla="*/ 36 w 43"/>
              <a:gd name="T3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0">
                <a:moveTo>
                  <a:pt x="36" y="13"/>
                </a:moveTo>
                <a:lnTo>
                  <a:pt x="36" y="11"/>
                </a:lnTo>
                <a:lnTo>
                  <a:pt x="43" y="7"/>
                </a:lnTo>
                <a:lnTo>
                  <a:pt x="40" y="0"/>
                </a:lnTo>
                <a:lnTo>
                  <a:pt x="36" y="0"/>
                </a:lnTo>
                <a:lnTo>
                  <a:pt x="30" y="2"/>
                </a:lnTo>
                <a:lnTo>
                  <a:pt x="23" y="5"/>
                </a:lnTo>
                <a:lnTo>
                  <a:pt x="15" y="5"/>
                </a:lnTo>
                <a:lnTo>
                  <a:pt x="8" y="7"/>
                </a:lnTo>
                <a:lnTo>
                  <a:pt x="0" y="9"/>
                </a:lnTo>
                <a:lnTo>
                  <a:pt x="2" y="11"/>
                </a:lnTo>
                <a:lnTo>
                  <a:pt x="0" y="20"/>
                </a:lnTo>
                <a:lnTo>
                  <a:pt x="13" y="15"/>
                </a:lnTo>
                <a:lnTo>
                  <a:pt x="19" y="11"/>
                </a:lnTo>
                <a:lnTo>
                  <a:pt x="28" y="13"/>
                </a:lnTo>
                <a:lnTo>
                  <a:pt x="36" y="13"/>
                </a:lnTo>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7" name="Freeform 959"/>
          <p:cNvSpPr>
            <a:spLocks noChangeAspect="1"/>
          </p:cNvSpPr>
          <p:nvPr/>
        </p:nvSpPr>
        <p:spPr bwMode="auto">
          <a:xfrm>
            <a:off x="3159929" y="5553624"/>
            <a:ext cx="31434" cy="18575"/>
          </a:xfrm>
          <a:custGeom>
            <a:avLst/>
            <a:gdLst>
              <a:gd name="T0" fmla="*/ 17 w 22"/>
              <a:gd name="T1" fmla="*/ 13 h 13"/>
              <a:gd name="T2" fmla="*/ 17 w 22"/>
              <a:gd name="T3" fmla="*/ 13 h 13"/>
              <a:gd name="T4" fmla="*/ 22 w 22"/>
              <a:gd name="T5" fmla="*/ 4 h 13"/>
              <a:gd name="T6" fmla="*/ 15 w 22"/>
              <a:gd name="T7" fmla="*/ 0 h 13"/>
              <a:gd name="T8" fmla="*/ 7 w 22"/>
              <a:gd name="T9" fmla="*/ 0 h 13"/>
              <a:gd name="T10" fmla="*/ 0 w 22"/>
              <a:gd name="T11" fmla="*/ 4 h 13"/>
              <a:gd name="T12" fmla="*/ 9 w 22"/>
              <a:gd name="T13" fmla="*/ 8 h 13"/>
              <a:gd name="T14" fmla="*/ 17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7" y="13"/>
                </a:moveTo>
                <a:lnTo>
                  <a:pt x="17" y="13"/>
                </a:lnTo>
                <a:lnTo>
                  <a:pt x="22" y="4"/>
                </a:lnTo>
                <a:lnTo>
                  <a:pt x="15" y="0"/>
                </a:lnTo>
                <a:lnTo>
                  <a:pt x="7" y="0"/>
                </a:lnTo>
                <a:lnTo>
                  <a:pt x="0" y="4"/>
                </a:lnTo>
                <a:lnTo>
                  <a:pt x="9" y="8"/>
                </a:lnTo>
                <a:lnTo>
                  <a:pt x="17" y="13"/>
                </a:lnTo>
                <a:close/>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8" name="Freeform 960"/>
          <p:cNvSpPr>
            <a:spLocks noChangeAspect="1"/>
          </p:cNvSpPr>
          <p:nvPr/>
        </p:nvSpPr>
        <p:spPr bwMode="auto">
          <a:xfrm>
            <a:off x="3159929" y="5553624"/>
            <a:ext cx="31434" cy="18575"/>
          </a:xfrm>
          <a:custGeom>
            <a:avLst/>
            <a:gdLst>
              <a:gd name="T0" fmla="*/ 17 w 22"/>
              <a:gd name="T1" fmla="*/ 13 h 13"/>
              <a:gd name="T2" fmla="*/ 17 w 22"/>
              <a:gd name="T3" fmla="*/ 13 h 13"/>
              <a:gd name="T4" fmla="*/ 22 w 22"/>
              <a:gd name="T5" fmla="*/ 4 h 13"/>
              <a:gd name="T6" fmla="*/ 15 w 22"/>
              <a:gd name="T7" fmla="*/ 0 h 13"/>
              <a:gd name="T8" fmla="*/ 7 w 22"/>
              <a:gd name="T9" fmla="*/ 0 h 13"/>
              <a:gd name="T10" fmla="*/ 0 w 22"/>
              <a:gd name="T11" fmla="*/ 4 h 13"/>
              <a:gd name="T12" fmla="*/ 9 w 22"/>
              <a:gd name="T13" fmla="*/ 8 h 13"/>
              <a:gd name="T14" fmla="*/ 17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7" y="13"/>
                </a:moveTo>
                <a:lnTo>
                  <a:pt x="17" y="13"/>
                </a:lnTo>
                <a:lnTo>
                  <a:pt x="22" y="4"/>
                </a:lnTo>
                <a:lnTo>
                  <a:pt x="15" y="0"/>
                </a:lnTo>
                <a:lnTo>
                  <a:pt x="7" y="0"/>
                </a:lnTo>
                <a:lnTo>
                  <a:pt x="0" y="4"/>
                </a:lnTo>
                <a:lnTo>
                  <a:pt x="9" y="8"/>
                </a:lnTo>
                <a:lnTo>
                  <a:pt x="17" y="13"/>
                </a:lnTo>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79" name="Freeform 961"/>
          <p:cNvSpPr>
            <a:spLocks noChangeAspect="1"/>
          </p:cNvSpPr>
          <p:nvPr/>
        </p:nvSpPr>
        <p:spPr bwMode="auto">
          <a:xfrm>
            <a:off x="3204379" y="5523460"/>
            <a:ext cx="85725" cy="45720"/>
          </a:xfrm>
          <a:custGeom>
            <a:avLst/>
            <a:gdLst>
              <a:gd name="T0" fmla="*/ 34 w 60"/>
              <a:gd name="T1" fmla="*/ 32 h 32"/>
              <a:gd name="T2" fmla="*/ 38 w 60"/>
              <a:gd name="T3" fmla="*/ 30 h 32"/>
              <a:gd name="T4" fmla="*/ 45 w 60"/>
              <a:gd name="T5" fmla="*/ 23 h 32"/>
              <a:gd name="T6" fmla="*/ 51 w 60"/>
              <a:gd name="T7" fmla="*/ 21 h 32"/>
              <a:gd name="T8" fmla="*/ 55 w 60"/>
              <a:gd name="T9" fmla="*/ 19 h 32"/>
              <a:gd name="T10" fmla="*/ 60 w 60"/>
              <a:gd name="T11" fmla="*/ 10 h 32"/>
              <a:gd name="T12" fmla="*/ 53 w 60"/>
              <a:gd name="T13" fmla="*/ 4 h 32"/>
              <a:gd name="T14" fmla="*/ 47 w 60"/>
              <a:gd name="T15" fmla="*/ 4 h 32"/>
              <a:gd name="T16" fmla="*/ 38 w 60"/>
              <a:gd name="T17" fmla="*/ 0 h 32"/>
              <a:gd name="T18" fmla="*/ 36 w 60"/>
              <a:gd name="T19" fmla="*/ 0 h 32"/>
              <a:gd name="T20" fmla="*/ 30 w 60"/>
              <a:gd name="T21" fmla="*/ 0 h 32"/>
              <a:gd name="T22" fmla="*/ 23 w 60"/>
              <a:gd name="T23" fmla="*/ 4 h 32"/>
              <a:gd name="T24" fmla="*/ 17 w 60"/>
              <a:gd name="T25" fmla="*/ 6 h 32"/>
              <a:gd name="T26" fmla="*/ 9 w 60"/>
              <a:gd name="T27" fmla="*/ 0 h 32"/>
              <a:gd name="T28" fmla="*/ 2 w 60"/>
              <a:gd name="T29" fmla="*/ 2 h 32"/>
              <a:gd name="T30" fmla="*/ 0 w 60"/>
              <a:gd name="T31" fmla="*/ 6 h 32"/>
              <a:gd name="T32" fmla="*/ 0 w 60"/>
              <a:gd name="T33" fmla="*/ 13 h 32"/>
              <a:gd name="T34" fmla="*/ 9 w 60"/>
              <a:gd name="T35" fmla="*/ 19 h 32"/>
              <a:gd name="T36" fmla="*/ 23 w 60"/>
              <a:gd name="T37" fmla="*/ 21 h 32"/>
              <a:gd name="T38" fmla="*/ 23 w 60"/>
              <a:gd name="T39" fmla="*/ 21 h 32"/>
              <a:gd name="T40" fmla="*/ 26 w 60"/>
              <a:gd name="T41" fmla="*/ 27 h 32"/>
              <a:gd name="T42" fmla="*/ 34 w 60"/>
              <a:gd name="T4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32">
                <a:moveTo>
                  <a:pt x="34" y="32"/>
                </a:moveTo>
                <a:lnTo>
                  <a:pt x="38" y="30"/>
                </a:lnTo>
                <a:lnTo>
                  <a:pt x="45" y="23"/>
                </a:lnTo>
                <a:lnTo>
                  <a:pt x="51" y="21"/>
                </a:lnTo>
                <a:lnTo>
                  <a:pt x="55" y="19"/>
                </a:lnTo>
                <a:lnTo>
                  <a:pt x="60" y="10"/>
                </a:lnTo>
                <a:lnTo>
                  <a:pt x="53" y="4"/>
                </a:lnTo>
                <a:lnTo>
                  <a:pt x="47" y="4"/>
                </a:lnTo>
                <a:lnTo>
                  <a:pt x="38" y="0"/>
                </a:lnTo>
                <a:lnTo>
                  <a:pt x="36" y="0"/>
                </a:lnTo>
                <a:lnTo>
                  <a:pt x="30" y="0"/>
                </a:lnTo>
                <a:lnTo>
                  <a:pt x="23" y="4"/>
                </a:lnTo>
                <a:lnTo>
                  <a:pt x="17" y="6"/>
                </a:lnTo>
                <a:lnTo>
                  <a:pt x="9" y="0"/>
                </a:lnTo>
                <a:lnTo>
                  <a:pt x="2" y="2"/>
                </a:lnTo>
                <a:lnTo>
                  <a:pt x="0" y="6"/>
                </a:lnTo>
                <a:lnTo>
                  <a:pt x="0" y="13"/>
                </a:lnTo>
                <a:lnTo>
                  <a:pt x="9" y="19"/>
                </a:lnTo>
                <a:lnTo>
                  <a:pt x="23" y="21"/>
                </a:lnTo>
                <a:lnTo>
                  <a:pt x="23" y="21"/>
                </a:lnTo>
                <a:lnTo>
                  <a:pt x="26" y="27"/>
                </a:lnTo>
                <a:lnTo>
                  <a:pt x="34" y="32"/>
                </a:lnTo>
                <a:close/>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0" name="Freeform 962"/>
          <p:cNvSpPr>
            <a:spLocks noChangeAspect="1"/>
          </p:cNvSpPr>
          <p:nvPr/>
        </p:nvSpPr>
        <p:spPr bwMode="auto">
          <a:xfrm>
            <a:off x="3204379" y="5523460"/>
            <a:ext cx="85725" cy="45720"/>
          </a:xfrm>
          <a:custGeom>
            <a:avLst/>
            <a:gdLst>
              <a:gd name="T0" fmla="*/ 34 w 60"/>
              <a:gd name="T1" fmla="*/ 32 h 32"/>
              <a:gd name="T2" fmla="*/ 38 w 60"/>
              <a:gd name="T3" fmla="*/ 30 h 32"/>
              <a:gd name="T4" fmla="*/ 45 w 60"/>
              <a:gd name="T5" fmla="*/ 23 h 32"/>
              <a:gd name="T6" fmla="*/ 51 w 60"/>
              <a:gd name="T7" fmla="*/ 21 h 32"/>
              <a:gd name="T8" fmla="*/ 55 w 60"/>
              <a:gd name="T9" fmla="*/ 19 h 32"/>
              <a:gd name="T10" fmla="*/ 60 w 60"/>
              <a:gd name="T11" fmla="*/ 10 h 32"/>
              <a:gd name="T12" fmla="*/ 53 w 60"/>
              <a:gd name="T13" fmla="*/ 4 h 32"/>
              <a:gd name="T14" fmla="*/ 47 w 60"/>
              <a:gd name="T15" fmla="*/ 4 h 32"/>
              <a:gd name="T16" fmla="*/ 38 w 60"/>
              <a:gd name="T17" fmla="*/ 0 h 32"/>
              <a:gd name="T18" fmla="*/ 36 w 60"/>
              <a:gd name="T19" fmla="*/ 0 h 32"/>
              <a:gd name="T20" fmla="*/ 30 w 60"/>
              <a:gd name="T21" fmla="*/ 0 h 32"/>
              <a:gd name="T22" fmla="*/ 23 w 60"/>
              <a:gd name="T23" fmla="*/ 4 h 32"/>
              <a:gd name="T24" fmla="*/ 17 w 60"/>
              <a:gd name="T25" fmla="*/ 6 h 32"/>
              <a:gd name="T26" fmla="*/ 9 w 60"/>
              <a:gd name="T27" fmla="*/ 0 h 32"/>
              <a:gd name="T28" fmla="*/ 2 w 60"/>
              <a:gd name="T29" fmla="*/ 2 h 32"/>
              <a:gd name="T30" fmla="*/ 0 w 60"/>
              <a:gd name="T31" fmla="*/ 6 h 32"/>
              <a:gd name="T32" fmla="*/ 0 w 60"/>
              <a:gd name="T33" fmla="*/ 13 h 32"/>
              <a:gd name="T34" fmla="*/ 9 w 60"/>
              <a:gd name="T35" fmla="*/ 19 h 32"/>
              <a:gd name="T36" fmla="*/ 23 w 60"/>
              <a:gd name="T37" fmla="*/ 21 h 32"/>
              <a:gd name="T38" fmla="*/ 23 w 60"/>
              <a:gd name="T39" fmla="*/ 21 h 32"/>
              <a:gd name="T40" fmla="*/ 26 w 60"/>
              <a:gd name="T41" fmla="*/ 27 h 32"/>
              <a:gd name="T42" fmla="*/ 34 w 60"/>
              <a:gd name="T4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32">
                <a:moveTo>
                  <a:pt x="34" y="32"/>
                </a:moveTo>
                <a:lnTo>
                  <a:pt x="38" y="30"/>
                </a:lnTo>
                <a:lnTo>
                  <a:pt x="45" y="23"/>
                </a:lnTo>
                <a:lnTo>
                  <a:pt x="51" y="21"/>
                </a:lnTo>
                <a:lnTo>
                  <a:pt x="55" y="19"/>
                </a:lnTo>
                <a:lnTo>
                  <a:pt x="60" y="10"/>
                </a:lnTo>
                <a:lnTo>
                  <a:pt x="53" y="4"/>
                </a:lnTo>
                <a:lnTo>
                  <a:pt x="47" y="4"/>
                </a:lnTo>
                <a:lnTo>
                  <a:pt x="38" y="0"/>
                </a:lnTo>
                <a:lnTo>
                  <a:pt x="36" y="0"/>
                </a:lnTo>
                <a:lnTo>
                  <a:pt x="30" y="0"/>
                </a:lnTo>
                <a:lnTo>
                  <a:pt x="23" y="4"/>
                </a:lnTo>
                <a:lnTo>
                  <a:pt x="17" y="6"/>
                </a:lnTo>
                <a:lnTo>
                  <a:pt x="9" y="0"/>
                </a:lnTo>
                <a:lnTo>
                  <a:pt x="2" y="2"/>
                </a:lnTo>
                <a:lnTo>
                  <a:pt x="0" y="6"/>
                </a:lnTo>
                <a:lnTo>
                  <a:pt x="0" y="13"/>
                </a:lnTo>
                <a:lnTo>
                  <a:pt x="9" y="19"/>
                </a:lnTo>
                <a:lnTo>
                  <a:pt x="23" y="21"/>
                </a:lnTo>
                <a:lnTo>
                  <a:pt x="23" y="21"/>
                </a:lnTo>
                <a:lnTo>
                  <a:pt x="26" y="27"/>
                </a:lnTo>
                <a:lnTo>
                  <a:pt x="34" y="32"/>
                </a:lnTo>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1" name="Freeform 964"/>
          <p:cNvSpPr>
            <a:spLocks noChangeAspect="1"/>
          </p:cNvSpPr>
          <p:nvPr/>
        </p:nvSpPr>
        <p:spPr bwMode="auto">
          <a:xfrm>
            <a:off x="3342491" y="5590138"/>
            <a:ext cx="147162" cy="150019"/>
          </a:xfrm>
          <a:custGeom>
            <a:avLst/>
            <a:gdLst>
              <a:gd name="T0" fmla="*/ 45 w 103"/>
              <a:gd name="T1" fmla="*/ 105 h 105"/>
              <a:gd name="T2" fmla="*/ 54 w 103"/>
              <a:gd name="T3" fmla="*/ 105 h 105"/>
              <a:gd name="T4" fmla="*/ 56 w 103"/>
              <a:gd name="T5" fmla="*/ 96 h 105"/>
              <a:gd name="T6" fmla="*/ 56 w 103"/>
              <a:gd name="T7" fmla="*/ 90 h 105"/>
              <a:gd name="T8" fmla="*/ 62 w 103"/>
              <a:gd name="T9" fmla="*/ 83 h 105"/>
              <a:gd name="T10" fmla="*/ 66 w 103"/>
              <a:gd name="T11" fmla="*/ 77 h 105"/>
              <a:gd name="T12" fmla="*/ 71 w 103"/>
              <a:gd name="T13" fmla="*/ 71 h 105"/>
              <a:gd name="T14" fmla="*/ 77 w 103"/>
              <a:gd name="T15" fmla="*/ 68 h 105"/>
              <a:gd name="T16" fmla="*/ 83 w 103"/>
              <a:gd name="T17" fmla="*/ 64 h 105"/>
              <a:gd name="T18" fmla="*/ 92 w 103"/>
              <a:gd name="T19" fmla="*/ 60 h 105"/>
              <a:gd name="T20" fmla="*/ 96 w 103"/>
              <a:gd name="T21" fmla="*/ 51 h 105"/>
              <a:gd name="T22" fmla="*/ 96 w 103"/>
              <a:gd name="T23" fmla="*/ 49 h 105"/>
              <a:gd name="T24" fmla="*/ 103 w 103"/>
              <a:gd name="T25" fmla="*/ 43 h 105"/>
              <a:gd name="T26" fmla="*/ 100 w 103"/>
              <a:gd name="T27" fmla="*/ 37 h 105"/>
              <a:gd name="T28" fmla="*/ 92 w 103"/>
              <a:gd name="T29" fmla="*/ 34 h 105"/>
              <a:gd name="T30" fmla="*/ 86 w 103"/>
              <a:gd name="T31" fmla="*/ 28 h 105"/>
              <a:gd name="T32" fmla="*/ 79 w 103"/>
              <a:gd name="T33" fmla="*/ 26 h 105"/>
              <a:gd name="T34" fmla="*/ 73 w 103"/>
              <a:gd name="T35" fmla="*/ 20 h 105"/>
              <a:gd name="T36" fmla="*/ 68 w 103"/>
              <a:gd name="T37" fmla="*/ 15 h 105"/>
              <a:gd name="T38" fmla="*/ 60 w 103"/>
              <a:gd name="T39" fmla="*/ 9 h 105"/>
              <a:gd name="T40" fmla="*/ 39 w 103"/>
              <a:gd name="T41" fmla="*/ 7 h 105"/>
              <a:gd name="T42" fmla="*/ 30 w 103"/>
              <a:gd name="T43" fmla="*/ 5 h 105"/>
              <a:gd name="T44" fmla="*/ 22 w 103"/>
              <a:gd name="T45" fmla="*/ 7 h 105"/>
              <a:gd name="T46" fmla="*/ 15 w 103"/>
              <a:gd name="T47" fmla="*/ 5 h 105"/>
              <a:gd name="T48" fmla="*/ 7 w 103"/>
              <a:gd name="T49" fmla="*/ 0 h 105"/>
              <a:gd name="T50" fmla="*/ 2 w 103"/>
              <a:gd name="T51" fmla="*/ 0 h 105"/>
              <a:gd name="T52" fmla="*/ 0 w 103"/>
              <a:gd name="T53" fmla="*/ 9 h 105"/>
              <a:gd name="T54" fmla="*/ 2 w 103"/>
              <a:gd name="T55" fmla="*/ 15 h 105"/>
              <a:gd name="T56" fmla="*/ 11 w 103"/>
              <a:gd name="T57" fmla="*/ 22 h 105"/>
              <a:gd name="T58" fmla="*/ 9 w 103"/>
              <a:gd name="T59" fmla="*/ 28 h 105"/>
              <a:gd name="T60" fmla="*/ 7 w 103"/>
              <a:gd name="T61" fmla="*/ 37 h 105"/>
              <a:gd name="T62" fmla="*/ 7 w 103"/>
              <a:gd name="T63" fmla="*/ 37 h 105"/>
              <a:gd name="T64" fmla="*/ 0 w 103"/>
              <a:gd name="T65" fmla="*/ 45 h 105"/>
              <a:gd name="T66" fmla="*/ 0 w 103"/>
              <a:gd name="T67" fmla="*/ 51 h 105"/>
              <a:gd name="T68" fmla="*/ 7 w 103"/>
              <a:gd name="T69" fmla="*/ 58 h 105"/>
              <a:gd name="T70" fmla="*/ 11 w 103"/>
              <a:gd name="T71" fmla="*/ 62 h 105"/>
              <a:gd name="T72" fmla="*/ 17 w 103"/>
              <a:gd name="T73" fmla="*/ 68 h 105"/>
              <a:gd name="T74" fmla="*/ 17 w 103"/>
              <a:gd name="T75" fmla="*/ 71 h 105"/>
              <a:gd name="T76" fmla="*/ 22 w 103"/>
              <a:gd name="T77" fmla="*/ 77 h 105"/>
              <a:gd name="T78" fmla="*/ 24 w 103"/>
              <a:gd name="T79" fmla="*/ 83 h 105"/>
              <a:gd name="T80" fmla="*/ 26 w 103"/>
              <a:gd name="T81" fmla="*/ 98 h 105"/>
              <a:gd name="T82" fmla="*/ 32 w 103"/>
              <a:gd name="T83" fmla="*/ 103 h 105"/>
              <a:gd name="T84" fmla="*/ 39 w 103"/>
              <a:gd name="T85" fmla="*/ 103 h 105"/>
              <a:gd name="T86" fmla="*/ 45 w 103"/>
              <a:gd name="T87" fmla="*/ 105 h 105"/>
              <a:gd name="T88" fmla="*/ 45 w 103"/>
              <a:gd name="T8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105">
                <a:moveTo>
                  <a:pt x="45" y="105"/>
                </a:moveTo>
                <a:lnTo>
                  <a:pt x="54" y="105"/>
                </a:lnTo>
                <a:lnTo>
                  <a:pt x="56" y="96"/>
                </a:lnTo>
                <a:lnTo>
                  <a:pt x="56" y="90"/>
                </a:lnTo>
                <a:lnTo>
                  <a:pt x="62" y="83"/>
                </a:lnTo>
                <a:lnTo>
                  <a:pt x="66" y="77"/>
                </a:lnTo>
                <a:lnTo>
                  <a:pt x="71" y="71"/>
                </a:lnTo>
                <a:lnTo>
                  <a:pt x="77" y="68"/>
                </a:lnTo>
                <a:lnTo>
                  <a:pt x="83" y="64"/>
                </a:lnTo>
                <a:lnTo>
                  <a:pt x="92" y="60"/>
                </a:lnTo>
                <a:lnTo>
                  <a:pt x="96" y="51"/>
                </a:lnTo>
                <a:lnTo>
                  <a:pt x="96" y="49"/>
                </a:lnTo>
                <a:lnTo>
                  <a:pt x="103" y="43"/>
                </a:lnTo>
                <a:lnTo>
                  <a:pt x="100" y="37"/>
                </a:lnTo>
                <a:lnTo>
                  <a:pt x="92" y="34"/>
                </a:lnTo>
                <a:lnTo>
                  <a:pt x="86" y="28"/>
                </a:lnTo>
                <a:lnTo>
                  <a:pt x="79" y="26"/>
                </a:lnTo>
                <a:lnTo>
                  <a:pt x="73" y="20"/>
                </a:lnTo>
                <a:lnTo>
                  <a:pt x="68" y="15"/>
                </a:lnTo>
                <a:lnTo>
                  <a:pt x="60" y="9"/>
                </a:lnTo>
                <a:lnTo>
                  <a:pt x="39" y="7"/>
                </a:lnTo>
                <a:lnTo>
                  <a:pt x="30" y="5"/>
                </a:lnTo>
                <a:lnTo>
                  <a:pt x="22" y="7"/>
                </a:lnTo>
                <a:lnTo>
                  <a:pt x="15" y="5"/>
                </a:lnTo>
                <a:lnTo>
                  <a:pt x="7" y="0"/>
                </a:lnTo>
                <a:lnTo>
                  <a:pt x="2" y="0"/>
                </a:lnTo>
                <a:lnTo>
                  <a:pt x="0" y="9"/>
                </a:lnTo>
                <a:lnTo>
                  <a:pt x="2" y="15"/>
                </a:lnTo>
                <a:lnTo>
                  <a:pt x="11" y="22"/>
                </a:lnTo>
                <a:lnTo>
                  <a:pt x="9" y="28"/>
                </a:lnTo>
                <a:lnTo>
                  <a:pt x="7" y="37"/>
                </a:lnTo>
                <a:lnTo>
                  <a:pt x="7" y="37"/>
                </a:lnTo>
                <a:lnTo>
                  <a:pt x="0" y="45"/>
                </a:lnTo>
                <a:lnTo>
                  <a:pt x="0" y="51"/>
                </a:lnTo>
                <a:lnTo>
                  <a:pt x="7" y="58"/>
                </a:lnTo>
                <a:lnTo>
                  <a:pt x="11" y="62"/>
                </a:lnTo>
                <a:lnTo>
                  <a:pt x="17" y="68"/>
                </a:lnTo>
                <a:lnTo>
                  <a:pt x="17" y="71"/>
                </a:lnTo>
                <a:lnTo>
                  <a:pt x="22" y="77"/>
                </a:lnTo>
                <a:lnTo>
                  <a:pt x="24" y="83"/>
                </a:lnTo>
                <a:lnTo>
                  <a:pt x="26" y="98"/>
                </a:lnTo>
                <a:lnTo>
                  <a:pt x="32" y="103"/>
                </a:lnTo>
                <a:lnTo>
                  <a:pt x="39" y="103"/>
                </a:lnTo>
                <a:lnTo>
                  <a:pt x="45" y="105"/>
                </a:lnTo>
                <a:lnTo>
                  <a:pt x="45" y="105"/>
                </a:lnTo>
              </a:path>
            </a:pathLst>
          </a:custGeom>
          <a:solidFill>
            <a:srgbClr val="BEBEBE"/>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2" name="Freeform 1004"/>
          <p:cNvSpPr>
            <a:spLocks noChangeAspect="1"/>
          </p:cNvSpPr>
          <p:nvPr/>
        </p:nvSpPr>
        <p:spPr bwMode="auto">
          <a:xfrm>
            <a:off x="1406712" y="4985459"/>
            <a:ext cx="10003" cy="5715"/>
          </a:xfrm>
          <a:custGeom>
            <a:avLst/>
            <a:gdLst>
              <a:gd name="T0" fmla="*/ 7 w 7"/>
              <a:gd name="T1" fmla="*/ 2 h 4"/>
              <a:gd name="T2" fmla="*/ 7 w 7"/>
              <a:gd name="T3" fmla="*/ 0 h 4"/>
              <a:gd name="T4" fmla="*/ 0 w 7"/>
              <a:gd name="T5" fmla="*/ 4 h 4"/>
              <a:gd name="T6" fmla="*/ 7 w 7"/>
              <a:gd name="T7" fmla="*/ 2 h 4"/>
            </a:gdLst>
            <a:ahLst/>
            <a:cxnLst>
              <a:cxn ang="0">
                <a:pos x="T0" y="T1"/>
              </a:cxn>
              <a:cxn ang="0">
                <a:pos x="T2" y="T3"/>
              </a:cxn>
              <a:cxn ang="0">
                <a:pos x="T4" y="T5"/>
              </a:cxn>
              <a:cxn ang="0">
                <a:pos x="T6" y="T7"/>
              </a:cxn>
            </a:cxnLst>
            <a:rect l="0" t="0" r="r" b="b"/>
            <a:pathLst>
              <a:path w="7" h="4">
                <a:moveTo>
                  <a:pt x="7" y="2"/>
                </a:moveTo>
                <a:lnTo>
                  <a:pt x="7" y="0"/>
                </a:lnTo>
                <a:lnTo>
                  <a:pt x="0" y="4"/>
                </a:lnTo>
                <a:lnTo>
                  <a:pt x="7" y="2"/>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3" name="Freeform 1005"/>
          <p:cNvSpPr>
            <a:spLocks noChangeAspect="1"/>
          </p:cNvSpPr>
          <p:nvPr/>
        </p:nvSpPr>
        <p:spPr bwMode="auto">
          <a:xfrm>
            <a:off x="1406712" y="4985459"/>
            <a:ext cx="10003" cy="5715"/>
          </a:xfrm>
          <a:custGeom>
            <a:avLst/>
            <a:gdLst>
              <a:gd name="T0" fmla="*/ 7 w 7"/>
              <a:gd name="T1" fmla="*/ 2 h 4"/>
              <a:gd name="T2" fmla="*/ 7 w 7"/>
              <a:gd name="T3" fmla="*/ 0 h 4"/>
              <a:gd name="T4" fmla="*/ 0 w 7"/>
              <a:gd name="T5" fmla="*/ 4 h 4"/>
              <a:gd name="T6" fmla="*/ 7 w 7"/>
              <a:gd name="T7" fmla="*/ 2 h 4"/>
            </a:gdLst>
            <a:ahLst/>
            <a:cxnLst>
              <a:cxn ang="0">
                <a:pos x="T0" y="T1"/>
              </a:cxn>
              <a:cxn ang="0">
                <a:pos x="T2" y="T3"/>
              </a:cxn>
              <a:cxn ang="0">
                <a:pos x="T4" y="T5"/>
              </a:cxn>
              <a:cxn ang="0">
                <a:pos x="T6" y="T7"/>
              </a:cxn>
            </a:cxnLst>
            <a:rect l="0" t="0" r="r" b="b"/>
            <a:pathLst>
              <a:path w="7" h="4">
                <a:moveTo>
                  <a:pt x="7" y="2"/>
                </a:moveTo>
                <a:lnTo>
                  <a:pt x="7" y="0"/>
                </a:lnTo>
                <a:lnTo>
                  <a:pt x="0" y="4"/>
                </a:lnTo>
                <a:lnTo>
                  <a:pt x="7" y="2"/>
                </a:ln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4" name="Rectangle 1012"/>
          <p:cNvSpPr>
            <a:spLocks noChangeAspect="1" noChangeArrowheads="1"/>
          </p:cNvSpPr>
          <p:nvPr/>
        </p:nvSpPr>
        <p:spPr bwMode="auto">
          <a:xfrm>
            <a:off x="1514662" y="5248984"/>
            <a:ext cx="7146" cy="5715"/>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5" name="Rectangle 1013"/>
          <p:cNvSpPr>
            <a:spLocks noChangeAspect="1" noChangeArrowheads="1"/>
          </p:cNvSpPr>
          <p:nvPr/>
        </p:nvSpPr>
        <p:spPr bwMode="auto">
          <a:xfrm>
            <a:off x="1514662" y="5248984"/>
            <a:ext cx="7146" cy="5715"/>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nvGrpSpPr>
          <p:cNvPr id="386" name="Group 1272"/>
          <p:cNvGrpSpPr>
            <a:grpSpLocks noChangeAspect="1"/>
          </p:cNvGrpSpPr>
          <p:nvPr/>
        </p:nvGrpSpPr>
        <p:grpSpPr bwMode="auto">
          <a:xfrm>
            <a:off x="660559" y="4582871"/>
            <a:ext cx="1815942" cy="1363026"/>
            <a:chOff x="306" y="3054"/>
            <a:chExt cx="1271" cy="954"/>
          </a:xfrm>
          <a:solidFill>
            <a:srgbClr val="C00000"/>
          </a:solidFill>
        </p:grpSpPr>
        <p:sp>
          <p:nvSpPr>
            <p:cNvPr id="387" name="Freeform 1072"/>
            <p:cNvSpPr>
              <a:spLocks/>
            </p:cNvSpPr>
            <p:nvPr/>
          </p:nvSpPr>
          <p:spPr bwMode="auto">
            <a:xfrm>
              <a:off x="1053" y="3701"/>
              <a:ext cx="11" cy="7"/>
            </a:xfrm>
            <a:custGeom>
              <a:avLst/>
              <a:gdLst>
                <a:gd name="T0" fmla="*/ 11 w 11"/>
                <a:gd name="T1" fmla="*/ 0 h 7"/>
                <a:gd name="T2" fmla="*/ 9 w 11"/>
                <a:gd name="T3" fmla="*/ 0 h 7"/>
                <a:gd name="T4" fmla="*/ 2 w 11"/>
                <a:gd name="T5" fmla="*/ 3 h 7"/>
                <a:gd name="T6" fmla="*/ 0 w 11"/>
                <a:gd name="T7" fmla="*/ 7 h 7"/>
                <a:gd name="T8" fmla="*/ 11 w 11"/>
                <a:gd name="T9" fmla="*/ 0 h 7"/>
              </a:gdLst>
              <a:ahLst/>
              <a:cxnLst>
                <a:cxn ang="0">
                  <a:pos x="T0" y="T1"/>
                </a:cxn>
                <a:cxn ang="0">
                  <a:pos x="T2" y="T3"/>
                </a:cxn>
                <a:cxn ang="0">
                  <a:pos x="T4" y="T5"/>
                </a:cxn>
                <a:cxn ang="0">
                  <a:pos x="T6" y="T7"/>
                </a:cxn>
                <a:cxn ang="0">
                  <a:pos x="T8" y="T9"/>
                </a:cxn>
              </a:cxnLst>
              <a:rect l="0" t="0" r="r" b="b"/>
              <a:pathLst>
                <a:path w="11" h="7">
                  <a:moveTo>
                    <a:pt x="11" y="0"/>
                  </a:moveTo>
                  <a:lnTo>
                    <a:pt x="9" y="0"/>
                  </a:lnTo>
                  <a:lnTo>
                    <a:pt x="2" y="3"/>
                  </a:lnTo>
                  <a:lnTo>
                    <a:pt x="0" y="7"/>
                  </a:lnTo>
                  <a:lnTo>
                    <a:pt x="11"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8" name="Freeform 1073"/>
            <p:cNvSpPr>
              <a:spLocks/>
            </p:cNvSpPr>
            <p:nvPr/>
          </p:nvSpPr>
          <p:spPr bwMode="auto">
            <a:xfrm>
              <a:off x="1083" y="3712"/>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89" name="Freeform 1074"/>
            <p:cNvSpPr>
              <a:spLocks/>
            </p:cNvSpPr>
            <p:nvPr/>
          </p:nvSpPr>
          <p:spPr bwMode="auto">
            <a:xfrm>
              <a:off x="1083" y="3712"/>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0" name="Freeform 1075"/>
            <p:cNvSpPr>
              <a:spLocks/>
            </p:cNvSpPr>
            <p:nvPr/>
          </p:nvSpPr>
          <p:spPr bwMode="auto">
            <a:xfrm>
              <a:off x="1100" y="3736"/>
              <a:ext cx="9" cy="8"/>
            </a:xfrm>
            <a:custGeom>
              <a:avLst/>
              <a:gdLst>
                <a:gd name="T0" fmla="*/ 7 w 9"/>
                <a:gd name="T1" fmla="*/ 0 h 8"/>
                <a:gd name="T2" fmla="*/ 2 w 9"/>
                <a:gd name="T3" fmla="*/ 4 h 8"/>
                <a:gd name="T4" fmla="*/ 0 w 9"/>
                <a:gd name="T5" fmla="*/ 8 h 8"/>
                <a:gd name="T6" fmla="*/ 9 w 9"/>
                <a:gd name="T7" fmla="*/ 0 h 8"/>
                <a:gd name="T8" fmla="*/ 7 w 9"/>
                <a:gd name="T9" fmla="*/ 0 h 8"/>
              </a:gdLst>
              <a:ahLst/>
              <a:cxnLst>
                <a:cxn ang="0">
                  <a:pos x="T0" y="T1"/>
                </a:cxn>
                <a:cxn ang="0">
                  <a:pos x="T2" y="T3"/>
                </a:cxn>
                <a:cxn ang="0">
                  <a:pos x="T4" y="T5"/>
                </a:cxn>
                <a:cxn ang="0">
                  <a:pos x="T6" y="T7"/>
                </a:cxn>
                <a:cxn ang="0">
                  <a:pos x="T8" y="T9"/>
                </a:cxn>
              </a:cxnLst>
              <a:rect l="0" t="0" r="r" b="b"/>
              <a:pathLst>
                <a:path w="9" h="8">
                  <a:moveTo>
                    <a:pt x="7" y="0"/>
                  </a:moveTo>
                  <a:lnTo>
                    <a:pt x="2" y="4"/>
                  </a:lnTo>
                  <a:lnTo>
                    <a:pt x="0" y="8"/>
                  </a:lnTo>
                  <a:lnTo>
                    <a:pt x="9" y="0"/>
                  </a:lnTo>
                  <a:lnTo>
                    <a:pt x="7"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1" name="Freeform 1076"/>
            <p:cNvSpPr>
              <a:spLocks/>
            </p:cNvSpPr>
            <p:nvPr/>
          </p:nvSpPr>
          <p:spPr bwMode="auto">
            <a:xfrm>
              <a:off x="1100" y="3736"/>
              <a:ext cx="9" cy="8"/>
            </a:xfrm>
            <a:custGeom>
              <a:avLst/>
              <a:gdLst>
                <a:gd name="T0" fmla="*/ 7 w 9"/>
                <a:gd name="T1" fmla="*/ 0 h 8"/>
                <a:gd name="T2" fmla="*/ 2 w 9"/>
                <a:gd name="T3" fmla="*/ 4 h 8"/>
                <a:gd name="T4" fmla="*/ 0 w 9"/>
                <a:gd name="T5" fmla="*/ 8 h 8"/>
                <a:gd name="T6" fmla="*/ 9 w 9"/>
                <a:gd name="T7" fmla="*/ 0 h 8"/>
                <a:gd name="T8" fmla="*/ 7 w 9"/>
                <a:gd name="T9" fmla="*/ 0 h 8"/>
              </a:gdLst>
              <a:ahLst/>
              <a:cxnLst>
                <a:cxn ang="0">
                  <a:pos x="T0" y="T1"/>
                </a:cxn>
                <a:cxn ang="0">
                  <a:pos x="T2" y="T3"/>
                </a:cxn>
                <a:cxn ang="0">
                  <a:pos x="T4" y="T5"/>
                </a:cxn>
                <a:cxn ang="0">
                  <a:pos x="T6" y="T7"/>
                </a:cxn>
                <a:cxn ang="0">
                  <a:pos x="T8" y="T9"/>
                </a:cxn>
              </a:cxnLst>
              <a:rect l="0" t="0" r="r" b="b"/>
              <a:pathLst>
                <a:path w="9" h="8">
                  <a:moveTo>
                    <a:pt x="7" y="0"/>
                  </a:moveTo>
                  <a:lnTo>
                    <a:pt x="2" y="4"/>
                  </a:lnTo>
                  <a:lnTo>
                    <a:pt x="0" y="8"/>
                  </a:lnTo>
                  <a:lnTo>
                    <a:pt x="9" y="0"/>
                  </a:lnTo>
                  <a:lnTo>
                    <a:pt x="7"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2" name="Freeform 1077"/>
            <p:cNvSpPr>
              <a:spLocks/>
            </p:cNvSpPr>
            <p:nvPr/>
          </p:nvSpPr>
          <p:spPr bwMode="auto">
            <a:xfrm>
              <a:off x="1345" y="3831"/>
              <a:ext cx="6" cy="13"/>
            </a:xfrm>
            <a:custGeom>
              <a:avLst/>
              <a:gdLst>
                <a:gd name="T0" fmla="*/ 2 w 6"/>
                <a:gd name="T1" fmla="*/ 0 h 13"/>
                <a:gd name="T2" fmla="*/ 0 w 6"/>
                <a:gd name="T3" fmla="*/ 0 h 13"/>
                <a:gd name="T4" fmla="*/ 0 w 6"/>
                <a:gd name="T5" fmla="*/ 11 h 13"/>
                <a:gd name="T6" fmla="*/ 4 w 6"/>
                <a:gd name="T7" fmla="*/ 13 h 13"/>
                <a:gd name="T8" fmla="*/ 6 w 6"/>
                <a:gd name="T9" fmla="*/ 9 h 13"/>
                <a:gd name="T10" fmla="*/ 6 w 6"/>
                <a:gd name="T11" fmla="*/ 5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0" y="0"/>
                  </a:lnTo>
                  <a:lnTo>
                    <a:pt x="0" y="11"/>
                  </a:lnTo>
                  <a:lnTo>
                    <a:pt x="4" y="13"/>
                  </a:lnTo>
                  <a:lnTo>
                    <a:pt x="6" y="9"/>
                  </a:lnTo>
                  <a:lnTo>
                    <a:pt x="6" y="5"/>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3" name="Freeform 1078"/>
            <p:cNvSpPr>
              <a:spLocks/>
            </p:cNvSpPr>
            <p:nvPr/>
          </p:nvSpPr>
          <p:spPr bwMode="auto">
            <a:xfrm>
              <a:off x="1345" y="3831"/>
              <a:ext cx="6" cy="13"/>
            </a:xfrm>
            <a:custGeom>
              <a:avLst/>
              <a:gdLst>
                <a:gd name="T0" fmla="*/ 2 w 6"/>
                <a:gd name="T1" fmla="*/ 0 h 13"/>
                <a:gd name="T2" fmla="*/ 0 w 6"/>
                <a:gd name="T3" fmla="*/ 0 h 13"/>
                <a:gd name="T4" fmla="*/ 0 w 6"/>
                <a:gd name="T5" fmla="*/ 11 h 13"/>
                <a:gd name="T6" fmla="*/ 4 w 6"/>
                <a:gd name="T7" fmla="*/ 13 h 13"/>
                <a:gd name="T8" fmla="*/ 6 w 6"/>
                <a:gd name="T9" fmla="*/ 9 h 13"/>
                <a:gd name="T10" fmla="*/ 6 w 6"/>
                <a:gd name="T11" fmla="*/ 5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0" y="0"/>
                  </a:lnTo>
                  <a:lnTo>
                    <a:pt x="0" y="11"/>
                  </a:lnTo>
                  <a:lnTo>
                    <a:pt x="4" y="13"/>
                  </a:lnTo>
                  <a:lnTo>
                    <a:pt x="6" y="9"/>
                  </a:lnTo>
                  <a:lnTo>
                    <a:pt x="6" y="5"/>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4" name="Freeform 1079"/>
            <p:cNvSpPr>
              <a:spLocks/>
            </p:cNvSpPr>
            <p:nvPr/>
          </p:nvSpPr>
          <p:spPr bwMode="auto">
            <a:xfrm>
              <a:off x="1349" y="3819"/>
              <a:ext cx="51" cy="51"/>
            </a:xfrm>
            <a:custGeom>
              <a:avLst/>
              <a:gdLst>
                <a:gd name="T0" fmla="*/ 24 w 51"/>
                <a:gd name="T1" fmla="*/ 49 h 51"/>
                <a:gd name="T2" fmla="*/ 19 w 51"/>
                <a:gd name="T3" fmla="*/ 44 h 51"/>
                <a:gd name="T4" fmla="*/ 22 w 51"/>
                <a:gd name="T5" fmla="*/ 51 h 51"/>
                <a:gd name="T6" fmla="*/ 28 w 51"/>
                <a:gd name="T7" fmla="*/ 51 h 51"/>
                <a:gd name="T8" fmla="*/ 30 w 51"/>
                <a:gd name="T9" fmla="*/ 42 h 51"/>
                <a:gd name="T10" fmla="*/ 26 w 51"/>
                <a:gd name="T11" fmla="*/ 36 h 51"/>
                <a:gd name="T12" fmla="*/ 24 w 51"/>
                <a:gd name="T13" fmla="*/ 29 h 51"/>
                <a:gd name="T14" fmla="*/ 28 w 51"/>
                <a:gd name="T15" fmla="*/ 32 h 51"/>
                <a:gd name="T16" fmla="*/ 45 w 51"/>
                <a:gd name="T17" fmla="*/ 42 h 51"/>
                <a:gd name="T18" fmla="*/ 51 w 51"/>
                <a:gd name="T19" fmla="*/ 42 h 51"/>
                <a:gd name="T20" fmla="*/ 51 w 51"/>
                <a:gd name="T21" fmla="*/ 38 h 51"/>
                <a:gd name="T22" fmla="*/ 47 w 51"/>
                <a:gd name="T23" fmla="*/ 25 h 51"/>
                <a:gd name="T24" fmla="*/ 43 w 51"/>
                <a:gd name="T25" fmla="*/ 25 h 51"/>
                <a:gd name="T26" fmla="*/ 37 w 51"/>
                <a:gd name="T27" fmla="*/ 27 h 51"/>
                <a:gd name="T28" fmla="*/ 32 w 51"/>
                <a:gd name="T29" fmla="*/ 23 h 51"/>
                <a:gd name="T30" fmla="*/ 19 w 51"/>
                <a:gd name="T31" fmla="*/ 17 h 51"/>
                <a:gd name="T32" fmla="*/ 24 w 51"/>
                <a:gd name="T33" fmla="*/ 19 h 51"/>
                <a:gd name="T34" fmla="*/ 34 w 51"/>
                <a:gd name="T35" fmla="*/ 23 h 51"/>
                <a:gd name="T36" fmla="*/ 39 w 51"/>
                <a:gd name="T37" fmla="*/ 25 h 51"/>
                <a:gd name="T38" fmla="*/ 43 w 51"/>
                <a:gd name="T39" fmla="*/ 23 h 51"/>
                <a:gd name="T40" fmla="*/ 41 w 51"/>
                <a:gd name="T41" fmla="*/ 19 h 51"/>
                <a:gd name="T42" fmla="*/ 45 w 51"/>
                <a:gd name="T43" fmla="*/ 19 h 51"/>
                <a:gd name="T44" fmla="*/ 45 w 51"/>
                <a:gd name="T45" fmla="*/ 14 h 51"/>
                <a:gd name="T46" fmla="*/ 43 w 51"/>
                <a:gd name="T47" fmla="*/ 8 h 51"/>
                <a:gd name="T48" fmla="*/ 39 w 51"/>
                <a:gd name="T49" fmla="*/ 6 h 51"/>
                <a:gd name="T50" fmla="*/ 32 w 51"/>
                <a:gd name="T51" fmla="*/ 6 h 51"/>
                <a:gd name="T52" fmla="*/ 28 w 51"/>
                <a:gd name="T53" fmla="*/ 6 h 51"/>
                <a:gd name="T54" fmla="*/ 24 w 51"/>
                <a:gd name="T55" fmla="*/ 14 h 51"/>
                <a:gd name="T56" fmla="*/ 19 w 51"/>
                <a:gd name="T57" fmla="*/ 12 h 51"/>
                <a:gd name="T58" fmla="*/ 26 w 51"/>
                <a:gd name="T59" fmla="*/ 8 h 51"/>
                <a:gd name="T60" fmla="*/ 26 w 51"/>
                <a:gd name="T61" fmla="*/ 4 h 51"/>
                <a:gd name="T62" fmla="*/ 22 w 51"/>
                <a:gd name="T63" fmla="*/ 2 h 51"/>
                <a:gd name="T64" fmla="*/ 17 w 51"/>
                <a:gd name="T65" fmla="*/ 0 h 51"/>
                <a:gd name="T66" fmla="*/ 13 w 51"/>
                <a:gd name="T67" fmla="*/ 4 h 51"/>
                <a:gd name="T68" fmla="*/ 7 w 51"/>
                <a:gd name="T69" fmla="*/ 4 h 51"/>
                <a:gd name="T70" fmla="*/ 7 w 51"/>
                <a:gd name="T71" fmla="*/ 8 h 51"/>
                <a:gd name="T72" fmla="*/ 2 w 51"/>
                <a:gd name="T73" fmla="*/ 4 h 51"/>
                <a:gd name="T74" fmla="*/ 2 w 51"/>
                <a:gd name="T75" fmla="*/ 10 h 51"/>
                <a:gd name="T76" fmla="*/ 0 w 51"/>
                <a:gd name="T77" fmla="*/ 14 h 51"/>
                <a:gd name="T78" fmla="*/ 9 w 51"/>
                <a:gd name="T79" fmla="*/ 21 h 51"/>
                <a:gd name="T80" fmla="*/ 5 w 51"/>
                <a:gd name="T81" fmla="*/ 19 h 51"/>
                <a:gd name="T82" fmla="*/ 2 w 51"/>
                <a:gd name="T83" fmla="*/ 23 h 51"/>
                <a:gd name="T84" fmla="*/ 5 w 51"/>
                <a:gd name="T85" fmla="*/ 29 h 51"/>
                <a:gd name="T86" fmla="*/ 9 w 51"/>
                <a:gd name="T87" fmla="*/ 32 h 51"/>
                <a:gd name="T88" fmla="*/ 11 w 51"/>
                <a:gd name="T89" fmla="*/ 38 h 51"/>
                <a:gd name="T90" fmla="*/ 17 w 51"/>
                <a:gd name="T91" fmla="*/ 38 h 51"/>
                <a:gd name="T92" fmla="*/ 19 w 51"/>
                <a:gd name="T93" fmla="*/ 42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4"/>
                  </a:lnTo>
                  <a:lnTo>
                    <a:pt x="22" y="51"/>
                  </a:lnTo>
                  <a:lnTo>
                    <a:pt x="28" y="51"/>
                  </a:lnTo>
                  <a:lnTo>
                    <a:pt x="30" y="42"/>
                  </a:lnTo>
                  <a:lnTo>
                    <a:pt x="26" y="36"/>
                  </a:lnTo>
                  <a:lnTo>
                    <a:pt x="24" y="29"/>
                  </a:lnTo>
                  <a:lnTo>
                    <a:pt x="28" y="32"/>
                  </a:lnTo>
                  <a:lnTo>
                    <a:pt x="45" y="42"/>
                  </a:lnTo>
                  <a:lnTo>
                    <a:pt x="51" y="42"/>
                  </a:lnTo>
                  <a:lnTo>
                    <a:pt x="51" y="38"/>
                  </a:lnTo>
                  <a:lnTo>
                    <a:pt x="47" y="25"/>
                  </a:lnTo>
                  <a:lnTo>
                    <a:pt x="43" y="25"/>
                  </a:lnTo>
                  <a:lnTo>
                    <a:pt x="37" y="27"/>
                  </a:lnTo>
                  <a:lnTo>
                    <a:pt x="32" y="23"/>
                  </a:lnTo>
                  <a:lnTo>
                    <a:pt x="19" y="17"/>
                  </a:lnTo>
                  <a:lnTo>
                    <a:pt x="24" y="19"/>
                  </a:lnTo>
                  <a:lnTo>
                    <a:pt x="34" y="23"/>
                  </a:lnTo>
                  <a:lnTo>
                    <a:pt x="39" y="25"/>
                  </a:lnTo>
                  <a:lnTo>
                    <a:pt x="43" y="23"/>
                  </a:lnTo>
                  <a:lnTo>
                    <a:pt x="41" y="19"/>
                  </a:lnTo>
                  <a:lnTo>
                    <a:pt x="45" y="19"/>
                  </a:lnTo>
                  <a:lnTo>
                    <a:pt x="45" y="14"/>
                  </a:lnTo>
                  <a:lnTo>
                    <a:pt x="43" y="8"/>
                  </a:lnTo>
                  <a:lnTo>
                    <a:pt x="39" y="6"/>
                  </a:lnTo>
                  <a:lnTo>
                    <a:pt x="32" y="6"/>
                  </a:lnTo>
                  <a:lnTo>
                    <a:pt x="28" y="6"/>
                  </a:lnTo>
                  <a:lnTo>
                    <a:pt x="24" y="14"/>
                  </a:lnTo>
                  <a:lnTo>
                    <a:pt x="19" y="12"/>
                  </a:lnTo>
                  <a:lnTo>
                    <a:pt x="26" y="8"/>
                  </a:lnTo>
                  <a:lnTo>
                    <a:pt x="26" y="4"/>
                  </a:lnTo>
                  <a:lnTo>
                    <a:pt x="22" y="2"/>
                  </a:lnTo>
                  <a:lnTo>
                    <a:pt x="17" y="0"/>
                  </a:lnTo>
                  <a:lnTo>
                    <a:pt x="13" y="4"/>
                  </a:lnTo>
                  <a:lnTo>
                    <a:pt x="7" y="4"/>
                  </a:lnTo>
                  <a:lnTo>
                    <a:pt x="7" y="8"/>
                  </a:lnTo>
                  <a:lnTo>
                    <a:pt x="2" y="4"/>
                  </a:lnTo>
                  <a:lnTo>
                    <a:pt x="2" y="10"/>
                  </a:lnTo>
                  <a:lnTo>
                    <a:pt x="0" y="14"/>
                  </a:lnTo>
                  <a:lnTo>
                    <a:pt x="9" y="21"/>
                  </a:lnTo>
                  <a:lnTo>
                    <a:pt x="5" y="19"/>
                  </a:lnTo>
                  <a:lnTo>
                    <a:pt x="2" y="23"/>
                  </a:lnTo>
                  <a:lnTo>
                    <a:pt x="5" y="29"/>
                  </a:lnTo>
                  <a:lnTo>
                    <a:pt x="9" y="32"/>
                  </a:lnTo>
                  <a:lnTo>
                    <a:pt x="11" y="38"/>
                  </a:lnTo>
                  <a:lnTo>
                    <a:pt x="17" y="38"/>
                  </a:lnTo>
                  <a:lnTo>
                    <a:pt x="19" y="42"/>
                  </a:lnTo>
                  <a:lnTo>
                    <a:pt x="24" y="4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5" name="Freeform 1080"/>
            <p:cNvSpPr>
              <a:spLocks/>
            </p:cNvSpPr>
            <p:nvPr/>
          </p:nvSpPr>
          <p:spPr bwMode="auto">
            <a:xfrm>
              <a:off x="1349" y="3819"/>
              <a:ext cx="51" cy="51"/>
            </a:xfrm>
            <a:custGeom>
              <a:avLst/>
              <a:gdLst>
                <a:gd name="T0" fmla="*/ 24 w 51"/>
                <a:gd name="T1" fmla="*/ 49 h 51"/>
                <a:gd name="T2" fmla="*/ 19 w 51"/>
                <a:gd name="T3" fmla="*/ 44 h 51"/>
                <a:gd name="T4" fmla="*/ 22 w 51"/>
                <a:gd name="T5" fmla="*/ 51 h 51"/>
                <a:gd name="T6" fmla="*/ 28 w 51"/>
                <a:gd name="T7" fmla="*/ 51 h 51"/>
                <a:gd name="T8" fmla="*/ 30 w 51"/>
                <a:gd name="T9" fmla="*/ 42 h 51"/>
                <a:gd name="T10" fmla="*/ 26 w 51"/>
                <a:gd name="T11" fmla="*/ 36 h 51"/>
                <a:gd name="T12" fmla="*/ 24 w 51"/>
                <a:gd name="T13" fmla="*/ 29 h 51"/>
                <a:gd name="T14" fmla="*/ 28 w 51"/>
                <a:gd name="T15" fmla="*/ 32 h 51"/>
                <a:gd name="T16" fmla="*/ 45 w 51"/>
                <a:gd name="T17" fmla="*/ 42 h 51"/>
                <a:gd name="T18" fmla="*/ 51 w 51"/>
                <a:gd name="T19" fmla="*/ 42 h 51"/>
                <a:gd name="T20" fmla="*/ 51 w 51"/>
                <a:gd name="T21" fmla="*/ 38 h 51"/>
                <a:gd name="T22" fmla="*/ 47 w 51"/>
                <a:gd name="T23" fmla="*/ 25 h 51"/>
                <a:gd name="T24" fmla="*/ 43 w 51"/>
                <a:gd name="T25" fmla="*/ 25 h 51"/>
                <a:gd name="T26" fmla="*/ 37 w 51"/>
                <a:gd name="T27" fmla="*/ 27 h 51"/>
                <a:gd name="T28" fmla="*/ 32 w 51"/>
                <a:gd name="T29" fmla="*/ 23 h 51"/>
                <a:gd name="T30" fmla="*/ 19 w 51"/>
                <a:gd name="T31" fmla="*/ 17 h 51"/>
                <a:gd name="T32" fmla="*/ 24 w 51"/>
                <a:gd name="T33" fmla="*/ 19 h 51"/>
                <a:gd name="T34" fmla="*/ 34 w 51"/>
                <a:gd name="T35" fmla="*/ 23 h 51"/>
                <a:gd name="T36" fmla="*/ 39 w 51"/>
                <a:gd name="T37" fmla="*/ 25 h 51"/>
                <a:gd name="T38" fmla="*/ 43 w 51"/>
                <a:gd name="T39" fmla="*/ 23 h 51"/>
                <a:gd name="T40" fmla="*/ 41 w 51"/>
                <a:gd name="T41" fmla="*/ 19 h 51"/>
                <a:gd name="T42" fmla="*/ 45 w 51"/>
                <a:gd name="T43" fmla="*/ 19 h 51"/>
                <a:gd name="T44" fmla="*/ 45 w 51"/>
                <a:gd name="T45" fmla="*/ 14 h 51"/>
                <a:gd name="T46" fmla="*/ 43 w 51"/>
                <a:gd name="T47" fmla="*/ 8 h 51"/>
                <a:gd name="T48" fmla="*/ 39 w 51"/>
                <a:gd name="T49" fmla="*/ 6 h 51"/>
                <a:gd name="T50" fmla="*/ 32 w 51"/>
                <a:gd name="T51" fmla="*/ 6 h 51"/>
                <a:gd name="T52" fmla="*/ 28 w 51"/>
                <a:gd name="T53" fmla="*/ 6 h 51"/>
                <a:gd name="T54" fmla="*/ 24 w 51"/>
                <a:gd name="T55" fmla="*/ 14 h 51"/>
                <a:gd name="T56" fmla="*/ 19 w 51"/>
                <a:gd name="T57" fmla="*/ 12 h 51"/>
                <a:gd name="T58" fmla="*/ 26 w 51"/>
                <a:gd name="T59" fmla="*/ 8 h 51"/>
                <a:gd name="T60" fmla="*/ 26 w 51"/>
                <a:gd name="T61" fmla="*/ 4 h 51"/>
                <a:gd name="T62" fmla="*/ 22 w 51"/>
                <a:gd name="T63" fmla="*/ 2 h 51"/>
                <a:gd name="T64" fmla="*/ 17 w 51"/>
                <a:gd name="T65" fmla="*/ 0 h 51"/>
                <a:gd name="T66" fmla="*/ 13 w 51"/>
                <a:gd name="T67" fmla="*/ 4 h 51"/>
                <a:gd name="T68" fmla="*/ 7 w 51"/>
                <a:gd name="T69" fmla="*/ 4 h 51"/>
                <a:gd name="T70" fmla="*/ 7 w 51"/>
                <a:gd name="T71" fmla="*/ 8 h 51"/>
                <a:gd name="T72" fmla="*/ 2 w 51"/>
                <a:gd name="T73" fmla="*/ 4 h 51"/>
                <a:gd name="T74" fmla="*/ 2 w 51"/>
                <a:gd name="T75" fmla="*/ 10 h 51"/>
                <a:gd name="T76" fmla="*/ 0 w 51"/>
                <a:gd name="T77" fmla="*/ 14 h 51"/>
                <a:gd name="T78" fmla="*/ 9 w 51"/>
                <a:gd name="T79" fmla="*/ 21 h 51"/>
                <a:gd name="T80" fmla="*/ 5 w 51"/>
                <a:gd name="T81" fmla="*/ 19 h 51"/>
                <a:gd name="T82" fmla="*/ 2 w 51"/>
                <a:gd name="T83" fmla="*/ 23 h 51"/>
                <a:gd name="T84" fmla="*/ 5 w 51"/>
                <a:gd name="T85" fmla="*/ 29 h 51"/>
                <a:gd name="T86" fmla="*/ 9 w 51"/>
                <a:gd name="T87" fmla="*/ 32 h 51"/>
                <a:gd name="T88" fmla="*/ 11 w 51"/>
                <a:gd name="T89" fmla="*/ 38 h 51"/>
                <a:gd name="T90" fmla="*/ 17 w 51"/>
                <a:gd name="T91" fmla="*/ 38 h 51"/>
                <a:gd name="T92" fmla="*/ 19 w 51"/>
                <a:gd name="T93" fmla="*/ 42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4"/>
                  </a:lnTo>
                  <a:lnTo>
                    <a:pt x="22" y="51"/>
                  </a:lnTo>
                  <a:lnTo>
                    <a:pt x="28" y="51"/>
                  </a:lnTo>
                  <a:lnTo>
                    <a:pt x="30" y="42"/>
                  </a:lnTo>
                  <a:lnTo>
                    <a:pt x="26" y="36"/>
                  </a:lnTo>
                  <a:lnTo>
                    <a:pt x="24" y="29"/>
                  </a:lnTo>
                  <a:lnTo>
                    <a:pt x="28" y="32"/>
                  </a:lnTo>
                  <a:lnTo>
                    <a:pt x="45" y="42"/>
                  </a:lnTo>
                  <a:lnTo>
                    <a:pt x="51" y="42"/>
                  </a:lnTo>
                  <a:lnTo>
                    <a:pt x="51" y="38"/>
                  </a:lnTo>
                  <a:lnTo>
                    <a:pt x="47" y="25"/>
                  </a:lnTo>
                  <a:lnTo>
                    <a:pt x="43" y="25"/>
                  </a:lnTo>
                  <a:lnTo>
                    <a:pt x="37" y="27"/>
                  </a:lnTo>
                  <a:lnTo>
                    <a:pt x="32" y="23"/>
                  </a:lnTo>
                  <a:lnTo>
                    <a:pt x="19" y="17"/>
                  </a:lnTo>
                  <a:lnTo>
                    <a:pt x="24" y="19"/>
                  </a:lnTo>
                  <a:lnTo>
                    <a:pt x="34" y="23"/>
                  </a:lnTo>
                  <a:lnTo>
                    <a:pt x="39" y="25"/>
                  </a:lnTo>
                  <a:lnTo>
                    <a:pt x="43" y="23"/>
                  </a:lnTo>
                  <a:lnTo>
                    <a:pt x="41" y="19"/>
                  </a:lnTo>
                  <a:lnTo>
                    <a:pt x="45" y="19"/>
                  </a:lnTo>
                  <a:lnTo>
                    <a:pt x="45" y="14"/>
                  </a:lnTo>
                  <a:lnTo>
                    <a:pt x="43" y="8"/>
                  </a:lnTo>
                  <a:lnTo>
                    <a:pt x="39" y="6"/>
                  </a:lnTo>
                  <a:lnTo>
                    <a:pt x="32" y="6"/>
                  </a:lnTo>
                  <a:lnTo>
                    <a:pt x="28" y="6"/>
                  </a:lnTo>
                  <a:lnTo>
                    <a:pt x="24" y="14"/>
                  </a:lnTo>
                  <a:lnTo>
                    <a:pt x="19" y="12"/>
                  </a:lnTo>
                  <a:lnTo>
                    <a:pt x="26" y="8"/>
                  </a:lnTo>
                  <a:lnTo>
                    <a:pt x="26" y="4"/>
                  </a:lnTo>
                  <a:lnTo>
                    <a:pt x="22" y="2"/>
                  </a:lnTo>
                  <a:lnTo>
                    <a:pt x="17" y="0"/>
                  </a:lnTo>
                  <a:lnTo>
                    <a:pt x="13" y="4"/>
                  </a:lnTo>
                  <a:lnTo>
                    <a:pt x="7" y="4"/>
                  </a:lnTo>
                  <a:lnTo>
                    <a:pt x="7" y="8"/>
                  </a:lnTo>
                  <a:lnTo>
                    <a:pt x="2" y="4"/>
                  </a:lnTo>
                  <a:lnTo>
                    <a:pt x="2" y="10"/>
                  </a:lnTo>
                  <a:lnTo>
                    <a:pt x="0" y="14"/>
                  </a:lnTo>
                  <a:lnTo>
                    <a:pt x="9" y="21"/>
                  </a:lnTo>
                  <a:lnTo>
                    <a:pt x="5" y="19"/>
                  </a:lnTo>
                  <a:lnTo>
                    <a:pt x="2" y="23"/>
                  </a:lnTo>
                  <a:lnTo>
                    <a:pt x="5" y="29"/>
                  </a:lnTo>
                  <a:lnTo>
                    <a:pt x="9" y="32"/>
                  </a:lnTo>
                  <a:lnTo>
                    <a:pt x="11" y="38"/>
                  </a:lnTo>
                  <a:lnTo>
                    <a:pt x="17" y="38"/>
                  </a:lnTo>
                  <a:lnTo>
                    <a:pt x="19" y="42"/>
                  </a:lnTo>
                  <a:lnTo>
                    <a:pt x="24" y="49"/>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6" name="Freeform 1081"/>
            <p:cNvSpPr>
              <a:spLocks/>
            </p:cNvSpPr>
            <p:nvPr/>
          </p:nvSpPr>
          <p:spPr bwMode="auto">
            <a:xfrm>
              <a:off x="1371" y="3872"/>
              <a:ext cx="10" cy="19"/>
            </a:xfrm>
            <a:custGeom>
              <a:avLst/>
              <a:gdLst>
                <a:gd name="T0" fmla="*/ 4 w 10"/>
                <a:gd name="T1" fmla="*/ 0 h 19"/>
                <a:gd name="T2" fmla="*/ 0 w 10"/>
                <a:gd name="T3" fmla="*/ 0 h 19"/>
                <a:gd name="T4" fmla="*/ 6 w 10"/>
                <a:gd name="T5" fmla="*/ 13 h 19"/>
                <a:gd name="T6" fmla="*/ 4 w 10"/>
                <a:gd name="T7" fmla="*/ 17 h 19"/>
                <a:gd name="T8" fmla="*/ 8 w 10"/>
                <a:gd name="T9" fmla="*/ 19 h 19"/>
                <a:gd name="T10" fmla="*/ 10 w 10"/>
                <a:gd name="T11" fmla="*/ 15 h 19"/>
                <a:gd name="T12" fmla="*/ 10 w 10"/>
                <a:gd name="T13" fmla="*/ 4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0" y="0"/>
                  </a:lnTo>
                  <a:lnTo>
                    <a:pt x="6" y="13"/>
                  </a:lnTo>
                  <a:lnTo>
                    <a:pt x="4" y="17"/>
                  </a:lnTo>
                  <a:lnTo>
                    <a:pt x="8" y="19"/>
                  </a:lnTo>
                  <a:lnTo>
                    <a:pt x="10" y="15"/>
                  </a:lnTo>
                  <a:lnTo>
                    <a:pt x="10" y="4"/>
                  </a:lnTo>
                  <a:lnTo>
                    <a:pt x="4"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7" name="Freeform 1082"/>
            <p:cNvSpPr>
              <a:spLocks/>
            </p:cNvSpPr>
            <p:nvPr/>
          </p:nvSpPr>
          <p:spPr bwMode="auto">
            <a:xfrm>
              <a:off x="1371" y="3872"/>
              <a:ext cx="10" cy="19"/>
            </a:xfrm>
            <a:custGeom>
              <a:avLst/>
              <a:gdLst>
                <a:gd name="T0" fmla="*/ 4 w 10"/>
                <a:gd name="T1" fmla="*/ 0 h 19"/>
                <a:gd name="T2" fmla="*/ 0 w 10"/>
                <a:gd name="T3" fmla="*/ 0 h 19"/>
                <a:gd name="T4" fmla="*/ 6 w 10"/>
                <a:gd name="T5" fmla="*/ 13 h 19"/>
                <a:gd name="T6" fmla="*/ 4 w 10"/>
                <a:gd name="T7" fmla="*/ 17 h 19"/>
                <a:gd name="T8" fmla="*/ 8 w 10"/>
                <a:gd name="T9" fmla="*/ 19 h 19"/>
                <a:gd name="T10" fmla="*/ 10 w 10"/>
                <a:gd name="T11" fmla="*/ 15 h 19"/>
                <a:gd name="T12" fmla="*/ 10 w 10"/>
                <a:gd name="T13" fmla="*/ 4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0" y="0"/>
                  </a:lnTo>
                  <a:lnTo>
                    <a:pt x="6" y="13"/>
                  </a:lnTo>
                  <a:lnTo>
                    <a:pt x="4" y="17"/>
                  </a:lnTo>
                  <a:lnTo>
                    <a:pt x="8" y="19"/>
                  </a:lnTo>
                  <a:lnTo>
                    <a:pt x="10" y="15"/>
                  </a:lnTo>
                  <a:lnTo>
                    <a:pt x="10" y="4"/>
                  </a:lnTo>
                  <a:lnTo>
                    <a:pt x="4"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8" name="Freeform 1083"/>
            <p:cNvSpPr>
              <a:spLocks/>
            </p:cNvSpPr>
            <p:nvPr/>
          </p:nvSpPr>
          <p:spPr bwMode="auto">
            <a:xfrm>
              <a:off x="1392" y="3810"/>
              <a:ext cx="40" cy="72"/>
            </a:xfrm>
            <a:custGeom>
              <a:avLst/>
              <a:gdLst>
                <a:gd name="T0" fmla="*/ 17 w 40"/>
                <a:gd name="T1" fmla="*/ 47 h 72"/>
                <a:gd name="T2" fmla="*/ 23 w 40"/>
                <a:gd name="T3" fmla="*/ 43 h 72"/>
                <a:gd name="T4" fmla="*/ 19 w 40"/>
                <a:gd name="T5" fmla="*/ 47 h 72"/>
                <a:gd name="T6" fmla="*/ 23 w 40"/>
                <a:gd name="T7" fmla="*/ 53 h 72"/>
                <a:gd name="T8" fmla="*/ 19 w 40"/>
                <a:gd name="T9" fmla="*/ 68 h 72"/>
                <a:gd name="T10" fmla="*/ 21 w 40"/>
                <a:gd name="T11" fmla="*/ 72 h 72"/>
                <a:gd name="T12" fmla="*/ 25 w 40"/>
                <a:gd name="T13" fmla="*/ 70 h 72"/>
                <a:gd name="T14" fmla="*/ 28 w 40"/>
                <a:gd name="T15" fmla="*/ 66 h 72"/>
                <a:gd name="T16" fmla="*/ 32 w 40"/>
                <a:gd name="T17" fmla="*/ 62 h 72"/>
                <a:gd name="T18" fmla="*/ 34 w 40"/>
                <a:gd name="T19" fmla="*/ 58 h 72"/>
                <a:gd name="T20" fmla="*/ 30 w 40"/>
                <a:gd name="T21" fmla="*/ 51 h 72"/>
                <a:gd name="T22" fmla="*/ 36 w 40"/>
                <a:gd name="T23" fmla="*/ 55 h 72"/>
                <a:gd name="T24" fmla="*/ 40 w 40"/>
                <a:gd name="T25" fmla="*/ 51 h 72"/>
                <a:gd name="T26" fmla="*/ 36 w 40"/>
                <a:gd name="T27" fmla="*/ 47 h 72"/>
                <a:gd name="T28" fmla="*/ 36 w 40"/>
                <a:gd name="T29" fmla="*/ 43 h 72"/>
                <a:gd name="T30" fmla="*/ 36 w 40"/>
                <a:gd name="T31" fmla="*/ 36 h 72"/>
                <a:gd name="T32" fmla="*/ 30 w 40"/>
                <a:gd name="T33" fmla="*/ 32 h 72"/>
                <a:gd name="T34" fmla="*/ 23 w 40"/>
                <a:gd name="T35" fmla="*/ 23 h 72"/>
                <a:gd name="T36" fmla="*/ 21 w 40"/>
                <a:gd name="T37" fmla="*/ 17 h 72"/>
                <a:gd name="T38" fmla="*/ 19 w 40"/>
                <a:gd name="T39" fmla="*/ 13 h 72"/>
                <a:gd name="T40" fmla="*/ 25 w 40"/>
                <a:gd name="T41" fmla="*/ 15 h 72"/>
                <a:gd name="T42" fmla="*/ 28 w 40"/>
                <a:gd name="T43" fmla="*/ 21 h 72"/>
                <a:gd name="T44" fmla="*/ 32 w 40"/>
                <a:gd name="T45" fmla="*/ 26 h 72"/>
                <a:gd name="T46" fmla="*/ 34 w 40"/>
                <a:gd name="T47" fmla="*/ 32 h 72"/>
                <a:gd name="T48" fmla="*/ 38 w 40"/>
                <a:gd name="T49" fmla="*/ 36 h 72"/>
                <a:gd name="T50" fmla="*/ 36 w 40"/>
                <a:gd name="T51" fmla="*/ 30 h 72"/>
                <a:gd name="T52" fmla="*/ 30 w 40"/>
                <a:gd name="T53" fmla="*/ 19 h 72"/>
                <a:gd name="T54" fmla="*/ 25 w 40"/>
                <a:gd name="T55" fmla="*/ 13 h 72"/>
                <a:gd name="T56" fmla="*/ 23 w 40"/>
                <a:gd name="T57" fmla="*/ 9 h 72"/>
                <a:gd name="T58" fmla="*/ 19 w 40"/>
                <a:gd name="T59" fmla="*/ 9 h 72"/>
                <a:gd name="T60" fmla="*/ 13 w 40"/>
                <a:gd name="T61" fmla="*/ 9 h 72"/>
                <a:gd name="T62" fmla="*/ 8 w 40"/>
                <a:gd name="T63" fmla="*/ 9 h 72"/>
                <a:gd name="T64" fmla="*/ 4 w 40"/>
                <a:gd name="T65" fmla="*/ 4 h 72"/>
                <a:gd name="T66" fmla="*/ 0 w 40"/>
                <a:gd name="T67" fmla="*/ 0 h 72"/>
                <a:gd name="T68" fmla="*/ 0 w 40"/>
                <a:gd name="T69" fmla="*/ 4 h 72"/>
                <a:gd name="T70" fmla="*/ 2 w 40"/>
                <a:gd name="T71" fmla="*/ 9 h 72"/>
                <a:gd name="T72" fmla="*/ 6 w 40"/>
                <a:gd name="T73" fmla="*/ 15 h 72"/>
                <a:gd name="T74" fmla="*/ 13 w 40"/>
                <a:gd name="T75" fmla="*/ 38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23" y="43"/>
                  </a:lnTo>
                  <a:lnTo>
                    <a:pt x="19" y="47"/>
                  </a:lnTo>
                  <a:lnTo>
                    <a:pt x="23" y="53"/>
                  </a:lnTo>
                  <a:lnTo>
                    <a:pt x="19" y="68"/>
                  </a:lnTo>
                  <a:lnTo>
                    <a:pt x="21" y="72"/>
                  </a:lnTo>
                  <a:lnTo>
                    <a:pt x="25" y="70"/>
                  </a:lnTo>
                  <a:lnTo>
                    <a:pt x="28" y="66"/>
                  </a:lnTo>
                  <a:lnTo>
                    <a:pt x="32" y="62"/>
                  </a:lnTo>
                  <a:lnTo>
                    <a:pt x="34" y="58"/>
                  </a:lnTo>
                  <a:lnTo>
                    <a:pt x="30" y="51"/>
                  </a:lnTo>
                  <a:lnTo>
                    <a:pt x="36" y="55"/>
                  </a:lnTo>
                  <a:lnTo>
                    <a:pt x="40" y="51"/>
                  </a:lnTo>
                  <a:lnTo>
                    <a:pt x="36" y="47"/>
                  </a:lnTo>
                  <a:lnTo>
                    <a:pt x="36" y="43"/>
                  </a:lnTo>
                  <a:lnTo>
                    <a:pt x="36" y="36"/>
                  </a:lnTo>
                  <a:lnTo>
                    <a:pt x="30" y="32"/>
                  </a:lnTo>
                  <a:lnTo>
                    <a:pt x="23" y="23"/>
                  </a:lnTo>
                  <a:lnTo>
                    <a:pt x="21" y="17"/>
                  </a:lnTo>
                  <a:lnTo>
                    <a:pt x="19" y="13"/>
                  </a:lnTo>
                  <a:lnTo>
                    <a:pt x="25" y="15"/>
                  </a:lnTo>
                  <a:lnTo>
                    <a:pt x="28" y="21"/>
                  </a:lnTo>
                  <a:lnTo>
                    <a:pt x="32" y="26"/>
                  </a:lnTo>
                  <a:lnTo>
                    <a:pt x="34" y="32"/>
                  </a:lnTo>
                  <a:lnTo>
                    <a:pt x="38" y="36"/>
                  </a:lnTo>
                  <a:lnTo>
                    <a:pt x="36" y="30"/>
                  </a:lnTo>
                  <a:lnTo>
                    <a:pt x="30" y="19"/>
                  </a:lnTo>
                  <a:lnTo>
                    <a:pt x="25" y="13"/>
                  </a:lnTo>
                  <a:lnTo>
                    <a:pt x="23" y="9"/>
                  </a:lnTo>
                  <a:lnTo>
                    <a:pt x="19" y="9"/>
                  </a:lnTo>
                  <a:lnTo>
                    <a:pt x="13" y="9"/>
                  </a:lnTo>
                  <a:lnTo>
                    <a:pt x="8" y="9"/>
                  </a:lnTo>
                  <a:lnTo>
                    <a:pt x="4" y="4"/>
                  </a:lnTo>
                  <a:lnTo>
                    <a:pt x="0" y="0"/>
                  </a:lnTo>
                  <a:lnTo>
                    <a:pt x="0" y="4"/>
                  </a:lnTo>
                  <a:lnTo>
                    <a:pt x="2" y="9"/>
                  </a:lnTo>
                  <a:lnTo>
                    <a:pt x="6" y="15"/>
                  </a:lnTo>
                  <a:lnTo>
                    <a:pt x="13" y="38"/>
                  </a:lnTo>
                  <a:lnTo>
                    <a:pt x="17" y="4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399" name="Freeform 1084"/>
            <p:cNvSpPr>
              <a:spLocks/>
            </p:cNvSpPr>
            <p:nvPr/>
          </p:nvSpPr>
          <p:spPr bwMode="auto">
            <a:xfrm>
              <a:off x="1392" y="3810"/>
              <a:ext cx="40" cy="72"/>
            </a:xfrm>
            <a:custGeom>
              <a:avLst/>
              <a:gdLst>
                <a:gd name="T0" fmla="*/ 17 w 40"/>
                <a:gd name="T1" fmla="*/ 47 h 72"/>
                <a:gd name="T2" fmla="*/ 23 w 40"/>
                <a:gd name="T3" fmla="*/ 43 h 72"/>
                <a:gd name="T4" fmla="*/ 19 w 40"/>
                <a:gd name="T5" fmla="*/ 47 h 72"/>
                <a:gd name="T6" fmla="*/ 23 w 40"/>
                <a:gd name="T7" fmla="*/ 53 h 72"/>
                <a:gd name="T8" fmla="*/ 19 w 40"/>
                <a:gd name="T9" fmla="*/ 68 h 72"/>
                <a:gd name="T10" fmla="*/ 21 w 40"/>
                <a:gd name="T11" fmla="*/ 72 h 72"/>
                <a:gd name="T12" fmla="*/ 25 w 40"/>
                <a:gd name="T13" fmla="*/ 70 h 72"/>
                <a:gd name="T14" fmla="*/ 28 w 40"/>
                <a:gd name="T15" fmla="*/ 66 h 72"/>
                <a:gd name="T16" fmla="*/ 32 w 40"/>
                <a:gd name="T17" fmla="*/ 62 h 72"/>
                <a:gd name="T18" fmla="*/ 34 w 40"/>
                <a:gd name="T19" fmla="*/ 58 h 72"/>
                <a:gd name="T20" fmla="*/ 30 w 40"/>
                <a:gd name="T21" fmla="*/ 51 h 72"/>
                <a:gd name="T22" fmla="*/ 36 w 40"/>
                <a:gd name="T23" fmla="*/ 55 h 72"/>
                <a:gd name="T24" fmla="*/ 40 w 40"/>
                <a:gd name="T25" fmla="*/ 51 h 72"/>
                <a:gd name="T26" fmla="*/ 36 w 40"/>
                <a:gd name="T27" fmla="*/ 47 h 72"/>
                <a:gd name="T28" fmla="*/ 36 w 40"/>
                <a:gd name="T29" fmla="*/ 43 h 72"/>
                <a:gd name="T30" fmla="*/ 36 w 40"/>
                <a:gd name="T31" fmla="*/ 36 h 72"/>
                <a:gd name="T32" fmla="*/ 30 w 40"/>
                <a:gd name="T33" fmla="*/ 32 h 72"/>
                <a:gd name="T34" fmla="*/ 23 w 40"/>
                <a:gd name="T35" fmla="*/ 23 h 72"/>
                <a:gd name="T36" fmla="*/ 21 w 40"/>
                <a:gd name="T37" fmla="*/ 17 h 72"/>
                <a:gd name="T38" fmla="*/ 19 w 40"/>
                <a:gd name="T39" fmla="*/ 13 h 72"/>
                <a:gd name="T40" fmla="*/ 25 w 40"/>
                <a:gd name="T41" fmla="*/ 15 h 72"/>
                <a:gd name="T42" fmla="*/ 28 w 40"/>
                <a:gd name="T43" fmla="*/ 21 h 72"/>
                <a:gd name="T44" fmla="*/ 32 w 40"/>
                <a:gd name="T45" fmla="*/ 26 h 72"/>
                <a:gd name="T46" fmla="*/ 34 w 40"/>
                <a:gd name="T47" fmla="*/ 32 h 72"/>
                <a:gd name="T48" fmla="*/ 38 w 40"/>
                <a:gd name="T49" fmla="*/ 36 h 72"/>
                <a:gd name="T50" fmla="*/ 36 w 40"/>
                <a:gd name="T51" fmla="*/ 30 h 72"/>
                <a:gd name="T52" fmla="*/ 30 w 40"/>
                <a:gd name="T53" fmla="*/ 19 h 72"/>
                <a:gd name="T54" fmla="*/ 25 w 40"/>
                <a:gd name="T55" fmla="*/ 13 h 72"/>
                <a:gd name="T56" fmla="*/ 23 w 40"/>
                <a:gd name="T57" fmla="*/ 9 h 72"/>
                <a:gd name="T58" fmla="*/ 19 w 40"/>
                <a:gd name="T59" fmla="*/ 9 h 72"/>
                <a:gd name="T60" fmla="*/ 13 w 40"/>
                <a:gd name="T61" fmla="*/ 9 h 72"/>
                <a:gd name="T62" fmla="*/ 8 w 40"/>
                <a:gd name="T63" fmla="*/ 9 h 72"/>
                <a:gd name="T64" fmla="*/ 4 w 40"/>
                <a:gd name="T65" fmla="*/ 4 h 72"/>
                <a:gd name="T66" fmla="*/ 0 w 40"/>
                <a:gd name="T67" fmla="*/ 0 h 72"/>
                <a:gd name="T68" fmla="*/ 0 w 40"/>
                <a:gd name="T69" fmla="*/ 4 h 72"/>
                <a:gd name="T70" fmla="*/ 2 w 40"/>
                <a:gd name="T71" fmla="*/ 9 h 72"/>
                <a:gd name="T72" fmla="*/ 6 w 40"/>
                <a:gd name="T73" fmla="*/ 15 h 72"/>
                <a:gd name="T74" fmla="*/ 13 w 40"/>
                <a:gd name="T75" fmla="*/ 38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23" y="43"/>
                  </a:lnTo>
                  <a:lnTo>
                    <a:pt x="19" y="47"/>
                  </a:lnTo>
                  <a:lnTo>
                    <a:pt x="23" y="53"/>
                  </a:lnTo>
                  <a:lnTo>
                    <a:pt x="19" y="68"/>
                  </a:lnTo>
                  <a:lnTo>
                    <a:pt x="21" y="72"/>
                  </a:lnTo>
                  <a:lnTo>
                    <a:pt x="25" y="70"/>
                  </a:lnTo>
                  <a:lnTo>
                    <a:pt x="28" y="66"/>
                  </a:lnTo>
                  <a:lnTo>
                    <a:pt x="32" y="62"/>
                  </a:lnTo>
                  <a:lnTo>
                    <a:pt x="34" y="58"/>
                  </a:lnTo>
                  <a:lnTo>
                    <a:pt x="30" y="51"/>
                  </a:lnTo>
                  <a:lnTo>
                    <a:pt x="36" y="55"/>
                  </a:lnTo>
                  <a:lnTo>
                    <a:pt x="40" y="51"/>
                  </a:lnTo>
                  <a:lnTo>
                    <a:pt x="36" y="47"/>
                  </a:lnTo>
                  <a:lnTo>
                    <a:pt x="36" y="43"/>
                  </a:lnTo>
                  <a:lnTo>
                    <a:pt x="36" y="36"/>
                  </a:lnTo>
                  <a:lnTo>
                    <a:pt x="30" y="32"/>
                  </a:lnTo>
                  <a:lnTo>
                    <a:pt x="23" y="23"/>
                  </a:lnTo>
                  <a:lnTo>
                    <a:pt x="21" y="17"/>
                  </a:lnTo>
                  <a:lnTo>
                    <a:pt x="19" y="13"/>
                  </a:lnTo>
                  <a:lnTo>
                    <a:pt x="25" y="15"/>
                  </a:lnTo>
                  <a:lnTo>
                    <a:pt x="28" y="21"/>
                  </a:lnTo>
                  <a:lnTo>
                    <a:pt x="32" y="26"/>
                  </a:lnTo>
                  <a:lnTo>
                    <a:pt x="34" y="32"/>
                  </a:lnTo>
                  <a:lnTo>
                    <a:pt x="38" y="36"/>
                  </a:lnTo>
                  <a:lnTo>
                    <a:pt x="36" y="30"/>
                  </a:lnTo>
                  <a:lnTo>
                    <a:pt x="30" y="19"/>
                  </a:lnTo>
                  <a:lnTo>
                    <a:pt x="25" y="13"/>
                  </a:lnTo>
                  <a:lnTo>
                    <a:pt x="23" y="9"/>
                  </a:lnTo>
                  <a:lnTo>
                    <a:pt x="19" y="9"/>
                  </a:lnTo>
                  <a:lnTo>
                    <a:pt x="13" y="9"/>
                  </a:lnTo>
                  <a:lnTo>
                    <a:pt x="8" y="9"/>
                  </a:lnTo>
                  <a:lnTo>
                    <a:pt x="4" y="4"/>
                  </a:lnTo>
                  <a:lnTo>
                    <a:pt x="0" y="0"/>
                  </a:lnTo>
                  <a:lnTo>
                    <a:pt x="0" y="4"/>
                  </a:lnTo>
                  <a:lnTo>
                    <a:pt x="2" y="9"/>
                  </a:lnTo>
                  <a:lnTo>
                    <a:pt x="6" y="15"/>
                  </a:lnTo>
                  <a:lnTo>
                    <a:pt x="13" y="38"/>
                  </a:lnTo>
                  <a:lnTo>
                    <a:pt x="17" y="47"/>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0" name="Freeform 1085"/>
            <p:cNvSpPr>
              <a:spLocks/>
            </p:cNvSpPr>
            <p:nvPr/>
          </p:nvSpPr>
          <p:spPr bwMode="auto">
            <a:xfrm>
              <a:off x="1377" y="3857"/>
              <a:ext cx="40" cy="74"/>
            </a:xfrm>
            <a:custGeom>
              <a:avLst/>
              <a:gdLst>
                <a:gd name="T0" fmla="*/ 23 w 40"/>
                <a:gd name="T1" fmla="*/ 55 h 74"/>
                <a:gd name="T2" fmla="*/ 26 w 40"/>
                <a:gd name="T3" fmla="*/ 49 h 74"/>
                <a:gd name="T4" fmla="*/ 26 w 40"/>
                <a:gd name="T5" fmla="*/ 55 h 74"/>
                <a:gd name="T6" fmla="*/ 28 w 40"/>
                <a:gd name="T7" fmla="*/ 62 h 74"/>
                <a:gd name="T8" fmla="*/ 32 w 40"/>
                <a:gd name="T9" fmla="*/ 66 h 74"/>
                <a:gd name="T10" fmla="*/ 36 w 40"/>
                <a:gd name="T11" fmla="*/ 70 h 74"/>
                <a:gd name="T12" fmla="*/ 40 w 40"/>
                <a:gd name="T13" fmla="*/ 74 h 74"/>
                <a:gd name="T14" fmla="*/ 40 w 40"/>
                <a:gd name="T15" fmla="*/ 68 h 74"/>
                <a:gd name="T16" fmla="*/ 38 w 40"/>
                <a:gd name="T17" fmla="*/ 57 h 74"/>
                <a:gd name="T18" fmla="*/ 40 w 40"/>
                <a:gd name="T19" fmla="*/ 53 h 74"/>
                <a:gd name="T20" fmla="*/ 36 w 40"/>
                <a:gd name="T21" fmla="*/ 43 h 74"/>
                <a:gd name="T22" fmla="*/ 28 w 40"/>
                <a:gd name="T23" fmla="*/ 19 h 74"/>
                <a:gd name="T24" fmla="*/ 23 w 40"/>
                <a:gd name="T25" fmla="*/ 15 h 74"/>
                <a:gd name="T26" fmla="*/ 21 w 40"/>
                <a:gd name="T27" fmla="*/ 11 h 74"/>
                <a:gd name="T28" fmla="*/ 13 w 40"/>
                <a:gd name="T29" fmla="*/ 4 h 74"/>
                <a:gd name="T30" fmla="*/ 6 w 40"/>
                <a:gd name="T31" fmla="*/ 6 h 74"/>
                <a:gd name="T32" fmla="*/ 11 w 40"/>
                <a:gd name="T33" fmla="*/ 2 h 74"/>
                <a:gd name="T34" fmla="*/ 6 w 40"/>
                <a:gd name="T35" fmla="*/ 0 h 74"/>
                <a:gd name="T36" fmla="*/ 2 w 40"/>
                <a:gd name="T37" fmla="*/ 11 h 74"/>
                <a:gd name="T38" fmla="*/ 0 w 40"/>
                <a:gd name="T39" fmla="*/ 15 h 74"/>
                <a:gd name="T40" fmla="*/ 4 w 40"/>
                <a:gd name="T41" fmla="*/ 19 h 74"/>
                <a:gd name="T42" fmla="*/ 11 w 40"/>
                <a:gd name="T43" fmla="*/ 17 h 74"/>
                <a:gd name="T44" fmla="*/ 9 w 40"/>
                <a:gd name="T45" fmla="*/ 23 h 74"/>
                <a:gd name="T46" fmla="*/ 13 w 40"/>
                <a:gd name="T47" fmla="*/ 28 h 74"/>
                <a:gd name="T48" fmla="*/ 17 w 40"/>
                <a:gd name="T49" fmla="*/ 30 h 74"/>
                <a:gd name="T50" fmla="*/ 13 w 40"/>
                <a:gd name="T51" fmla="*/ 34 h 74"/>
                <a:gd name="T52" fmla="*/ 15 w 40"/>
                <a:gd name="T53" fmla="*/ 45 h 74"/>
                <a:gd name="T54" fmla="*/ 21 w 40"/>
                <a:gd name="T55" fmla="*/ 45 h 74"/>
                <a:gd name="T56" fmla="*/ 19 w 40"/>
                <a:gd name="T57" fmla="*/ 49 h 74"/>
                <a:gd name="T58" fmla="*/ 23 w 40"/>
                <a:gd name="T59" fmla="*/ 47 h 74"/>
                <a:gd name="T60" fmla="*/ 23 w 40"/>
                <a:gd name="T61" fmla="*/ 51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6" y="49"/>
                  </a:lnTo>
                  <a:lnTo>
                    <a:pt x="26" y="55"/>
                  </a:lnTo>
                  <a:lnTo>
                    <a:pt x="28" y="62"/>
                  </a:lnTo>
                  <a:lnTo>
                    <a:pt x="32" y="66"/>
                  </a:lnTo>
                  <a:lnTo>
                    <a:pt x="36" y="70"/>
                  </a:lnTo>
                  <a:lnTo>
                    <a:pt x="40" y="74"/>
                  </a:lnTo>
                  <a:lnTo>
                    <a:pt x="40" y="68"/>
                  </a:lnTo>
                  <a:lnTo>
                    <a:pt x="38" y="57"/>
                  </a:lnTo>
                  <a:lnTo>
                    <a:pt x="40" y="53"/>
                  </a:lnTo>
                  <a:lnTo>
                    <a:pt x="36" y="43"/>
                  </a:lnTo>
                  <a:lnTo>
                    <a:pt x="28" y="19"/>
                  </a:lnTo>
                  <a:lnTo>
                    <a:pt x="23" y="15"/>
                  </a:lnTo>
                  <a:lnTo>
                    <a:pt x="21" y="11"/>
                  </a:lnTo>
                  <a:lnTo>
                    <a:pt x="13" y="4"/>
                  </a:lnTo>
                  <a:lnTo>
                    <a:pt x="6" y="6"/>
                  </a:lnTo>
                  <a:lnTo>
                    <a:pt x="11" y="2"/>
                  </a:lnTo>
                  <a:lnTo>
                    <a:pt x="6" y="0"/>
                  </a:lnTo>
                  <a:lnTo>
                    <a:pt x="2" y="11"/>
                  </a:lnTo>
                  <a:lnTo>
                    <a:pt x="0" y="15"/>
                  </a:lnTo>
                  <a:lnTo>
                    <a:pt x="4" y="19"/>
                  </a:lnTo>
                  <a:lnTo>
                    <a:pt x="11" y="17"/>
                  </a:lnTo>
                  <a:lnTo>
                    <a:pt x="9" y="23"/>
                  </a:lnTo>
                  <a:lnTo>
                    <a:pt x="13" y="28"/>
                  </a:lnTo>
                  <a:lnTo>
                    <a:pt x="17" y="30"/>
                  </a:lnTo>
                  <a:lnTo>
                    <a:pt x="13" y="34"/>
                  </a:lnTo>
                  <a:lnTo>
                    <a:pt x="15" y="45"/>
                  </a:lnTo>
                  <a:lnTo>
                    <a:pt x="21" y="45"/>
                  </a:lnTo>
                  <a:lnTo>
                    <a:pt x="19" y="49"/>
                  </a:lnTo>
                  <a:lnTo>
                    <a:pt x="23" y="47"/>
                  </a:lnTo>
                  <a:lnTo>
                    <a:pt x="23" y="51"/>
                  </a:lnTo>
                  <a:lnTo>
                    <a:pt x="23"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1" name="Freeform 1086"/>
            <p:cNvSpPr>
              <a:spLocks/>
            </p:cNvSpPr>
            <p:nvPr/>
          </p:nvSpPr>
          <p:spPr bwMode="auto">
            <a:xfrm>
              <a:off x="1377" y="3857"/>
              <a:ext cx="40" cy="74"/>
            </a:xfrm>
            <a:custGeom>
              <a:avLst/>
              <a:gdLst>
                <a:gd name="T0" fmla="*/ 23 w 40"/>
                <a:gd name="T1" fmla="*/ 55 h 74"/>
                <a:gd name="T2" fmla="*/ 26 w 40"/>
                <a:gd name="T3" fmla="*/ 49 h 74"/>
                <a:gd name="T4" fmla="*/ 26 w 40"/>
                <a:gd name="T5" fmla="*/ 55 h 74"/>
                <a:gd name="T6" fmla="*/ 28 w 40"/>
                <a:gd name="T7" fmla="*/ 62 h 74"/>
                <a:gd name="T8" fmla="*/ 32 w 40"/>
                <a:gd name="T9" fmla="*/ 66 h 74"/>
                <a:gd name="T10" fmla="*/ 36 w 40"/>
                <a:gd name="T11" fmla="*/ 70 h 74"/>
                <a:gd name="T12" fmla="*/ 40 w 40"/>
                <a:gd name="T13" fmla="*/ 74 h 74"/>
                <a:gd name="T14" fmla="*/ 40 w 40"/>
                <a:gd name="T15" fmla="*/ 68 h 74"/>
                <a:gd name="T16" fmla="*/ 38 w 40"/>
                <a:gd name="T17" fmla="*/ 57 h 74"/>
                <a:gd name="T18" fmla="*/ 40 w 40"/>
                <a:gd name="T19" fmla="*/ 53 h 74"/>
                <a:gd name="T20" fmla="*/ 36 w 40"/>
                <a:gd name="T21" fmla="*/ 43 h 74"/>
                <a:gd name="T22" fmla="*/ 28 w 40"/>
                <a:gd name="T23" fmla="*/ 19 h 74"/>
                <a:gd name="T24" fmla="*/ 23 w 40"/>
                <a:gd name="T25" fmla="*/ 15 h 74"/>
                <a:gd name="T26" fmla="*/ 21 w 40"/>
                <a:gd name="T27" fmla="*/ 11 h 74"/>
                <a:gd name="T28" fmla="*/ 13 w 40"/>
                <a:gd name="T29" fmla="*/ 4 h 74"/>
                <a:gd name="T30" fmla="*/ 6 w 40"/>
                <a:gd name="T31" fmla="*/ 6 h 74"/>
                <a:gd name="T32" fmla="*/ 11 w 40"/>
                <a:gd name="T33" fmla="*/ 2 h 74"/>
                <a:gd name="T34" fmla="*/ 6 w 40"/>
                <a:gd name="T35" fmla="*/ 0 h 74"/>
                <a:gd name="T36" fmla="*/ 2 w 40"/>
                <a:gd name="T37" fmla="*/ 11 h 74"/>
                <a:gd name="T38" fmla="*/ 0 w 40"/>
                <a:gd name="T39" fmla="*/ 15 h 74"/>
                <a:gd name="T40" fmla="*/ 4 w 40"/>
                <a:gd name="T41" fmla="*/ 19 h 74"/>
                <a:gd name="T42" fmla="*/ 11 w 40"/>
                <a:gd name="T43" fmla="*/ 17 h 74"/>
                <a:gd name="T44" fmla="*/ 9 w 40"/>
                <a:gd name="T45" fmla="*/ 23 h 74"/>
                <a:gd name="T46" fmla="*/ 13 w 40"/>
                <a:gd name="T47" fmla="*/ 28 h 74"/>
                <a:gd name="T48" fmla="*/ 17 w 40"/>
                <a:gd name="T49" fmla="*/ 30 h 74"/>
                <a:gd name="T50" fmla="*/ 13 w 40"/>
                <a:gd name="T51" fmla="*/ 34 h 74"/>
                <a:gd name="T52" fmla="*/ 15 w 40"/>
                <a:gd name="T53" fmla="*/ 45 h 74"/>
                <a:gd name="T54" fmla="*/ 21 w 40"/>
                <a:gd name="T55" fmla="*/ 45 h 74"/>
                <a:gd name="T56" fmla="*/ 19 w 40"/>
                <a:gd name="T57" fmla="*/ 49 h 74"/>
                <a:gd name="T58" fmla="*/ 23 w 40"/>
                <a:gd name="T59" fmla="*/ 47 h 74"/>
                <a:gd name="T60" fmla="*/ 23 w 40"/>
                <a:gd name="T61" fmla="*/ 51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6" y="49"/>
                  </a:lnTo>
                  <a:lnTo>
                    <a:pt x="26" y="55"/>
                  </a:lnTo>
                  <a:lnTo>
                    <a:pt x="28" y="62"/>
                  </a:lnTo>
                  <a:lnTo>
                    <a:pt x="32" y="66"/>
                  </a:lnTo>
                  <a:lnTo>
                    <a:pt x="36" y="70"/>
                  </a:lnTo>
                  <a:lnTo>
                    <a:pt x="40" y="74"/>
                  </a:lnTo>
                  <a:lnTo>
                    <a:pt x="40" y="68"/>
                  </a:lnTo>
                  <a:lnTo>
                    <a:pt x="38" y="57"/>
                  </a:lnTo>
                  <a:lnTo>
                    <a:pt x="40" y="53"/>
                  </a:lnTo>
                  <a:lnTo>
                    <a:pt x="36" y="43"/>
                  </a:lnTo>
                  <a:lnTo>
                    <a:pt x="28" y="19"/>
                  </a:lnTo>
                  <a:lnTo>
                    <a:pt x="23" y="15"/>
                  </a:lnTo>
                  <a:lnTo>
                    <a:pt x="21" y="11"/>
                  </a:lnTo>
                  <a:lnTo>
                    <a:pt x="13" y="4"/>
                  </a:lnTo>
                  <a:lnTo>
                    <a:pt x="6" y="6"/>
                  </a:lnTo>
                  <a:lnTo>
                    <a:pt x="11" y="2"/>
                  </a:lnTo>
                  <a:lnTo>
                    <a:pt x="6" y="0"/>
                  </a:lnTo>
                  <a:lnTo>
                    <a:pt x="2" y="11"/>
                  </a:lnTo>
                  <a:lnTo>
                    <a:pt x="0" y="15"/>
                  </a:lnTo>
                  <a:lnTo>
                    <a:pt x="4" y="19"/>
                  </a:lnTo>
                  <a:lnTo>
                    <a:pt x="11" y="17"/>
                  </a:lnTo>
                  <a:lnTo>
                    <a:pt x="9" y="23"/>
                  </a:lnTo>
                  <a:lnTo>
                    <a:pt x="13" y="28"/>
                  </a:lnTo>
                  <a:lnTo>
                    <a:pt x="17" y="30"/>
                  </a:lnTo>
                  <a:lnTo>
                    <a:pt x="13" y="34"/>
                  </a:lnTo>
                  <a:lnTo>
                    <a:pt x="15" y="45"/>
                  </a:lnTo>
                  <a:lnTo>
                    <a:pt x="21" y="45"/>
                  </a:lnTo>
                  <a:lnTo>
                    <a:pt x="19" y="49"/>
                  </a:lnTo>
                  <a:lnTo>
                    <a:pt x="23" y="47"/>
                  </a:lnTo>
                  <a:lnTo>
                    <a:pt x="23" y="51"/>
                  </a:lnTo>
                  <a:lnTo>
                    <a:pt x="23" y="55"/>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2" name="Freeform 1087"/>
            <p:cNvSpPr>
              <a:spLocks/>
            </p:cNvSpPr>
            <p:nvPr/>
          </p:nvSpPr>
          <p:spPr bwMode="auto">
            <a:xfrm>
              <a:off x="1400" y="3863"/>
              <a:ext cx="5" cy="7"/>
            </a:xfrm>
            <a:custGeom>
              <a:avLst/>
              <a:gdLst>
                <a:gd name="T0" fmla="*/ 3 w 5"/>
                <a:gd name="T1" fmla="*/ 0 h 7"/>
                <a:gd name="T2" fmla="*/ 0 w 5"/>
                <a:gd name="T3" fmla="*/ 2 h 7"/>
                <a:gd name="T4" fmla="*/ 5 w 5"/>
                <a:gd name="T5" fmla="*/ 7 h 7"/>
                <a:gd name="T6" fmla="*/ 3 w 5"/>
                <a:gd name="T7" fmla="*/ 0 h 7"/>
              </a:gdLst>
              <a:ahLst/>
              <a:cxnLst>
                <a:cxn ang="0">
                  <a:pos x="T0" y="T1"/>
                </a:cxn>
                <a:cxn ang="0">
                  <a:pos x="T2" y="T3"/>
                </a:cxn>
                <a:cxn ang="0">
                  <a:pos x="T4" y="T5"/>
                </a:cxn>
                <a:cxn ang="0">
                  <a:pos x="T6" y="T7"/>
                </a:cxn>
              </a:cxnLst>
              <a:rect l="0" t="0" r="r" b="b"/>
              <a:pathLst>
                <a:path w="5" h="7">
                  <a:moveTo>
                    <a:pt x="3" y="0"/>
                  </a:moveTo>
                  <a:lnTo>
                    <a:pt x="0" y="2"/>
                  </a:lnTo>
                  <a:lnTo>
                    <a:pt x="5" y="7"/>
                  </a:lnTo>
                  <a:lnTo>
                    <a:pt x="3"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3" name="Freeform 1088"/>
            <p:cNvSpPr>
              <a:spLocks/>
            </p:cNvSpPr>
            <p:nvPr/>
          </p:nvSpPr>
          <p:spPr bwMode="auto">
            <a:xfrm>
              <a:off x="1400" y="3863"/>
              <a:ext cx="5" cy="7"/>
            </a:xfrm>
            <a:custGeom>
              <a:avLst/>
              <a:gdLst>
                <a:gd name="T0" fmla="*/ 3 w 5"/>
                <a:gd name="T1" fmla="*/ 0 h 7"/>
                <a:gd name="T2" fmla="*/ 0 w 5"/>
                <a:gd name="T3" fmla="*/ 2 h 7"/>
                <a:gd name="T4" fmla="*/ 5 w 5"/>
                <a:gd name="T5" fmla="*/ 7 h 7"/>
                <a:gd name="T6" fmla="*/ 3 w 5"/>
                <a:gd name="T7" fmla="*/ 0 h 7"/>
              </a:gdLst>
              <a:ahLst/>
              <a:cxnLst>
                <a:cxn ang="0">
                  <a:pos x="T0" y="T1"/>
                </a:cxn>
                <a:cxn ang="0">
                  <a:pos x="T2" y="T3"/>
                </a:cxn>
                <a:cxn ang="0">
                  <a:pos x="T4" y="T5"/>
                </a:cxn>
                <a:cxn ang="0">
                  <a:pos x="T6" y="T7"/>
                </a:cxn>
              </a:cxnLst>
              <a:rect l="0" t="0" r="r" b="b"/>
              <a:pathLst>
                <a:path w="5" h="7">
                  <a:moveTo>
                    <a:pt x="3" y="0"/>
                  </a:moveTo>
                  <a:lnTo>
                    <a:pt x="0" y="2"/>
                  </a:lnTo>
                  <a:lnTo>
                    <a:pt x="5" y="7"/>
                  </a:lnTo>
                  <a:lnTo>
                    <a:pt x="3"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4" name="Freeform 1089"/>
            <p:cNvSpPr>
              <a:spLocks/>
            </p:cNvSpPr>
            <p:nvPr/>
          </p:nvSpPr>
          <p:spPr bwMode="auto">
            <a:xfrm>
              <a:off x="1417" y="3833"/>
              <a:ext cx="5" cy="5"/>
            </a:xfrm>
            <a:custGeom>
              <a:avLst/>
              <a:gdLst>
                <a:gd name="T0" fmla="*/ 0 w 5"/>
                <a:gd name="T1" fmla="*/ 0 h 5"/>
                <a:gd name="T2" fmla="*/ 0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0" y="0"/>
                  </a:lnTo>
                  <a:lnTo>
                    <a:pt x="5" y="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5" name="Freeform 1090"/>
            <p:cNvSpPr>
              <a:spLocks/>
            </p:cNvSpPr>
            <p:nvPr/>
          </p:nvSpPr>
          <p:spPr bwMode="auto">
            <a:xfrm>
              <a:off x="1417" y="3833"/>
              <a:ext cx="5" cy="5"/>
            </a:xfrm>
            <a:custGeom>
              <a:avLst/>
              <a:gdLst>
                <a:gd name="T0" fmla="*/ 0 w 5"/>
                <a:gd name="T1" fmla="*/ 0 h 5"/>
                <a:gd name="T2" fmla="*/ 0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0" y="0"/>
                  </a:lnTo>
                  <a:lnTo>
                    <a:pt x="5" y="5"/>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6" name="Freeform 1091"/>
            <p:cNvSpPr>
              <a:spLocks/>
            </p:cNvSpPr>
            <p:nvPr/>
          </p:nvSpPr>
          <p:spPr bwMode="auto">
            <a:xfrm>
              <a:off x="1422" y="3889"/>
              <a:ext cx="21" cy="51"/>
            </a:xfrm>
            <a:custGeom>
              <a:avLst/>
              <a:gdLst>
                <a:gd name="T0" fmla="*/ 15 w 21"/>
                <a:gd name="T1" fmla="*/ 51 h 51"/>
                <a:gd name="T2" fmla="*/ 15 w 21"/>
                <a:gd name="T3" fmla="*/ 47 h 51"/>
                <a:gd name="T4" fmla="*/ 10 w 21"/>
                <a:gd name="T5" fmla="*/ 42 h 51"/>
                <a:gd name="T6" fmla="*/ 15 w 21"/>
                <a:gd name="T7" fmla="*/ 38 h 51"/>
                <a:gd name="T8" fmla="*/ 17 w 21"/>
                <a:gd name="T9" fmla="*/ 42 h 51"/>
                <a:gd name="T10" fmla="*/ 19 w 21"/>
                <a:gd name="T11" fmla="*/ 38 h 51"/>
                <a:gd name="T12" fmla="*/ 17 w 21"/>
                <a:gd name="T13" fmla="*/ 32 h 51"/>
                <a:gd name="T14" fmla="*/ 19 w 21"/>
                <a:gd name="T15" fmla="*/ 28 h 51"/>
                <a:gd name="T16" fmla="*/ 19 w 21"/>
                <a:gd name="T17" fmla="*/ 17 h 51"/>
                <a:gd name="T18" fmla="*/ 21 w 21"/>
                <a:gd name="T19" fmla="*/ 13 h 51"/>
                <a:gd name="T20" fmla="*/ 21 w 21"/>
                <a:gd name="T21" fmla="*/ 8 h 51"/>
                <a:gd name="T22" fmla="*/ 15 w 21"/>
                <a:gd name="T23" fmla="*/ 4 h 51"/>
                <a:gd name="T24" fmla="*/ 17 w 21"/>
                <a:gd name="T25" fmla="*/ 11 h 51"/>
                <a:gd name="T26" fmla="*/ 15 w 21"/>
                <a:gd name="T27" fmla="*/ 15 h 51"/>
                <a:gd name="T28" fmla="*/ 15 w 21"/>
                <a:gd name="T29" fmla="*/ 8 h 51"/>
                <a:gd name="T30" fmla="*/ 13 w 21"/>
                <a:gd name="T31" fmla="*/ 4 h 51"/>
                <a:gd name="T32" fmla="*/ 8 w 21"/>
                <a:gd name="T33" fmla="*/ 0 h 51"/>
                <a:gd name="T34" fmla="*/ 4 w 21"/>
                <a:gd name="T35" fmla="*/ 0 h 51"/>
                <a:gd name="T36" fmla="*/ 8 w 21"/>
                <a:gd name="T37" fmla="*/ 2 h 51"/>
                <a:gd name="T38" fmla="*/ 2 w 21"/>
                <a:gd name="T39" fmla="*/ 2 h 51"/>
                <a:gd name="T40" fmla="*/ 4 w 21"/>
                <a:gd name="T41" fmla="*/ 6 h 51"/>
                <a:gd name="T42" fmla="*/ 0 w 21"/>
                <a:gd name="T43" fmla="*/ 11 h 51"/>
                <a:gd name="T44" fmla="*/ 4 w 21"/>
                <a:gd name="T45" fmla="*/ 15 h 51"/>
                <a:gd name="T46" fmla="*/ 8 w 21"/>
                <a:gd name="T47" fmla="*/ 15 h 51"/>
                <a:gd name="T48" fmla="*/ 6 w 21"/>
                <a:gd name="T49" fmla="*/ 19 h 51"/>
                <a:gd name="T50" fmla="*/ 15 w 21"/>
                <a:gd name="T51" fmla="*/ 28 h 51"/>
                <a:gd name="T52" fmla="*/ 8 w 21"/>
                <a:gd name="T53" fmla="*/ 30 h 51"/>
                <a:gd name="T54" fmla="*/ 8 w 21"/>
                <a:gd name="T55" fmla="*/ 34 h 51"/>
                <a:gd name="T56" fmla="*/ 10 w 21"/>
                <a:gd name="T57" fmla="*/ 45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5" y="47"/>
                  </a:lnTo>
                  <a:lnTo>
                    <a:pt x="10" y="42"/>
                  </a:lnTo>
                  <a:lnTo>
                    <a:pt x="15" y="38"/>
                  </a:lnTo>
                  <a:lnTo>
                    <a:pt x="17" y="42"/>
                  </a:lnTo>
                  <a:lnTo>
                    <a:pt x="19" y="38"/>
                  </a:lnTo>
                  <a:lnTo>
                    <a:pt x="17" y="32"/>
                  </a:lnTo>
                  <a:lnTo>
                    <a:pt x="19" y="28"/>
                  </a:lnTo>
                  <a:lnTo>
                    <a:pt x="19" y="17"/>
                  </a:lnTo>
                  <a:lnTo>
                    <a:pt x="21" y="13"/>
                  </a:lnTo>
                  <a:lnTo>
                    <a:pt x="21" y="8"/>
                  </a:lnTo>
                  <a:lnTo>
                    <a:pt x="15" y="4"/>
                  </a:lnTo>
                  <a:lnTo>
                    <a:pt x="17" y="11"/>
                  </a:lnTo>
                  <a:lnTo>
                    <a:pt x="15" y="15"/>
                  </a:lnTo>
                  <a:lnTo>
                    <a:pt x="15" y="8"/>
                  </a:lnTo>
                  <a:lnTo>
                    <a:pt x="13" y="4"/>
                  </a:lnTo>
                  <a:lnTo>
                    <a:pt x="8" y="0"/>
                  </a:lnTo>
                  <a:lnTo>
                    <a:pt x="4" y="0"/>
                  </a:lnTo>
                  <a:lnTo>
                    <a:pt x="8" y="2"/>
                  </a:lnTo>
                  <a:lnTo>
                    <a:pt x="2" y="2"/>
                  </a:lnTo>
                  <a:lnTo>
                    <a:pt x="4" y="6"/>
                  </a:lnTo>
                  <a:lnTo>
                    <a:pt x="0" y="11"/>
                  </a:lnTo>
                  <a:lnTo>
                    <a:pt x="4" y="15"/>
                  </a:lnTo>
                  <a:lnTo>
                    <a:pt x="8" y="15"/>
                  </a:lnTo>
                  <a:lnTo>
                    <a:pt x="6" y="19"/>
                  </a:lnTo>
                  <a:lnTo>
                    <a:pt x="15" y="28"/>
                  </a:lnTo>
                  <a:lnTo>
                    <a:pt x="8" y="30"/>
                  </a:lnTo>
                  <a:lnTo>
                    <a:pt x="8" y="34"/>
                  </a:lnTo>
                  <a:lnTo>
                    <a:pt x="10" y="45"/>
                  </a:lnTo>
                  <a:lnTo>
                    <a:pt x="15" y="5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7" name="Freeform 1092"/>
            <p:cNvSpPr>
              <a:spLocks/>
            </p:cNvSpPr>
            <p:nvPr/>
          </p:nvSpPr>
          <p:spPr bwMode="auto">
            <a:xfrm>
              <a:off x="1422" y="3889"/>
              <a:ext cx="21" cy="51"/>
            </a:xfrm>
            <a:custGeom>
              <a:avLst/>
              <a:gdLst>
                <a:gd name="T0" fmla="*/ 15 w 21"/>
                <a:gd name="T1" fmla="*/ 51 h 51"/>
                <a:gd name="T2" fmla="*/ 15 w 21"/>
                <a:gd name="T3" fmla="*/ 47 h 51"/>
                <a:gd name="T4" fmla="*/ 10 w 21"/>
                <a:gd name="T5" fmla="*/ 42 h 51"/>
                <a:gd name="T6" fmla="*/ 15 w 21"/>
                <a:gd name="T7" fmla="*/ 38 h 51"/>
                <a:gd name="T8" fmla="*/ 17 w 21"/>
                <a:gd name="T9" fmla="*/ 42 h 51"/>
                <a:gd name="T10" fmla="*/ 19 w 21"/>
                <a:gd name="T11" fmla="*/ 38 h 51"/>
                <a:gd name="T12" fmla="*/ 17 w 21"/>
                <a:gd name="T13" fmla="*/ 32 h 51"/>
                <a:gd name="T14" fmla="*/ 19 w 21"/>
                <a:gd name="T15" fmla="*/ 28 h 51"/>
                <a:gd name="T16" fmla="*/ 19 w 21"/>
                <a:gd name="T17" fmla="*/ 17 h 51"/>
                <a:gd name="T18" fmla="*/ 21 w 21"/>
                <a:gd name="T19" fmla="*/ 13 h 51"/>
                <a:gd name="T20" fmla="*/ 21 w 21"/>
                <a:gd name="T21" fmla="*/ 8 h 51"/>
                <a:gd name="T22" fmla="*/ 15 w 21"/>
                <a:gd name="T23" fmla="*/ 4 h 51"/>
                <a:gd name="T24" fmla="*/ 17 w 21"/>
                <a:gd name="T25" fmla="*/ 11 h 51"/>
                <a:gd name="T26" fmla="*/ 15 w 21"/>
                <a:gd name="T27" fmla="*/ 15 h 51"/>
                <a:gd name="T28" fmla="*/ 15 w 21"/>
                <a:gd name="T29" fmla="*/ 8 h 51"/>
                <a:gd name="T30" fmla="*/ 13 w 21"/>
                <a:gd name="T31" fmla="*/ 4 h 51"/>
                <a:gd name="T32" fmla="*/ 8 w 21"/>
                <a:gd name="T33" fmla="*/ 0 h 51"/>
                <a:gd name="T34" fmla="*/ 4 w 21"/>
                <a:gd name="T35" fmla="*/ 0 h 51"/>
                <a:gd name="T36" fmla="*/ 8 w 21"/>
                <a:gd name="T37" fmla="*/ 2 h 51"/>
                <a:gd name="T38" fmla="*/ 2 w 21"/>
                <a:gd name="T39" fmla="*/ 2 h 51"/>
                <a:gd name="T40" fmla="*/ 4 w 21"/>
                <a:gd name="T41" fmla="*/ 6 h 51"/>
                <a:gd name="T42" fmla="*/ 0 w 21"/>
                <a:gd name="T43" fmla="*/ 11 h 51"/>
                <a:gd name="T44" fmla="*/ 4 w 21"/>
                <a:gd name="T45" fmla="*/ 15 h 51"/>
                <a:gd name="T46" fmla="*/ 8 w 21"/>
                <a:gd name="T47" fmla="*/ 15 h 51"/>
                <a:gd name="T48" fmla="*/ 6 w 21"/>
                <a:gd name="T49" fmla="*/ 19 h 51"/>
                <a:gd name="T50" fmla="*/ 15 w 21"/>
                <a:gd name="T51" fmla="*/ 28 h 51"/>
                <a:gd name="T52" fmla="*/ 8 w 21"/>
                <a:gd name="T53" fmla="*/ 30 h 51"/>
                <a:gd name="T54" fmla="*/ 8 w 21"/>
                <a:gd name="T55" fmla="*/ 34 h 51"/>
                <a:gd name="T56" fmla="*/ 10 w 21"/>
                <a:gd name="T57" fmla="*/ 45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5" y="47"/>
                  </a:lnTo>
                  <a:lnTo>
                    <a:pt x="10" y="42"/>
                  </a:lnTo>
                  <a:lnTo>
                    <a:pt x="15" y="38"/>
                  </a:lnTo>
                  <a:lnTo>
                    <a:pt x="17" y="42"/>
                  </a:lnTo>
                  <a:lnTo>
                    <a:pt x="19" y="38"/>
                  </a:lnTo>
                  <a:lnTo>
                    <a:pt x="17" y="32"/>
                  </a:lnTo>
                  <a:lnTo>
                    <a:pt x="19" y="28"/>
                  </a:lnTo>
                  <a:lnTo>
                    <a:pt x="19" y="17"/>
                  </a:lnTo>
                  <a:lnTo>
                    <a:pt x="21" y="13"/>
                  </a:lnTo>
                  <a:lnTo>
                    <a:pt x="21" y="8"/>
                  </a:lnTo>
                  <a:lnTo>
                    <a:pt x="15" y="4"/>
                  </a:lnTo>
                  <a:lnTo>
                    <a:pt x="17" y="11"/>
                  </a:lnTo>
                  <a:lnTo>
                    <a:pt x="15" y="15"/>
                  </a:lnTo>
                  <a:lnTo>
                    <a:pt x="15" y="8"/>
                  </a:lnTo>
                  <a:lnTo>
                    <a:pt x="13" y="4"/>
                  </a:lnTo>
                  <a:lnTo>
                    <a:pt x="8" y="0"/>
                  </a:lnTo>
                  <a:lnTo>
                    <a:pt x="4" y="0"/>
                  </a:lnTo>
                  <a:lnTo>
                    <a:pt x="8" y="2"/>
                  </a:lnTo>
                  <a:lnTo>
                    <a:pt x="2" y="2"/>
                  </a:lnTo>
                  <a:lnTo>
                    <a:pt x="4" y="6"/>
                  </a:lnTo>
                  <a:lnTo>
                    <a:pt x="0" y="11"/>
                  </a:lnTo>
                  <a:lnTo>
                    <a:pt x="4" y="15"/>
                  </a:lnTo>
                  <a:lnTo>
                    <a:pt x="8" y="15"/>
                  </a:lnTo>
                  <a:lnTo>
                    <a:pt x="6" y="19"/>
                  </a:lnTo>
                  <a:lnTo>
                    <a:pt x="15" y="28"/>
                  </a:lnTo>
                  <a:lnTo>
                    <a:pt x="8" y="30"/>
                  </a:lnTo>
                  <a:lnTo>
                    <a:pt x="8" y="34"/>
                  </a:lnTo>
                  <a:lnTo>
                    <a:pt x="10" y="45"/>
                  </a:lnTo>
                  <a:lnTo>
                    <a:pt x="15" y="51"/>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8" name="Freeform 1093"/>
            <p:cNvSpPr>
              <a:spLocks/>
            </p:cNvSpPr>
            <p:nvPr/>
          </p:nvSpPr>
          <p:spPr bwMode="auto">
            <a:xfrm>
              <a:off x="1430" y="3878"/>
              <a:ext cx="39" cy="34"/>
            </a:xfrm>
            <a:custGeom>
              <a:avLst/>
              <a:gdLst>
                <a:gd name="T0" fmla="*/ 22 w 39"/>
                <a:gd name="T1" fmla="*/ 34 h 34"/>
                <a:gd name="T2" fmla="*/ 24 w 39"/>
                <a:gd name="T3" fmla="*/ 32 h 34"/>
                <a:gd name="T4" fmla="*/ 30 w 39"/>
                <a:gd name="T5" fmla="*/ 30 h 34"/>
                <a:gd name="T6" fmla="*/ 34 w 39"/>
                <a:gd name="T7" fmla="*/ 28 h 34"/>
                <a:gd name="T8" fmla="*/ 28 w 39"/>
                <a:gd name="T9" fmla="*/ 15 h 34"/>
                <a:gd name="T10" fmla="*/ 24 w 39"/>
                <a:gd name="T11" fmla="*/ 13 h 34"/>
                <a:gd name="T12" fmla="*/ 28 w 39"/>
                <a:gd name="T13" fmla="*/ 15 h 34"/>
                <a:gd name="T14" fmla="*/ 32 w 39"/>
                <a:gd name="T15" fmla="*/ 19 h 34"/>
                <a:gd name="T16" fmla="*/ 39 w 39"/>
                <a:gd name="T17" fmla="*/ 22 h 34"/>
                <a:gd name="T18" fmla="*/ 36 w 39"/>
                <a:gd name="T19" fmla="*/ 17 h 34"/>
                <a:gd name="T20" fmla="*/ 34 w 39"/>
                <a:gd name="T21" fmla="*/ 11 h 34"/>
                <a:gd name="T22" fmla="*/ 36 w 39"/>
                <a:gd name="T23" fmla="*/ 7 h 34"/>
                <a:gd name="T24" fmla="*/ 32 w 39"/>
                <a:gd name="T25" fmla="*/ 2 h 34"/>
                <a:gd name="T26" fmla="*/ 28 w 39"/>
                <a:gd name="T27" fmla="*/ 0 h 34"/>
                <a:gd name="T28" fmla="*/ 26 w 39"/>
                <a:gd name="T29" fmla="*/ 4 h 34"/>
                <a:gd name="T30" fmla="*/ 22 w 39"/>
                <a:gd name="T31" fmla="*/ 2 h 34"/>
                <a:gd name="T32" fmla="*/ 17 w 39"/>
                <a:gd name="T33" fmla="*/ 0 h 34"/>
                <a:gd name="T34" fmla="*/ 7 w 39"/>
                <a:gd name="T35" fmla="*/ 0 h 34"/>
                <a:gd name="T36" fmla="*/ 0 w 39"/>
                <a:gd name="T37" fmla="*/ 2 h 34"/>
                <a:gd name="T38" fmla="*/ 5 w 39"/>
                <a:gd name="T39" fmla="*/ 7 h 34"/>
                <a:gd name="T40" fmla="*/ 9 w 39"/>
                <a:gd name="T41" fmla="*/ 9 h 34"/>
                <a:gd name="T42" fmla="*/ 11 w 39"/>
                <a:gd name="T43" fmla="*/ 15 h 34"/>
                <a:gd name="T44" fmla="*/ 17 w 39"/>
                <a:gd name="T45" fmla="*/ 26 h 34"/>
                <a:gd name="T46" fmla="*/ 17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24" y="32"/>
                  </a:lnTo>
                  <a:lnTo>
                    <a:pt x="30" y="30"/>
                  </a:lnTo>
                  <a:lnTo>
                    <a:pt x="34" y="28"/>
                  </a:lnTo>
                  <a:lnTo>
                    <a:pt x="28" y="15"/>
                  </a:lnTo>
                  <a:lnTo>
                    <a:pt x="24" y="13"/>
                  </a:lnTo>
                  <a:lnTo>
                    <a:pt x="28" y="15"/>
                  </a:lnTo>
                  <a:lnTo>
                    <a:pt x="32" y="19"/>
                  </a:lnTo>
                  <a:lnTo>
                    <a:pt x="39" y="22"/>
                  </a:lnTo>
                  <a:lnTo>
                    <a:pt x="36" y="17"/>
                  </a:lnTo>
                  <a:lnTo>
                    <a:pt x="34" y="11"/>
                  </a:lnTo>
                  <a:lnTo>
                    <a:pt x="36" y="7"/>
                  </a:lnTo>
                  <a:lnTo>
                    <a:pt x="32" y="2"/>
                  </a:lnTo>
                  <a:lnTo>
                    <a:pt x="28" y="0"/>
                  </a:lnTo>
                  <a:lnTo>
                    <a:pt x="26" y="4"/>
                  </a:lnTo>
                  <a:lnTo>
                    <a:pt x="22" y="2"/>
                  </a:lnTo>
                  <a:lnTo>
                    <a:pt x="17" y="0"/>
                  </a:lnTo>
                  <a:lnTo>
                    <a:pt x="7" y="0"/>
                  </a:lnTo>
                  <a:lnTo>
                    <a:pt x="0" y="2"/>
                  </a:lnTo>
                  <a:lnTo>
                    <a:pt x="5" y="7"/>
                  </a:lnTo>
                  <a:lnTo>
                    <a:pt x="9" y="9"/>
                  </a:lnTo>
                  <a:lnTo>
                    <a:pt x="11" y="15"/>
                  </a:lnTo>
                  <a:lnTo>
                    <a:pt x="17" y="26"/>
                  </a:lnTo>
                  <a:lnTo>
                    <a:pt x="17" y="32"/>
                  </a:lnTo>
                  <a:lnTo>
                    <a:pt x="22" y="3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09" name="Freeform 1094"/>
            <p:cNvSpPr>
              <a:spLocks/>
            </p:cNvSpPr>
            <p:nvPr/>
          </p:nvSpPr>
          <p:spPr bwMode="auto">
            <a:xfrm>
              <a:off x="1430" y="3878"/>
              <a:ext cx="39" cy="34"/>
            </a:xfrm>
            <a:custGeom>
              <a:avLst/>
              <a:gdLst>
                <a:gd name="T0" fmla="*/ 22 w 39"/>
                <a:gd name="T1" fmla="*/ 34 h 34"/>
                <a:gd name="T2" fmla="*/ 24 w 39"/>
                <a:gd name="T3" fmla="*/ 32 h 34"/>
                <a:gd name="T4" fmla="*/ 30 w 39"/>
                <a:gd name="T5" fmla="*/ 30 h 34"/>
                <a:gd name="T6" fmla="*/ 34 w 39"/>
                <a:gd name="T7" fmla="*/ 28 h 34"/>
                <a:gd name="T8" fmla="*/ 28 w 39"/>
                <a:gd name="T9" fmla="*/ 15 h 34"/>
                <a:gd name="T10" fmla="*/ 24 w 39"/>
                <a:gd name="T11" fmla="*/ 13 h 34"/>
                <a:gd name="T12" fmla="*/ 28 w 39"/>
                <a:gd name="T13" fmla="*/ 15 h 34"/>
                <a:gd name="T14" fmla="*/ 32 w 39"/>
                <a:gd name="T15" fmla="*/ 19 h 34"/>
                <a:gd name="T16" fmla="*/ 39 w 39"/>
                <a:gd name="T17" fmla="*/ 22 h 34"/>
                <a:gd name="T18" fmla="*/ 36 w 39"/>
                <a:gd name="T19" fmla="*/ 17 h 34"/>
                <a:gd name="T20" fmla="*/ 34 w 39"/>
                <a:gd name="T21" fmla="*/ 11 h 34"/>
                <a:gd name="T22" fmla="*/ 36 w 39"/>
                <a:gd name="T23" fmla="*/ 7 h 34"/>
                <a:gd name="T24" fmla="*/ 32 w 39"/>
                <a:gd name="T25" fmla="*/ 2 h 34"/>
                <a:gd name="T26" fmla="*/ 28 w 39"/>
                <a:gd name="T27" fmla="*/ 0 h 34"/>
                <a:gd name="T28" fmla="*/ 26 w 39"/>
                <a:gd name="T29" fmla="*/ 4 h 34"/>
                <a:gd name="T30" fmla="*/ 22 w 39"/>
                <a:gd name="T31" fmla="*/ 2 h 34"/>
                <a:gd name="T32" fmla="*/ 17 w 39"/>
                <a:gd name="T33" fmla="*/ 0 h 34"/>
                <a:gd name="T34" fmla="*/ 7 w 39"/>
                <a:gd name="T35" fmla="*/ 0 h 34"/>
                <a:gd name="T36" fmla="*/ 0 w 39"/>
                <a:gd name="T37" fmla="*/ 2 h 34"/>
                <a:gd name="T38" fmla="*/ 5 w 39"/>
                <a:gd name="T39" fmla="*/ 7 h 34"/>
                <a:gd name="T40" fmla="*/ 9 w 39"/>
                <a:gd name="T41" fmla="*/ 9 h 34"/>
                <a:gd name="T42" fmla="*/ 11 w 39"/>
                <a:gd name="T43" fmla="*/ 15 h 34"/>
                <a:gd name="T44" fmla="*/ 17 w 39"/>
                <a:gd name="T45" fmla="*/ 26 h 34"/>
                <a:gd name="T46" fmla="*/ 17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24" y="32"/>
                  </a:lnTo>
                  <a:lnTo>
                    <a:pt x="30" y="30"/>
                  </a:lnTo>
                  <a:lnTo>
                    <a:pt x="34" y="28"/>
                  </a:lnTo>
                  <a:lnTo>
                    <a:pt x="28" y="15"/>
                  </a:lnTo>
                  <a:lnTo>
                    <a:pt x="24" y="13"/>
                  </a:lnTo>
                  <a:lnTo>
                    <a:pt x="28" y="15"/>
                  </a:lnTo>
                  <a:lnTo>
                    <a:pt x="32" y="19"/>
                  </a:lnTo>
                  <a:lnTo>
                    <a:pt x="39" y="22"/>
                  </a:lnTo>
                  <a:lnTo>
                    <a:pt x="36" y="17"/>
                  </a:lnTo>
                  <a:lnTo>
                    <a:pt x="34" y="11"/>
                  </a:lnTo>
                  <a:lnTo>
                    <a:pt x="36" y="7"/>
                  </a:lnTo>
                  <a:lnTo>
                    <a:pt x="32" y="2"/>
                  </a:lnTo>
                  <a:lnTo>
                    <a:pt x="28" y="0"/>
                  </a:lnTo>
                  <a:lnTo>
                    <a:pt x="26" y="4"/>
                  </a:lnTo>
                  <a:lnTo>
                    <a:pt x="22" y="2"/>
                  </a:lnTo>
                  <a:lnTo>
                    <a:pt x="17" y="0"/>
                  </a:lnTo>
                  <a:lnTo>
                    <a:pt x="7" y="0"/>
                  </a:lnTo>
                  <a:lnTo>
                    <a:pt x="0" y="2"/>
                  </a:lnTo>
                  <a:lnTo>
                    <a:pt x="5" y="7"/>
                  </a:lnTo>
                  <a:lnTo>
                    <a:pt x="9" y="9"/>
                  </a:lnTo>
                  <a:lnTo>
                    <a:pt x="11" y="15"/>
                  </a:lnTo>
                  <a:lnTo>
                    <a:pt x="17" y="26"/>
                  </a:lnTo>
                  <a:lnTo>
                    <a:pt x="17" y="32"/>
                  </a:lnTo>
                  <a:lnTo>
                    <a:pt x="22" y="3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0" name="Freeform 1095"/>
            <p:cNvSpPr>
              <a:spLocks/>
            </p:cNvSpPr>
            <p:nvPr/>
          </p:nvSpPr>
          <p:spPr bwMode="auto">
            <a:xfrm>
              <a:off x="1430" y="3946"/>
              <a:ext cx="9" cy="5"/>
            </a:xfrm>
            <a:custGeom>
              <a:avLst/>
              <a:gdLst>
                <a:gd name="T0" fmla="*/ 9 w 9"/>
                <a:gd name="T1" fmla="*/ 0 h 5"/>
                <a:gd name="T2" fmla="*/ 0 w 9"/>
                <a:gd name="T3" fmla="*/ 0 h 5"/>
                <a:gd name="T4" fmla="*/ 5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0"/>
                  </a:lnTo>
                  <a:lnTo>
                    <a:pt x="5" y="5"/>
                  </a:lnTo>
                  <a:lnTo>
                    <a:pt x="9"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1" name="Freeform 1096"/>
            <p:cNvSpPr>
              <a:spLocks/>
            </p:cNvSpPr>
            <p:nvPr/>
          </p:nvSpPr>
          <p:spPr bwMode="auto">
            <a:xfrm>
              <a:off x="1430" y="3946"/>
              <a:ext cx="9" cy="5"/>
            </a:xfrm>
            <a:custGeom>
              <a:avLst/>
              <a:gdLst>
                <a:gd name="T0" fmla="*/ 9 w 9"/>
                <a:gd name="T1" fmla="*/ 0 h 5"/>
                <a:gd name="T2" fmla="*/ 0 w 9"/>
                <a:gd name="T3" fmla="*/ 0 h 5"/>
                <a:gd name="T4" fmla="*/ 5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0"/>
                  </a:lnTo>
                  <a:lnTo>
                    <a:pt x="5" y="5"/>
                  </a:lnTo>
                  <a:lnTo>
                    <a:pt x="9"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2" name="Freeform 1097"/>
            <p:cNvSpPr>
              <a:spLocks/>
            </p:cNvSpPr>
            <p:nvPr/>
          </p:nvSpPr>
          <p:spPr bwMode="auto">
            <a:xfrm>
              <a:off x="1449" y="3919"/>
              <a:ext cx="71" cy="85"/>
            </a:xfrm>
            <a:custGeom>
              <a:avLst/>
              <a:gdLst>
                <a:gd name="T0" fmla="*/ 7 w 71"/>
                <a:gd name="T1" fmla="*/ 12 h 85"/>
                <a:gd name="T2" fmla="*/ 0 w 71"/>
                <a:gd name="T3" fmla="*/ 21 h 85"/>
                <a:gd name="T4" fmla="*/ 7 w 71"/>
                <a:gd name="T5" fmla="*/ 21 h 85"/>
                <a:gd name="T6" fmla="*/ 15 w 71"/>
                <a:gd name="T7" fmla="*/ 15 h 85"/>
                <a:gd name="T8" fmla="*/ 15 w 71"/>
                <a:gd name="T9" fmla="*/ 15 h 85"/>
                <a:gd name="T10" fmla="*/ 20 w 71"/>
                <a:gd name="T11" fmla="*/ 25 h 85"/>
                <a:gd name="T12" fmla="*/ 17 w 71"/>
                <a:gd name="T13" fmla="*/ 34 h 85"/>
                <a:gd name="T14" fmla="*/ 22 w 71"/>
                <a:gd name="T15" fmla="*/ 42 h 85"/>
                <a:gd name="T16" fmla="*/ 26 w 71"/>
                <a:gd name="T17" fmla="*/ 42 h 85"/>
                <a:gd name="T18" fmla="*/ 28 w 71"/>
                <a:gd name="T19" fmla="*/ 53 h 85"/>
                <a:gd name="T20" fmla="*/ 24 w 71"/>
                <a:gd name="T21" fmla="*/ 57 h 85"/>
                <a:gd name="T22" fmla="*/ 34 w 71"/>
                <a:gd name="T23" fmla="*/ 57 h 85"/>
                <a:gd name="T24" fmla="*/ 37 w 71"/>
                <a:gd name="T25" fmla="*/ 57 h 85"/>
                <a:gd name="T26" fmla="*/ 43 w 71"/>
                <a:gd name="T27" fmla="*/ 57 h 85"/>
                <a:gd name="T28" fmla="*/ 52 w 71"/>
                <a:gd name="T29" fmla="*/ 68 h 85"/>
                <a:gd name="T30" fmla="*/ 54 w 71"/>
                <a:gd name="T31" fmla="*/ 72 h 85"/>
                <a:gd name="T32" fmla="*/ 60 w 71"/>
                <a:gd name="T33" fmla="*/ 85 h 85"/>
                <a:gd name="T34" fmla="*/ 71 w 71"/>
                <a:gd name="T35" fmla="*/ 81 h 85"/>
                <a:gd name="T36" fmla="*/ 69 w 71"/>
                <a:gd name="T37" fmla="*/ 66 h 85"/>
                <a:gd name="T38" fmla="*/ 62 w 71"/>
                <a:gd name="T39" fmla="*/ 64 h 85"/>
                <a:gd name="T40" fmla="*/ 66 w 71"/>
                <a:gd name="T41" fmla="*/ 55 h 85"/>
                <a:gd name="T42" fmla="*/ 60 w 71"/>
                <a:gd name="T43" fmla="*/ 51 h 85"/>
                <a:gd name="T44" fmla="*/ 52 w 71"/>
                <a:gd name="T45" fmla="*/ 47 h 85"/>
                <a:gd name="T46" fmla="*/ 43 w 71"/>
                <a:gd name="T47" fmla="*/ 44 h 85"/>
                <a:gd name="T48" fmla="*/ 49 w 71"/>
                <a:gd name="T49" fmla="*/ 40 h 85"/>
                <a:gd name="T50" fmla="*/ 52 w 71"/>
                <a:gd name="T51" fmla="*/ 36 h 85"/>
                <a:gd name="T52" fmla="*/ 45 w 71"/>
                <a:gd name="T53" fmla="*/ 27 h 85"/>
                <a:gd name="T54" fmla="*/ 37 w 71"/>
                <a:gd name="T55" fmla="*/ 19 h 85"/>
                <a:gd name="T56" fmla="*/ 24 w 71"/>
                <a:gd name="T57" fmla="*/ 12 h 85"/>
                <a:gd name="T58" fmla="*/ 20 w 71"/>
                <a:gd name="T59" fmla="*/ 6 h 85"/>
                <a:gd name="T60" fmla="*/ 0 w 71"/>
                <a:gd name="T61" fmla="*/ 0 h 85"/>
                <a:gd name="T62" fmla="*/ 7 w 71"/>
                <a:gd name="T63" fmla="*/ 8 h 85"/>
                <a:gd name="T64" fmla="*/ 11 w 71"/>
                <a:gd name="T65"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85">
                  <a:moveTo>
                    <a:pt x="11" y="10"/>
                  </a:moveTo>
                  <a:lnTo>
                    <a:pt x="7" y="12"/>
                  </a:lnTo>
                  <a:lnTo>
                    <a:pt x="3" y="15"/>
                  </a:lnTo>
                  <a:lnTo>
                    <a:pt x="0" y="21"/>
                  </a:lnTo>
                  <a:lnTo>
                    <a:pt x="0" y="25"/>
                  </a:lnTo>
                  <a:lnTo>
                    <a:pt x="7" y="21"/>
                  </a:lnTo>
                  <a:lnTo>
                    <a:pt x="9" y="17"/>
                  </a:lnTo>
                  <a:lnTo>
                    <a:pt x="15" y="15"/>
                  </a:lnTo>
                  <a:lnTo>
                    <a:pt x="13" y="12"/>
                  </a:lnTo>
                  <a:lnTo>
                    <a:pt x="15" y="15"/>
                  </a:lnTo>
                  <a:lnTo>
                    <a:pt x="17" y="19"/>
                  </a:lnTo>
                  <a:lnTo>
                    <a:pt x="20" y="25"/>
                  </a:lnTo>
                  <a:lnTo>
                    <a:pt x="20" y="30"/>
                  </a:lnTo>
                  <a:lnTo>
                    <a:pt x="17" y="34"/>
                  </a:lnTo>
                  <a:lnTo>
                    <a:pt x="15" y="40"/>
                  </a:lnTo>
                  <a:lnTo>
                    <a:pt x="22" y="42"/>
                  </a:lnTo>
                  <a:lnTo>
                    <a:pt x="26" y="38"/>
                  </a:lnTo>
                  <a:lnTo>
                    <a:pt x="26" y="42"/>
                  </a:lnTo>
                  <a:lnTo>
                    <a:pt x="34" y="53"/>
                  </a:lnTo>
                  <a:lnTo>
                    <a:pt x="28" y="53"/>
                  </a:lnTo>
                  <a:lnTo>
                    <a:pt x="24" y="53"/>
                  </a:lnTo>
                  <a:lnTo>
                    <a:pt x="24" y="57"/>
                  </a:lnTo>
                  <a:lnTo>
                    <a:pt x="30" y="57"/>
                  </a:lnTo>
                  <a:lnTo>
                    <a:pt x="34" y="57"/>
                  </a:lnTo>
                  <a:lnTo>
                    <a:pt x="30" y="61"/>
                  </a:lnTo>
                  <a:lnTo>
                    <a:pt x="37" y="57"/>
                  </a:lnTo>
                  <a:lnTo>
                    <a:pt x="41" y="61"/>
                  </a:lnTo>
                  <a:lnTo>
                    <a:pt x="43" y="57"/>
                  </a:lnTo>
                  <a:lnTo>
                    <a:pt x="45" y="64"/>
                  </a:lnTo>
                  <a:lnTo>
                    <a:pt x="52" y="68"/>
                  </a:lnTo>
                  <a:lnTo>
                    <a:pt x="47" y="72"/>
                  </a:lnTo>
                  <a:lnTo>
                    <a:pt x="54" y="72"/>
                  </a:lnTo>
                  <a:lnTo>
                    <a:pt x="62" y="78"/>
                  </a:lnTo>
                  <a:lnTo>
                    <a:pt x="60" y="85"/>
                  </a:lnTo>
                  <a:lnTo>
                    <a:pt x="64" y="85"/>
                  </a:lnTo>
                  <a:lnTo>
                    <a:pt x="71" y="81"/>
                  </a:lnTo>
                  <a:lnTo>
                    <a:pt x="71" y="76"/>
                  </a:lnTo>
                  <a:lnTo>
                    <a:pt x="69" y="66"/>
                  </a:lnTo>
                  <a:lnTo>
                    <a:pt x="64" y="70"/>
                  </a:lnTo>
                  <a:lnTo>
                    <a:pt x="62" y="64"/>
                  </a:lnTo>
                  <a:lnTo>
                    <a:pt x="64" y="59"/>
                  </a:lnTo>
                  <a:lnTo>
                    <a:pt x="66" y="55"/>
                  </a:lnTo>
                  <a:lnTo>
                    <a:pt x="60" y="55"/>
                  </a:lnTo>
                  <a:lnTo>
                    <a:pt x="60" y="51"/>
                  </a:lnTo>
                  <a:lnTo>
                    <a:pt x="56" y="47"/>
                  </a:lnTo>
                  <a:lnTo>
                    <a:pt x="52" y="47"/>
                  </a:lnTo>
                  <a:lnTo>
                    <a:pt x="49" y="40"/>
                  </a:lnTo>
                  <a:lnTo>
                    <a:pt x="43" y="44"/>
                  </a:lnTo>
                  <a:lnTo>
                    <a:pt x="45" y="40"/>
                  </a:lnTo>
                  <a:lnTo>
                    <a:pt x="49" y="40"/>
                  </a:lnTo>
                  <a:lnTo>
                    <a:pt x="54" y="40"/>
                  </a:lnTo>
                  <a:lnTo>
                    <a:pt x="52" y="36"/>
                  </a:lnTo>
                  <a:lnTo>
                    <a:pt x="45" y="34"/>
                  </a:lnTo>
                  <a:lnTo>
                    <a:pt x="45" y="27"/>
                  </a:lnTo>
                  <a:lnTo>
                    <a:pt x="41" y="23"/>
                  </a:lnTo>
                  <a:lnTo>
                    <a:pt x="37" y="19"/>
                  </a:lnTo>
                  <a:lnTo>
                    <a:pt x="32" y="15"/>
                  </a:lnTo>
                  <a:lnTo>
                    <a:pt x="24" y="12"/>
                  </a:lnTo>
                  <a:lnTo>
                    <a:pt x="17" y="10"/>
                  </a:lnTo>
                  <a:lnTo>
                    <a:pt x="20" y="6"/>
                  </a:lnTo>
                  <a:lnTo>
                    <a:pt x="17" y="0"/>
                  </a:lnTo>
                  <a:lnTo>
                    <a:pt x="0" y="0"/>
                  </a:lnTo>
                  <a:lnTo>
                    <a:pt x="3" y="4"/>
                  </a:lnTo>
                  <a:lnTo>
                    <a:pt x="7" y="8"/>
                  </a:lnTo>
                  <a:lnTo>
                    <a:pt x="11" y="8"/>
                  </a:lnTo>
                  <a:lnTo>
                    <a:pt x="11" y="1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3" name="Freeform 1098"/>
            <p:cNvSpPr>
              <a:spLocks/>
            </p:cNvSpPr>
            <p:nvPr/>
          </p:nvSpPr>
          <p:spPr bwMode="auto">
            <a:xfrm>
              <a:off x="1449" y="3919"/>
              <a:ext cx="71" cy="85"/>
            </a:xfrm>
            <a:custGeom>
              <a:avLst/>
              <a:gdLst>
                <a:gd name="T0" fmla="*/ 7 w 71"/>
                <a:gd name="T1" fmla="*/ 12 h 85"/>
                <a:gd name="T2" fmla="*/ 0 w 71"/>
                <a:gd name="T3" fmla="*/ 21 h 85"/>
                <a:gd name="T4" fmla="*/ 7 w 71"/>
                <a:gd name="T5" fmla="*/ 21 h 85"/>
                <a:gd name="T6" fmla="*/ 15 w 71"/>
                <a:gd name="T7" fmla="*/ 15 h 85"/>
                <a:gd name="T8" fmla="*/ 15 w 71"/>
                <a:gd name="T9" fmla="*/ 15 h 85"/>
                <a:gd name="T10" fmla="*/ 20 w 71"/>
                <a:gd name="T11" fmla="*/ 25 h 85"/>
                <a:gd name="T12" fmla="*/ 17 w 71"/>
                <a:gd name="T13" fmla="*/ 34 h 85"/>
                <a:gd name="T14" fmla="*/ 22 w 71"/>
                <a:gd name="T15" fmla="*/ 42 h 85"/>
                <a:gd name="T16" fmla="*/ 26 w 71"/>
                <a:gd name="T17" fmla="*/ 42 h 85"/>
                <a:gd name="T18" fmla="*/ 28 w 71"/>
                <a:gd name="T19" fmla="*/ 53 h 85"/>
                <a:gd name="T20" fmla="*/ 24 w 71"/>
                <a:gd name="T21" fmla="*/ 57 h 85"/>
                <a:gd name="T22" fmla="*/ 34 w 71"/>
                <a:gd name="T23" fmla="*/ 57 h 85"/>
                <a:gd name="T24" fmla="*/ 37 w 71"/>
                <a:gd name="T25" fmla="*/ 57 h 85"/>
                <a:gd name="T26" fmla="*/ 43 w 71"/>
                <a:gd name="T27" fmla="*/ 57 h 85"/>
                <a:gd name="T28" fmla="*/ 52 w 71"/>
                <a:gd name="T29" fmla="*/ 68 h 85"/>
                <a:gd name="T30" fmla="*/ 54 w 71"/>
                <a:gd name="T31" fmla="*/ 72 h 85"/>
                <a:gd name="T32" fmla="*/ 60 w 71"/>
                <a:gd name="T33" fmla="*/ 85 h 85"/>
                <a:gd name="T34" fmla="*/ 71 w 71"/>
                <a:gd name="T35" fmla="*/ 81 h 85"/>
                <a:gd name="T36" fmla="*/ 69 w 71"/>
                <a:gd name="T37" fmla="*/ 66 h 85"/>
                <a:gd name="T38" fmla="*/ 62 w 71"/>
                <a:gd name="T39" fmla="*/ 64 h 85"/>
                <a:gd name="T40" fmla="*/ 66 w 71"/>
                <a:gd name="T41" fmla="*/ 55 h 85"/>
                <a:gd name="T42" fmla="*/ 60 w 71"/>
                <a:gd name="T43" fmla="*/ 51 h 85"/>
                <a:gd name="T44" fmla="*/ 52 w 71"/>
                <a:gd name="T45" fmla="*/ 47 h 85"/>
                <a:gd name="T46" fmla="*/ 43 w 71"/>
                <a:gd name="T47" fmla="*/ 44 h 85"/>
                <a:gd name="T48" fmla="*/ 49 w 71"/>
                <a:gd name="T49" fmla="*/ 40 h 85"/>
                <a:gd name="T50" fmla="*/ 52 w 71"/>
                <a:gd name="T51" fmla="*/ 36 h 85"/>
                <a:gd name="T52" fmla="*/ 45 w 71"/>
                <a:gd name="T53" fmla="*/ 27 h 85"/>
                <a:gd name="T54" fmla="*/ 37 w 71"/>
                <a:gd name="T55" fmla="*/ 19 h 85"/>
                <a:gd name="T56" fmla="*/ 24 w 71"/>
                <a:gd name="T57" fmla="*/ 12 h 85"/>
                <a:gd name="T58" fmla="*/ 20 w 71"/>
                <a:gd name="T59" fmla="*/ 6 h 85"/>
                <a:gd name="T60" fmla="*/ 0 w 71"/>
                <a:gd name="T61" fmla="*/ 0 h 85"/>
                <a:gd name="T62" fmla="*/ 7 w 71"/>
                <a:gd name="T63" fmla="*/ 8 h 85"/>
                <a:gd name="T64" fmla="*/ 11 w 71"/>
                <a:gd name="T65"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85">
                  <a:moveTo>
                    <a:pt x="11" y="10"/>
                  </a:moveTo>
                  <a:lnTo>
                    <a:pt x="7" y="12"/>
                  </a:lnTo>
                  <a:lnTo>
                    <a:pt x="3" y="15"/>
                  </a:lnTo>
                  <a:lnTo>
                    <a:pt x="0" y="21"/>
                  </a:lnTo>
                  <a:lnTo>
                    <a:pt x="0" y="25"/>
                  </a:lnTo>
                  <a:lnTo>
                    <a:pt x="7" y="21"/>
                  </a:lnTo>
                  <a:lnTo>
                    <a:pt x="9" y="17"/>
                  </a:lnTo>
                  <a:lnTo>
                    <a:pt x="15" y="15"/>
                  </a:lnTo>
                  <a:lnTo>
                    <a:pt x="13" y="12"/>
                  </a:lnTo>
                  <a:lnTo>
                    <a:pt x="15" y="15"/>
                  </a:lnTo>
                  <a:lnTo>
                    <a:pt x="17" y="19"/>
                  </a:lnTo>
                  <a:lnTo>
                    <a:pt x="20" y="25"/>
                  </a:lnTo>
                  <a:lnTo>
                    <a:pt x="20" y="30"/>
                  </a:lnTo>
                  <a:lnTo>
                    <a:pt x="17" y="34"/>
                  </a:lnTo>
                  <a:lnTo>
                    <a:pt x="15" y="40"/>
                  </a:lnTo>
                  <a:lnTo>
                    <a:pt x="22" y="42"/>
                  </a:lnTo>
                  <a:lnTo>
                    <a:pt x="26" y="38"/>
                  </a:lnTo>
                  <a:lnTo>
                    <a:pt x="26" y="42"/>
                  </a:lnTo>
                  <a:lnTo>
                    <a:pt x="34" y="53"/>
                  </a:lnTo>
                  <a:lnTo>
                    <a:pt x="28" y="53"/>
                  </a:lnTo>
                  <a:lnTo>
                    <a:pt x="24" y="53"/>
                  </a:lnTo>
                  <a:lnTo>
                    <a:pt x="24" y="57"/>
                  </a:lnTo>
                  <a:lnTo>
                    <a:pt x="30" y="57"/>
                  </a:lnTo>
                  <a:lnTo>
                    <a:pt x="34" y="57"/>
                  </a:lnTo>
                  <a:lnTo>
                    <a:pt x="30" y="61"/>
                  </a:lnTo>
                  <a:lnTo>
                    <a:pt x="37" y="57"/>
                  </a:lnTo>
                  <a:lnTo>
                    <a:pt x="41" y="61"/>
                  </a:lnTo>
                  <a:lnTo>
                    <a:pt x="43" y="57"/>
                  </a:lnTo>
                  <a:lnTo>
                    <a:pt x="45" y="64"/>
                  </a:lnTo>
                  <a:lnTo>
                    <a:pt x="52" y="68"/>
                  </a:lnTo>
                  <a:lnTo>
                    <a:pt x="47" y="72"/>
                  </a:lnTo>
                  <a:lnTo>
                    <a:pt x="54" y="72"/>
                  </a:lnTo>
                  <a:lnTo>
                    <a:pt x="62" y="78"/>
                  </a:lnTo>
                  <a:lnTo>
                    <a:pt x="60" y="85"/>
                  </a:lnTo>
                  <a:lnTo>
                    <a:pt x="64" y="85"/>
                  </a:lnTo>
                  <a:lnTo>
                    <a:pt x="71" y="81"/>
                  </a:lnTo>
                  <a:lnTo>
                    <a:pt x="71" y="76"/>
                  </a:lnTo>
                  <a:lnTo>
                    <a:pt x="69" y="66"/>
                  </a:lnTo>
                  <a:lnTo>
                    <a:pt x="64" y="70"/>
                  </a:lnTo>
                  <a:lnTo>
                    <a:pt x="62" y="64"/>
                  </a:lnTo>
                  <a:lnTo>
                    <a:pt x="64" y="59"/>
                  </a:lnTo>
                  <a:lnTo>
                    <a:pt x="66" y="55"/>
                  </a:lnTo>
                  <a:lnTo>
                    <a:pt x="60" y="55"/>
                  </a:lnTo>
                  <a:lnTo>
                    <a:pt x="60" y="51"/>
                  </a:lnTo>
                  <a:lnTo>
                    <a:pt x="56" y="47"/>
                  </a:lnTo>
                  <a:lnTo>
                    <a:pt x="52" y="47"/>
                  </a:lnTo>
                  <a:lnTo>
                    <a:pt x="49" y="40"/>
                  </a:lnTo>
                  <a:lnTo>
                    <a:pt x="43" y="44"/>
                  </a:lnTo>
                  <a:lnTo>
                    <a:pt x="45" y="40"/>
                  </a:lnTo>
                  <a:lnTo>
                    <a:pt x="49" y="40"/>
                  </a:lnTo>
                  <a:lnTo>
                    <a:pt x="54" y="40"/>
                  </a:lnTo>
                  <a:lnTo>
                    <a:pt x="52" y="36"/>
                  </a:lnTo>
                  <a:lnTo>
                    <a:pt x="45" y="34"/>
                  </a:lnTo>
                  <a:lnTo>
                    <a:pt x="45" y="27"/>
                  </a:lnTo>
                  <a:lnTo>
                    <a:pt x="41" y="23"/>
                  </a:lnTo>
                  <a:lnTo>
                    <a:pt x="37" y="19"/>
                  </a:lnTo>
                  <a:lnTo>
                    <a:pt x="32" y="15"/>
                  </a:lnTo>
                  <a:lnTo>
                    <a:pt x="24" y="12"/>
                  </a:lnTo>
                  <a:lnTo>
                    <a:pt x="17" y="10"/>
                  </a:lnTo>
                  <a:lnTo>
                    <a:pt x="20" y="6"/>
                  </a:lnTo>
                  <a:lnTo>
                    <a:pt x="17" y="0"/>
                  </a:lnTo>
                  <a:lnTo>
                    <a:pt x="0" y="0"/>
                  </a:lnTo>
                  <a:lnTo>
                    <a:pt x="3" y="4"/>
                  </a:lnTo>
                  <a:lnTo>
                    <a:pt x="7" y="8"/>
                  </a:lnTo>
                  <a:lnTo>
                    <a:pt x="11" y="8"/>
                  </a:lnTo>
                  <a:lnTo>
                    <a:pt x="11" y="1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4" name="Freeform 1099"/>
            <p:cNvSpPr>
              <a:spLocks/>
            </p:cNvSpPr>
            <p:nvPr/>
          </p:nvSpPr>
          <p:spPr bwMode="auto">
            <a:xfrm>
              <a:off x="1445"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5" name="Freeform 1100"/>
            <p:cNvSpPr>
              <a:spLocks/>
            </p:cNvSpPr>
            <p:nvPr/>
          </p:nvSpPr>
          <p:spPr bwMode="auto">
            <a:xfrm>
              <a:off x="1445"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6" name="Freeform 1101"/>
            <p:cNvSpPr>
              <a:spLocks/>
            </p:cNvSpPr>
            <p:nvPr/>
          </p:nvSpPr>
          <p:spPr bwMode="auto">
            <a:xfrm>
              <a:off x="1466" y="3889"/>
              <a:ext cx="13" cy="17"/>
            </a:xfrm>
            <a:custGeom>
              <a:avLst/>
              <a:gdLst>
                <a:gd name="T0" fmla="*/ 5 w 13"/>
                <a:gd name="T1" fmla="*/ 0 h 17"/>
                <a:gd name="T2" fmla="*/ 0 w 13"/>
                <a:gd name="T3" fmla="*/ 2 h 17"/>
                <a:gd name="T4" fmla="*/ 3 w 13"/>
                <a:gd name="T5" fmla="*/ 6 h 17"/>
                <a:gd name="T6" fmla="*/ 3 w 13"/>
                <a:gd name="T7" fmla="*/ 13 h 17"/>
                <a:gd name="T8" fmla="*/ 7 w 13"/>
                <a:gd name="T9" fmla="*/ 17 h 17"/>
                <a:gd name="T10" fmla="*/ 13 w 13"/>
                <a:gd name="T11" fmla="*/ 13 h 17"/>
                <a:gd name="T12" fmla="*/ 13 w 13"/>
                <a:gd name="T13" fmla="*/ 8 h 17"/>
                <a:gd name="T14" fmla="*/ 5 w 13"/>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7">
                  <a:moveTo>
                    <a:pt x="5" y="0"/>
                  </a:moveTo>
                  <a:lnTo>
                    <a:pt x="0" y="2"/>
                  </a:lnTo>
                  <a:lnTo>
                    <a:pt x="3" y="6"/>
                  </a:lnTo>
                  <a:lnTo>
                    <a:pt x="3" y="13"/>
                  </a:lnTo>
                  <a:lnTo>
                    <a:pt x="7" y="17"/>
                  </a:lnTo>
                  <a:lnTo>
                    <a:pt x="13" y="13"/>
                  </a:lnTo>
                  <a:lnTo>
                    <a:pt x="13" y="8"/>
                  </a:lnTo>
                  <a:lnTo>
                    <a:pt x="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7" name="Freeform 1102"/>
            <p:cNvSpPr>
              <a:spLocks/>
            </p:cNvSpPr>
            <p:nvPr/>
          </p:nvSpPr>
          <p:spPr bwMode="auto">
            <a:xfrm>
              <a:off x="1466" y="3889"/>
              <a:ext cx="13" cy="17"/>
            </a:xfrm>
            <a:custGeom>
              <a:avLst/>
              <a:gdLst>
                <a:gd name="T0" fmla="*/ 5 w 13"/>
                <a:gd name="T1" fmla="*/ 0 h 17"/>
                <a:gd name="T2" fmla="*/ 0 w 13"/>
                <a:gd name="T3" fmla="*/ 2 h 17"/>
                <a:gd name="T4" fmla="*/ 3 w 13"/>
                <a:gd name="T5" fmla="*/ 6 h 17"/>
                <a:gd name="T6" fmla="*/ 3 w 13"/>
                <a:gd name="T7" fmla="*/ 13 h 17"/>
                <a:gd name="T8" fmla="*/ 7 w 13"/>
                <a:gd name="T9" fmla="*/ 17 h 17"/>
                <a:gd name="T10" fmla="*/ 13 w 13"/>
                <a:gd name="T11" fmla="*/ 13 h 17"/>
                <a:gd name="T12" fmla="*/ 13 w 13"/>
                <a:gd name="T13" fmla="*/ 8 h 17"/>
                <a:gd name="T14" fmla="*/ 5 w 13"/>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7">
                  <a:moveTo>
                    <a:pt x="5" y="0"/>
                  </a:moveTo>
                  <a:lnTo>
                    <a:pt x="0" y="2"/>
                  </a:lnTo>
                  <a:lnTo>
                    <a:pt x="3" y="6"/>
                  </a:lnTo>
                  <a:lnTo>
                    <a:pt x="3" y="13"/>
                  </a:lnTo>
                  <a:lnTo>
                    <a:pt x="7" y="17"/>
                  </a:lnTo>
                  <a:lnTo>
                    <a:pt x="13" y="13"/>
                  </a:lnTo>
                  <a:lnTo>
                    <a:pt x="13" y="8"/>
                  </a:lnTo>
                  <a:lnTo>
                    <a:pt x="5"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8" name="Freeform 1103"/>
            <p:cNvSpPr>
              <a:spLocks/>
            </p:cNvSpPr>
            <p:nvPr/>
          </p:nvSpPr>
          <p:spPr bwMode="auto">
            <a:xfrm>
              <a:off x="1456" y="3949"/>
              <a:ext cx="10" cy="6"/>
            </a:xfrm>
            <a:custGeom>
              <a:avLst/>
              <a:gdLst>
                <a:gd name="T0" fmla="*/ 10 w 10"/>
                <a:gd name="T1" fmla="*/ 0 h 6"/>
                <a:gd name="T2" fmla="*/ 6 w 10"/>
                <a:gd name="T3" fmla="*/ 2 h 6"/>
                <a:gd name="T4" fmla="*/ 0 w 10"/>
                <a:gd name="T5" fmla="*/ 0 h 6"/>
                <a:gd name="T6" fmla="*/ 0 w 10"/>
                <a:gd name="T7" fmla="*/ 4 h 6"/>
                <a:gd name="T8" fmla="*/ 4 w 10"/>
                <a:gd name="T9" fmla="*/ 6 h 6"/>
                <a:gd name="T10" fmla="*/ 4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6" y="2"/>
                  </a:lnTo>
                  <a:lnTo>
                    <a:pt x="0" y="0"/>
                  </a:lnTo>
                  <a:lnTo>
                    <a:pt x="0" y="4"/>
                  </a:lnTo>
                  <a:lnTo>
                    <a:pt x="4" y="6"/>
                  </a:lnTo>
                  <a:lnTo>
                    <a:pt x="4" y="2"/>
                  </a:lnTo>
                  <a:lnTo>
                    <a:pt x="1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19" name="Freeform 1104"/>
            <p:cNvSpPr>
              <a:spLocks/>
            </p:cNvSpPr>
            <p:nvPr/>
          </p:nvSpPr>
          <p:spPr bwMode="auto">
            <a:xfrm>
              <a:off x="1456" y="3949"/>
              <a:ext cx="10" cy="6"/>
            </a:xfrm>
            <a:custGeom>
              <a:avLst/>
              <a:gdLst>
                <a:gd name="T0" fmla="*/ 10 w 10"/>
                <a:gd name="T1" fmla="*/ 0 h 6"/>
                <a:gd name="T2" fmla="*/ 6 w 10"/>
                <a:gd name="T3" fmla="*/ 2 h 6"/>
                <a:gd name="T4" fmla="*/ 0 w 10"/>
                <a:gd name="T5" fmla="*/ 0 h 6"/>
                <a:gd name="T6" fmla="*/ 0 w 10"/>
                <a:gd name="T7" fmla="*/ 4 h 6"/>
                <a:gd name="T8" fmla="*/ 4 w 10"/>
                <a:gd name="T9" fmla="*/ 6 h 6"/>
                <a:gd name="T10" fmla="*/ 4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6" y="2"/>
                  </a:lnTo>
                  <a:lnTo>
                    <a:pt x="0" y="0"/>
                  </a:lnTo>
                  <a:lnTo>
                    <a:pt x="0" y="4"/>
                  </a:lnTo>
                  <a:lnTo>
                    <a:pt x="4" y="6"/>
                  </a:lnTo>
                  <a:lnTo>
                    <a:pt x="4" y="2"/>
                  </a:lnTo>
                  <a:lnTo>
                    <a:pt x="1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0" name="Freeform 1105"/>
            <p:cNvSpPr>
              <a:spLocks/>
            </p:cNvSpPr>
            <p:nvPr/>
          </p:nvSpPr>
          <p:spPr bwMode="auto">
            <a:xfrm>
              <a:off x="1454" y="3966"/>
              <a:ext cx="6" cy="4"/>
            </a:xfrm>
            <a:custGeom>
              <a:avLst/>
              <a:gdLst>
                <a:gd name="T0" fmla="*/ 4 w 6"/>
                <a:gd name="T1" fmla="*/ 4 h 4"/>
                <a:gd name="T2" fmla="*/ 6 w 6"/>
                <a:gd name="T3" fmla="*/ 0 h 4"/>
                <a:gd name="T4" fmla="*/ 0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6" y="0"/>
                  </a:lnTo>
                  <a:lnTo>
                    <a:pt x="0" y="0"/>
                  </a:lnTo>
                  <a:lnTo>
                    <a:pt x="4"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1" name="Freeform 1106"/>
            <p:cNvSpPr>
              <a:spLocks/>
            </p:cNvSpPr>
            <p:nvPr/>
          </p:nvSpPr>
          <p:spPr bwMode="auto">
            <a:xfrm>
              <a:off x="1454" y="3966"/>
              <a:ext cx="6" cy="4"/>
            </a:xfrm>
            <a:custGeom>
              <a:avLst/>
              <a:gdLst>
                <a:gd name="T0" fmla="*/ 4 w 6"/>
                <a:gd name="T1" fmla="*/ 4 h 4"/>
                <a:gd name="T2" fmla="*/ 6 w 6"/>
                <a:gd name="T3" fmla="*/ 0 h 4"/>
                <a:gd name="T4" fmla="*/ 0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6" y="0"/>
                  </a:lnTo>
                  <a:lnTo>
                    <a:pt x="0" y="0"/>
                  </a:lnTo>
                  <a:lnTo>
                    <a:pt x="4"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2" name="Freeform 1107"/>
            <p:cNvSpPr>
              <a:spLocks/>
            </p:cNvSpPr>
            <p:nvPr/>
          </p:nvSpPr>
          <p:spPr bwMode="auto">
            <a:xfrm>
              <a:off x="1469" y="3908"/>
              <a:ext cx="12" cy="13"/>
            </a:xfrm>
            <a:custGeom>
              <a:avLst/>
              <a:gdLst>
                <a:gd name="T0" fmla="*/ 8 w 12"/>
                <a:gd name="T1" fmla="*/ 0 h 13"/>
                <a:gd name="T2" fmla="*/ 0 w 12"/>
                <a:gd name="T3" fmla="*/ 4 h 13"/>
                <a:gd name="T4" fmla="*/ 2 w 12"/>
                <a:gd name="T5" fmla="*/ 9 h 13"/>
                <a:gd name="T6" fmla="*/ 6 w 12"/>
                <a:gd name="T7" fmla="*/ 13 h 13"/>
                <a:gd name="T8" fmla="*/ 10 w 12"/>
                <a:gd name="T9" fmla="*/ 11 h 13"/>
                <a:gd name="T10" fmla="*/ 12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0" y="4"/>
                  </a:lnTo>
                  <a:lnTo>
                    <a:pt x="2" y="9"/>
                  </a:lnTo>
                  <a:lnTo>
                    <a:pt x="6" y="13"/>
                  </a:lnTo>
                  <a:lnTo>
                    <a:pt x="10" y="11"/>
                  </a:lnTo>
                  <a:lnTo>
                    <a:pt x="12" y="4"/>
                  </a:lnTo>
                  <a:lnTo>
                    <a:pt x="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3" name="Freeform 1108"/>
            <p:cNvSpPr>
              <a:spLocks/>
            </p:cNvSpPr>
            <p:nvPr/>
          </p:nvSpPr>
          <p:spPr bwMode="auto">
            <a:xfrm>
              <a:off x="1469" y="3908"/>
              <a:ext cx="12" cy="13"/>
            </a:xfrm>
            <a:custGeom>
              <a:avLst/>
              <a:gdLst>
                <a:gd name="T0" fmla="*/ 8 w 12"/>
                <a:gd name="T1" fmla="*/ 0 h 13"/>
                <a:gd name="T2" fmla="*/ 0 w 12"/>
                <a:gd name="T3" fmla="*/ 4 h 13"/>
                <a:gd name="T4" fmla="*/ 2 w 12"/>
                <a:gd name="T5" fmla="*/ 9 h 13"/>
                <a:gd name="T6" fmla="*/ 6 w 12"/>
                <a:gd name="T7" fmla="*/ 13 h 13"/>
                <a:gd name="T8" fmla="*/ 10 w 12"/>
                <a:gd name="T9" fmla="*/ 11 h 13"/>
                <a:gd name="T10" fmla="*/ 12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0" y="4"/>
                  </a:lnTo>
                  <a:lnTo>
                    <a:pt x="2" y="9"/>
                  </a:lnTo>
                  <a:lnTo>
                    <a:pt x="6" y="13"/>
                  </a:lnTo>
                  <a:lnTo>
                    <a:pt x="10" y="11"/>
                  </a:lnTo>
                  <a:lnTo>
                    <a:pt x="12" y="4"/>
                  </a:lnTo>
                  <a:lnTo>
                    <a:pt x="8"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4" name="Freeform 1109"/>
            <p:cNvSpPr>
              <a:spLocks/>
            </p:cNvSpPr>
            <p:nvPr/>
          </p:nvSpPr>
          <p:spPr bwMode="auto">
            <a:xfrm>
              <a:off x="1464"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5" name="Freeform 1110"/>
            <p:cNvSpPr>
              <a:spLocks/>
            </p:cNvSpPr>
            <p:nvPr/>
          </p:nvSpPr>
          <p:spPr bwMode="auto">
            <a:xfrm>
              <a:off x="1464"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6" name="Freeform 1111"/>
            <p:cNvSpPr>
              <a:spLocks/>
            </p:cNvSpPr>
            <p:nvPr/>
          </p:nvSpPr>
          <p:spPr bwMode="auto">
            <a:xfrm>
              <a:off x="1462" y="3966"/>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7" name="Freeform 1112"/>
            <p:cNvSpPr>
              <a:spLocks/>
            </p:cNvSpPr>
            <p:nvPr/>
          </p:nvSpPr>
          <p:spPr bwMode="auto">
            <a:xfrm>
              <a:off x="1462" y="3966"/>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8" name="Freeform 1113"/>
            <p:cNvSpPr>
              <a:spLocks/>
            </p:cNvSpPr>
            <p:nvPr/>
          </p:nvSpPr>
          <p:spPr bwMode="auto">
            <a:xfrm>
              <a:off x="1460" y="3972"/>
              <a:ext cx="4" cy="8"/>
            </a:xfrm>
            <a:custGeom>
              <a:avLst/>
              <a:gdLst>
                <a:gd name="T0" fmla="*/ 4 w 4"/>
                <a:gd name="T1" fmla="*/ 0 h 8"/>
                <a:gd name="T2" fmla="*/ 2 w 4"/>
                <a:gd name="T3" fmla="*/ 0 h 8"/>
                <a:gd name="T4" fmla="*/ 0 w 4"/>
                <a:gd name="T5" fmla="*/ 4 h 8"/>
                <a:gd name="T6" fmla="*/ 2 w 4"/>
                <a:gd name="T7" fmla="*/ 8 h 8"/>
                <a:gd name="T8" fmla="*/ 0 w 4"/>
                <a:gd name="T9" fmla="*/ 4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2" y="0"/>
                  </a:lnTo>
                  <a:lnTo>
                    <a:pt x="0" y="4"/>
                  </a:lnTo>
                  <a:lnTo>
                    <a:pt x="2" y="8"/>
                  </a:lnTo>
                  <a:lnTo>
                    <a:pt x="0" y="4"/>
                  </a:lnTo>
                  <a:lnTo>
                    <a:pt x="4"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29" name="Freeform 1114"/>
            <p:cNvSpPr>
              <a:spLocks/>
            </p:cNvSpPr>
            <p:nvPr/>
          </p:nvSpPr>
          <p:spPr bwMode="auto">
            <a:xfrm>
              <a:off x="1460" y="3972"/>
              <a:ext cx="4" cy="8"/>
            </a:xfrm>
            <a:custGeom>
              <a:avLst/>
              <a:gdLst>
                <a:gd name="T0" fmla="*/ 4 w 4"/>
                <a:gd name="T1" fmla="*/ 0 h 8"/>
                <a:gd name="T2" fmla="*/ 2 w 4"/>
                <a:gd name="T3" fmla="*/ 0 h 8"/>
                <a:gd name="T4" fmla="*/ 0 w 4"/>
                <a:gd name="T5" fmla="*/ 4 h 8"/>
                <a:gd name="T6" fmla="*/ 2 w 4"/>
                <a:gd name="T7" fmla="*/ 8 h 8"/>
                <a:gd name="T8" fmla="*/ 0 w 4"/>
                <a:gd name="T9" fmla="*/ 4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2" y="0"/>
                  </a:lnTo>
                  <a:lnTo>
                    <a:pt x="0" y="4"/>
                  </a:lnTo>
                  <a:lnTo>
                    <a:pt x="2" y="8"/>
                  </a:lnTo>
                  <a:lnTo>
                    <a:pt x="0" y="4"/>
                  </a:lnTo>
                  <a:lnTo>
                    <a:pt x="4"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0" name="Freeform 1115"/>
            <p:cNvSpPr>
              <a:spLocks/>
            </p:cNvSpPr>
            <p:nvPr/>
          </p:nvSpPr>
          <p:spPr bwMode="auto">
            <a:xfrm>
              <a:off x="1464" y="3963"/>
              <a:ext cx="5" cy="5"/>
            </a:xfrm>
            <a:custGeom>
              <a:avLst/>
              <a:gdLst>
                <a:gd name="T0" fmla="*/ 5 w 5"/>
                <a:gd name="T1" fmla="*/ 0 h 5"/>
                <a:gd name="T2" fmla="*/ 0 w 5"/>
                <a:gd name="T3" fmla="*/ 0 h 5"/>
                <a:gd name="T4" fmla="*/ 5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0"/>
                  </a:lnTo>
                  <a:lnTo>
                    <a:pt x="5" y="5"/>
                  </a:lnTo>
                  <a:lnTo>
                    <a:pt x="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1" name="Freeform 1116"/>
            <p:cNvSpPr>
              <a:spLocks/>
            </p:cNvSpPr>
            <p:nvPr/>
          </p:nvSpPr>
          <p:spPr bwMode="auto">
            <a:xfrm>
              <a:off x="1464" y="3963"/>
              <a:ext cx="5" cy="5"/>
            </a:xfrm>
            <a:custGeom>
              <a:avLst/>
              <a:gdLst>
                <a:gd name="T0" fmla="*/ 5 w 5"/>
                <a:gd name="T1" fmla="*/ 0 h 5"/>
                <a:gd name="T2" fmla="*/ 0 w 5"/>
                <a:gd name="T3" fmla="*/ 0 h 5"/>
                <a:gd name="T4" fmla="*/ 5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0"/>
                  </a:lnTo>
                  <a:lnTo>
                    <a:pt x="5" y="5"/>
                  </a:lnTo>
                  <a:lnTo>
                    <a:pt x="5"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2" name="Freeform 1117"/>
            <p:cNvSpPr>
              <a:spLocks/>
            </p:cNvSpPr>
            <p:nvPr/>
          </p:nvSpPr>
          <p:spPr bwMode="auto">
            <a:xfrm>
              <a:off x="1466" y="3974"/>
              <a:ext cx="7" cy="9"/>
            </a:xfrm>
            <a:custGeom>
              <a:avLst/>
              <a:gdLst>
                <a:gd name="T0" fmla="*/ 5 w 7"/>
                <a:gd name="T1" fmla="*/ 0 h 9"/>
                <a:gd name="T2" fmla="*/ 0 w 7"/>
                <a:gd name="T3" fmla="*/ 4 h 9"/>
                <a:gd name="T4" fmla="*/ 0 w 7"/>
                <a:gd name="T5" fmla="*/ 9 h 9"/>
                <a:gd name="T6" fmla="*/ 7 w 7"/>
                <a:gd name="T7" fmla="*/ 6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0" y="4"/>
                  </a:lnTo>
                  <a:lnTo>
                    <a:pt x="0" y="9"/>
                  </a:lnTo>
                  <a:lnTo>
                    <a:pt x="7" y="6"/>
                  </a:lnTo>
                  <a:lnTo>
                    <a:pt x="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3" name="Freeform 1118"/>
            <p:cNvSpPr>
              <a:spLocks/>
            </p:cNvSpPr>
            <p:nvPr/>
          </p:nvSpPr>
          <p:spPr bwMode="auto">
            <a:xfrm>
              <a:off x="1466" y="3974"/>
              <a:ext cx="7" cy="9"/>
            </a:xfrm>
            <a:custGeom>
              <a:avLst/>
              <a:gdLst>
                <a:gd name="T0" fmla="*/ 5 w 7"/>
                <a:gd name="T1" fmla="*/ 0 h 9"/>
                <a:gd name="T2" fmla="*/ 0 w 7"/>
                <a:gd name="T3" fmla="*/ 4 h 9"/>
                <a:gd name="T4" fmla="*/ 0 w 7"/>
                <a:gd name="T5" fmla="*/ 9 h 9"/>
                <a:gd name="T6" fmla="*/ 7 w 7"/>
                <a:gd name="T7" fmla="*/ 6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0" y="4"/>
                  </a:lnTo>
                  <a:lnTo>
                    <a:pt x="0" y="9"/>
                  </a:lnTo>
                  <a:lnTo>
                    <a:pt x="7" y="6"/>
                  </a:lnTo>
                  <a:lnTo>
                    <a:pt x="5"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4" name="Freeform 1119"/>
            <p:cNvSpPr>
              <a:spLocks/>
            </p:cNvSpPr>
            <p:nvPr/>
          </p:nvSpPr>
          <p:spPr bwMode="auto">
            <a:xfrm>
              <a:off x="1481" y="3912"/>
              <a:ext cx="22" cy="24"/>
            </a:xfrm>
            <a:custGeom>
              <a:avLst/>
              <a:gdLst>
                <a:gd name="T0" fmla="*/ 9 w 22"/>
                <a:gd name="T1" fmla="*/ 0 h 24"/>
                <a:gd name="T2" fmla="*/ 2 w 22"/>
                <a:gd name="T3" fmla="*/ 0 h 24"/>
                <a:gd name="T4" fmla="*/ 2 w 22"/>
                <a:gd name="T5" fmla="*/ 7 h 24"/>
                <a:gd name="T6" fmla="*/ 0 w 22"/>
                <a:gd name="T7" fmla="*/ 11 h 24"/>
                <a:gd name="T8" fmla="*/ 2 w 22"/>
                <a:gd name="T9" fmla="*/ 15 h 24"/>
                <a:gd name="T10" fmla="*/ 7 w 22"/>
                <a:gd name="T11" fmla="*/ 17 h 24"/>
                <a:gd name="T12" fmla="*/ 15 w 22"/>
                <a:gd name="T13" fmla="*/ 24 h 24"/>
                <a:gd name="T14" fmla="*/ 22 w 22"/>
                <a:gd name="T15" fmla="*/ 22 h 24"/>
                <a:gd name="T16" fmla="*/ 17 w 22"/>
                <a:gd name="T17" fmla="*/ 15 h 24"/>
                <a:gd name="T18" fmla="*/ 17 w 22"/>
                <a:gd name="T19" fmla="*/ 11 h 24"/>
                <a:gd name="T20" fmla="*/ 9 w 22"/>
                <a:gd name="T21" fmla="*/ 5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2" y="0"/>
                  </a:lnTo>
                  <a:lnTo>
                    <a:pt x="2" y="7"/>
                  </a:lnTo>
                  <a:lnTo>
                    <a:pt x="0" y="11"/>
                  </a:lnTo>
                  <a:lnTo>
                    <a:pt x="2" y="15"/>
                  </a:lnTo>
                  <a:lnTo>
                    <a:pt x="7" y="17"/>
                  </a:lnTo>
                  <a:lnTo>
                    <a:pt x="15" y="24"/>
                  </a:lnTo>
                  <a:lnTo>
                    <a:pt x="22" y="22"/>
                  </a:lnTo>
                  <a:lnTo>
                    <a:pt x="17" y="15"/>
                  </a:lnTo>
                  <a:lnTo>
                    <a:pt x="17" y="11"/>
                  </a:lnTo>
                  <a:lnTo>
                    <a:pt x="9" y="5"/>
                  </a:lnTo>
                  <a:lnTo>
                    <a:pt x="9"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5" name="Freeform 1120"/>
            <p:cNvSpPr>
              <a:spLocks/>
            </p:cNvSpPr>
            <p:nvPr/>
          </p:nvSpPr>
          <p:spPr bwMode="auto">
            <a:xfrm>
              <a:off x="1481" y="3912"/>
              <a:ext cx="22" cy="24"/>
            </a:xfrm>
            <a:custGeom>
              <a:avLst/>
              <a:gdLst>
                <a:gd name="T0" fmla="*/ 9 w 22"/>
                <a:gd name="T1" fmla="*/ 0 h 24"/>
                <a:gd name="T2" fmla="*/ 2 w 22"/>
                <a:gd name="T3" fmla="*/ 0 h 24"/>
                <a:gd name="T4" fmla="*/ 2 w 22"/>
                <a:gd name="T5" fmla="*/ 7 h 24"/>
                <a:gd name="T6" fmla="*/ 0 w 22"/>
                <a:gd name="T7" fmla="*/ 11 h 24"/>
                <a:gd name="T8" fmla="*/ 2 w 22"/>
                <a:gd name="T9" fmla="*/ 15 h 24"/>
                <a:gd name="T10" fmla="*/ 7 w 22"/>
                <a:gd name="T11" fmla="*/ 17 h 24"/>
                <a:gd name="T12" fmla="*/ 15 w 22"/>
                <a:gd name="T13" fmla="*/ 24 h 24"/>
                <a:gd name="T14" fmla="*/ 22 w 22"/>
                <a:gd name="T15" fmla="*/ 22 h 24"/>
                <a:gd name="T16" fmla="*/ 17 w 22"/>
                <a:gd name="T17" fmla="*/ 15 h 24"/>
                <a:gd name="T18" fmla="*/ 17 w 22"/>
                <a:gd name="T19" fmla="*/ 11 h 24"/>
                <a:gd name="T20" fmla="*/ 9 w 22"/>
                <a:gd name="T21" fmla="*/ 5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2" y="0"/>
                  </a:lnTo>
                  <a:lnTo>
                    <a:pt x="2" y="7"/>
                  </a:lnTo>
                  <a:lnTo>
                    <a:pt x="0" y="11"/>
                  </a:lnTo>
                  <a:lnTo>
                    <a:pt x="2" y="15"/>
                  </a:lnTo>
                  <a:lnTo>
                    <a:pt x="7" y="17"/>
                  </a:lnTo>
                  <a:lnTo>
                    <a:pt x="15" y="24"/>
                  </a:lnTo>
                  <a:lnTo>
                    <a:pt x="22" y="22"/>
                  </a:lnTo>
                  <a:lnTo>
                    <a:pt x="17" y="15"/>
                  </a:lnTo>
                  <a:lnTo>
                    <a:pt x="17" y="11"/>
                  </a:lnTo>
                  <a:lnTo>
                    <a:pt x="9" y="5"/>
                  </a:lnTo>
                  <a:lnTo>
                    <a:pt x="9"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6" name="Freeform 1121"/>
            <p:cNvSpPr>
              <a:spLocks/>
            </p:cNvSpPr>
            <p:nvPr/>
          </p:nvSpPr>
          <p:spPr bwMode="auto">
            <a:xfrm>
              <a:off x="1490" y="3904"/>
              <a:ext cx="13" cy="19"/>
            </a:xfrm>
            <a:custGeom>
              <a:avLst/>
              <a:gdLst>
                <a:gd name="T0" fmla="*/ 0 w 13"/>
                <a:gd name="T1" fmla="*/ 0 h 19"/>
                <a:gd name="T2" fmla="*/ 2 w 13"/>
                <a:gd name="T3" fmla="*/ 15 h 19"/>
                <a:gd name="T4" fmla="*/ 8 w 13"/>
                <a:gd name="T5" fmla="*/ 15 h 19"/>
                <a:gd name="T6" fmla="*/ 13 w 13"/>
                <a:gd name="T7" fmla="*/ 19 h 19"/>
                <a:gd name="T8" fmla="*/ 13 w 13"/>
                <a:gd name="T9" fmla="*/ 15 h 19"/>
                <a:gd name="T10" fmla="*/ 13 w 13"/>
                <a:gd name="T11" fmla="*/ 8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2" y="15"/>
                  </a:lnTo>
                  <a:lnTo>
                    <a:pt x="8" y="15"/>
                  </a:lnTo>
                  <a:lnTo>
                    <a:pt x="13" y="19"/>
                  </a:lnTo>
                  <a:lnTo>
                    <a:pt x="13" y="15"/>
                  </a:lnTo>
                  <a:lnTo>
                    <a:pt x="13" y="8"/>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7" name="Freeform 1122"/>
            <p:cNvSpPr>
              <a:spLocks/>
            </p:cNvSpPr>
            <p:nvPr/>
          </p:nvSpPr>
          <p:spPr bwMode="auto">
            <a:xfrm>
              <a:off x="1490" y="3904"/>
              <a:ext cx="13" cy="19"/>
            </a:xfrm>
            <a:custGeom>
              <a:avLst/>
              <a:gdLst>
                <a:gd name="T0" fmla="*/ 0 w 13"/>
                <a:gd name="T1" fmla="*/ 0 h 19"/>
                <a:gd name="T2" fmla="*/ 2 w 13"/>
                <a:gd name="T3" fmla="*/ 15 h 19"/>
                <a:gd name="T4" fmla="*/ 8 w 13"/>
                <a:gd name="T5" fmla="*/ 15 h 19"/>
                <a:gd name="T6" fmla="*/ 13 w 13"/>
                <a:gd name="T7" fmla="*/ 19 h 19"/>
                <a:gd name="T8" fmla="*/ 13 w 13"/>
                <a:gd name="T9" fmla="*/ 15 h 19"/>
                <a:gd name="T10" fmla="*/ 13 w 13"/>
                <a:gd name="T11" fmla="*/ 8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2" y="15"/>
                  </a:lnTo>
                  <a:lnTo>
                    <a:pt x="8" y="15"/>
                  </a:lnTo>
                  <a:lnTo>
                    <a:pt x="13" y="19"/>
                  </a:lnTo>
                  <a:lnTo>
                    <a:pt x="13" y="15"/>
                  </a:lnTo>
                  <a:lnTo>
                    <a:pt x="13" y="8"/>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8" name="Freeform 1123"/>
            <p:cNvSpPr>
              <a:spLocks/>
            </p:cNvSpPr>
            <p:nvPr/>
          </p:nvSpPr>
          <p:spPr bwMode="auto">
            <a:xfrm>
              <a:off x="1475" y="3978"/>
              <a:ext cx="21" cy="30"/>
            </a:xfrm>
            <a:custGeom>
              <a:avLst/>
              <a:gdLst>
                <a:gd name="T0" fmla="*/ 2 w 21"/>
                <a:gd name="T1" fmla="*/ 0 h 30"/>
                <a:gd name="T2" fmla="*/ 2 w 21"/>
                <a:gd name="T3" fmla="*/ 0 h 30"/>
                <a:gd name="T4" fmla="*/ 0 w 21"/>
                <a:gd name="T5" fmla="*/ 11 h 30"/>
                <a:gd name="T6" fmla="*/ 4 w 21"/>
                <a:gd name="T7" fmla="*/ 17 h 30"/>
                <a:gd name="T8" fmla="*/ 17 w 21"/>
                <a:gd name="T9" fmla="*/ 30 h 30"/>
                <a:gd name="T10" fmla="*/ 21 w 21"/>
                <a:gd name="T11" fmla="*/ 30 h 30"/>
                <a:gd name="T12" fmla="*/ 19 w 21"/>
                <a:gd name="T13" fmla="*/ 24 h 30"/>
                <a:gd name="T14" fmla="*/ 11 w 21"/>
                <a:gd name="T15" fmla="*/ 15 h 30"/>
                <a:gd name="T16" fmla="*/ 8 w 21"/>
                <a:gd name="T17" fmla="*/ 11 h 30"/>
                <a:gd name="T18" fmla="*/ 4 w 21"/>
                <a:gd name="T19" fmla="*/ 7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2" y="0"/>
                  </a:lnTo>
                  <a:lnTo>
                    <a:pt x="0" y="11"/>
                  </a:lnTo>
                  <a:lnTo>
                    <a:pt x="4" y="17"/>
                  </a:lnTo>
                  <a:lnTo>
                    <a:pt x="17" y="30"/>
                  </a:lnTo>
                  <a:lnTo>
                    <a:pt x="21" y="30"/>
                  </a:lnTo>
                  <a:lnTo>
                    <a:pt x="19" y="24"/>
                  </a:lnTo>
                  <a:lnTo>
                    <a:pt x="11" y="15"/>
                  </a:lnTo>
                  <a:lnTo>
                    <a:pt x="8" y="11"/>
                  </a:lnTo>
                  <a:lnTo>
                    <a:pt x="4" y="7"/>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39" name="Freeform 1124"/>
            <p:cNvSpPr>
              <a:spLocks/>
            </p:cNvSpPr>
            <p:nvPr/>
          </p:nvSpPr>
          <p:spPr bwMode="auto">
            <a:xfrm>
              <a:off x="1475" y="3978"/>
              <a:ext cx="21" cy="30"/>
            </a:xfrm>
            <a:custGeom>
              <a:avLst/>
              <a:gdLst>
                <a:gd name="T0" fmla="*/ 2 w 21"/>
                <a:gd name="T1" fmla="*/ 0 h 30"/>
                <a:gd name="T2" fmla="*/ 2 w 21"/>
                <a:gd name="T3" fmla="*/ 0 h 30"/>
                <a:gd name="T4" fmla="*/ 0 w 21"/>
                <a:gd name="T5" fmla="*/ 11 h 30"/>
                <a:gd name="T6" fmla="*/ 4 w 21"/>
                <a:gd name="T7" fmla="*/ 17 h 30"/>
                <a:gd name="T8" fmla="*/ 17 w 21"/>
                <a:gd name="T9" fmla="*/ 30 h 30"/>
                <a:gd name="T10" fmla="*/ 21 w 21"/>
                <a:gd name="T11" fmla="*/ 30 h 30"/>
                <a:gd name="T12" fmla="*/ 19 w 21"/>
                <a:gd name="T13" fmla="*/ 24 h 30"/>
                <a:gd name="T14" fmla="*/ 11 w 21"/>
                <a:gd name="T15" fmla="*/ 15 h 30"/>
                <a:gd name="T16" fmla="*/ 8 w 21"/>
                <a:gd name="T17" fmla="*/ 11 h 30"/>
                <a:gd name="T18" fmla="*/ 4 w 21"/>
                <a:gd name="T19" fmla="*/ 7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2" y="0"/>
                  </a:lnTo>
                  <a:lnTo>
                    <a:pt x="0" y="11"/>
                  </a:lnTo>
                  <a:lnTo>
                    <a:pt x="4" y="17"/>
                  </a:lnTo>
                  <a:lnTo>
                    <a:pt x="17" y="30"/>
                  </a:lnTo>
                  <a:lnTo>
                    <a:pt x="21" y="30"/>
                  </a:lnTo>
                  <a:lnTo>
                    <a:pt x="19" y="24"/>
                  </a:lnTo>
                  <a:lnTo>
                    <a:pt x="11" y="15"/>
                  </a:lnTo>
                  <a:lnTo>
                    <a:pt x="8" y="11"/>
                  </a:lnTo>
                  <a:lnTo>
                    <a:pt x="4" y="7"/>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0" name="Freeform 1125"/>
            <p:cNvSpPr>
              <a:spLocks/>
            </p:cNvSpPr>
            <p:nvPr/>
          </p:nvSpPr>
          <p:spPr bwMode="auto">
            <a:xfrm>
              <a:off x="1488" y="3980"/>
              <a:ext cx="4" cy="9"/>
            </a:xfrm>
            <a:custGeom>
              <a:avLst/>
              <a:gdLst>
                <a:gd name="T0" fmla="*/ 0 w 4"/>
                <a:gd name="T1" fmla="*/ 0 h 9"/>
                <a:gd name="T2" fmla="*/ 0 w 4"/>
                <a:gd name="T3" fmla="*/ 5 h 9"/>
                <a:gd name="T4" fmla="*/ 0 w 4"/>
                <a:gd name="T5" fmla="*/ 9 h 9"/>
                <a:gd name="T6" fmla="*/ 4 w 4"/>
                <a:gd name="T7" fmla="*/ 9 h 9"/>
                <a:gd name="T8" fmla="*/ 4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0" y="5"/>
                  </a:lnTo>
                  <a:lnTo>
                    <a:pt x="0" y="9"/>
                  </a:lnTo>
                  <a:lnTo>
                    <a:pt x="4" y="9"/>
                  </a:lnTo>
                  <a:lnTo>
                    <a:pt x="4" y="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1" name="Freeform 1126"/>
            <p:cNvSpPr>
              <a:spLocks/>
            </p:cNvSpPr>
            <p:nvPr/>
          </p:nvSpPr>
          <p:spPr bwMode="auto">
            <a:xfrm>
              <a:off x="1488" y="3980"/>
              <a:ext cx="4" cy="9"/>
            </a:xfrm>
            <a:custGeom>
              <a:avLst/>
              <a:gdLst>
                <a:gd name="T0" fmla="*/ 0 w 4"/>
                <a:gd name="T1" fmla="*/ 0 h 9"/>
                <a:gd name="T2" fmla="*/ 0 w 4"/>
                <a:gd name="T3" fmla="*/ 5 h 9"/>
                <a:gd name="T4" fmla="*/ 0 w 4"/>
                <a:gd name="T5" fmla="*/ 9 h 9"/>
                <a:gd name="T6" fmla="*/ 4 w 4"/>
                <a:gd name="T7" fmla="*/ 9 h 9"/>
                <a:gd name="T8" fmla="*/ 4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0" y="5"/>
                  </a:lnTo>
                  <a:lnTo>
                    <a:pt x="0" y="9"/>
                  </a:lnTo>
                  <a:lnTo>
                    <a:pt x="4" y="9"/>
                  </a:lnTo>
                  <a:lnTo>
                    <a:pt x="4" y="5"/>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2" name="Freeform 1127"/>
            <p:cNvSpPr>
              <a:spLocks/>
            </p:cNvSpPr>
            <p:nvPr/>
          </p:nvSpPr>
          <p:spPr bwMode="auto">
            <a:xfrm>
              <a:off x="1494" y="3995"/>
              <a:ext cx="4" cy="7"/>
            </a:xfrm>
            <a:custGeom>
              <a:avLst/>
              <a:gdLst>
                <a:gd name="T0" fmla="*/ 2 w 4"/>
                <a:gd name="T1" fmla="*/ 0 h 7"/>
                <a:gd name="T2" fmla="*/ 0 w 4"/>
                <a:gd name="T3" fmla="*/ 0 h 7"/>
                <a:gd name="T4" fmla="*/ 0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0"/>
                  </a:lnTo>
                  <a:lnTo>
                    <a:pt x="0" y="5"/>
                  </a:lnTo>
                  <a:lnTo>
                    <a:pt x="4" y="7"/>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3" name="Freeform 1128"/>
            <p:cNvSpPr>
              <a:spLocks/>
            </p:cNvSpPr>
            <p:nvPr/>
          </p:nvSpPr>
          <p:spPr bwMode="auto">
            <a:xfrm>
              <a:off x="1494" y="3995"/>
              <a:ext cx="4" cy="7"/>
            </a:xfrm>
            <a:custGeom>
              <a:avLst/>
              <a:gdLst>
                <a:gd name="T0" fmla="*/ 2 w 4"/>
                <a:gd name="T1" fmla="*/ 0 h 7"/>
                <a:gd name="T2" fmla="*/ 0 w 4"/>
                <a:gd name="T3" fmla="*/ 0 h 7"/>
                <a:gd name="T4" fmla="*/ 0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0"/>
                  </a:lnTo>
                  <a:lnTo>
                    <a:pt x="0" y="5"/>
                  </a:lnTo>
                  <a:lnTo>
                    <a:pt x="4" y="7"/>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4" name="Freeform 1129"/>
            <p:cNvSpPr>
              <a:spLocks/>
            </p:cNvSpPr>
            <p:nvPr/>
          </p:nvSpPr>
          <p:spPr bwMode="auto">
            <a:xfrm>
              <a:off x="1518" y="3927"/>
              <a:ext cx="27" cy="43"/>
            </a:xfrm>
            <a:custGeom>
              <a:avLst/>
              <a:gdLst>
                <a:gd name="T0" fmla="*/ 8 w 27"/>
                <a:gd name="T1" fmla="*/ 39 h 43"/>
                <a:gd name="T2" fmla="*/ 12 w 27"/>
                <a:gd name="T3" fmla="*/ 34 h 43"/>
                <a:gd name="T4" fmla="*/ 8 w 27"/>
                <a:gd name="T5" fmla="*/ 28 h 43"/>
                <a:gd name="T6" fmla="*/ 12 w 27"/>
                <a:gd name="T7" fmla="*/ 32 h 43"/>
                <a:gd name="T8" fmla="*/ 14 w 27"/>
                <a:gd name="T9" fmla="*/ 28 h 43"/>
                <a:gd name="T10" fmla="*/ 12 w 27"/>
                <a:gd name="T11" fmla="*/ 24 h 43"/>
                <a:gd name="T12" fmla="*/ 17 w 27"/>
                <a:gd name="T13" fmla="*/ 28 h 43"/>
                <a:gd name="T14" fmla="*/ 14 w 27"/>
                <a:gd name="T15" fmla="*/ 34 h 43"/>
                <a:gd name="T16" fmla="*/ 12 w 27"/>
                <a:gd name="T17" fmla="*/ 39 h 43"/>
                <a:gd name="T18" fmla="*/ 19 w 27"/>
                <a:gd name="T19" fmla="*/ 39 h 43"/>
                <a:gd name="T20" fmla="*/ 17 w 27"/>
                <a:gd name="T21" fmla="*/ 34 h 43"/>
                <a:gd name="T22" fmla="*/ 19 w 27"/>
                <a:gd name="T23" fmla="*/ 41 h 43"/>
                <a:gd name="T24" fmla="*/ 23 w 27"/>
                <a:gd name="T25" fmla="*/ 43 h 43"/>
                <a:gd name="T26" fmla="*/ 25 w 27"/>
                <a:gd name="T27" fmla="*/ 39 h 43"/>
                <a:gd name="T28" fmla="*/ 27 w 27"/>
                <a:gd name="T29" fmla="*/ 28 h 43"/>
                <a:gd name="T30" fmla="*/ 25 w 27"/>
                <a:gd name="T31" fmla="*/ 22 h 43"/>
                <a:gd name="T32" fmla="*/ 25 w 27"/>
                <a:gd name="T33" fmla="*/ 17 h 43"/>
                <a:gd name="T34" fmla="*/ 19 w 27"/>
                <a:gd name="T35" fmla="*/ 4 h 43"/>
                <a:gd name="T36" fmla="*/ 14 w 27"/>
                <a:gd name="T37" fmla="*/ 0 h 43"/>
                <a:gd name="T38" fmla="*/ 8 w 27"/>
                <a:gd name="T39" fmla="*/ 0 h 43"/>
                <a:gd name="T40" fmla="*/ 4 w 27"/>
                <a:gd name="T41" fmla="*/ 4 h 43"/>
                <a:gd name="T42" fmla="*/ 0 w 27"/>
                <a:gd name="T43" fmla="*/ 9 h 43"/>
                <a:gd name="T44" fmla="*/ 6 w 27"/>
                <a:gd name="T45" fmla="*/ 11 h 43"/>
                <a:gd name="T46" fmla="*/ 0 w 27"/>
                <a:gd name="T47" fmla="*/ 15 h 43"/>
                <a:gd name="T48" fmla="*/ 6 w 27"/>
                <a:gd name="T49" fmla="*/ 15 h 43"/>
                <a:gd name="T50" fmla="*/ 0 w 27"/>
                <a:gd name="T51" fmla="*/ 19 h 43"/>
                <a:gd name="T52" fmla="*/ 4 w 27"/>
                <a:gd name="T53" fmla="*/ 24 h 43"/>
                <a:gd name="T54" fmla="*/ 2 w 27"/>
                <a:gd name="T55" fmla="*/ 28 h 43"/>
                <a:gd name="T56" fmla="*/ 0 w 27"/>
                <a:gd name="T57" fmla="*/ 34 h 43"/>
                <a:gd name="T58" fmla="*/ 4 w 27"/>
                <a:gd name="T59" fmla="*/ 36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12" y="34"/>
                  </a:lnTo>
                  <a:lnTo>
                    <a:pt x="8" y="28"/>
                  </a:lnTo>
                  <a:lnTo>
                    <a:pt x="12" y="32"/>
                  </a:lnTo>
                  <a:lnTo>
                    <a:pt x="14" y="28"/>
                  </a:lnTo>
                  <a:lnTo>
                    <a:pt x="12" y="24"/>
                  </a:lnTo>
                  <a:lnTo>
                    <a:pt x="17" y="28"/>
                  </a:lnTo>
                  <a:lnTo>
                    <a:pt x="14" y="34"/>
                  </a:lnTo>
                  <a:lnTo>
                    <a:pt x="12" y="39"/>
                  </a:lnTo>
                  <a:lnTo>
                    <a:pt x="19" y="39"/>
                  </a:lnTo>
                  <a:lnTo>
                    <a:pt x="17" y="34"/>
                  </a:lnTo>
                  <a:lnTo>
                    <a:pt x="19" y="41"/>
                  </a:lnTo>
                  <a:lnTo>
                    <a:pt x="23" y="43"/>
                  </a:lnTo>
                  <a:lnTo>
                    <a:pt x="25" y="39"/>
                  </a:lnTo>
                  <a:lnTo>
                    <a:pt x="27" y="28"/>
                  </a:lnTo>
                  <a:lnTo>
                    <a:pt x="25" y="22"/>
                  </a:lnTo>
                  <a:lnTo>
                    <a:pt x="25" y="17"/>
                  </a:lnTo>
                  <a:lnTo>
                    <a:pt x="19" y="4"/>
                  </a:lnTo>
                  <a:lnTo>
                    <a:pt x="14" y="0"/>
                  </a:lnTo>
                  <a:lnTo>
                    <a:pt x="8" y="0"/>
                  </a:lnTo>
                  <a:lnTo>
                    <a:pt x="4" y="4"/>
                  </a:lnTo>
                  <a:lnTo>
                    <a:pt x="0" y="9"/>
                  </a:lnTo>
                  <a:lnTo>
                    <a:pt x="6" y="11"/>
                  </a:lnTo>
                  <a:lnTo>
                    <a:pt x="0" y="15"/>
                  </a:lnTo>
                  <a:lnTo>
                    <a:pt x="6" y="15"/>
                  </a:lnTo>
                  <a:lnTo>
                    <a:pt x="0" y="19"/>
                  </a:lnTo>
                  <a:lnTo>
                    <a:pt x="4" y="24"/>
                  </a:lnTo>
                  <a:lnTo>
                    <a:pt x="2" y="28"/>
                  </a:lnTo>
                  <a:lnTo>
                    <a:pt x="0" y="34"/>
                  </a:lnTo>
                  <a:lnTo>
                    <a:pt x="4" y="36"/>
                  </a:lnTo>
                  <a:lnTo>
                    <a:pt x="8" y="3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5" name="Freeform 1130"/>
            <p:cNvSpPr>
              <a:spLocks/>
            </p:cNvSpPr>
            <p:nvPr/>
          </p:nvSpPr>
          <p:spPr bwMode="auto">
            <a:xfrm>
              <a:off x="1518" y="3927"/>
              <a:ext cx="27" cy="43"/>
            </a:xfrm>
            <a:custGeom>
              <a:avLst/>
              <a:gdLst>
                <a:gd name="T0" fmla="*/ 8 w 27"/>
                <a:gd name="T1" fmla="*/ 39 h 43"/>
                <a:gd name="T2" fmla="*/ 12 w 27"/>
                <a:gd name="T3" fmla="*/ 34 h 43"/>
                <a:gd name="T4" fmla="*/ 8 w 27"/>
                <a:gd name="T5" fmla="*/ 28 h 43"/>
                <a:gd name="T6" fmla="*/ 12 w 27"/>
                <a:gd name="T7" fmla="*/ 32 h 43"/>
                <a:gd name="T8" fmla="*/ 14 w 27"/>
                <a:gd name="T9" fmla="*/ 28 h 43"/>
                <a:gd name="T10" fmla="*/ 12 w 27"/>
                <a:gd name="T11" fmla="*/ 24 h 43"/>
                <a:gd name="T12" fmla="*/ 17 w 27"/>
                <a:gd name="T13" fmla="*/ 28 h 43"/>
                <a:gd name="T14" fmla="*/ 14 w 27"/>
                <a:gd name="T15" fmla="*/ 34 h 43"/>
                <a:gd name="T16" fmla="*/ 12 w 27"/>
                <a:gd name="T17" fmla="*/ 39 h 43"/>
                <a:gd name="T18" fmla="*/ 19 w 27"/>
                <a:gd name="T19" fmla="*/ 39 h 43"/>
                <a:gd name="T20" fmla="*/ 17 w 27"/>
                <a:gd name="T21" fmla="*/ 34 h 43"/>
                <a:gd name="T22" fmla="*/ 19 w 27"/>
                <a:gd name="T23" fmla="*/ 41 h 43"/>
                <a:gd name="T24" fmla="*/ 23 w 27"/>
                <a:gd name="T25" fmla="*/ 43 h 43"/>
                <a:gd name="T26" fmla="*/ 25 w 27"/>
                <a:gd name="T27" fmla="*/ 39 h 43"/>
                <a:gd name="T28" fmla="*/ 27 w 27"/>
                <a:gd name="T29" fmla="*/ 28 h 43"/>
                <a:gd name="T30" fmla="*/ 25 w 27"/>
                <a:gd name="T31" fmla="*/ 22 h 43"/>
                <a:gd name="T32" fmla="*/ 25 w 27"/>
                <a:gd name="T33" fmla="*/ 17 h 43"/>
                <a:gd name="T34" fmla="*/ 19 w 27"/>
                <a:gd name="T35" fmla="*/ 4 h 43"/>
                <a:gd name="T36" fmla="*/ 14 w 27"/>
                <a:gd name="T37" fmla="*/ 0 h 43"/>
                <a:gd name="T38" fmla="*/ 8 w 27"/>
                <a:gd name="T39" fmla="*/ 0 h 43"/>
                <a:gd name="T40" fmla="*/ 4 w 27"/>
                <a:gd name="T41" fmla="*/ 4 h 43"/>
                <a:gd name="T42" fmla="*/ 0 w 27"/>
                <a:gd name="T43" fmla="*/ 9 h 43"/>
                <a:gd name="T44" fmla="*/ 6 w 27"/>
                <a:gd name="T45" fmla="*/ 11 h 43"/>
                <a:gd name="T46" fmla="*/ 0 w 27"/>
                <a:gd name="T47" fmla="*/ 15 h 43"/>
                <a:gd name="T48" fmla="*/ 6 w 27"/>
                <a:gd name="T49" fmla="*/ 15 h 43"/>
                <a:gd name="T50" fmla="*/ 0 w 27"/>
                <a:gd name="T51" fmla="*/ 19 h 43"/>
                <a:gd name="T52" fmla="*/ 4 w 27"/>
                <a:gd name="T53" fmla="*/ 24 h 43"/>
                <a:gd name="T54" fmla="*/ 2 w 27"/>
                <a:gd name="T55" fmla="*/ 28 h 43"/>
                <a:gd name="T56" fmla="*/ 0 w 27"/>
                <a:gd name="T57" fmla="*/ 34 h 43"/>
                <a:gd name="T58" fmla="*/ 4 w 27"/>
                <a:gd name="T59" fmla="*/ 36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12" y="34"/>
                  </a:lnTo>
                  <a:lnTo>
                    <a:pt x="8" y="28"/>
                  </a:lnTo>
                  <a:lnTo>
                    <a:pt x="12" y="32"/>
                  </a:lnTo>
                  <a:lnTo>
                    <a:pt x="14" y="28"/>
                  </a:lnTo>
                  <a:lnTo>
                    <a:pt x="12" y="24"/>
                  </a:lnTo>
                  <a:lnTo>
                    <a:pt x="17" y="28"/>
                  </a:lnTo>
                  <a:lnTo>
                    <a:pt x="14" y="34"/>
                  </a:lnTo>
                  <a:lnTo>
                    <a:pt x="12" y="39"/>
                  </a:lnTo>
                  <a:lnTo>
                    <a:pt x="19" y="39"/>
                  </a:lnTo>
                  <a:lnTo>
                    <a:pt x="17" y="34"/>
                  </a:lnTo>
                  <a:lnTo>
                    <a:pt x="19" y="41"/>
                  </a:lnTo>
                  <a:lnTo>
                    <a:pt x="23" y="43"/>
                  </a:lnTo>
                  <a:lnTo>
                    <a:pt x="25" y="39"/>
                  </a:lnTo>
                  <a:lnTo>
                    <a:pt x="27" y="28"/>
                  </a:lnTo>
                  <a:lnTo>
                    <a:pt x="25" y="22"/>
                  </a:lnTo>
                  <a:lnTo>
                    <a:pt x="25" y="17"/>
                  </a:lnTo>
                  <a:lnTo>
                    <a:pt x="19" y="4"/>
                  </a:lnTo>
                  <a:lnTo>
                    <a:pt x="14" y="0"/>
                  </a:lnTo>
                  <a:lnTo>
                    <a:pt x="8" y="0"/>
                  </a:lnTo>
                  <a:lnTo>
                    <a:pt x="4" y="4"/>
                  </a:lnTo>
                  <a:lnTo>
                    <a:pt x="0" y="9"/>
                  </a:lnTo>
                  <a:lnTo>
                    <a:pt x="6" y="11"/>
                  </a:lnTo>
                  <a:lnTo>
                    <a:pt x="0" y="15"/>
                  </a:lnTo>
                  <a:lnTo>
                    <a:pt x="6" y="15"/>
                  </a:lnTo>
                  <a:lnTo>
                    <a:pt x="0" y="19"/>
                  </a:lnTo>
                  <a:lnTo>
                    <a:pt x="4" y="24"/>
                  </a:lnTo>
                  <a:lnTo>
                    <a:pt x="2" y="28"/>
                  </a:lnTo>
                  <a:lnTo>
                    <a:pt x="0" y="34"/>
                  </a:lnTo>
                  <a:lnTo>
                    <a:pt x="4" y="36"/>
                  </a:lnTo>
                  <a:lnTo>
                    <a:pt x="8" y="39"/>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6" name="Freeform 1131"/>
            <p:cNvSpPr>
              <a:spLocks/>
            </p:cNvSpPr>
            <p:nvPr/>
          </p:nvSpPr>
          <p:spPr bwMode="auto">
            <a:xfrm>
              <a:off x="1518" y="3961"/>
              <a:ext cx="6" cy="13"/>
            </a:xfrm>
            <a:custGeom>
              <a:avLst/>
              <a:gdLst>
                <a:gd name="T0" fmla="*/ 0 w 6"/>
                <a:gd name="T1" fmla="*/ 0 h 13"/>
                <a:gd name="T2" fmla="*/ 0 w 6"/>
                <a:gd name="T3" fmla="*/ 5 h 13"/>
                <a:gd name="T4" fmla="*/ 2 w 6"/>
                <a:gd name="T5" fmla="*/ 11 h 13"/>
                <a:gd name="T6" fmla="*/ 6 w 6"/>
                <a:gd name="T7" fmla="*/ 13 h 13"/>
                <a:gd name="T8" fmla="*/ 6 w 6"/>
                <a:gd name="T9" fmla="*/ 9 h 13"/>
                <a:gd name="T10" fmla="*/ 4 w 6"/>
                <a:gd name="T11" fmla="*/ 2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0" y="5"/>
                  </a:lnTo>
                  <a:lnTo>
                    <a:pt x="2" y="11"/>
                  </a:lnTo>
                  <a:lnTo>
                    <a:pt x="6" y="13"/>
                  </a:lnTo>
                  <a:lnTo>
                    <a:pt x="6" y="9"/>
                  </a:lnTo>
                  <a:lnTo>
                    <a:pt x="4" y="2"/>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7" name="Freeform 1132"/>
            <p:cNvSpPr>
              <a:spLocks/>
            </p:cNvSpPr>
            <p:nvPr/>
          </p:nvSpPr>
          <p:spPr bwMode="auto">
            <a:xfrm>
              <a:off x="1518" y="3961"/>
              <a:ext cx="6" cy="13"/>
            </a:xfrm>
            <a:custGeom>
              <a:avLst/>
              <a:gdLst>
                <a:gd name="T0" fmla="*/ 0 w 6"/>
                <a:gd name="T1" fmla="*/ 0 h 13"/>
                <a:gd name="T2" fmla="*/ 0 w 6"/>
                <a:gd name="T3" fmla="*/ 5 h 13"/>
                <a:gd name="T4" fmla="*/ 2 w 6"/>
                <a:gd name="T5" fmla="*/ 11 h 13"/>
                <a:gd name="T6" fmla="*/ 6 w 6"/>
                <a:gd name="T7" fmla="*/ 13 h 13"/>
                <a:gd name="T8" fmla="*/ 6 w 6"/>
                <a:gd name="T9" fmla="*/ 9 h 13"/>
                <a:gd name="T10" fmla="*/ 4 w 6"/>
                <a:gd name="T11" fmla="*/ 2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0" y="5"/>
                  </a:lnTo>
                  <a:lnTo>
                    <a:pt x="2" y="11"/>
                  </a:lnTo>
                  <a:lnTo>
                    <a:pt x="6" y="13"/>
                  </a:lnTo>
                  <a:lnTo>
                    <a:pt x="6" y="9"/>
                  </a:lnTo>
                  <a:lnTo>
                    <a:pt x="4" y="2"/>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8" name="Freeform 1133"/>
            <p:cNvSpPr>
              <a:spLocks/>
            </p:cNvSpPr>
            <p:nvPr/>
          </p:nvSpPr>
          <p:spPr bwMode="auto">
            <a:xfrm>
              <a:off x="1528" y="3968"/>
              <a:ext cx="9" cy="10"/>
            </a:xfrm>
            <a:custGeom>
              <a:avLst/>
              <a:gdLst>
                <a:gd name="T0" fmla="*/ 2 w 9"/>
                <a:gd name="T1" fmla="*/ 2 h 10"/>
                <a:gd name="T2" fmla="*/ 0 w 9"/>
                <a:gd name="T3" fmla="*/ 0 h 10"/>
                <a:gd name="T4" fmla="*/ 0 w 9"/>
                <a:gd name="T5" fmla="*/ 6 h 10"/>
                <a:gd name="T6" fmla="*/ 4 w 9"/>
                <a:gd name="T7" fmla="*/ 10 h 10"/>
                <a:gd name="T8" fmla="*/ 9 w 9"/>
                <a:gd name="T9" fmla="*/ 10 h 10"/>
                <a:gd name="T10" fmla="*/ 7 w 9"/>
                <a:gd name="T11" fmla="*/ 4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0" y="0"/>
                  </a:lnTo>
                  <a:lnTo>
                    <a:pt x="0" y="6"/>
                  </a:lnTo>
                  <a:lnTo>
                    <a:pt x="4" y="10"/>
                  </a:lnTo>
                  <a:lnTo>
                    <a:pt x="9" y="10"/>
                  </a:lnTo>
                  <a:lnTo>
                    <a:pt x="7" y="4"/>
                  </a:lnTo>
                  <a:lnTo>
                    <a:pt x="2"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49" name="Freeform 1134"/>
            <p:cNvSpPr>
              <a:spLocks/>
            </p:cNvSpPr>
            <p:nvPr/>
          </p:nvSpPr>
          <p:spPr bwMode="auto">
            <a:xfrm>
              <a:off x="1528" y="3968"/>
              <a:ext cx="9" cy="10"/>
            </a:xfrm>
            <a:custGeom>
              <a:avLst/>
              <a:gdLst>
                <a:gd name="T0" fmla="*/ 2 w 9"/>
                <a:gd name="T1" fmla="*/ 2 h 10"/>
                <a:gd name="T2" fmla="*/ 0 w 9"/>
                <a:gd name="T3" fmla="*/ 0 h 10"/>
                <a:gd name="T4" fmla="*/ 0 w 9"/>
                <a:gd name="T5" fmla="*/ 6 h 10"/>
                <a:gd name="T6" fmla="*/ 4 w 9"/>
                <a:gd name="T7" fmla="*/ 10 h 10"/>
                <a:gd name="T8" fmla="*/ 9 w 9"/>
                <a:gd name="T9" fmla="*/ 10 h 10"/>
                <a:gd name="T10" fmla="*/ 7 w 9"/>
                <a:gd name="T11" fmla="*/ 4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0" y="0"/>
                  </a:lnTo>
                  <a:lnTo>
                    <a:pt x="0" y="6"/>
                  </a:lnTo>
                  <a:lnTo>
                    <a:pt x="4" y="10"/>
                  </a:lnTo>
                  <a:lnTo>
                    <a:pt x="9" y="10"/>
                  </a:lnTo>
                  <a:lnTo>
                    <a:pt x="7" y="4"/>
                  </a:lnTo>
                  <a:lnTo>
                    <a:pt x="2"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0" name="Freeform 1135"/>
            <p:cNvSpPr>
              <a:spLocks/>
            </p:cNvSpPr>
            <p:nvPr/>
          </p:nvSpPr>
          <p:spPr bwMode="auto">
            <a:xfrm>
              <a:off x="1537" y="3983"/>
              <a:ext cx="6" cy="6"/>
            </a:xfrm>
            <a:custGeom>
              <a:avLst/>
              <a:gdLst>
                <a:gd name="T0" fmla="*/ 4 w 6"/>
                <a:gd name="T1" fmla="*/ 0 h 6"/>
                <a:gd name="T2" fmla="*/ 2 w 6"/>
                <a:gd name="T3" fmla="*/ 2 h 6"/>
                <a:gd name="T4" fmla="*/ 0 w 6"/>
                <a:gd name="T5" fmla="*/ 6 h 6"/>
                <a:gd name="T6" fmla="*/ 6 w 6"/>
                <a:gd name="T7" fmla="*/ 4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2" y="2"/>
                  </a:lnTo>
                  <a:lnTo>
                    <a:pt x="0" y="6"/>
                  </a:lnTo>
                  <a:lnTo>
                    <a:pt x="6" y="4"/>
                  </a:lnTo>
                  <a:lnTo>
                    <a:pt x="4"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1" name="Freeform 1136"/>
            <p:cNvSpPr>
              <a:spLocks/>
            </p:cNvSpPr>
            <p:nvPr/>
          </p:nvSpPr>
          <p:spPr bwMode="auto">
            <a:xfrm>
              <a:off x="1537" y="3983"/>
              <a:ext cx="6" cy="6"/>
            </a:xfrm>
            <a:custGeom>
              <a:avLst/>
              <a:gdLst>
                <a:gd name="T0" fmla="*/ 4 w 6"/>
                <a:gd name="T1" fmla="*/ 0 h 6"/>
                <a:gd name="T2" fmla="*/ 2 w 6"/>
                <a:gd name="T3" fmla="*/ 2 h 6"/>
                <a:gd name="T4" fmla="*/ 0 w 6"/>
                <a:gd name="T5" fmla="*/ 6 h 6"/>
                <a:gd name="T6" fmla="*/ 6 w 6"/>
                <a:gd name="T7" fmla="*/ 4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2" y="2"/>
                  </a:lnTo>
                  <a:lnTo>
                    <a:pt x="0" y="6"/>
                  </a:lnTo>
                  <a:lnTo>
                    <a:pt x="6" y="4"/>
                  </a:lnTo>
                  <a:lnTo>
                    <a:pt x="4"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2" name="Freeform 1137"/>
            <p:cNvSpPr>
              <a:spLocks/>
            </p:cNvSpPr>
            <p:nvPr/>
          </p:nvSpPr>
          <p:spPr bwMode="auto">
            <a:xfrm>
              <a:off x="549" y="3305"/>
              <a:ext cx="4" cy="2"/>
            </a:xfrm>
            <a:custGeom>
              <a:avLst/>
              <a:gdLst>
                <a:gd name="T0" fmla="*/ 0 w 4"/>
                <a:gd name="T1" fmla="*/ 2 h 2"/>
                <a:gd name="T2" fmla="*/ 2 w 4"/>
                <a:gd name="T3" fmla="*/ 0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0"/>
                  </a:lnTo>
                  <a:lnTo>
                    <a:pt x="4" y="0"/>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3" name="Freeform 1138"/>
            <p:cNvSpPr>
              <a:spLocks/>
            </p:cNvSpPr>
            <p:nvPr/>
          </p:nvSpPr>
          <p:spPr bwMode="auto">
            <a:xfrm>
              <a:off x="549" y="3305"/>
              <a:ext cx="4" cy="2"/>
            </a:xfrm>
            <a:custGeom>
              <a:avLst/>
              <a:gdLst>
                <a:gd name="T0" fmla="*/ 0 w 4"/>
                <a:gd name="T1" fmla="*/ 2 h 2"/>
                <a:gd name="T2" fmla="*/ 2 w 4"/>
                <a:gd name="T3" fmla="*/ 0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0"/>
                  </a:lnTo>
                  <a:lnTo>
                    <a:pt x="4" y="0"/>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4" name="Freeform 1139"/>
            <p:cNvSpPr>
              <a:spLocks/>
            </p:cNvSpPr>
            <p:nvPr/>
          </p:nvSpPr>
          <p:spPr bwMode="auto">
            <a:xfrm>
              <a:off x="481" y="3054"/>
              <a:ext cx="1096" cy="937"/>
            </a:xfrm>
            <a:custGeom>
              <a:avLst/>
              <a:gdLst>
                <a:gd name="T0" fmla="*/ 161 w 1096"/>
                <a:gd name="T1" fmla="*/ 230 h 937"/>
                <a:gd name="T2" fmla="*/ 210 w 1096"/>
                <a:gd name="T3" fmla="*/ 279 h 937"/>
                <a:gd name="T4" fmla="*/ 219 w 1096"/>
                <a:gd name="T5" fmla="*/ 230 h 937"/>
                <a:gd name="T6" fmla="*/ 223 w 1096"/>
                <a:gd name="T7" fmla="*/ 241 h 937"/>
                <a:gd name="T8" fmla="*/ 170 w 1096"/>
                <a:gd name="T9" fmla="*/ 143 h 937"/>
                <a:gd name="T10" fmla="*/ 242 w 1096"/>
                <a:gd name="T11" fmla="*/ 68 h 937"/>
                <a:gd name="T12" fmla="*/ 313 w 1096"/>
                <a:gd name="T13" fmla="*/ 43 h 937"/>
                <a:gd name="T14" fmla="*/ 393 w 1096"/>
                <a:gd name="T15" fmla="*/ 0 h 937"/>
                <a:gd name="T16" fmla="*/ 423 w 1096"/>
                <a:gd name="T17" fmla="*/ 36 h 937"/>
                <a:gd name="T18" fmla="*/ 489 w 1096"/>
                <a:gd name="T19" fmla="*/ 66 h 937"/>
                <a:gd name="T20" fmla="*/ 577 w 1096"/>
                <a:gd name="T21" fmla="*/ 87 h 937"/>
                <a:gd name="T22" fmla="*/ 668 w 1096"/>
                <a:gd name="T23" fmla="*/ 109 h 937"/>
                <a:gd name="T24" fmla="*/ 777 w 1096"/>
                <a:gd name="T25" fmla="*/ 673 h 937"/>
                <a:gd name="T26" fmla="*/ 894 w 1096"/>
                <a:gd name="T27" fmla="*/ 684 h 937"/>
                <a:gd name="T28" fmla="*/ 996 w 1096"/>
                <a:gd name="T29" fmla="*/ 799 h 937"/>
                <a:gd name="T30" fmla="*/ 1083 w 1096"/>
                <a:gd name="T31" fmla="*/ 856 h 937"/>
                <a:gd name="T32" fmla="*/ 1075 w 1096"/>
                <a:gd name="T33" fmla="*/ 918 h 937"/>
                <a:gd name="T34" fmla="*/ 1030 w 1096"/>
                <a:gd name="T35" fmla="*/ 882 h 937"/>
                <a:gd name="T36" fmla="*/ 1007 w 1096"/>
                <a:gd name="T37" fmla="*/ 848 h 937"/>
                <a:gd name="T38" fmla="*/ 966 w 1096"/>
                <a:gd name="T39" fmla="*/ 801 h 937"/>
                <a:gd name="T40" fmla="*/ 945 w 1096"/>
                <a:gd name="T41" fmla="*/ 771 h 937"/>
                <a:gd name="T42" fmla="*/ 902 w 1096"/>
                <a:gd name="T43" fmla="*/ 731 h 937"/>
                <a:gd name="T44" fmla="*/ 900 w 1096"/>
                <a:gd name="T45" fmla="*/ 765 h 937"/>
                <a:gd name="T46" fmla="*/ 847 w 1096"/>
                <a:gd name="T47" fmla="*/ 731 h 937"/>
                <a:gd name="T48" fmla="*/ 828 w 1096"/>
                <a:gd name="T49" fmla="*/ 752 h 937"/>
                <a:gd name="T50" fmla="*/ 762 w 1096"/>
                <a:gd name="T51" fmla="*/ 686 h 937"/>
                <a:gd name="T52" fmla="*/ 713 w 1096"/>
                <a:gd name="T53" fmla="*/ 682 h 937"/>
                <a:gd name="T54" fmla="*/ 613 w 1096"/>
                <a:gd name="T55" fmla="*/ 643 h 937"/>
                <a:gd name="T56" fmla="*/ 574 w 1096"/>
                <a:gd name="T57" fmla="*/ 633 h 937"/>
                <a:gd name="T58" fmla="*/ 530 w 1096"/>
                <a:gd name="T59" fmla="*/ 624 h 937"/>
                <a:gd name="T60" fmla="*/ 508 w 1096"/>
                <a:gd name="T61" fmla="*/ 635 h 937"/>
                <a:gd name="T62" fmla="*/ 504 w 1096"/>
                <a:gd name="T63" fmla="*/ 679 h 937"/>
                <a:gd name="T64" fmla="*/ 453 w 1096"/>
                <a:gd name="T65" fmla="*/ 699 h 937"/>
                <a:gd name="T66" fmla="*/ 413 w 1096"/>
                <a:gd name="T67" fmla="*/ 703 h 937"/>
                <a:gd name="T68" fmla="*/ 453 w 1096"/>
                <a:gd name="T69" fmla="*/ 615 h 937"/>
                <a:gd name="T70" fmla="*/ 453 w 1096"/>
                <a:gd name="T71" fmla="*/ 601 h 937"/>
                <a:gd name="T72" fmla="*/ 379 w 1096"/>
                <a:gd name="T73" fmla="*/ 654 h 937"/>
                <a:gd name="T74" fmla="*/ 332 w 1096"/>
                <a:gd name="T75" fmla="*/ 713 h 937"/>
                <a:gd name="T76" fmla="*/ 319 w 1096"/>
                <a:gd name="T77" fmla="*/ 771 h 937"/>
                <a:gd name="T78" fmla="*/ 251 w 1096"/>
                <a:gd name="T79" fmla="*/ 807 h 937"/>
                <a:gd name="T80" fmla="*/ 181 w 1096"/>
                <a:gd name="T81" fmla="*/ 843 h 937"/>
                <a:gd name="T82" fmla="*/ 129 w 1096"/>
                <a:gd name="T83" fmla="*/ 882 h 937"/>
                <a:gd name="T84" fmla="*/ 76 w 1096"/>
                <a:gd name="T85" fmla="*/ 875 h 937"/>
                <a:gd name="T86" fmla="*/ 12 w 1096"/>
                <a:gd name="T87" fmla="*/ 884 h 937"/>
                <a:gd name="T88" fmla="*/ 85 w 1096"/>
                <a:gd name="T89" fmla="*/ 852 h 937"/>
                <a:gd name="T90" fmla="*/ 159 w 1096"/>
                <a:gd name="T91" fmla="*/ 820 h 937"/>
                <a:gd name="T92" fmla="*/ 234 w 1096"/>
                <a:gd name="T93" fmla="*/ 752 h 937"/>
                <a:gd name="T94" fmla="*/ 240 w 1096"/>
                <a:gd name="T95" fmla="*/ 713 h 937"/>
                <a:gd name="T96" fmla="*/ 191 w 1096"/>
                <a:gd name="T97" fmla="*/ 711 h 937"/>
                <a:gd name="T98" fmla="*/ 119 w 1096"/>
                <a:gd name="T99" fmla="*/ 694 h 937"/>
                <a:gd name="T100" fmla="*/ 121 w 1096"/>
                <a:gd name="T101" fmla="*/ 586 h 937"/>
                <a:gd name="T102" fmla="*/ 68 w 1096"/>
                <a:gd name="T103" fmla="*/ 615 h 937"/>
                <a:gd name="T104" fmla="*/ 59 w 1096"/>
                <a:gd name="T105" fmla="*/ 549 h 937"/>
                <a:gd name="T106" fmla="*/ 66 w 1096"/>
                <a:gd name="T107" fmla="*/ 549 h 937"/>
                <a:gd name="T108" fmla="*/ 42 w 1096"/>
                <a:gd name="T109" fmla="*/ 528 h 937"/>
                <a:gd name="T110" fmla="*/ 80 w 1096"/>
                <a:gd name="T111" fmla="*/ 451 h 937"/>
                <a:gd name="T112" fmla="*/ 102 w 1096"/>
                <a:gd name="T113" fmla="*/ 424 h 937"/>
                <a:gd name="T114" fmla="*/ 204 w 1096"/>
                <a:gd name="T115" fmla="*/ 415 h 937"/>
                <a:gd name="T116" fmla="*/ 191 w 1096"/>
                <a:gd name="T117" fmla="*/ 349 h 937"/>
                <a:gd name="T118" fmla="*/ 85 w 1096"/>
                <a:gd name="T119" fmla="*/ 319 h 937"/>
                <a:gd name="T120" fmla="*/ 74 w 1096"/>
                <a:gd name="T121" fmla="*/ 27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6" h="937">
                  <a:moveTo>
                    <a:pt x="68" y="253"/>
                  </a:moveTo>
                  <a:lnTo>
                    <a:pt x="72" y="253"/>
                  </a:lnTo>
                  <a:lnTo>
                    <a:pt x="76" y="253"/>
                  </a:lnTo>
                  <a:lnTo>
                    <a:pt x="80" y="249"/>
                  </a:lnTo>
                  <a:lnTo>
                    <a:pt x="85" y="247"/>
                  </a:lnTo>
                  <a:lnTo>
                    <a:pt x="91" y="251"/>
                  </a:lnTo>
                  <a:lnTo>
                    <a:pt x="95" y="249"/>
                  </a:lnTo>
                  <a:lnTo>
                    <a:pt x="98" y="245"/>
                  </a:lnTo>
                  <a:lnTo>
                    <a:pt x="115" y="241"/>
                  </a:lnTo>
                  <a:lnTo>
                    <a:pt x="123" y="247"/>
                  </a:lnTo>
                  <a:lnTo>
                    <a:pt x="129" y="247"/>
                  </a:lnTo>
                  <a:lnTo>
                    <a:pt x="129" y="243"/>
                  </a:lnTo>
                  <a:lnTo>
                    <a:pt x="127" y="236"/>
                  </a:lnTo>
                  <a:lnTo>
                    <a:pt x="134" y="234"/>
                  </a:lnTo>
                  <a:lnTo>
                    <a:pt x="138" y="232"/>
                  </a:lnTo>
                  <a:lnTo>
                    <a:pt x="149" y="234"/>
                  </a:lnTo>
                  <a:lnTo>
                    <a:pt x="151" y="234"/>
                  </a:lnTo>
                  <a:lnTo>
                    <a:pt x="157" y="232"/>
                  </a:lnTo>
                  <a:lnTo>
                    <a:pt x="161" y="230"/>
                  </a:lnTo>
                  <a:lnTo>
                    <a:pt x="166" y="230"/>
                  </a:lnTo>
                  <a:lnTo>
                    <a:pt x="176" y="232"/>
                  </a:lnTo>
                  <a:lnTo>
                    <a:pt x="181" y="236"/>
                  </a:lnTo>
                  <a:lnTo>
                    <a:pt x="176" y="234"/>
                  </a:lnTo>
                  <a:lnTo>
                    <a:pt x="178" y="239"/>
                  </a:lnTo>
                  <a:lnTo>
                    <a:pt x="174" y="243"/>
                  </a:lnTo>
                  <a:lnTo>
                    <a:pt x="170" y="253"/>
                  </a:lnTo>
                  <a:lnTo>
                    <a:pt x="164" y="253"/>
                  </a:lnTo>
                  <a:lnTo>
                    <a:pt x="168" y="253"/>
                  </a:lnTo>
                  <a:lnTo>
                    <a:pt x="170" y="260"/>
                  </a:lnTo>
                  <a:lnTo>
                    <a:pt x="174" y="264"/>
                  </a:lnTo>
                  <a:lnTo>
                    <a:pt x="178" y="264"/>
                  </a:lnTo>
                  <a:lnTo>
                    <a:pt x="183" y="266"/>
                  </a:lnTo>
                  <a:lnTo>
                    <a:pt x="193" y="268"/>
                  </a:lnTo>
                  <a:lnTo>
                    <a:pt x="193" y="273"/>
                  </a:lnTo>
                  <a:lnTo>
                    <a:pt x="200" y="273"/>
                  </a:lnTo>
                  <a:lnTo>
                    <a:pt x="204" y="275"/>
                  </a:lnTo>
                  <a:lnTo>
                    <a:pt x="208" y="275"/>
                  </a:lnTo>
                  <a:lnTo>
                    <a:pt x="210" y="279"/>
                  </a:lnTo>
                  <a:lnTo>
                    <a:pt x="217" y="277"/>
                  </a:lnTo>
                  <a:lnTo>
                    <a:pt x="215" y="275"/>
                  </a:lnTo>
                  <a:lnTo>
                    <a:pt x="221" y="270"/>
                  </a:lnTo>
                  <a:lnTo>
                    <a:pt x="223" y="266"/>
                  </a:lnTo>
                  <a:lnTo>
                    <a:pt x="227" y="266"/>
                  </a:lnTo>
                  <a:lnTo>
                    <a:pt x="232" y="270"/>
                  </a:lnTo>
                  <a:lnTo>
                    <a:pt x="232" y="275"/>
                  </a:lnTo>
                  <a:lnTo>
                    <a:pt x="236" y="270"/>
                  </a:lnTo>
                  <a:lnTo>
                    <a:pt x="234" y="266"/>
                  </a:lnTo>
                  <a:lnTo>
                    <a:pt x="225" y="258"/>
                  </a:lnTo>
                  <a:lnTo>
                    <a:pt x="221" y="258"/>
                  </a:lnTo>
                  <a:lnTo>
                    <a:pt x="217" y="262"/>
                  </a:lnTo>
                  <a:lnTo>
                    <a:pt x="219" y="251"/>
                  </a:lnTo>
                  <a:lnTo>
                    <a:pt x="219" y="247"/>
                  </a:lnTo>
                  <a:lnTo>
                    <a:pt x="217" y="241"/>
                  </a:lnTo>
                  <a:lnTo>
                    <a:pt x="208" y="230"/>
                  </a:lnTo>
                  <a:lnTo>
                    <a:pt x="208" y="224"/>
                  </a:lnTo>
                  <a:lnTo>
                    <a:pt x="215" y="224"/>
                  </a:lnTo>
                  <a:lnTo>
                    <a:pt x="219" y="230"/>
                  </a:lnTo>
                  <a:lnTo>
                    <a:pt x="221" y="236"/>
                  </a:lnTo>
                  <a:lnTo>
                    <a:pt x="217" y="241"/>
                  </a:lnTo>
                  <a:lnTo>
                    <a:pt x="219" y="245"/>
                  </a:lnTo>
                  <a:lnTo>
                    <a:pt x="221" y="251"/>
                  </a:lnTo>
                  <a:lnTo>
                    <a:pt x="225" y="256"/>
                  </a:lnTo>
                  <a:lnTo>
                    <a:pt x="232" y="256"/>
                  </a:lnTo>
                  <a:lnTo>
                    <a:pt x="236" y="256"/>
                  </a:lnTo>
                  <a:lnTo>
                    <a:pt x="240" y="262"/>
                  </a:lnTo>
                  <a:lnTo>
                    <a:pt x="244" y="264"/>
                  </a:lnTo>
                  <a:lnTo>
                    <a:pt x="255" y="266"/>
                  </a:lnTo>
                  <a:lnTo>
                    <a:pt x="257" y="262"/>
                  </a:lnTo>
                  <a:lnTo>
                    <a:pt x="257" y="256"/>
                  </a:lnTo>
                  <a:lnTo>
                    <a:pt x="253" y="251"/>
                  </a:lnTo>
                  <a:lnTo>
                    <a:pt x="247" y="251"/>
                  </a:lnTo>
                  <a:lnTo>
                    <a:pt x="242" y="247"/>
                  </a:lnTo>
                  <a:lnTo>
                    <a:pt x="238" y="247"/>
                  </a:lnTo>
                  <a:lnTo>
                    <a:pt x="232" y="253"/>
                  </a:lnTo>
                  <a:lnTo>
                    <a:pt x="227" y="249"/>
                  </a:lnTo>
                  <a:lnTo>
                    <a:pt x="223" y="241"/>
                  </a:lnTo>
                  <a:lnTo>
                    <a:pt x="225" y="234"/>
                  </a:lnTo>
                  <a:lnTo>
                    <a:pt x="230" y="226"/>
                  </a:lnTo>
                  <a:lnTo>
                    <a:pt x="230" y="221"/>
                  </a:lnTo>
                  <a:lnTo>
                    <a:pt x="225" y="219"/>
                  </a:lnTo>
                  <a:lnTo>
                    <a:pt x="219" y="219"/>
                  </a:lnTo>
                  <a:lnTo>
                    <a:pt x="219" y="217"/>
                  </a:lnTo>
                  <a:lnTo>
                    <a:pt x="217" y="211"/>
                  </a:lnTo>
                  <a:lnTo>
                    <a:pt x="215" y="215"/>
                  </a:lnTo>
                  <a:lnTo>
                    <a:pt x="210" y="215"/>
                  </a:lnTo>
                  <a:lnTo>
                    <a:pt x="200" y="213"/>
                  </a:lnTo>
                  <a:lnTo>
                    <a:pt x="191" y="207"/>
                  </a:lnTo>
                  <a:lnTo>
                    <a:pt x="189" y="200"/>
                  </a:lnTo>
                  <a:lnTo>
                    <a:pt x="191" y="192"/>
                  </a:lnTo>
                  <a:lnTo>
                    <a:pt x="189" y="181"/>
                  </a:lnTo>
                  <a:lnTo>
                    <a:pt x="187" y="175"/>
                  </a:lnTo>
                  <a:lnTo>
                    <a:pt x="183" y="170"/>
                  </a:lnTo>
                  <a:lnTo>
                    <a:pt x="181" y="164"/>
                  </a:lnTo>
                  <a:lnTo>
                    <a:pt x="178" y="162"/>
                  </a:lnTo>
                  <a:lnTo>
                    <a:pt x="170" y="143"/>
                  </a:lnTo>
                  <a:lnTo>
                    <a:pt x="166" y="138"/>
                  </a:lnTo>
                  <a:lnTo>
                    <a:pt x="161" y="136"/>
                  </a:lnTo>
                  <a:lnTo>
                    <a:pt x="155" y="126"/>
                  </a:lnTo>
                  <a:lnTo>
                    <a:pt x="151" y="119"/>
                  </a:lnTo>
                  <a:lnTo>
                    <a:pt x="146" y="117"/>
                  </a:lnTo>
                  <a:lnTo>
                    <a:pt x="149" y="117"/>
                  </a:lnTo>
                  <a:lnTo>
                    <a:pt x="151" y="117"/>
                  </a:lnTo>
                  <a:lnTo>
                    <a:pt x="157" y="113"/>
                  </a:lnTo>
                  <a:lnTo>
                    <a:pt x="159" y="109"/>
                  </a:lnTo>
                  <a:lnTo>
                    <a:pt x="166" y="96"/>
                  </a:lnTo>
                  <a:lnTo>
                    <a:pt x="172" y="94"/>
                  </a:lnTo>
                  <a:lnTo>
                    <a:pt x="181" y="98"/>
                  </a:lnTo>
                  <a:lnTo>
                    <a:pt x="204" y="100"/>
                  </a:lnTo>
                  <a:lnTo>
                    <a:pt x="210" y="100"/>
                  </a:lnTo>
                  <a:lnTo>
                    <a:pt x="217" y="98"/>
                  </a:lnTo>
                  <a:lnTo>
                    <a:pt x="221" y="96"/>
                  </a:lnTo>
                  <a:lnTo>
                    <a:pt x="232" y="87"/>
                  </a:lnTo>
                  <a:lnTo>
                    <a:pt x="238" y="79"/>
                  </a:lnTo>
                  <a:lnTo>
                    <a:pt x="242" y="68"/>
                  </a:lnTo>
                  <a:lnTo>
                    <a:pt x="242" y="68"/>
                  </a:lnTo>
                  <a:lnTo>
                    <a:pt x="249" y="60"/>
                  </a:lnTo>
                  <a:lnTo>
                    <a:pt x="259" y="53"/>
                  </a:lnTo>
                  <a:lnTo>
                    <a:pt x="259" y="51"/>
                  </a:lnTo>
                  <a:lnTo>
                    <a:pt x="272" y="38"/>
                  </a:lnTo>
                  <a:lnTo>
                    <a:pt x="276" y="40"/>
                  </a:lnTo>
                  <a:lnTo>
                    <a:pt x="276" y="43"/>
                  </a:lnTo>
                  <a:lnTo>
                    <a:pt x="272" y="43"/>
                  </a:lnTo>
                  <a:lnTo>
                    <a:pt x="276" y="45"/>
                  </a:lnTo>
                  <a:lnTo>
                    <a:pt x="281" y="43"/>
                  </a:lnTo>
                  <a:lnTo>
                    <a:pt x="287" y="43"/>
                  </a:lnTo>
                  <a:lnTo>
                    <a:pt x="287" y="43"/>
                  </a:lnTo>
                  <a:lnTo>
                    <a:pt x="298" y="40"/>
                  </a:lnTo>
                  <a:lnTo>
                    <a:pt x="310" y="32"/>
                  </a:lnTo>
                  <a:lnTo>
                    <a:pt x="315" y="32"/>
                  </a:lnTo>
                  <a:lnTo>
                    <a:pt x="315" y="32"/>
                  </a:lnTo>
                  <a:lnTo>
                    <a:pt x="315" y="40"/>
                  </a:lnTo>
                  <a:lnTo>
                    <a:pt x="310" y="45"/>
                  </a:lnTo>
                  <a:lnTo>
                    <a:pt x="313" y="43"/>
                  </a:lnTo>
                  <a:lnTo>
                    <a:pt x="315" y="49"/>
                  </a:lnTo>
                  <a:lnTo>
                    <a:pt x="317" y="40"/>
                  </a:lnTo>
                  <a:lnTo>
                    <a:pt x="327" y="38"/>
                  </a:lnTo>
                  <a:lnTo>
                    <a:pt x="323" y="38"/>
                  </a:lnTo>
                  <a:lnTo>
                    <a:pt x="319" y="34"/>
                  </a:lnTo>
                  <a:lnTo>
                    <a:pt x="317" y="28"/>
                  </a:lnTo>
                  <a:lnTo>
                    <a:pt x="317" y="26"/>
                  </a:lnTo>
                  <a:lnTo>
                    <a:pt x="327" y="19"/>
                  </a:lnTo>
                  <a:lnTo>
                    <a:pt x="334" y="19"/>
                  </a:lnTo>
                  <a:lnTo>
                    <a:pt x="330" y="23"/>
                  </a:lnTo>
                  <a:lnTo>
                    <a:pt x="332" y="28"/>
                  </a:lnTo>
                  <a:lnTo>
                    <a:pt x="338" y="23"/>
                  </a:lnTo>
                  <a:lnTo>
                    <a:pt x="342" y="26"/>
                  </a:lnTo>
                  <a:lnTo>
                    <a:pt x="357" y="26"/>
                  </a:lnTo>
                  <a:lnTo>
                    <a:pt x="370" y="19"/>
                  </a:lnTo>
                  <a:lnTo>
                    <a:pt x="374" y="15"/>
                  </a:lnTo>
                  <a:lnTo>
                    <a:pt x="379" y="11"/>
                  </a:lnTo>
                  <a:lnTo>
                    <a:pt x="387" y="2"/>
                  </a:lnTo>
                  <a:lnTo>
                    <a:pt x="393" y="0"/>
                  </a:lnTo>
                  <a:lnTo>
                    <a:pt x="389" y="4"/>
                  </a:lnTo>
                  <a:lnTo>
                    <a:pt x="393" y="6"/>
                  </a:lnTo>
                  <a:lnTo>
                    <a:pt x="396" y="13"/>
                  </a:lnTo>
                  <a:lnTo>
                    <a:pt x="402" y="13"/>
                  </a:lnTo>
                  <a:lnTo>
                    <a:pt x="406" y="17"/>
                  </a:lnTo>
                  <a:lnTo>
                    <a:pt x="404" y="21"/>
                  </a:lnTo>
                  <a:lnTo>
                    <a:pt x="400" y="26"/>
                  </a:lnTo>
                  <a:lnTo>
                    <a:pt x="393" y="26"/>
                  </a:lnTo>
                  <a:lnTo>
                    <a:pt x="393" y="28"/>
                  </a:lnTo>
                  <a:lnTo>
                    <a:pt x="396" y="32"/>
                  </a:lnTo>
                  <a:lnTo>
                    <a:pt x="400" y="34"/>
                  </a:lnTo>
                  <a:lnTo>
                    <a:pt x="408" y="26"/>
                  </a:lnTo>
                  <a:lnTo>
                    <a:pt x="411" y="19"/>
                  </a:lnTo>
                  <a:lnTo>
                    <a:pt x="415" y="26"/>
                  </a:lnTo>
                  <a:lnTo>
                    <a:pt x="417" y="21"/>
                  </a:lnTo>
                  <a:lnTo>
                    <a:pt x="421" y="23"/>
                  </a:lnTo>
                  <a:lnTo>
                    <a:pt x="423" y="28"/>
                  </a:lnTo>
                  <a:lnTo>
                    <a:pt x="419" y="32"/>
                  </a:lnTo>
                  <a:lnTo>
                    <a:pt x="423" y="36"/>
                  </a:lnTo>
                  <a:lnTo>
                    <a:pt x="428" y="40"/>
                  </a:lnTo>
                  <a:lnTo>
                    <a:pt x="440" y="36"/>
                  </a:lnTo>
                  <a:lnTo>
                    <a:pt x="445" y="36"/>
                  </a:lnTo>
                  <a:lnTo>
                    <a:pt x="451" y="36"/>
                  </a:lnTo>
                  <a:lnTo>
                    <a:pt x="455" y="40"/>
                  </a:lnTo>
                  <a:lnTo>
                    <a:pt x="459" y="40"/>
                  </a:lnTo>
                  <a:lnTo>
                    <a:pt x="464" y="40"/>
                  </a:lnTo>
                  <a:lnTo>
                    <a:pt x="464" y="47"/>
                  </a:lnTo>
                  <a:lnTo>
                    <a:pt x="462" y="49"/>
                  </a:lnTo>
                  <a:lnTo>
                    <a:pt x="466" y="55"/>
                  </a:lnTo>
                  <a:lnTo>
                    <a:pt x="459" y="55"/>
                  </a:lnTo>
                  <a:lnTo>
                    <a:pt x="464" y="60"/>
                  </a:lnTo>
                  <a:lnTo>
                    <a:pt x="468" y="57"/>
                  </a:lnTo>
                  <a:lnTo>
                    <a:pt x="474" y="60"/>
                  </a:lnTo>
                  <a:lnTo>
                    <a:pt x="470" y="64"/>
                  </a:lnTo>
                  <a:lnTo>
                    <a:pt x="481" y="68"/>
                  </a:lnTo>
                  <a:lnTo>
                    <a:pt x="485" y="70"/>
                  </a:lnTo>
                  <a:lnTo>
                    <a:pt x="487" y="68"/>
                  </a:lnTo>
                  <a:lnTo>
                    <a:pt x="489" y="66"/>
                  </a:lnTo>
                  <a:lnTo>
                    <a:pt x="494" y="66"/>
                  </a:lnTo>
                  <a:lnTo>
                    <a:pt x="500" y="66"/>
                  </a:lnTo>
                  <a:lnTo>
                    <a:pt x="500" y="68"/>
                  </a:lnTo>
                  <a:lnTo>
                    <a:pt x="506" y="70"/>
                  </a:lnTo>
                  <a:lnTo>
                    <a:pt x="511" y="66"/>
                  </a:lnTo>
                  <a:lnTo>
                    <a:pt x="517" y="66"/>
                  </a:lnTo>
                  <a:lnTo>
                    <a:pt x="521" y="68"/>
                  </a:lnTo>
                  <a:lnTo>
                    <a:pt x="526" y="68"/>
                  </a:lnTo>
                  <a:lnTo>
                    <a:pt x="530" y="70"/>
                  </a:lnTo>
                  <a:lnTo>
                    <a:pt x="534" y="72"/>
                  </a:lnTo>
                  <a:lnTo>
                    <a:pt x="538" y="79"/>
                  </a:lnTo>
                  <a:lnTo>
                    <a:pt x="543" y="77"/>
                  </a:lnTo>
                  <a:lnTo>
                    <a:pt x="547" y="79"/>
                  </a:lnTo>
                  <a:lnTo>
                    <a:pt x="551" y="79"/>
                  </a:lnTo>
                  <a:lnTo>
                    <a:pt x="551" y="83"/>
                  </a:lnTo>
                  <a:lnTo>
                    <a:pt x="555" y="85"/>
                  </a:lnTo>
                  <a:lnTo>
                    <a:pt x="566" y="89"/>
                  </a:lnTo>
                  <a:lnTo>
                    <a:pt x="570" y="87"/>
                  </a:lnTo>
                  <a:lnTo>
                    <a:pt x="577" y="87"/>
                  </a:lnTo>
                  <a:lnTo>
                    <a:pt x="581" y="87"/>
                  </a:lnTo>
                  <a:lnTo>
                    <a:pt x="587" y="89"/>
                  </a:lnTo>
                  <a:lnTo>
                    <a:pt x="592" y="89"/>
                  </a:lnTo>
                  <a:lnTo>
                    <a:pt x="596" y="96"/>
                  </a:lnTo>
                  <a:lnTo>
                    <a:pt x="600" y="98"/>
                  </a:lnTo>
                  <a:lnTo>
                    <a:pt x="600" y="98"/>
                  </a:lnTo>
                  <a:lnTo>
                    <a:pt x="609" y="100"/>
                  </a:lnTo>
                  <a:lnTo>
                    <a:pt x="613" y="100"/>
                  </a:lnTo>
                  <a:lnTo>
                    <a:pt x="621" y="96"/>
                  </a:lnTo>
                  <a:lnTo>
                    <a:pt x="626" y="98"/>
                  </a:lnTo>
                  <a:lnTo>
                    <a:pt x="628" y="94"/>
                  </a:lnTo>
                  <a:lnTo>
                    <a:pt x="632" y="92"/>
                  </a:lnTo>
                  <a:lnTo>
                    <a:pt x="636" y="94"/>
                  </a:lnTo>
                  <a:lnTo>
                    <a:pt x="643" y="96"/>
                  </a:lnTo>
                  <a:lnTo>
                    <a:pt x="647" y="94"/>
                  </a:lnTo>
                  <a:lnTo>
                    <a:pt x="651" y="96"/>
                  </a:lnTo>
                  <a:lnTo>
                    <a:pt x="655" y="98"/>
                  </a:lnTo>
                  <a:lnTo>
                    <a:pt x="660" y="102"/>
                  </a:lnTo>
                  <a:lnTo>
                    <a:pt x="668" y="109"/>
                  </a:lnTo>
                  <a:lnTo>
                    <a:pt x="670" y="109"/>
                  </a:lnTo>
                  <a:lnTo>
                    <a:pt x="675" y="111"/>
                  </a:lnTo>
                  <a:lnTo>
                    <a:pt x="679" y="115"/>
                  </a:lnTo>
                  <a:lnTo>
                    <a:pt x="681" y="115"/>
                  </a:lnTo>
                  <a:lnTo>
                    <a:pt x="689" y="117"/>
                  </a:lnTo>
                  <a:lnTo>
                    <a:pt x="689" y="119"/>
                  </a:lnTo>
                  <a:lnTo>
                    <a:pt x="692" y="160"/>
                  </a:lnTo>
                  <a:lnTo>
                    <a:pt x="719" y="656"/>
                  </a:lnTo>
                  <a:lnTo>
                    <a:pt x="721" y="660"/>
                  </a:lnTo>
                  <a:lnTo>
                    <a:pt x="734" y="664"/>
                  </a:lnTo>
                  <a:lnTo>
                    <a:pt x="738" y="660"/>
                  </a:lnTo>
                  <a:lnTo>
                    <a:pt x="749" y="664"/>
                  </a:lnTo>
                  <a:lnTo>
                    <a:pt x="751" y="664"/>
                  </a:lnTo>
                  <a:lnTo>
                    <a:pt x="760" y="656"/>
                  </a:lnTo>
                  <a:lnTo>
                    <a:pt x="770" y="654"/>
                  </a:lnTo>
                  <a:lnTo>
                    <a:pt x="775" y="658"/>
                  </a:lnTo>
                  <a:lnTo>
                    <a:pt x="775" y="664"/>
                  </a:lnTo>
                  <a:lnTo>
                    <a:pt x="773" y="669"/>
                  </a:lnTo>
                  <a:lnTo>
                    <a:pt x="777" y="673"/>
                  </a:lnTo>
                  <a:lnTo>
                    <a:pt x="783" y="677"/>
                  </a:lnTo>
                  <a:lnTo>
                    <a:pt x="790" y="682"/>
                  </a:lnTo>
                  <a:lnTo>
                    <a:pt x="792" y="688"/>
                  </a:lnTo>
                  <a:lnTo>
                    <a:pt x="824" y="716"/>
                  </a:lnTo>
                  <a:lnTo>
                    <a:pt x="832" y="733"/>
                  </a:lnTo>
                  <a:lnTo>
                    <a:pt x="834" y="728"/>
                  </a:lnTo>
                  <a:lnTo>
                    <a:pt x="839" y="724"/>
                  </a:lnTo>
                  <a:lnTo>
                    <a:pt x="849" y="716"/>
                  </a:lnTo>
                  <a:lnTo>
                    <a:pt x="856" y="711"/>
                  </a:lnTo>
                  <a:lnTo>
                    <a:pt x="858" y="707"/>
                  </a:lnTo>
                  <a:lnTo>
                    <a:pt x="856" y="703"/>
                  </a:lnTo>
                  <a:lnTo>
                    <a:pt x="862" y="692"/>
                  </a:lnTo>
                  <a:lnTo>
                    <a:pt x="862" y="686"/>
                  </a:lnTo>
                  <a:lnTo>
                    <a:pt x="868" y="684"/>
                  </a:lnTo>
                  <a:lnTo>
                    <a:pt x="873" y="679"/>
                  </a:lnTo>
                  <a:lnTo>
                    <a:pt x="879" y="675"/>
                  </a:lnTo>
                  <a:lnTo>
                    <a:pt x="885" y="677"/>
                  </a:lnTo>
                  <a:lnTo>
                    <a:pt x="890" y="679"/>
                  </a:lnTo>
                  <a:lnTo>
                    <a:pt x="894" y="684"/>
                  </a:lnTo>
                  <a:lnTo>
                    <a:pt x="896" y="684"/>
                  </a:lnTo>
                  <a:lnTo>
                    <a:pt x="898" y="690"/>
                  </a:lnTo>
                  <a:lnTo>
                    <a:pt x="902" y="703"/>
                  </a:lnTo>
                  <a:lnTo>
                    <a:pt x="907" y="703"/>
                  </a:lnTo>
                  <a:lnTo>
                    <a:pt x="911" y="707"/>
                  </a:lnTo>
                  <a:lnTo>
                    <a:pt x="917" y="709"/>
                  </a:lnTo>
                  <a:lnTo>
                    <a:pt x="924" y="720"/>
                  </a:lnTo>
                  <a:lnTo>
                    <a:pt x="928" y="724"/>
                  </a:lnTo>
                  <a:lnTo>
                    <a:pt x="936" y="728"/>
                  </a:lnTo>
                  <a:lnTo>
                    <a:pt x="941" y="731"/>
                  </a:lnTo>
                  <a:lnTo>
                    <a:pt x="947" y="737"/>
                  </a:lnTo>
                  <a:lnTo>
                    <a:pt x="956" y="745"/>
                  </a:lnTo>
                  <a:lnTo>
                    <a:pt x="956" y="745"/>
                  </a:lnTo>
                  <a:lnTo>
                    <a:pt x="958" y="752"/>
                  </a:lnTo>
                  <a:lnTo>
                    <a:pt x="966" y="760"/>
                  </a:lnTo>
                  <a:lnTo>
                    <a:pt x="968" y="765"/>
                  </a:lnTo>
                  <a:lnTo>
                    <a:pt x="977" y="773"/>
                  </a:lnTo>
                  <a:lnTo>
                    <a:pt x="990" y="790"/>
                  </a:lnTo>
                  <a:lnTo>
                    <a:pt x="996" y="799"/>
                  </a:lnTo>
                  <a:lnTo>
                    <a:pt x="1000" y="803"/>
                  </a:lnTo>
                  <a:lnTo>
                    <a:pt x="1002" y="809"/>
                  </a:lnTo>
                  <a:lnTo>
                    <a:pt x="1002" y="814"/>
                  </a:lnTo>
                  <a:lnTo>
                    <a:pt x="1007" y="816"/>
                  </a:lnTo>
                  <a:lnTo>
                    <a:pt x="1011" y="820"/>
                  </a:lnTo>
                  <a:lnTo>
                    <a:pt x="1015" y="826"/>
                  </a:lnTo>
                  <a:lnTo>
                    <a:pt x="1020" y="831"/>
                  </a:lnTo>
                  <a:lnTo>
                    <a:pt x="1022" y="837"/>
                  </a:lnTo>
                  <a:lnTo>
                    <a:pt x="1024" y="839"/>
                  </a:lnTo>
                  <a:lnTo>
                    <a:pt x="1028" y="839"/>
                  </a:lnTo>
                  <a:lnTo>
                    <a:pt x="1034" y="839"/>
                  </a:lnTo>
                  <a:lnTo>
                    <a:pt x="1043" y="843"/>
                  </a:lnTo>
                  <a:lnTo>
                    <a:pt x="1047" y="846"/>
                  </a:lnTo>
                  <a:lnTo>
                    <a:pt x="1058" y="846"/>
                  </a:lnTo>
                  <a:lnTo>
                    <a:pt x="1062" y="850"/>
                  </a:lnTo>
                  <a:lnTo>
                    <a:pt x="1068" y="852"/>
                  </a:lnTo>
                  <a:lnTo>
                    <a:pt x="1073" y="856"/>
                  </a:lnTo>
                  <a:lnTo>
                    <a:pt x="1077" y="858"/>
                  </a:lnTo>
                  <a:lnTo>
                    <a:pt x="1083" y="856"/>
                  </a:lnTo>
                  <a:lnTo>
                    <a:pt x="1088" y="860"/>
                  </a:lnTo>
                  <a:lnTo>
                    <a:pt x="1088" y="867"/>
                  </a:lnTo>
                  <a:lnTo>
                    <a:pt x="1088" y="871"/>
                  </a:lnTo>
                  <a:lnTo>
                    <a:pt x="1086" y="875"/>
                  </a:lnTo>
                  <a:lnTo>
                    <a:pt x="1088" y="882"/>
                  </a:lnTo>
                  <a:lnTo>
                    <a:pt x="1088" y="888"/>
                  </a:lnTo>
                  <a:lnTo>
                    <a:pt x="1096" y="903"/>
                  </a:lnTo>
                  <a:lnTo>
                    <a:pt x="1094" y="907"/>
                  </a:lnTo>
                  <a:lnTo>
                    <a:pt x="1092" y="922"/>
                  </a:lnTo>
                  <a:lnTo>
                    <a:pt x="1090" y="926"/>
                  </a:lnTo>
                  <a:lnTo>
                    <a:pt x="1086" y="931"/>
                  </a:lnTo>
                  <a:lnTo>
                    <a:pt x="1081" y="935"/>
                  </a:lnTo>
                  <a:lnTo>
                    <a:pt x="1081" y="937"/>
                  </a:lnTo>
                  <a:lnTo>
                    <a:pt x="1077" y="926"/>
                  </a:lnTo>
                  <a:lnTo>
                    <a:pt x="1077" y="935"/>
                  </a:lnTo>
                  <a:lnTo>
                    <a:pt x="1073" y="935"/>
                  </a:lnTo>
                  <a:lnTo>
                    <a:pt x="1068" y="924"/>
                  </a:lnTo>
                  <a:lnTo>
                    <a:pt x="1071" y="920"/>
                  </a:lnTo>
                  <a:lnTo>
                    <a:pt x="1075" y="918"/>
                  </a:lnTo>
                  <a:lnTo>
                    <a:pt x="1077" y="914"/>
                  </a:lnTo>
                  <a:lnTo>
                    <a:pt x="1081" y="905"/>
                  </a:lnTo>
                  <a:lnTo>
                    <a:pt x="1077" y="914"/>
                  </a:lnTo>
                  <a:lnTo>
                    <a:pt x="1075" y="918"/>
                  </a:lnTo>
                  <a:lnTo>
                    <a:pt x="1068" y="920"/>
                  </a:lnTo>
                  <a:lnTo>
                    <a:pt x="1064" y="918"/>
                  </a:lnTo>
                  <a:lnTo>
                    <a:pt x="1064" y="914"/>
                  </a:lnTo>
                  <a:lnTo>
                    <a:pt x="1066" y="907"/>
                  </a:lnTo>
                  <a:lnTo>
                    <a:pt x="1073" y="907"/>
                  </a:lnTo>
                  <a:lnTo>
                    <a:pt x="1068" y="905"/>
                  </a:lnTo>
                  <a:lnTo>
                    <a:pt x="1066" y="899"/>
                  </a:lnTo>
                  <a:lnTo>
                    <a:pt x="1064" y="888"/>
                  </a:lnTo>
                  <a:lnTo>
                    <a:pt x="1060" y="882"/>
                  </a:lnTo>
                  <a:lnTo>
                    <a:pt x="1054" y="873"/>
                  </a:lnTo>
                  <a:lnTo>
                    <a:pt x="1051" y="869"/>
                  </a:lnTo>
                  <a:lnTo>
                    <a:pt x="1054" y="865"/>
                  </a:lnTo>
                  <a:lnTo>
                    <a:pt x="1045" y="873"/>
                  </a:lnTo>
                  <a:lnTo>
                    <a:pt x="1041" y="873"/>
                  </a:lnTo>
                  <a:lnTo>
                    <a:pt x="1030" y="882"/>
                  </a:lnTo>
                  <a:lnTo>
                    <a:pt x="1034" y="886"/>
                  </a:lnTo>
                  <a:lnTo>
                    <a:pt x="1032" y="897"/>
                  </a:lnTo>
                  <a:lnTo>
                    <a:pt x="1028" y="895"/>
                  </a:lnTo>
                  <a:lnTo>
                    <a:pt x="1032" y="901"/>
                  </a:lnTo>
                  <a:lnTo>
                    <a:pt x="1026" y="901"/>
                  </a:lnTo>
                  <a:lnTo>
                    <a:pt x="1022" y="897"/>
                  </a:lnTo>
                  <a:lnTo>
                    <a:pt x="1017" y="892"/>
                  </a:lnTo>
                  <a:lnTo>
                    <a:pt x="1022" y="886"/>
                  </a:lnTo>
                  <a:lnTo>
                    <a:pt x="1024" y="882"/>
                  </a:lnTo>
                  <a:lnTo>
                    <a:pt x="1026" y="873"/>
                  </a:lnTo>
                  <a:lnTo>
                    <a:pt x="1024" y="867"/>
                  </a:lnTo>
                  <a:lnTo>
                    <a:pt x="1028" y="863"/>
                  </a:lnTo>
                  <a:lnTo>
                    <a:pt x="1032" y="863"/>
                  </a:lnTo>
                  <a:lnTo>
                    <a:pt x="1030" y="860"/>
                  </a:lnTo>
                  <a:lnTo>
                    <a:pt x="1026" y="860"/>
                  </a:lnTo>
                  <a:lnTo>
                    <a:pt x="1022" y="856"/>
                  </a:lnTo>
                  <a:lnTo>
                    <a:pt x="1017" y="854"/>
                  </a:lnTo>
                  <a:lnTo>
                    <a:pt x="1011" y="850"/>
                  </a:lnTo>
                  <a:lnTo>
                    <a:pt x="1007" y="848"/>
                  </a:lnTo>
                  <a:lnTo>
                    <a:pt x="1007" y="841"/>
                  </a:lnTo>
                  <a:lnTo>
                    <a:pt x="1000" y="843"/>
                  </a:lnTo>
                  <a:lnTo>
                    <a:pt x="1000" y="837"/>
                  </a:lnTo>
                  <a:lnTo>
                    <a:pt x="1002" y="833"/>
                  </a:lnTo>
                  <a:lnTo>
                    <a:pt x="996" y="835"/>
                  </a:lnTo>
                  <a:lnTo>
                    <a:pt x="992" y="833"/>
                  </a:lnTo>
                  <a:lnTo>
                    <a:pt x="988" y="828"/>
                  </a:lnTo>
                  <a:lnTo>
                    <a:pt x="990" y="822"/>
                  </a:lnTo>
                  <a:lnTo>
                    <a:pt x="988" y="818"/>
                  </a:lnTo>
                  <a:lnTo>
                    <a:pt x="983" y="822"/>
                  </a:lnTo>
                  <a:lnTo>
                    <a:pt x="977" y="820"/>
                  </a:lnTo>
                  <a:lnTo>
                    <a:pt x="973" y="816"/>
                  </a:lnTo>
                  <a:lnTo>
                    <a:pt x="968" y="818"/>
                  </a:lnTo>
                  <a:lnTo>
                    <a:pt x="962" y="816"/>
                  </a:lnTo>
                  <a:lnTo>
                    <a:pt x="964" y="811"/>
                  </a:lnTo>
                  <a:lnTo>
                    <a:pt x="971" y="809"/>
                  </a:lnTo>
                  <a:lnTo>
                    <a:pt x="975" y="805"/>
                  </a:lnTo>
                  <a:lnTo>
                    <a:pt x="964" y="805"/>
                  </a:lnTo>
                  <a:lnTo>
                    <a:pt x="966" y="801"/>
                  </a:lnTo>
                  <a:lnTo>
                    <a:pt x="962" y="801"/>
                  </a:lnTo>
                  <a:lnTo>
                    <a:pt x="962" y="794"/>
                  </a:lnTo>
                  <a:lnTo>
                    <a:pt x="958" y="792"/>
                  </a:lnTo>
                  <a:lnTo>
                    <a:pt x="956" y="788"/>
                  </a:lnTo>
                  <a:lnTo>
                    <a:pt x="964" y="790"/>
                  </a:lnTo>
                  <a:lnTo>
                    <a:pt x="973" y="794"/>
                  </a:lnTo>
                  <a:lnTo>
                    <a:pt x="971" y="788"/>
                  </a:lnTo>
                  <a:lnTo>
                    <a:pt x="964" y="788"/>
                  </a:lnTo>
                  <a:lnTo>
                    <a:pt x="960" y="784"/>
                  </a:lnTo>
                  <a:lnTo>
                    <a:pt x="956" y="779"/>
                  </a:lnTo>
                  <a:lnTo>
                    <a:pt x="956" y="775"/>
                  </a:lnTo>
                  <a:lnTo>
                    <a:pt x="966" y="775"/>
                  </a:lnTo>
                  <a:lnTo>
                    <a:pt x="956" y="773"/>
                  </a:lnTo>
                  <a:lnTo>
                    <a:pt x="954" y="777"/>
                  </a:lnTo>
                  <a:lnTo>
                    <a:pt x="949" y="777"/>
                  </a:lnTo>
                  <a:lnTo>
                    <a:pt x="947" y="771"/>
                  </a:lnTo>
                  <a:lnTo>
                    <a:pt x="949" y="762"/>
                  </a:lnTo>
                  <a:lnTo>
                    <a:pt x="947" y="767"/>
                  </a:lnTo>
                  <a:lnTo>
                    <a:pt x="945" y="771"/>
                  </a:lnTo>
                  <a:lnTo>
                    <a:pt x="941" y="769"/>
                  </a:lnTo>
                  <a:lnTo>
                    <a:pt x="939" y="762"/>
                  </a:lnTo>
                  <a:lnTo>
                    <a:pt x="936" y="758"/>
                  </a:lnTo>
                  <a:lnTo>
                    <a:pt x="939" y="754"/>
                  </a:lnTo>
                  <a:lnTo>
                    <a:pt x="939" y="748"/>
                  </a:lnTo>
                  <a:lnTo>
                    <a:pt x="939" y="743"/>
                  </a:lnTo>
                  <a:lnTo>
                    <a:pt x="943" y="741"/>
                  </a:lnTo>
                  <a:lnTo>
                    <a:pt x="936" y="741"/>
                  </a:lnTo>
                  <a:lnTo>
                    <a:pt x="936" y="756"/>
                  </a:lnTo>
                  <a:lnTo>
                    <a:pt x="930" y="758"/>
                  </a:lnTo>
                  <a:lnTo>
                    <a:pt x="926" y="756"/>
                  </a:lnTo>
                  <a:lnTo>
                    <a:pt x="922" y="754"/>
                  </a:lnTo>
                  <a:lnTo>
                    <a:pt x="922" y="754"/>
                  </a:lnTo>
                  <a:lnTo>
                    <a:pt x="922" y="754"/>
                  </a:lnTo>
                  <a:lnTo>
                    <a:pt x="915" y="754"/>
                  </a:lnTo>
                  <a:lnTo>
                    <a:pt x="913" y="748"/>
                  </a:lnTo>
                  <a:lnTo>
                    <a:pt x="905" y="737"/>
                  </a:lnTo>
                  <a:lnTo>
                    <a:pt x="907" y="733"/>
                  </a:lnTo>
                  <a:lnTo>
                    <a:pt x="902" y="731"/>
                  </a:lnTo>
                  <a:lnTo>
                    <a:pt x="898" y="724"/>
                  </a:lnTo>
                  <a:lnTo>
                    <a:pt x="898" y="720"/>
                  </a:lnTo>
                  <a:lnTo>
                    <a:pt x="892" y="709"/>
                  </a:lnTo>
                  <a:lnTo>
                    <a:pt x="890" y="703"/>
                  </a:lnTo>
                  <a:lnTo>
                    <a:pt x="887" y="692"/>
                  </a:lnTo>
                  <a:lnTo>
                    <a:pt x="885" y="703"/>
                  </a:lnTo>
                  <a:lnTo>
                    <a:pt x="885" y="703"/>
                  </a:lnTo>
                  <a:lnTo>
                    <a:pt x="890" y="707"/>
                  </a:lnTo>
                  <a:lnTo>
                    <a:pt x="892" y="713"/>
                  </a:lnTo>
                  <a:lnTo>
                    <a:pt x="887" y="709"/>
                  </a:lnTo>
                  <a:lnTo>
                    <a:pt x="890" y="713"/>
                  </a:lnTo>
                  <a:lnTo>
                    <a:pt x="892" y="720"/>
                  </a:lnTo>
                  <a:lnTo>
                    <a:pt x="898" y="737"/>
                  </a:lnTo>
                  <a:lnTo>
                    <a:pt x="902" y="743"/>
                  </a:lnTo>
                  <a:lnTo>
                    <a:pt x="900" y="741"/>
                  </a:lnTo>
                  <a:lnTo>
                    <a:pt x="902" y="748"/>
                  </a:lnTo>
                  <a:lnTo>
                    <a:pt x="907" y="758"/>
                  </a:lnTo>
                  <a:lnTo>
                    <a:pt x="907" y="762"/>
                  </a:lnTo>
                  <a:lnTo>
                    <a:pt x="900" y="765"/>
                  </a:lnTo>
                  <a:lnTo>
                    <a:pt x="896" y="760"/>
                  </a:lnTo>
                  <a:lnTo>
                    <a:pt x="894" y="754"/>
                  </a:lnTo>
                  <a:lnTo>
                    <a:pt x="887" y="754"/>
                  </a:lnTo>
                  <a:lnTo>
                    <a:pt x="883" y="756"/>
                  </a:lnTo>
                  <a:lnTo>
                    <a:pt x="879" y="754"/>
                  </a:lnTo>
                  <a:lnTo>
                    <a:pt x="881" y="750"/>
                  </a:lnTo>
                  <a:lnTo>
                    <a:pt x="875" y="737"/>
                  </a:lnTo>
                  <a:lnTo>
                    <a:pt x="875" y="733"/>
                  </a:lnTo>
                  <a:lnTo>
                    <a:pt x="879" y="728"/>
                  </a:lnTo>
                  <a:lnTo>
                    <a:pt x="870" y="726"/>
                  </a:lnTo>
                  <a:lnTo>
                    <a:pt x="870" y="731"/>
                  </a:lnTo>
                  <a:lnTo>
                    <a:pt x="870" y="737"/>
                  </a:lnTo>
                  <a:lnTo>
                    <a:pt x="866" y="737"/>
                  </a:lnTo>
                  <a:lnTo>
                    <a:pt x="860" y="735"/>
                  </a:lnTo>
                  <a:lnTo>
                    <a:pt x="858" y="728"/>
                  </a:lnTo>
                  <a:lnTo>
                    <a:pt x="853" y="726"/>
                  </a:lnTo>
                  <a:lnTo>
                    <a:pt x="847" y="728"/>
                  </a:lnTo>
                  <a:lnTo>
                    <a:pt x="845" y="724"/>
                  </a:lnTo>
                  <a:lnTo>
                    <a:pt x="847" y="731"/>
                  </a:lnTo>
                  <a:lnTo>
                    <a:pt x="843" y="735"/>
                  </a:lnTo>
                  <a:lnTo>
                    <a:pt x="847" y="733"/>
                  </a:lnTo>
                  <a:lnTo>
                    <a:pt x="858" y="735"/>
                  </a:lnTo>
                  <a:lnTo>
                    <a:pt x="860" y="739"/>
                  </a:lnTo>
                  <a:lnTo>
                    <a:pt x="864" y="741"/>
                  </a:lnTo>
                  <a:lnTo>
                    <a:pt x="862" y="745"/>
                  </a:lnTo>
                  <a:lnTo>
                    <a:pt x="868" y="743"/>
                  </a:lnTo>
                  <a:lnTo>
                    <a:pt x="873" y="748"/>
                  </a:lnTo>
                  <a:lnTo>
                    <a:pt x="875" y="754"/>
                  </a:lnTo>
                  <a:lnTo>
                    <a:pt x="877" y="758"/>
                  </a:lnTo>
                  <a:lnTo>
                    <a:pt x="870" y="762"/>
                  </a:lnTo>
                  <a:lnTo>
                    <a:pt x="862" y="758"/>
                  </a:lnTo>
                  <a:lnTo>
                    <a:pt x="862" y="762"/>
                  </a:lnTo>
                  <a:lnTo>
                    <a:pt x="862" y="767"/>
                  </a:lnTo>
                  <a:lnTo>
                    <a:pt x="860" y="771"/>
                  </a:lnTo>
                  <a:lnTo>
                    <a:pt x="856" y="767"/>
                  </a:lnTo>
                  <a:lnTo>
                    <a:pt x="849" y="762"/>
                  </a:lnTo>
                  <a:lnTo>
                    <a:pt x="841" y="760"/>
                  </a:lnTo>
                  <a:lnTo>
                    <a:pt x="828" y="752"/>
                  </a:lnTo>
                  <a:lnTo>
                    <a:pt x="832" y="748"/>
                  </a:lnTo>
                  <a:lnTo>
                    <a:pt x="828" y="750"/>
                  </a:lnTo>
                  <a:lnTo>
                    <a:pt x="817" y="743"/>
                  </a:lnTo>
                  <a:lnTo>
                    <a:pt x="815" y="737"/>
                  </a:lnTo>
                  <a:lnTo>
                    <a:pt x="809" y="728"/>
                  </a:lnTo>
                  <a:lnTo>
                    <a:pt x="802" y="726"/>
                  </a:lnTo>
                  <a:lnTo>
                    <a:pt x="798" y="724"/>
                  </a:lnTo>
                  <a:lnTo>
                    <a:pt x="800" y="720"/>
                  </a:lnTo>
                  <a:lnTo>
                    <a:pt x="794" y="722"/>
                  </a:lnTo>
                  <a:lnTo>
                    <a:pt x="785" y="718"/>
                  </a:lnTo>
                  <a:lnTo>
                    <a:pt x="779" y="716"/>
                  </a:lnTo>
                  <a:lnTo>
                    <a:pt x="775" y="711"/>
                  </a:lnTo>
                  <a:lnTo>
                    <a:pt x="770" y="711"/>
                  </a:lnTo>
                  <a:lnTo>
                    <a:pt x="766" y="707"/>
                  </a:lnTo>
                  <a:lnTo>
                    <a:pt x="755" y="703"/>
                  </a:lnTo>
                  <a:lnTo>
                    <a:pt x="762" y="701"/>
                  </a:lnTo>
                  <a:lnTo>
                    <a:pt x="764" y="696"/>
                  </a:lnTo>
                  <a:lnTo>
                    <a:pt x="766" y="690"/>
                  </a:lnTo>
                  <a:lnTo>
                    <a:pt x="762" y="686"/>
                  </a:lnTo>
                  <a:lnTo>
                    <a:pt x="762" y="679"/>
                  </a:lnTo>
                  <a:lnTo>
                    <a:pt x="768" y="679"/>
                  </a:lnTo>
                  <a:lnTo>
                    <a:pt x="770" y="684"/>
                  </a:lnTo>
                  <a:lnTo>
                    <a:pt x="770" y="690"/>
                  </a:lnTo>
                  <a:lnTo>
                    <a:pt x="773" y="696"/>
                  </a:lnTo>
                  <a:lnTo>
                    <a:pt x="770" y="690"/>
                  </a:lnTo>
                  <a:lnTo>
                    <a:pt x="770" y="684"/>
                  </a:lnTo>
                  <a:lnTo>
                    <a:pt x="777" y="684"/>
                  </a:lnTo>
                  <a:lnTo>
                    <a:pt x="781" y="686"/>
                  </a:lnTo>
                  <a:lnTo>
                    <a:pt x="777" y="684"/>
                  </a:lnTo>
                  <a:lnTo>
                    <a:pt x="773" y="682"/>
                  </a:lnTo>
                  <a:lnTo>
                    <a:pt x="766" y="675"/>
                  </a:lnTo>
                  <a:lnTo>
                    <a:pt x="762" y="675"/>
                  </a:lnTo>
                  <a:lnTo>
                    <a:pt x="758" y="684"/>
                  </a:lnTo>
                  <a:lnTo>
                    <a:pt x="745" y="692"/>
                  </a:lnTo>
                  <a:lnTo>
                    <a:pt x="741" y="694"/>
                  </a:lnTo>
                  <a:lnTo>
                    <a:pt x="724" y="692"/>
                  </a:lnTo>
                  <a:lnTo>
                    <a:pt x="711" y="686"/>
                  </a:lnTo>
                  <a:lnTo>
                    <a:pt x="713" y="682"/>
                  </a:lnTo>
                  <a:lnTo>
                    <a:pt x="713" y="679"/>
                  </a:lnTo>
                  <a:lnTo>
                    <a:pt x="711" y="673"/>
                  </a:lnTo>
                  <a:lnTo>
                    <a:pt x="709" y="677"/>
                  </a:lnTo>
                  <a:lnTo>
                    <a:pt x="702" y="682"/>
                  </a:lnTo>
                  <a:lnTo>
                    <a:pt x="696" y="679"/>
                  </a:lnTo>
                  <a:lnTo>
                    <a:pt x="672" y="675"/>
                  </a:lnTo>
                  <a:lnTo>
                    <a:pt x="662" y="677"/>
                  </a:lnTo>
                  <a:lnTo>
                    <a:pt x="645" y="679"/>
                  </a:lnTo>
                  <a:lnTo>
                    <a:pt x="638" y="682"/>
                  </a:lnTo>
                  <a:lnTo>
                    <a:pt x="636" y="682"/>
                  </a:lnTo>
                  <a:lnTo>
                    <a:pt x="632" y="679"/>
                  </a:lnTo>
                  <a:lnTo>
                    <a:pt x="630" y="673"/>
                  </a:lnTo>
                  <a:lnTo>
                    <a:pt x="626" y="669"/>
                  </a:lnTo>
                  <a:lnTo>
                    <a:pt x="615" y="669"/>
                  </a:lnTo>
                  <a:lnTo>
                    <a:pt x="611" y="664"/>
                  </a:lnTo>
                  <a:lnTo>
                    <a:pt x="609" y="658"/>
                  </a:lnTo>
                  <a:lnTo>
                    <a:pt x="611" y="654"/>
                  </a:lnTo>
                  <a:lnTo>
                    <a:pt x="611" y="650"/>
                  </a:lnTo>
                  <a:lnTo>
                    <a:pt x="613" y="643"/>
                  </a:lnTo>
                  <a:lnTo>
                    <a:pt x="617" y="639"/>
                  </a:lnTo>
                  <a:lnTo>
                    <a:pt x="611" y="643"/>
                  </a:lnTo>
                  <a:lnTo>
                    <a:pt x="609" y="647"/>
                  </a:lnTo>
                  <a:lnTo>
                    <a:pt x="604" y="652"/>
                  </a:lnTo>
                  <a:lnTo>
                    <a:pt x="602" y="658"/>
                  </a:lnTo>
                  <a:lnTo>
                    <a:pt x="596" y="660"/>
                  </a:lnTo>
                  <a:lnTo>
                    <a:pt x="592" y="658"/>
                  </a:lnTo>
                  <a:lnTo>
                    <a:pt x="587" y="654"/>
                  </a:lnTo>
                  <a:lnTo>
                    <a:pt x="583" y="654"/>
                  </a:lnTo>
                  <a:lnTo>
                    <a:pt x="583" y="650"/>
                  </a:lnTo>
                  <a:lnTo>
                    <a:pt x="587" y="645"/>
                  </a:lnTo>
                  <a:lnTo>
                    <a:pt x="581" y="645"/>
                  </a:lnTo>
                  <a:lnTo>
                    <a:pt x="577" y="641"/>
                  </a:lnTo>
                  <a:lnTo>
                    <a:pt x="570" y="643"/>
                  </a:lnTo>
                  <a:lnTo>
                    <a:pt x="577" y="635"/>
                  </a:lnTo>
                  <a:lnTo>
                    <a:pt x="564" y="641"/>
                  </a:lnTo>
                  <a:lnTo>
                    <a:pt x="560" y="641"/>
                  </a:lnTo>
                  <a:lnTo>
                    <a:pt x="564" y="637"/>
                  </a:lnTo>
                  <a:lnTo>
                    <a:pt x="574" y="633"/>
                  </a:lnTo>
                  <a:lnTo>
                    <a:pt x="570" y="628"/>
                  </a:lnTo>
                  <a:lnTo>
                    <a:pt x="566" y="633"/>
                  </a:lnTo>
                  <a:lnTo>
                    <a:pt x="562" y="630"/>
                  </a:lnTo>
                  <a:lnTo>
                    <a:pt x="557" y="628"/>
                  </a:lnTo>
                  <a:lnTo>
                    <a:pt x="557" y="622"/>
                  </a:lnTo>
                  <a:lnTo>
                    <a:pt x="560" y="618"/>
                  </a:lnTo>
                  <a:lnTo>
                    <a:pt x="570" y="618"/>
                  </a:lnTo>
                  <a:lnTo>
                    <a:pt x="566" y="615"/>
                  </a:lnTo>
                  <a:lnTo>
                    <a:pt x="562" y="615"/>
                  </a:lnTo>
                  <a:lnTo>
                    <a:pt x="553" y="624"/>
                  </a:lnTo>
                  <a:lnTo>
                    <a:pt x="549" y="624"/>
                  </a:lnTo>
                  <a:lnTo>
                    <a:pt x="543" y="622"/>
                  </a:lnTo>
                  <a:lnTo>
                    <a:pt x="540" y="626"/>
                  </a:lnTo>
                  <a:lnTo>
                    <a:pt x="536" y="622"/>
                  </a:lnTo>
                  <a:lnTo>
                    <a:pt x="536" y="626"/>
                  </a:lnTo>
                  <a:lnTo>
                    <a:pt x="536" y="615"/>
                  </a:lnTo>
                  <a:lnTo>
                    <a:pt x="532" y="620"/>
                  </a:lnTo>
                  <a:lnTo>
                    <a:pt x="532" y="630"/>
                  </a:lnTo>
                  <a:lnTo>
                    <a:pt x="530" y="624"/>
                  </a:lnTo>
                  <a:lnTo>
                    <a:pt x="528" y="628"/>
                  </a:lnTo>
                  <a:lnTo>
                    <a:pt x="521" y="626"/>
                  </a:lnTo>
                  <a:lnTo>
                    <a:pt x="523" y="620"/>
                  </a:lnTo>
                  <a:lnTo>
                    <a:pt x="523" y="615"/>
                  </a:lnTo>
                  <a:lnTo>
                    <a:pt x="528" y="611"/>
                  </a:lnTo>
                  <a:lnTo>
                    <a:pt x="530" y="605"/>
                  </a:lnTo>
                  <a:lnTo>
                    <a:pt x="528" y="609"/>
                  </a:lnTo>
                  <a:lnTo>
                    <a:pt x="523" y="613"/>
                  </a:lnTo>
                  <a:lnTo>
                    <a:pt x="521" y="618"/>
                  </a:lnTo>
                  <a:lnTo>
                    <a:pt x="517" y="613"/>
                  </a:lnTo>
                  <a:lnTo>
                    <a:pt x="511" y="615"/>
                  </a:lnTo>
                  <a:lnTo>
                    <a:pt x="508" y="622"/>
                  </a:lnTo>
                  <a:lnTo>
                    <a:pt x="515" y="618"/>
                  </a:lnTo>
                  <a:lnTo>
                    <a:pt x="515" y="622"/>
                  </a:lnTo>
                  <a:lnTo>
                    <a:pt x="513" y="628"/>
                  </a:lnTo>
                  <a:lnTo>
                    <a:pt x="502" y="633"/>
                  </a:lnTo>
                  <a:lnTo>
                    <a:pt x="506" y="630"/>
                  </a:lnTo>
                  <a:lnTo>
                    <a:pt x="502" y="635"/>
                  </a:lnTo>
                  <a:lnTo>
                    <a:pt x="508" y="635"/>
                  </a:lnTo>
                  <a:lnTo>
                    <a:pt x="508" y="639"/>
                  </a:lnTo>
                  <a:lnTo>
                    <a:pt x="513" y="635"/>
                  </a:lnTo>
                  <a:lnTo>
                    <a:pt x="515" y="641"/>
                  </a:lnTo>
                  <a:lnTo>
                    <a:pt x="513" y="645"/>
                  </a:lnTo>
                  <a:lnTo>
                    <a:pt x="506" y="645"/>
                  </a:lnTo>
                  <a:lnTo>
                    <a:pt x="502" y="650"/>
                  </a:lnTo>
                  <a:lnTo>
                    <a:pt x="508" y="647"/>
                  </a:lnTo>
                  <a:lnTo>
                    <a:pt x="513" y="650"/>
                  </a:lnTo>
                  <a:lnTo>
                    <a:pt x="517" y="645"/>
                  </a:lnTo>
                  <a:lnTo>
                    <a:pt x="521" y="650"/>
                  </a:lnTo>
                  <a:lnTo>
                    <a:pt x="521" y="654"/>
                  </a:lnTo>
                  <a:lnTo>
                    <a:pt x="515" y="656"/>
                  </a:lnTo>
                  <a:lnTo>
                    <a:pt x="513" y="660"/>
                  </a:lnTo>
                  <a:lnTo>
                    <a:pt x="508" y="664"/>
                  </a:lnTo>
                  <a:lnTo>
                    <a:pt x="513" y="664"/>
                  </a:lnTo>
                  <a:lnTo>
                    <a:pt x="513" y="669"/>
                  </a:lnTo>
                  <a:lnTo>
                    <a:pt x="508" y="673"/>
                  </a:lnTo>
                  <a:lnTo>
                    <a:pt x="506" y="679"/>
                  </a:lnTo>
                  <a:lnTo>
                    <a:pt x="504" y="679"/>
                  </a:lnTo>
                  <a:lnTo>
                    <a:pt x="500" y="684"/>
                  </a:lnTo>
                  <a:lnTo>
                    <a:pt x="487" y="677"/>
                  </a:lnTo>
                  <a:lnTo>
                    <a:pt x="485" y="677"/>
                  </a:lnTo>
                  <a:lnTo>
                    <a:pt x="483" y="682"/>
                  </a:lnTo>
                  <a:lnTo>
                    <a:pt x="481" y="671"/>
                  </a:lnTo>
                  <a:lnTo>
                    <a:pt x="479" y="677"/>
                  </a:lnTo>
                  <a:lnTo>
                    <a:pt x="474" y="682"/>
                  </a:lnTo>
                  <a:lnTo>
                    <a:pt x="472" y="686"/>
                  </a:lnTo>
                  <a:lnTo>
                    <a:pt x="472" y="690"/>
                  </a:lnTo>
                  <a:lnTo>
                    <a:pt x="470" y="686"/>
                  </a:lnTo>
                  <a:lnTo>
                    <a:pt x="470" y="679"/>
                  </a:lnTo>
                  <a:lnTo>
                    <a:pt x="468" y="686"/>
                  </a:lnTo>
                  <a:lnTo>
                    <a:pt x="466" y="690"/>
                  </a:lnTo>
                  <a:lnTo>
                    <a:pt x="466" y="694"/>
                  </a:lnTo>
                  <a:lnTo>
                    <a:pt x="464" y="690"/>
                  </a:lnTo>
                  <a:lnTo>
                    <a:pt x="459" y="688"/>
                  </a:lnTo>
                  <a:lnTo>
                    <a:pt x="462" y="694"/>
                  </a:lnTo>
                  <a:lnTo>
                    <a:pt x="459" y="696"/>
                  </a:lnTo>
                  <a:lnTo>
                    <a:pt x="453" y="699"/>
                  </a:lnTo>
                  <a:lnTo>
                    <a:pt x="451" y="703"/>
                  </a:lnTo>
                  <a:lnTo>
                    <a:pt x="451" y="699"/>
                  </a:lnTo>
                  <a:lnTo>
                    <a:pt x="453" y="694"/>
                  </a:lnTo>
                  <a:lnTo>
                    <a:pt x="447" y="703"/>
                  </a:lnTo>
                  <a:lnTo>
                    <a:pt x="442" y="699"/>
                  </a:lnTo>
                  <a:lnTo>
                    <a:pt x="442" y="705"/>
                  </a:lnTo>
                  <a:lnTo>
                    <a:pt x="432" y="711"/>
                  </a:lnTo>
                  <a:lnTo>
                    <a:pt x="432" y="718"/>
                  </a:lnTo>
                  <a:lnTo>
                    <a:pt x="421" y="713"/>
                  </a:lnTo>
                  <a:lnTo>
                    <a:pt x="425" y="718"/>
                  </a:lnTo>
                  <a:lnTo>
                    <a:pt x="419" y="718"/>
                  </a:lnTo>
                  <a:lnTo>
                    <a:pt x="415" y="716"/>
                  </a:lnTo>
                  <a:lnTo>
                    <a:pt x="411" y="720"/>
                  </a:lnTo>
                  <a:lnTo>
                    <a:pt x="406" y="720"/>
                  </a:lnTo>
                  <a:lnTo>
                    <a:pt x="402" y="716"/>
                  </a:lnTo>
                  <a:lnTo>
                    <a:pt x="400" y="709"/>
                  </a:lnTo>
                  <a:lnTo>
                    <a:pt x="402" y="705"/>
                  </a:lnTo>
                  <a:lnTo>
                    <a:pt x="408" y="703"/>
                  </a:lnTo>
                  <a:lnTo>
                    <a:pt x="413" y="703"/>
                  </a:lnTo>
                  <a:lnTo>
                    <a:pt x="419" y="705"/>
                  </a:lnTo>
                  <a:lnTo>
                    <a:pt x="417" y="699"/>
                  </a:lnTo>
                  <a:lnTo>
                    <a:pt x="423" y="696"/>
                  </a:lnTo>
                  <a:lnTo>
                    <a:pt x="430" y="688"/>
                  </a:lnTo>
                  <a:lnTo>
                    <a:pt x="425" y="688"/>
                  </a:lnTo>
                  <a:lnTo>
                    <a:pt x="419" y="692"/>
                  </a:lnTo>
                  <a:lnTo>
                    <a:pt x="413" y="692"/>
                  </a:lnTo>
                  <a:lnTo>
                    <a:pt x="408" y="690"/>
                  </a:lnTo>
                  <a:lnTo>
                    <a:pt x="406" y="684"/>
                  </a:lnTo>
                  <a:lnTo>
                    <a:pt x="411" y="671"/>
                  </a:lnTo>
                  <a:lnTo>
                    <a:pt x="415" y="667"/>
                  </a:lnTo>
                  <a:lnTo>
                    <a:pt x="421" y="658"/>
                  </a:lnTo>
                  <a:lnTo>
                    <a:pt x="423" y="652"/>
                  </a:lnTo>
                  <a:lnTo>
                    <a:pt x="425" y="650"/>
                  </a:lnTo>
                  <a:lnTo>
                    <a:pt x="428" y="641"/>
                  </a:lnTo>
                  <a:lnTo>
                    <a:pt x="425" y="630"/>
                  </a:lnTo>
                  <a:lnTo>
                    <a:pt x="436" y="626"/>
                  </a:lnTo>
                  <a:lnTo>
                    <a:pt x="447" y="618"/>
                  </a:lnTo>
                  <a:lnTo>
                    <a:pt x="453" y="615"/>
                  </a:lnTo>
                  <a:lnTo>
                    <a:pt x="462" y="622"/>
                  </a:lnTo>
                  <a:lnTo>
                    <a:pt x="466" y="622"/>
                  </a:lnTo>
                  <a:lnTo>
                    <a:pt x="470" y="620"/>
                  </a:lnTo>
                  <a:lnTo>
                    <a:pt x="474" y="622"/>
                  </a:lnTo>
                  <a:lnTo>
                    <a:pt x="489" y="626"/>
                  </a:lnTo>
                  <a:lnTo>
                    <a:pt x="485" y="622"/>
                  </a:lnTo>
                  <a:lnTo>
                    <a:pt x="477" y="618"/>
                  </a:lnTo>
                  <a:lnTo>
                    <a:pt x="466" y="609"/>
                  </a:lnTo>
                  <a:lnTo>
                    <a:pt x="466" y="605"/>
                  </a:lnTo>
                  <a:lnTo>
                    <a:pt x="470" y="601"/>
                  </a:lnTo>
                  <a:lnTo>
                    <a:pt x="481" y="594"/>
                  </a:lnTo>
                  <a:lnTo>
                    <a:pt x="485" y="590"/>
                  </a:lnTo>
                  <a:lnTo>
                    <a:pt x="481" y="590"/>
                  </a:lnTo>
                  <a:lnTo>
                    <a:pt x="477" y="590"/>
                  </a:lnTo>
                  <a:lnTo>
                    <a:pt x="472" y="594"/>
                  </a:lnTo>
                  <a:lnTo>
                    <a:pt x="466" y="603"/>
                  </a:lnTo>
                  <a:lnTo>
                    <a:pt x="462" y="603"/>
                  </a:lnTo>
                  <a:lnTo>
                    <a:pt x="457" y="603"/>
                  </a:lnTo>
                  <a:lnTo>
                    <a:pt x="453" y="601"/>
                  </a:lnTo>
                  <a:lnTo>
                    <a:pt x="453" y="594"/>
                  </a:lnTo>
                  <a:lnTo>
                    <a:pt x="451" y="594"/>
                  </a:lnTo>
                  <a:lnTo>
                    <a:pt x="451" y="598"/>
                  </a:lnTo>
                  <a:lnTo>
                    <a:pt x="438" y="605"/>
                  </a:lnTo>
                  <a:lnTo>
                    <a:pt x="436" y="609"/>
                  </a:lnTo>
                  <a:lnTo>
                    <a:pt x="430" y="611"/>
                  </a:lnTo>
                  <a:lnTo>
                    <a:pt x="423" y="613"/>
                  </a:lnTo>
                  <a:lnTo>
                    <a:pt x="419" y="615"/>
                  </a:lnTo>
                  <a:lnTo>
                    <a:pt x="415" y="622"/>
                  </a:lnTo>
                  <a:lnTo>
                    <a:pt x="415" y="626"/>
                  </a:lnTo>
                  <a:lnTo>
                    <a:pt x="411" y="628"/>
                  </a:lnTo>
                  <a:lnTo>
                    <a:pt x="400" y="637"/>
                  </a:lnTo>
                  <a:lnTo>
                    <a:pt x="398" y="641"/>
                  </a:lnTo>
                  <a:lnTo>
                    <a:pt x="398" y="647"/>
                  </a:lnTo>
                  <a:lnTo>
                    <a:pt x="389" y="654"/>
                  </a:lnTo>
                  <a:lnTo>
                    <a:pt x="383" y="654"/>
                  </a:lnTo>
                  <a:lnTo>
                    <a:pt x="381" y="650"/>
                  </a:lnTo>
                  <a:lnTo>
                    <a:pt x="374" y="650"/>
                  </a:lnTo>
                  <a:lnTo>
                    <a:pt x="379" y="654"/>
                  </a:lnTo>
                  <a:lnTo>
                    <a:pt x="383" y="658"/>
                  </a:lnTo>
                  <a:lnTo>
                    <a:pt x="387" y="662"/>
                  </a:lnTo>
                  <a:lnTo>
                    <a:pt x="383" y="673"/>
                  </a:lnTo>
                  <a:lnTo>
                    <a:pt x="376" y="675"/>
                  </a:lnTo>
                  <a:lnTo>
                    <a:pt x="372" y="673"/>
                  </a:lnTo>
                  <a:lnTo>
                    <a:pt x="366" y="675"/>
                  </a:lnTo>
                  <a:lnTo>
                    <a:pt x="370" y="677"/>
                  </a:lnTo>
                  <a:lnTo>
                    <a:pt x="372" y="682"/>
                  </a:lnTo>
                  <a:lnTo>
                    <a:pt x="368" y="686"/>
                  </a:lnTo>
                  <a:lnTo>
                    <a:pt x="362" y="688"/>
                  </a:lnTo>
                  <a:lnTo>
                    <a:pt x="362" y="682"/>
                  </a:lnTo>
                  <a:lnTo>
                    <a:pt x="357" y="686"/>
                  </a:lnTo>
                  <a:lnTo>
                    <a:pt x="351" y="686"/>
                  </a:lnTo>
                  <a:lnTo>
                    <a:pt x="349" y="690"/>
                  </a:lnTo>
                  <a:lnTo>
                    <a:pt x="349" y="696"/>
                  </a:lnTo>
                  <a:lnTo>
                    <a:pt x="338" y="699"/>
                  </a:lnTo>
                  <a:lnTo>
                    <a:pt x="336" y="703"/>
                  </a:lnTo>
                  <a:lnTo>
                    <a:pt x="336" y="709"/>
                  </a:lnTo>
                  <a:lnTo>
                    <a:pt x="332" y="713"/>
                  </a:lnTo>
                  <a:lnTo>
                    <a:pt x="332" y="718"/>
                  </a:lnTo>
                  <a:lnTo>
                    <a:pt x="338" y="716"/>
                  </a:lnTo>
                  <a:lnTo>
                    <a:pt x="342" y="718"/>
                  </a:lnTo>
                  <a:lnTo>
                    <a:pt x="347" y="718"/>
                  </a:lnTo>
                  <a:lnTo>
                    <a:pt x="351" y="724"/>
                  </a:lnTo>
                  <a:lnTo>
                    <a:pt x="355" y="726"/>
                  </a:lnTo>
                  <a:lnTo>
                    <a:pt x="359" y="733"/>
                  </a:lnTo>
                  <a:lnTo>
                    <a:pt x="351" y="741"/>
                  </a:lnTo>
                  <a:lnTo>
                    <a:pt x="345" y="743"/>
                  </a:lnTo>
                  <a:lnTo>
                    <a:pt x="338" y="743"/>
                  </a:lnTo>
                  <a:lnTo>
                    <a:pt x="336" y="748"/>
                  </a:lnTo>
                  <a:lnTo>
                    <a:pt x="330" y="750"/>
                  </a:lnTo>
                  <a:lnTo>
                    <a:pt x="332" y="756"/>
                  </a:lnTo>
                  <a:lnTo>
                    <a:pt x="327" y="758"/>
                  </a:lnTo>
                  <a:lnTo>
                    <a:pt x="321" y="760"/>
                  </a:lnTo>
                  <a:lnTo>
                    <a:pt x="327" y="760"/>
                  </a:lnTo>
                  <a:lnTo>
                    <a:pt x="327" y="765"/>
                  </a:lnTo>
                  <a:lnTo>
                    <a:pt x="323" y="769"/>
                  </a:lnTo>
                  <a:lnTo>
                    <a:pt x="319" y="771"/>
                  </a:lnTo>
                  <a:lnTo>
                    <a:pt x="313" y="769"/>
                  </a:lnTo>
                  <a:lnTo>
                    <a:pt x="313" y="775"/>
                  </a:lnTo>
                  <a:lnTo>
                    <a:pt x="308" y="773"/>
                  </a:lnTo>
                  <a:lnTo>
                    <a:pt x="304" y="773"/>
                  </a:lnTo>
                  <a:lnTo>
                    <a:pt x="298" y="777"/>
                  </a:lnTo>
                  <a:lnTo>
                    <a:pt x="296" y="782"/>
                  </a:lnTo>
                  <a:lnTo>
                    <a:pt x="289" y="782"/>
                  </a:lnTo>
                  <a:lnTo>
                    <a:pt x="289" y="788"/>
                  </a:lnTo>
                  <a:lnTo>
                    <a:pt x="283" y="786"/>
                  </a:lnTo>
                  <a:lnTo>
                    <a:pt x="279" y="784"/>
                  </a:lnTo>
                  <a:lnTo>
                    <a:pt x="279" y="788"/>
                  </a:lnTo>
                  <a:lnTo>
                    <a:pt x="274" y="792"/>
                  </a:lnTo>
                  <a:lnTo>
                    <a:pt x="272" y="797"/>
                  </a:lnTo>
                  <a:lnTo>
                    <a:pt x="268" y="797"/>
                  </a:lnTo>
                  <a:lnTo>
                    <a:pt x="264" y="797"/>
                  </a:lnTo>
                  <a:lnTo>
                    <a:pt x="264" y="801"/>
                  </a:lnTo>
                  <a:lnTo>
                    <a:pt x="259" y="799"/>
                  </a:lnTo>
                  <a:lnTo>
                    <a:pt x="247" y="805"/>
                  </a:lnTo>
                  <a:lnTo>
                    <a:pt x="251" y="807"/>
                  </a:lnTo>
                  <a:lnTo>
                    <a:pt x="249" y="811"/>
                  </a:lnTo>
                  <a:lnTo>
                    <a:pt x="249" y="818"/>
                  </a:lnTo>
                  <a:lnTo>
                    <a:pt x="234" y="828"/>
                  </a:lnTo>
                  <a:lnTo>
                    <a:pt x="230" y="822"/>
                  </a:lnTo>
                  <a:lnTo>
                    <a:pt x="227" y="826"/>
                  </a:lnTo>
                  <a:lnTo>
                    <a:pt x="221" y="828"/>
                  </a:lnTo>
                  <a:lnTo>
                    <a:pt x="221" y="831"/>
                  </a:lnTo>
                  <a:lnTo>
                    <a:pt x="217" y="831"/>
                  </a:lnTo>
                  <a:lnTo>
                    <a:pt x="212" y="828"/>
                  </a:lnTo>
                  <a:lnTo>
                    <a:pt x="212" y="833"/>
                  </a:lnTo>
                  <a:lnTo>
                    <a:pt x="208" y="837"/>
                  </a:lnTo>
                  <a:lnTo>
                    <a:pt x="202" y="839"/>
                  </a:lnTo>
                  <a:lnTo>
                    <a:pt x="198" y="835"/>
                  </a:lnTo>
                  <a:lnTo>
                    <a:pt x="193" y="839"/>
                  </a:lnTo>
                  <a:lnTo>
                    <a:pt x="198" y="841"/>
                  </a:lnTo>
                  <a:lnTo>
                    <a:pt x="195" y="848"/>
                  </a:lnTo>
                  <a:lnTo>
                    <a:pt x="191" y="843"/>
                  </a:lnTo>
                  <a:lnTo>
                    <a:pt x="185" y="846"/>
                  </a:lnTo>
                  <a:lnTo>
                    <a:pt x="181" y="843"/>
                  </a:lnTo>
                  <a:lnTo>
                    <a:pt x="170" y="852"/>
                  </a:lnTo>
                  <a:lnTo>
                    <a:pt x="176" y="850"/>
                  </a:lnTo>
                  <a:lnTo>
                    <a:pt x="181" y="854"/>
                  </a:lnTo>
                  <a:lnTo>
                    <a:pt x="176" y="858"/>
                  </a:lnTo>
                  <a:lnTo>
                    <a:pt x="181" y="860"/>
                  </a:lnTo>
                  <a:lnTo>
                    <a:pt x="176" y="860"/>
                  </a:lnTo>
                  <a:lnTo>
                    <a:pt x="172" y="869"/>
                  </a:lnTo>
                  <a:lnTo>
                    <a:pt x="170" y="869"/>
                  </a:lnTo>
                  <a:lnTo>
                    <a:pt x="168" y="865"/>
                  </a:lnTo>
                  <a:lnTo>
                    <a:pt x="172" y="860"/>
                  </a:lnTo>
                  <a:lnTo>
                    <a:pt x="166" y="863"/>
                  </a:lnTo>
                  <a:lnTo>
                    <a:pt x="164" y="867"/>
                  </a:lnTo>
                  <a:lnTo>
                    <a:pt x="157" y="869"/>
                  </a:lnTo>
                  <a:lnTo>
                    <a:pt x="153" y="871"/>
                  </a:lnTo>
                  <a:lnTo>
                    <a:pt x="149" y="869"/>
                  </a:lnTo>
                  <a:lnTo>
                    <a:pt x="138" y="873"/>
                  </a:lnTo>
                  <a:lnTo>
                    <a:pt x="132" y="882"/>
                  </a:lnTo>
                  <a:lnTo>
                    <a:pt x="125" y="886"/>
                  </a:lnTo>
                  <a:lnTo>
                    <a:pt x="129" y="882"/>
                  </a:lnTo>
                  <a:lnTo>
                    <a:pt x="129" y="875"/>
                  </a:lnTo>
                  <a:lnTo>
                    <a:pt x="132" y="871"/>
                  </a:lnTo>
                  <a:lnTo>
                    <a:pt x="127" y="869"/>
                  </a:lnTo>
                  <a:lnTo>
                    <a:pt x="119" y="871"/>
                  </a:lnTo>
                  <a:lnTo>
                    <a:pt x="117" y="875"/>
                  </a:lnTo>
                  <a:lnTo>
                    <a:pt x="110" y="877"/>
                  </a:lnTo>
                  <a:lnTo>
                    <a:pt x="106" y="875"/>
                  </a:lnTo>
                  <a:lnTo>
                    <a:pt x="100" y="884"/>
                  </a:lnTo>
                  <a:lnTo>
                    <a:pt x="98" y="880"/>
                  </a:lnTo>
                  <a:lnTo>
                    <a:pt x="93" y="880"/>
                  </a:lnTo>
                  <a:lnTo>
                    <a:pt x="93" y="884"/>
                  </a:lnTo>
                  <a:lnTo>
                    <a:pt x="89" y="884"/>
                  </a:lnTo>
                  <a:lnTo>
                    <a:pt x="85" y="882"/>
                  </a:lnTo>
                  <a:lnTo>
                    <a:pt x="78" y="884"/>
                  </a:lnTo>
                  <a:lnTo>
                    <a:pt x="74" y="886"/>
                  </a:lnTo>
                  <a:lnTo>
                    <a:pt x="68" y="884"/>
                  </a:lnTo>
                  <a:lnTo>
                    <a:pt x="68" y="877"/>
                  </a:lnTo>
                  <a:lnTo>
                    <a:pt x="70" y="873"/>
                  </a:lnTo>
                  <a:lnTo>
                    <a:pt x="76" y="875"/>
                  </a:lnTo>
                  <a:lnTo>
                    <a:pt x="74" y="869"/>
                  </a:lnTo>
                  <a:lnTo>
                    <a:pt x="68" y="869"/>
                  </a:lnTo>
                  <a:lnTo>
                    <a:pt x="63" y="871"/>
                  </a:lnTo>
                  <a:lnTo>
                    <a:pt x="57" y="882"/>
                  </a:lnTo>
                  <a:lnTo>
                    <a:pt x="53" y="884"/>
                  </a:lnTo>
                  <a:lnTo>
                    <a:pt x="49" y="886"/>
                  </a:lnTo>
                  <a:lnTo>
                    <a:pt x="49" y="890"/>
                  </a:lnTo>
                  <a:lnTo>
                    <a:pt x="42" y="892"/>
                  </a:lnTo>
                  <a:lnTo>
                    <a:pt x="36" y="897"/>
                  </a:lnTo>
                  <a:lnTo>
                    <a:pt x="32" y="895"/>
                  </a:lnTo>
                  <a:lnTo>
                    <a:pt x="32" y="888"/>
                  </a:lnTo>
                  <a:lnTo>
                    <a:pt x="32" y="877"/>
                  </a:lnTo>
                  <a:lnTo>
                    <a:pt x="25" y="880"/>
                  </a:lnTo>
                  <a:lnTo>
                    <a:pt x="27" y="884"/>
                  </a:lnTo>
                  <a:lnTo>
                    <a:pt x="25" y="890"/>
                  </a:lnTo>
                  <a:lnTo>
                    <a:pt x="25" y="895"/>
                  </a:lnTo>
                  <a:lnTo>
                    <a:pt x="14" y="895"/>
                  </a:lnTo>
                  <a:lnTo>
                    <a:pt x="14" y="890"/>
                  </a:lnTo>
                  <a:lnTo>
                    <a:pt x="12" y="884"/>
                  </a:lnTo>
                  <a:lnTo>
                    <a:pt x="8" y="882"/>
                  </a:lnTo>
                  <a:lnTo>
                    <a:pt x="6" y="888"/>
                  </a:lnTo>
                  <a:lnTo>
                    <a:pt x="10" y="892"/>
                  </a:lnTo>
                  <a:lnTo>
                    <a:pt x="4" y="897"/>
                  </a:lnTo>
                  <a:lnTo>
                    <a:pt x="0" y="899"/>
                  </a:lnTo>
                  <a:lnTo>
                    <a:pt x="0" y="892"/>
                  </a:lnTo>
                  <a:lnTo>
                    <a:pt x="4" y="888"/>
                  </a:lnTo>
                  <a:lnTo>
                    <a:pt x="4" y="884"/>
                  </a:lnTo>
                  <a:lnTo>
                    <a:pt x="8" y="880"/>
                  </a:lnTo>
                  <a:lnTo>
                    <a:pt x="12" y="877"/>
                  </a:lnTo>
                  <a:lnTo>
                    <a:pt x="19" y="882"/>
                  </a:lnTo>
                  <a:lnTo>
                    <a:pt x="21" y="875"/>
                  </a:lnTo>
                  <a:lnTo>
                    <a:pt x="32" y="875"/>
                  </a:lnTo>
                  <a:lnTo>
                    <a:pt x="36" y="871"/>
                  </a:lnTo>
                  <a:lnTo>
                    <a:pt x="38" y="867"/>
                  </a:lnTo>
                  <a:lnTo>
                    <a:pt x="49" y="858"/>
                  </a:lnTo>
                  <a:lnTo>
                    <a:pt x="66" y="850"/>
                  </a:lnTo>
                  <a:lnTo>
                    <a:pt x="80" y="850"/>
                  </a:lnTo>
                  <a:lnTo>
                    <a:pt x="85" y="852"/>
                  </a:lnTo>
                  <a:lnTo>
                    <a:pt x="91" y="854"/>
                  </a:lnTo>
                  <a:lnTo>
                    <a:pt x="89" y="858"/>
                  </a:lnTo>
                  <a:lnTo>
                    <a:pt x="91" y="865"/>
                  </a:lnTo>
                  <a:lnTo>
                    <a:pt x="95" y="867"/>
                  </a:lnTo>
                  <a:lnTo>
                    <a:pt x="95" y="863"/>
                  </a:lnTo>
                  <a:lnTo>
                    <a:pt x="102" y="863"/>
                  </a:lnTo>
                  <a:lnTo>
                    <a:pt x="106" y="867"/>
                  </a:lnTo>
                  <a:lnTo>
                    <a:pt x="110" y="869"/>
                  </a:lnTo>
                  <a:lnTo>
                    <a:pt x="110" y="865"/>
                  </a:lnTo>
                  <a:lnTo>
                    <a:pt x="106" y="860"/>
                  </a:lnTo>
                  <a:lnTo>
                    <a:pt x="106" y="856"/>
                  </a:lnTo>
                  <a:lnTo>
                    <a:pt x="110" y="846"/>
                  </a:lnTo>
                  <a:lnTo>
                    <a:pt x="115" y="841"/>
                  </a:lnTo>
                  <a:lnTo>
                    <a:pt x="125" y="835"/>
                  </a:lnTo>
                  <a:lnTo>
                    <a:pt x="129" y="833"/>
                  </a:lnTo>
                  <a:lnTo>
                    <a:pt x="134" y="828"/>
                  </a:lnTo>
                  <a:lnTo>
                    <a:pt x="144" y="826"/>
                  </a:lnTo>
                  <a:lnTo>
                    <a:pt x="157" y="824"/>
                  </a:lnTo>
                  <a:lnTo>
                    <a:pt x="159" y="820"/>
                  </a:lnTo>
                  <a:lnTo>
                    <a:pt x="166" y="818"/>
                  </a:lnTo>
                  <a:lnTo>
                    <a:pt x="170" y="822"/>
                  </a:lnTo>
                  <a:lnTo>
                    <a:pt x="174" y="818"/>
                  </a:lnTo>
                  <a:lnTo>
                    <a:pt x="176" y="814"/>
                  </a:lnTo>
                  <a:lnTo>
                    <a:pt x="178" y="809"/>
                  </a:lnTo>
                  <a:lnTo>
                    <a:pt x="185" y="801"/>
                  </a:lnTo>
                  <a:lnTo>
                    <a:pt x="191" y="797"/>
                  </a:lnTo>
                  <a:lnTo>
                    <a:pt x="208" y="786"/>
                  </a:lnTo>
                  <a:lnTo>
                    <a:pt x="212" y="786"/>
                  </a:lnTo>
                  <a:lnTo>
                    <a:pt x="212" y="790"/>
                  </a:lnTo>
                  <a:lnTo>
                    <a:pt x="219" y="792"/>
                  </a:lnTo>
                  <a:lnTo>
                    <a:pt x="223" y="788"/>
                  </a:lnTo>
                  <a:lnTo>
                    <a:pt x="217" y="790"/>
                  </a:lnTo>
                  <a:lnTo>
                    <a:pt x="217" y="784"/>
                  </a:lnTo>
                  <a:lnTo>
                    <a:pt x="215" y="779"/>
                  </a:lnTo>
                  <a:lnTo>
                    <a:pt x="217" y="769"/>
                  </a:lnTo>
                  <a:lnTo>
                    <a:pt x="221" y="754"/>
                  </a:lnTo>
                  <a:lnTo>
                    <a:pt x="227" y="752"/>
                  </a:lnTo>
                  <a:lnTo>
                    <a:pt x="234" y="752"/>
                  </a:lnTo>
                  <a:lnTo>
                    <a:pt x="236" y="754"/>
                  </a:lnTo>
                  <a:lnTo>
                    <a:pt x="232" y="750"/>
                  </a:lnTo>
                  <a:lnTo>
                    <a:pt x="227" y="750"/>
                  </a:lnTo>
                  <a:lnTo>
                    <a:pt x="225" y="743"/>
                  </a:lnTo>
                  <a:lnTo>
                    <a:pt x="227" y="739"/>
                  </a:lnTo>
                  <a:lnTo>
                    <a:pt x="230" y="735"/>
                  </a:lnTo>
                  <a:lnTo>
                    <a:pt x="236" y="731"/>
                  </a:lnTo>
                  <a:lnTo>
                    <a:pt x="238" y="726"/>
                  </a:lnTo>
                  <a:lnTo>
                    <a:pt x="249" y="722"/>
                  </a:lnTo>
                  <a:lnTo>
                    <a:pt x="249" y="716"/>
                  </a:lnTo>
                  <a:lnTo>
                    <a:pt x="249" y="711"/>
                  </a:lnTo>
                  <a:lnTo>
                    <a:pt x="255" y="707"/>
                  </a:lnTo>
                  <a:lnTo>
                    <a:pt x="255" y="703"/>
                  </a:lnTo>
                  <a:lnTo>
                    <a:pt x="257" y="699"/>
                  </a:lnTo>
                  <a:lnTo>
                    <a:pt x="255" y="703"/>
                  </a:lnTo>
                  <a:lnTo>
                    <a:pt x="255" y="703"/>
                  </a:lnTo>
                  <a:lnTo>
                    <a:pt x="251" y="707"/>
                  </a:lnTo>
                  <a:lnTo>
                    <a:pt x="247" y="711"/>
                  </a:lnTo>
                  <a:lnTo>
                    <a:pt x="240" y="713"/>
                  </a:lnTo>
                  <a:lnTo>
                    <a:pt x="225" y="718"/>
                  </a:lnTo>
                  <a:lnTo>
                    <a:pt x="212" y="722"/>
                  </a:lnTo>
                  <a:lnTo>
                    <a:pt x="208" y="722"/>
                  </a:lnTo>
                  <a:lnTo>
                    <a:pt x="206" y="718"/>
                  </a:lnTo>
                  <a:lnTo>
                    <a:pt x="206" y="713"/>
                  </a:lnTo>
                  <a:lnTo>
                    <a:pt x="202" y="709"/>
                  </a:lnTo>
                  <a:lnTo>
                    <a:pt x="206" y="701"/>
                  </a:lnTo>
                  <a:lnTo>
                    <a:pt x="212" y="699"/>
                  </a:lnTo>
                  <a:lnTo>
                    <a:pt x="217" y="701"/>
                  </a:lnTo>
                  <a:lnTo>
                    <a:pt x="217" y="705"/>
                  </a:lnTo>
                  <a:lnTo>
                    <a:pt x="219" y="707"/>
                  </a:lnTo>
                  <a:lnTo>
                    <a:pt x="219" y="701"/>
                  </a:lnTo>
                  <a:lnTo>
                    <a:pt x="208" y="694"/>
                  </a:lnTo>
                  <a:lnTo>
                    <a:pt x="206" y="688"/>
                  </a:lnTo>
                  <a:lnTo>
                    <a:pt x="208" y="692"/>
                  </a:lnTo>
                  <a:lnTo>
                    <a:pt x="202" y="701"/>
                  </a:lnTo>
                  <a:lnTo>
                    <a:pt x="198" y="699"/>
                  </a:lnTo>
                  <a:lnTo>
                    <a:pt x="195" y="709"/>
                  </a:lnTo>
                  <a:lnTo>
                    <a:pt x="191" y="711"/>
                  </a:lnTo>
                  <a:lnTo>
                    <a:pt x="191" y="720"/>
                  </a:lnTo>
                  <a:lnTo>
                    <a:pt x="193" y="726"/>
                  </a:lnTo>
                  <a:lnTo>
                    <a:pt x="189" y="731"/>
                  </a:lnTo>
                  <a:lnTo>
                    <a:pt x="185" y="728"/>
                  </a:lnTo>
                  <a:lnTo>
                    <a:pt x="183" y="726"/>
                  </a:lnTo>
                  <a:lnTo>
                    <a:pt x="176" y="705"/>
                  </a:lnTo>
                  <a:lnTo>
                    <a:pt x="172" y="701"/>
                  </a:lnTo>
                  <a:lnTo>
                    <a:pt x="172" y="694"/>
                  </a:lnTo>
                  <a:lnTo>
                    <a:pt x="166" y="699"/>
                  </a:lnTo>
                  <a:lnTo>
                    <a:pt x="161" y="701"/>
                  </a:lnTo>
                  <a:lnTo>
                    <a:pt x="161" y="694"/>
                  </a:lnTo>
                  <a:lnTo>
                    <a:pt x="157" y="692"/>
                  </a:lnTo>
                  <a:lnTo>
                    <a:pt x="155" y="686"/>
                  </a:lnTo>
                  <a:lnTo>
                    <a:pt x="151" y="684"/>
                  </a:lnTo>
                  <a:lnTo>
                    <a:pt x="138" y="688"/>
                  </a:lnTo>
                  <a:lnTo>
                    <a:pt x="134" y="688"/>
                  </a:lnTo>
                  <a:lnTo>
                    <a:pt x="127" y="690"/>
                  </a:lnTo>
                  <a:lnTo>
                    <a:pt x="123" y="690"/>
                  </a:lnTo>
                  <a:lnTo>
                    <a:pt x="119" y="694"/>
                  </a:lnTo>
                  <a:lnTo>
                    <a:pt x="106" y="701"/>
                  </a:lnTo>
                  <a:lnTo>
                    <a:pt x="102" y="696"/>
                  </a:lnTo>
                  <a:lnTo>
                    <a:pt x="98" y="694"/>
                  </a:lnTo>
                  <a:lnTo>
                    <a:pt x="102" y="694"/>
                  </a:lnTo>
                  <a:lnTo>
                    <a:pt x="106" y="690"/>
                  </a:lnTo>
                  <a:lnTo>
                    <a:pt x="108" y="686"/>
                  </a:lnTo>
                  <a:lnTo>
                    <a:pt x="108" y="675"/>
                  </a:lnTo>
                  <a:lnTo>
                    <a:pt x="115" y="673"/>
                  </a:lnTo>
                  <a:lnTo>
                    <a:pt x="106" y="662"/>
                  </a:lnTo>
                  <a:lnTo>
                    <a:pt x="106" y="658"/>
                  </a:lnTo>
                  <a:lnTo>
                    <a:pt x="119" y="645"/>
                  </a:lnTo>
                  <a:lnTo>
                    <a:pt x="115" y="624"/>
                  </a:lnTo>
                  <a:lnTo>
                    <a:pt x="117" y="620"/>
                  </a:lnTo>
                  <a:lnTo>
                    <a:pt x="115" y="615"/>
                  </a:lnTo>
                  <a:lnTo>
                    <a:pt x="115" y="611"/>
                  </a:lnTo>
                  <a:lnTo>
                    <a:pt x="115" y="607"/>
                  </a:lnTo>
                  <a:lnTo>
                    <a:pt x="112" y="601"/>
                  </a:lnTo>
                  <a:lnTo>
                    <a:pt x="115" y="596"/>
                  </a:lnTo>
                  <a:lnTo>
                    <a:pt x="121" y="586"/>
                  </a:lnTo>
                  <a:lnTo>
                    <a:pt x="123" y="581"/>
                  </a:lnTo>
                  <a:lnTo>
                    <a:pt x="129" y="581"/>
                  </a:lnTo>
                  <a:lnTo>
                    <a:pt x="134" y="579"/>
                  </a:lnTo>
                  <a:lnTo>
                    <a:pt x="127" y="579"/>
                  </a:lnTo>
                  <a:lnTo>
                    <a:pt x="125" y="575"/>
                  </a:lnTo>
                  <a:lnTo>
                    <a:pt x="125" y="579"/>
                  </a:lnTo>
                  <a:lnTo>
                    <a:pt x="121" y="584"/>
                  </a:lnTo>
                  <a:lnTo>
                    <a:pt x="115" y="592"/>
                  </a:lnTo>
                  <a:lnTo>
                    <a:pt x="108" y="594"/>
                  </a:lnTo>
                  <a:lnTo>
                    <a:pt x="104" y="598"/>
                  </a:lnTo>
                  <a:lnTo>
                    <a:pt x="110" y="603"/>
                  </a:lnTo>
                  <a:lnTo>
                    <a:pt x="106" y="611"/>
                  </a:lnTo>
                  <a:lnTo>
                    <a:pt x="104" y="613"/>
                  </a:lnTo>
                  <a:lnTo>
                    <a:pt x="100" y="613"/>
                  </a:lnTo>
                  <a:lnTo>
                    <a:pt x="98" y="611"/>
                  </a:lnTo>
                  <a:lnTo>
                    <a:pt x="93" y="615"/>
                  </a:lnTo>
                  <a:lnTo>
                    <a:pt x="87" y="618"/>
                  </a:lnTo>
                  <a:lnTo>
                    <a:pt x="76" y="618"/>
                  </a:lnTo>
                  <a:lnTo>
                    <a:pt x="68" y="615"/>
                  </a:lnTo>
                  <a:lnTo>
                    <a:pt x="57" y="611"/>
                  </a:lnTo>
                  <a:lnTo>
                    <a:pt x="57" y="605"/>
                  </a:lnTo>
                  <a:lnTo>
                    <a:pt x="61" y="601"/>
                  </a:lnTo>
                  <a:lnTo>
                    <a:pt x="57" y="596"/>
                  </a:lnTo>
                  <a:lnTo>
                    <a:pt x="53" y="590"/>
                  </a:lnTo>
                  <a:lnTo>
                    <a:pt x="53" y="588"/>
                  </a:lnTo>
                  <a:lnTo>
                    <a:pt x="51" y="581"/>
                  </a:lnTo>
                  <a:lnTo>
                    <a:pt x="51" y="577"/>
                  </a:lnTo>
                  <a:lnTo>
                    <a:pt x="49" y="579"/>
                  </a:lnTo>
                  <a:lnTo>
                    <a:pt x="44" y="575"/>
                  </a:lnTo>
                  <a:lnTo>
                    <a:pt x="40" y="571"/>
                  </a:lnTo>
                  <a:lnTo>
                    <a:pt x="44" y="567"/>
                  </a:lnTo>
                  <a:lnTo>
                    <a:pt x="34" y="560"/>
                  </a:lnTo>
                  <a:lnTo>
                    <a:pt x="40" y="558"/>
                  </a:lnTo>
                  <a:lnTo>
                    <a:pt x="44" y="556"/>
                  </a:lnTo>
                  <a:lnTo>
                    <a:pt x="49" y="552"/>
                  </a:lnTo>
                  <a:lnTo>
                    <a:pt x="55" y="547"/>
                  </a:lnTo>
                  <a:lnTo>
                    <a:pt x="59" y="545"/>
                  </a:lnTo>
                  <a:lnTo>
                    <a:pt x="59" y="549"/>
                  </a:lnTo>
                  <a:lnTo>
                    <a:pt x="63" y="552"/>
                  </a:lnTo>
                  <a:lnTo>
                    <a:pt x="68" y="556"/>
                  </a:lnTo>
                  <a:lnTo>
                    <a:pt x="70" y="560"/>
                  </a:lnTo>
                  <a:lnTo>
                    <a:pt x="61" y="567"/>
                  </a:lnTo>
                  <a:lnTo>
                    <a:pt x="68" y="562"/>
                  </a:lnTo>
                  <a:lnTo>
                    <a:pt x="72" y="562"/>
                  </a:lnTo>
                  <a:lnTo>
                    <a:pt x="78" y="558"/>
                  </a:lnTo>
                  <a:lnTo>
                    <a:pt x="80" y="564"/>
                  </a:lnTo>
                  <a:lnTo>
                    <a:pt x="78" y="569"/>
                  </a:lnTo>
                  <a:lnTo>
                    <a:pt x="83" y="571"/>
                  </a:lnTo>
                  <a:lnTo>
                    <a:pt x="87" y="569"/>
                  </a:lnTo>
                  <a:lnTo>
                    <a:pt x="91" y="564"/>
                  </a:lnTo>
                  <a:lnTo>
                    <a:pt x="87" y="558"/>
                  </a:lnTo>
                  <a:lnTo>
                    <a:pt x="83" y="556"/>
                  </a:lnTo>
                  <a:lnTo>
                    <a:pt x="89" y="556"/>
                  </a:lnTo>
                  <a:lnTo>
                    <a:pt x="87" y="549"/>
                  </a:lnTo>
                  <a:lnTo>
                    <a:pt x="80" y="554"/>
                  </a:lnTo>
                  <a:lnTo>
                    <a:pt x="76" y="552"/>
                  </a:lnTo>
                  <a:lnTo>
                    <a:pt x="66" y="549"/>
                  </a:lnTo>
                  <a:lnTo>
                    <a:pt x="61" y="545"/>
                  </a:lnTo>
                  <a:lnTo>
                    <a:pt x="57" y="543"/>
                  </a:lnTo>
                  <a:lnTo>
                    <a:pt x="51" y="541"/>
                  </a:lnTo>
                  <a:lnTo>
                    <a:pt x="51" y="537"/>
                  </a:lnTo>
                  <a:lnTo>
                    <a:pt x="55" y="537"/>
                  </a:lnTo>
                  <a:lnTo>
                    <a:pt x="61" y="532"/>
                  </a:lnTo>
                  <a:lnTo>
                    <a:pt x="51" y="530"/>
                  </a:lnTo>
                  <a:lnTo>
                    <a:pt x="55" y="526"/>
                  </a:lnTo>
                  <a:lnTo>
                    <a:pt x="49" y="526"/>
                  </a:lnTo>
                  <a:lnTo>
                    <a:pt x="51" y="522"/>
                  </a:lnTo>
                  <a:lnTo>
                    <a:pt x="53" y="515"/>
                  </a:lnTo>
                  <a:lnTo>
                    <a:pt x="66" y="511"/>
                  </a:lnTo>
                  <a:lnTo>
                    <a:pt x="70" y="507"/>
                  </a:lnTo>
                  <a:lnTo>
                    <a:pt x="72" y="505"/>
                  </a:lnTo>
                  <a:lnTo>
                    <a:pt x="68" y="509"/>
                  </a:lnTo>
                  <a:lnTo>
                    <a:pt x="55" y="513"/>
                  </a:lnTo>
                  <a:lnTo>
                    <a:pt x="49" y="522"/>
                  </a:lnTo>
                  <a:lnTo>
                    <a:pt x="46" y="526"/>
                  </a:lnTo>
                  <a:lnTo>
                    <a:pt x="42" y="528"/>
                  </a:lnTo>
                  <a:lnTo>
                    <a:pt x="40" y="524"/>
                  </a:lnTo>
                  <a:lnTo>
                    <a:pt x="40" y="518"/>
                  </a:lnTo>
                  <a:lnTo>
                    <a:pt x="36" y="513"/>
                  </a:lnTo>
                  <a:lnTo>
                    <a:pt x="36" y="507"/>
                  </a:lnTo>
                  <a:lnTo>
                    <a:pt x="42" y="505"/>
                  </a:lnTo>
                  <a:lnTo>
                    <a:pt x="38" y="498"/>
                  </a:lnTo>
                  <a:lnTo>
                    <a:pt x="34" y="500"/>
                  </a:lnTo>
                  <a:lnTo>
                    <a:pt x="32" y="494"/>
                  </a:lnTo>
                  <a:lnTo>
                    <a:pt x="34" y="490"/>
                  </a:lnTo>
                  <a:lnTo>
                    <a:pt x="38" y="492"/>
                  </a:lnTo>
                  <a:lnTo>
                    <a:pt x="44" y="492"/>
                  </a:lnTo>
                  <a:lnTo>
                    <a:pt x="40" y="488"/>
                  </a:lnTo>
                  <a:lnTo>
                    <a:pt x="40" y="483"/>
                  </a:lnTo>
                  <a:lnTo>
                    <a:pt x="49" y="483"/>
                  </a:lnTo>
                  <a:lnTo>
                    <a:pt x="51" y="479"/>
                  </a:lnTo>
                  <a:lnTo>
                    <a:pt x="51" y="475"/>
                  </a:lnTo>
                  <a:lnTo>
                    <a:pt x="55" y="471"/>
                  </a:lnTo>
                  <a:lnTo>
                    <a:pt x="74" y="454"/>
                  </a:lnTo>
                  <a:lnTo>
                    <a:pt x="80" y="451"/>
                  </a:lnTo>
                  <a:lnTo>
                    <a:pt x="85" y="454"/>
                  </a:lnTo>
                  <a:lnTo>
                    <a:pt x="85" y="456"/>
                  </a:lnTo>
                  <a:lnTo>
                    <a:pt x="85" y="456"/>
                  </a:lnTo>
                  <a:lnTo>
                    <a:pt x="85" y="456"/>
                  </a:lnTo>
                  <a:lnTo>
                    <a:pt x="87" y="460"/>
                  </a:lnTo>
                  <a:lnTo>
                    <a:pt x="89" y="460"/>
                  </a:lnTo>
                  <a:lnTo>
                    <a:pt x="85" y="456"/>
                  </a:lnTo>
                  <a:lnTo>
                    <a:pt x="85" y="456"/>
                  </a:lnTo>
                  <a:lnTo>
                    <a:pt x="85" y="451"/>
                  </a:lnTo>
                  <a:lnTo>
                    <a:pt x="91" y="449"/>
                  </a:lnTo>
                  <a:lnTo>
                    <a:pt x="98" y="443"/>
                  </a:lnTo>
                  <a:lnTo>
                    <a:pt x="91" y="447"/>
                  </a:lnTo>
                  <a:lnTo>
                    <a:pt x="87" y="441"/>
                  </a:lnTo>
                  <a:lnTo>
                    <a:pt x="91" y="439"/>
                  </a:lnTo>
                  <a:lnTo>
                    <a:pt x="91" y="434"/>
                  </a:lnTo>
                  <a:lnTo>
                    <a:pt x="93" y="430"/>
                  </a:lnTo>
                  <a:lnTo>
                    <a:pt x="100" y="428"/>
                  </a:lnTo>
                  <a:lnTo>
                    <a:pt x="106" y="430"/>
                  </a:lnTo>
                  <a:lnTo>
                    <a:pt x="102" y="424"/>
                  </a:lnTo>
                  <a:lnTo>
                    <a:pt x="104" y="420"/>
                  </a:lnTo>
                  <a:lnTo>
                    <a:pt x="110" y="417"/>
                  </a:lnTo>
                  <a:lnTo>
                    <a:pt x="115" y="417"/>
                  </a:lnTo>
                  <a:lnTo>
                    <a:pt x="123" y="424"/>
                  </a:lnTo>
                  <a:lnTo>
                    <a:pt x="125" y="428"/>
                  </a:lnTo>
                  <a:lnTo>
                    <a:pt x="119" y="437"/>
                  </a:lnTo>
                  <a:lnTo>
                    <a:pt x="125" y="432"/>
                  </a:lnTo>
                  <a:lnTo>
                    <a:pt x="129" y="432"/>
                  </a:lnTo>
                  <a:lnTo>
                    <a:pt x="134" y="437"/>
                  </a:lnTo>
                  <a:lnTo>
                    <a:pt x="138" y="437"/>
                  </a:lnTo>
                  <a:lnTo>
                    <a:pt x="151" y="430"/>
                  </a:lnTo>
                  <a:lnTo>
                    <a:pt x="159" y="422"/>
                  </a:lnTo>
                  <a:lnTo>
                    <a:pt x="166" y="417"/>
                  </a:lnTo>
                  <a:lnTo>
                    <a:pt x="170" y="420"/>
                  </a:lnTo>
                  <a:lnTo>
                    <a:pt x="174" y="424"/>
                  </a:lnTo>
                  <a:lnTo>
                    <a:pt x="178" y="424"/>
                  </a:lnTo>
                  <a:lnTo>
                    <a:pt x="189" y="426"/>
                  </a:lnTo>
                  <a:lnTo>
                    <a:pt x="195" y="424"/>
                  </a:lnTo>
                  <a:lnTo>
                    <a:pt x="204" y="415"/>
                  </a:lnTo>
                  <a:lnTo>
                    <a:pt x="206" y="411"/>
                  </a:lnTo>
                  <a:lnTo>
                    <a:pt x="206" y="394"/>
                  </a:lnTo>
                  <a:lnTo>
                    <a:pt x="208" y="383"/>
                  </a:lnTo>
                  <a:lnTo>
                    <a:pt x="204" y="373"/>
                  </a:lnTo>
                  <a:lnTo>
                    <a:pt x="200" y="371"/>
                  </a:lnTo>
                  <a:lnTo>
                    <a:pt x="200" y="366"/>
                  </a:lnTo>
                  <a:lnTo>
                    <a:pt x="202" y="364"/>
                  </a:lnTo>
                  <a:lnTo>
                    <a:pt x="206" y="368"/>
                  </a:lnTo>
                  <a:lnTo>
                    <a:pt x="212" y="366"/>
                  </a:lnTo>
                  <a:lnTo>
                    <a:pt x="219" y="362"/>
                  </a:lnTo>
                  <a:lnTo>
                    <a:pt x="219" y="358"/>
                  </a:lnTo>
                  <a:lnTo>
                    <a:pt x="219" y="351"/>
                  </a:lnTo>
                  <a:lnTo>
                    <a:pt x="215" y="347"/>
                  </a:lnTo>
                  <a:lnTo>
                    <a:pt x="217" y="345"/>
                  </a:lnTo>
                  <a:lnTo>
                    <a:pt x="212" y="343"/>
                  </a:lnTo>
                  <a:lnTo>
                    <a:pt x="208" y="347"/>
                  </a:lnTo>
                  <a:lnTo>
                    <a:pt x="202" y="351"/>
                  </a:lnTo>
                  <a:lnTo>
                    <a:pt x="198" y="347"/>
                  </a:lnTo>
                  <a:lnTo>
                    <a:pt x="191" y="349"/>
                  </a:lnTo>
                  <a:lnTo>
                    <a:pt x="187" y="351"/>
                  </a:lnTo>
                  <a:lnTo>
                    <a:pt x="181" y="356"/>
                  </a:lnTo>
                  <a:lnTo>
                    <a:pt x="174" y="358"/>
                  </a:lnTo>
                  <a:lnTo>
                    <a:pt x="168" y="366"/>
                  </a:lnTo>
                  <a:lnTo>
                    <a:pt x="166" y="356"/>
                  </a:lnTo>
                  <a:lnTo>
                    <a:pt x="161" y="349"/>
                  </a:lnTo>
                  <a:lnTo>
                    <a:pt x="157" y="349"/>
                  </a:lnTo>
                  <a:lnTo>
                    <a:pt x="159" y="356"/>
                  </a:lnTo>
                  <a:lnTo>
                    <a:pt x="159" y="360"/>
                  </a:lnTo>
                  <a:lnTo>
                    <a:pt x="151" y="349"/>
                  </a:lnTo>
                  <a:lnTo>
                    <a:pt x="146" y="347"/>
                  </a:lnTo>
                  <a:lnTo>
                    <a:pt x="132" y="343"/>
                  </a:lnTo>
                  <a:lnTo>
                    <a:pt x="121" y="345"/>
                  </a:lnTo>
                  <a:lnTo>
                    <a:pt x="117" y="343"/>
                  </a:lnTo>
                  <a:lnTo>
                    <a:pt x="110" y="343"/>
                  </a:lnTo>
                  <a:lnTo>
                    <a:pt x="102" y="336"/>
                  </a:lnTo>
                  <a:lnTo>
                    <a:pt x="89" y="328"/>
                  </a:lnTo>
                  <a:lnTo>
                    <a:pt x="85" y="324"/>
                  </a:lnTo>
                  <a:lnTo>
                    <a:pt x="85" y="319"/>
                  </a:lnTo>
                  <a:lnTo>
                    <a:pt x="89" y="309"/>
                  </a:lnTo>
                  <a:lnTo>
                    <a:pt x="89" y="309"/>
                  </a:lnTo>
                  <a:lnTo>
                    <a:pt x="85" y="302"/>
                  </a:lnTo>
                  <a:lnTo>
                    <a:pt x="85" y="298"/>
                  </a:lnTo>
                  <a:lnTo>
                    <a:pt x="80" y="292"/>
                  </a:lnTo>
                  <a:lnTo>
                    <a:pt x="83" y="287"/>
                  </a:lnTo>
                  <a:lnTo>
                    <a:pt x="83" y="292"/>
                  </a:lnTo>
                  <a:lnTo>
                    <a:pt x="87" y="294"/>
                  </a:lnTo>
                  <a:lnTo>
                    <a:pt x="91" y="294"/>
                  </a:lnTo>
                  <a:lnTo>
                    <a:pt x="95" y="290"/>
                  </a:lnTo>
                  <a:lnTo>
                    <a:pt x="100" y="292"/>
                  </a:lnTo>
                  <a:lnTo>
                    <a:pt x="104" y="294"/>
                  </a:lnTo>
                  <a:lnTo>
                    <a:pt x="100" y="287"/>
                  </a:lnTo>
                  <a:lnTo>
                    <a:pt x="87" y="279"/>
                  </a:lnTo>
                  <a:lnTo>
                    <a:pt x="91" y="283"/>
                  </a:lnTo>
                  <a:lnTo>
                    <a:pt x="87" y="281"/>
                  </a:lnTo>
                  <a:lnTo>
                    <a:pt x="83" y="277"/>
                  </a:lnTo>
                  <a:lnTo>
                    <a:pt x="78" y="275"/>
                  </a:lnTo>
                  <a:lnTo>
                    <a:pt x="74" y="270"/>
                  </a:lnTo>
                  <a:lnTo>
                    <a:pt x="63" y="253"/>
                  </a:lnTo>
                  <a:lnTo>
                    <a:pt x="68" y="253"/>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5" name="Freeform 1140"/>
            <p:cNvSpPr>
              <a:spLocks/>
            </p:cNvSpPr>
            <p:nvPr/>
          </p:nvSpPr>
          <p:spPr bwMode="auto">
            <a:xfrm>
              <a:off x="481" y="3054"/>
              <a:ext cx="1096" cy="937"/>
            </a:xfrm>
            <a:custGeom>
              <a:avLst/>
              <a:gdLst>
                <a:gd name="T0" fmla="*/ 161 w 1096"/>
                <a:gd name="T1" fmla="*/ 230 h 937"/>
                <a:gd name="T2" fmla="*/ 210 w 1096"/>
                <a:gd name="T3" fmla="*/ 279 h 937"/>
                <a:gd name="T4" fmla="*/ 219 w 1096"/>
                <a:gd name="T5" fmla="*/ 230 h 937"/>
                <a:gd name="T6" fmla="*/ 223 w 1096"/>
                <a:gd name="T7" fmla="*/ 241 h 937"/>
                <a:gd name="T8" fmla="*/ 170 w 1096"/>
                <a:gd name="T9" fmla="*/ 143 h 937"/>
                <a:gd name="T10" fmla="*/ 242 w 1096"/>
                <a:gd name="T11" fmla="*/ 68 h 937"/>
                <a:gd name="T12" fmla="*/ 313 w 1096"/>
                <a:gd name="T13" fmla="*/ 43 h 937"/>
                <a:gd name="T14" fmla="*/ 393 w 1096"/>
                <a:gd name="T15" fmla="*/ 0 h 937"/>
                <a:gd name="T16" fmla="*/ 423 w 1096"/>
                <a:gd name="T17" fmla="*/ 36 h 937"/>
                <a:gd name="T18" fmla="*/ 489 w 1096"/>
                <a:gd name="T19" fmla="*/ 66 h 937"/>
                <a:gd name="T20" fmla="*/ 577 w 1096"/>
                <a:gd name="T21" fmla="*/ 87 h 937"/>
                <a:gd name="T22" fmla="*/ 668 w 1096"/>
                <a:gd name="T23" fmla="*/ 109 h 937"/>
                <a:gd name="T24" fmla="*/ 777 w 1096"/>
                <a:gd name="T25" fmla="*/ 673 h 937"/>
                <a:gd name="T26" fmla="*/ 894 w 1096"/>
                <a:gd name="T27" fmla="*/ 684 h 937"/>
                <a:gd name="T28" fmla="*/ 996 w 1096"/>
                <a:gd name="T29" fmla="*/ 799 h 937"/>
                <a:gd name="T30" fmla="*/ 1083 w 1096"/>
                <a:gd name="T31" fmla="*/ 856 h 937"/>
                <a:gd name="T32" fmla="*/ 1075 w 1096"/>
                <a:gd name="T33" fmla="*/ 918 h 937"/>
                <a:gd name="T34" fmla="*/ 1030 w 1096"/>
                <a:gd name="T35" fmla="*/ 882 h 937"/>
                <a:gd name="T36" fmla="*/ 1007 w 1096"/>
                <a:gd name="T37" fmla="*/ 848 h 937"/>
                <a:gd name="T38" fmla="*/ 966 w 1096"/>
                <a:gd name="T39" fmla="*/ 801 h 937"/>
                <a:gd name="T40" fmla="*/ 945 w 1096"/>
                <a:gd name="T41" fmla="*/ 771 h 937"/>
                <a:gd name="T42" fmla="*/ 902 w 1096"/>
                <a:gd name="T43" fmla="*/ 731 h 937"/>
                <a:gd name="T44" fmla="*/ 900 w 1096"/>
                <a:gd name="T45" fmla="*/ 765 h 937"/>
                <a:gd name="T46" fmla="*/ 847 w 1096"/>
                <a:gd name="T47" fmla="*/ 731 h 937"/>
                <a:gd name="T48" fmla="*/ 828 w 1096"/>
                <a:gd name="T49" fmla="*/ 752 h 937"/>
                <a:gd name="T50" fmla="*/ 762 w 1096"/>
                <a:gd name="T51" fmla="*/ 686 h 937"/>
                <a:gd name="T52" fmla="*/ 713 w 1096"/>
                <a:gd name="T53" fmla="*/ 682 h 937"/>
                <a:gd name="T54" fmla="*/ 613 w 1096"/>
                <a:gd name="T55" fmla="*/ 643 h 937"/>
                <a:gd name="T56" fmla="*/ 574 w 1096"/>
                <a:gd name="T57" fmla="*/ 633 h 937"/>
                <a:gd name="T58" fmla="*/ 530 w 1096"/>
                <a:gd name="T59" fmla="*/ 624 h 937"/>
                <a:gd name="T60" fmla="*/ 508 w 1096"/>
                <a:gd name="T61" fmla="*/ 635 h 937"/>
                <a:gd name="T62" fmla="*/ 504 w 1096"/>
                <a:gd name="T63" fmla="*/ 679 h 937"/>
                <a:gd name="T64" fmla="*/ 453 w 1096"/>
                <a:gd name="T65" fmla="*/ 699 h 937"/>
                <a:gd name="T66" fmla="*/ 413 w 1096"/>
                <a:gd name="T67" fmla="*/ 703 h 937"/>
                <a:gd name="T68" fmla="*/ 453 w 1096"/>
                <a:gd name="T69" fmla="*/ 615 h 937"/>
                <a:gd name="T70" fmla="*/ 453 w 1096"/>
                <a:gd name="T71" fmla="*/ 601 h 937"/>
                <a:gd name="T72" fmla="*/ 379 w 1096"/>
                <a:gd name="T73" fmla="*/ 654 h 937"/>
                <a:gd name="T74" fmla="*/ 332 w 1096"/>
                <a:gd name="T75" fmla="*/ 713 h 937"/>
                <a:gd name="T76" fmla="*/ 319 w 1096"/>
                <a:gd name="T77" fmla="*/ 771 h 937"/>
                <a:gd name="T78" fmla="*/ 251 w 1096"/>
                <a:gd name="T79" fmla="*/ 807 h 937"/>
                <a:gd name="T80" fmla="*/ 181 w 1096"/>
                <a:gd name="T81" fmla="*/ 843 h 937"/>
                <a:gd name="T82" fmla="*/ 129 w 1096"/>
                <a:gd name="T83" fmla="*/ 882 h 937"/>
                <a:gd name="T84" fmla="*/ 76 w 1096"/>
                <a:gd name="T85" fmla="*/ 875 h 937"/>
                <a:gd name="T86" fmla="*/ 12 w 1096"/>
                <a:gd name="T87" fmla="*/ 884 h 937"/>
                <a:gd name="T88" fmla="*/ 85 w 1096"/>
                <a:gd name="T89" fmla="*/ 852 h 937"/>
                <a:gd name="T90" fmla="*/ 159 w 1096"/>
                <a:gd name="T91" fmla="*/ 820 h 937"/>
                <a:gd name="T92" fmla="*/ 234 w 1096"/>
                <a:gd name="T93" fmla="*/ 752 h 937"/>
                <a:gd name="T94" fmla="*/ 240 w 1096"/>
                <a:gd name="T95" fmla="*/ 713 h 937"/>
                <a:gd name="T96" fmla="*/ 191 w 1096"/>
                <a:gd name="T97" fmla="*/ 711 h 937"/>
                <a:gd name="T98" fmla="*/ 119 w 1096"/>
                <a:gd name="T99" fmla="*/ 694 h 937"/>
                <a:gd name="T100" fmla="*/ 121 w 1096"/>
                <a:gd name="T101" fmla="*/ 586 h 937"/>
                <a:gd name="T102" fmla="*/ 68 w 1096"/>
                <a:gd name="T103" fmla="*/ 615 h 937"/>
                <a:gd name="T104" fmla="*/ 59 w 1096"/>
                <a:gd name="T105" fmla="*/ 549 h 937"/>
                <a:gd name="T106" fmla="*/ 66 w 1096"/>
                <a:gd name="T107" fmla="*/ 549 h 937"/>
                <a:gd name="T108" fmla="*/ 42 w 1096"/>
                <a:gd name="T109" fmla="*/ 528 h 937"/>
                <a:gd name="T110" fmla="*/ 80 w 1096"/>
                <a:gd name="T111" fmla="*/ 451 h 937"/>
                <a:gd name="T112" fmla="*/ 102 w 1096"/>
                <a:gd name="T113" fmla="*/ 424 h 937"/>
                <a:gd name="T114" fmla="*/ 204 w 1096"/>
                <a:gd name="T115" fmla="*/ 415 h 937"/>
                <a:gd name="T116" fmla="*/ 191 w 1096"/>
                <a:gd name="T117" fmla="*/ 349 h 937"/>
                <a:gd name="T118" fmla="*/ 85 w 1096"/>
                <a:gd name="T119" fmla="*/ 319 h 937"/>
                <a:gd name="T120" fmla="*/ 74 w 1096"/>
                <a:gd name="T121" fmla="*/ 27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6" h="937">
                  <a:moveTo>
                    <a:pt x="68" y="253"/>
                  </a:moveTo>
                  <a:lnTo>
                    <a:pt x="72" y="253"/>
                  </a:lnTo>
                  <a:lnTo>
                    <a:pt x="76" y="253"/>
                  </a:lnTo>
                  <a:lnTo>
                    <a:pt x="80" y="249"/>
                  </a:lnTo>
                  <a:lnTo>
                    <a:pt x="85" y="247"/>
                  </a:lnTo>
                  <a:lnTo>
                    <a:pt x="91" y="251"/>
                  </a:lnTo>
                  <a:lnTo>
                    <a:pt x="95" y="249"/>
                  </a:lnTo>
                  <a:lnTo>
                    <a:pt x="98" y="245"/>
                  </a:lnTo>
                  <a:lnTo>
                    <a:pt x="115" y="241"/>
                  </a:lnTo>
                  <a:lnTo>
                    <a:pt x="123" y="247"/>
                  </a:lnTo>
                  <a:lnTo>
                    <a:pt x="129" y="247"/>
                  </a:lnTo>
                  <a:lnTo>
                    <a:pt x="129" y="243"/>
                  </a:lnTo>
                  <a:lnTo>
                    <a:pt x="127" y="236"/>
                  </a:lnTo>
                  <a:lnTo>
                    <a:pt x="134" y="234"/>
                  </a:lnTo>
                  <a:lnTo>
                    <a:pt x="138" y="232"/>
                  </a:lnTo>
                  <a:lnTo>
                    <a:pt x="149" y="234"/>
                  </a:lnTo>
                  <a:lnTo>
                    <a:pt x="151" y="234"/>
                  </a:lnTo>
                  <a:lnTo>
                    <a:pt x="157" y="232"/>
                  </a:lnTo>
                  <a:lnTo>
                    <a:pt x="161" y="230"/>
                  </a:lnTo>
                  <a:lnTo>
                    <a:pt x="166" y="230"/>
                  </a:lnTo>
                  <a:lnTo>
                    <a:pt x="176" y="232"/>
                  </a:lnTo>
                  <a:lnTo>
                    <a:pt x="181" y="236"/>
                  </a:lnTo>
                  <a:lnTo>
                    <a:pt x="176" y="234"/>
                  </a:lnTo>
                  <a:lnTo>
                    <a:pt x="178" y="239"/>
                  </a:lnTo>
                  <a:lnTo>
                    <a:pt x="174" y="243"/>
                  </a:lnTo>
                  <a:lnTo>
                    <a:pt x="170" y="253"/>
                  </a:lnTo>
                  <a:lnTo>
                    <a:pt x="164" y="253"/>
                  </a:lnTo>
                  <a:lnTo>
                    <a:pt x="168" y="253"/>
                  </a:lnTo>
                  <a:lnTo>
                    <a:pt x="170" y="260"/>
                  </a:lnTo>
                  <a:lnTo>
                    <a:pt x="174" y="264"/>
                  </a:lnTo>
                  <a:lnTo>
                    <a:pt x="178" y="264"/>
                  </a:lnTo>
                  <a:lnTo>
                    <a:pt x="183" y="266"/>
                  </a:lnTo>
                  <a:lnTo>
                    <a:pt x="193" y="268"/>
                  </a:lnTo>
                  <a:lnTo>
                    <a:pt x="193" y="273"/>
                  </a:lnTo>
                  <a:lnTo>
                    <a:pt x="200" y="273"/>
                  </a:lnTo>
                  <a:lnTo>
                    <a:pt x="204" y="275"/>
                  </a:lnTo>
                  <a:lnTo>
                    <a:pt x="208" y="275"/>
                  </a:lnTo>
                  <a:lnTo>
                    <a:pt x="210" y="279"/>
                  </a:lnTo>
                  <a:lnTo>
                    <a:pt x="217" y="277"/>
                  </a:lnTo>
                  <a:lnTo>
                    <a:pt x="215" y="275"/>
                  </a:lnTo>
                  <a:lnTo>
                    <a:pt x="221" y="270"/>
                  </a:lnTo>
                  <a:lnTo>
                    <a:pt x="223" y="266"/>
                  </a:lnTo>
                  <a:lnTo>
                    <a:pt x="227" y="266"/>
                  </a:lnTo>
                  <a:lnTo>
                    <a:pt x="232" y="270"/>
                  </a:lnTo>
                  <a:lnTo>
                    <a:pt x="232" y="275"/>
                  </a:lnTo>
                  <a:lnTo>
                    <a:pt x="236" y="270"/>
                  </a:lnTo>
                  <a:lnTo>
                    <a:pt x="234" y="266"/>
                  </a:lnTo>
                  <a:lnTo>
                    <a:pt x="225" y="258"/>
                  </a:lnTo>
                  <a:lnTo>
                    <a:pt x="221" y="258"/>
                  </a:lnTo>
                  <a:lnTo>
                    <a:pt x="217" y="262"/>
                  </a:lnTo>
                  <a:lnTo>
                    <a:pt x="219" y="251"/>
                  </a:lnTo>
                  <a:lnTo>
                    <a:pt x="219" y="247"/>
                  </a:lnTo>
                  <a:lnTo>
                    <a:pt x="217" y="241"/>
                  </a:lnTo>
                  <a:lnTo>
                    <a:pt x="208" y="230"/>
                  </a:lnTo>
                  <a:lnTo>
                    <a:pt x="208" y="224"/>
                  </a:lnTo>
                  <a:lnTo>
                    <a:pt x="215" y="224"/>
                  </a:lnTo>
                  <a:lnTo>
                    <a:pt x="219" y="230"/>
                  </a:lnTo>
                  <a:lnTo>
                    <a:pt x="221" y="236"/>
                  </a:lnTo>
                  <a:lnTo>
                    <a:pt x="217" y="241"/>
                  </a:lnTo>
                  <a:lnTo>
                    <a:pt x="219" y="245"/>
                  </a:lnTo>
                  <a:lnTo>
                    <a:pt x="221" y="251"/>
                  </a:lnTo>
                  <a:lnTo>
                    <a:pt x="225" y="256"/>
                  </a:lnTo>
                  <a:lnTo>
                    <a:pt x="232" y="256"/>
                  </a:lnTo>
                  <a:lnTo>
                    <a:pt x="236" y="256"/>
                  </a:lnTo>
                  <a:lnTo>
                    <a:pt x="240" y="262"/>
                  </a:lnTo>
                  <a:lnTo>
                    <a:pt x="244" y="264"/>
                  </a:lnTo>
                  <a:lnTo>
                    <a:pt x="255" y="266"/>
                  </a:lnTo>
                  <a:lnTo>
                    <a:pt x="257" y="262"/>
                  </a:lnTo>
                  <a:lnTo>
                    <a:pt x="257" y="256"/>
                  </a:lnTo>
                  <a:lnTo>
                    <a:pt x="253" y="251"/>
                  </a:lnTo>
                  <a:lnTo>
                    <a:pt x="247" y="251"/>
                  </a:lnTo>
                  <a:lnTo>
                    <a:pt x="242" y="247"/>
                  </a:lnTo>
                  <a:lnTo>
                    <a:pt x="238" y="247"/>
                  </a:lnTo>
                  <a:lnTo>
                    <a:pt x="232" y="253"/>
                  </a:lnTo>
                  <a:lnTo>
                    <a:pt x="227" y="249"/>
                  </a:lnTo>
                  <a:lnTo>
                    <a:pt x="223" y="241"/>
                  </a:lnTo>
                  <a:lnTo>
                    <a:pt x="225" y="234"/>
                  </a:lnTo>
                  <a:lnTo>
                    <a:pt x="230" y="226"/>
                  </a:lnTo>
                  <a:lnTo>
                    <a:pt x="230" y="221"/>
                  </a:lnTo>
                  <a:lnTo>
                    <a:pt x="225" y="219"/>
                  </a:lnTo>
                  <a:lnTo>
                    <a:pt x="219" y="219"/>
                  </a:lnTo>
                  <a:lnTo>
                    <a:pt x="219" y="217"/>
                  </a:lnTo>
                  <a:lnTo>
                    <a:pt x="217" y="211"/>
                  </a:lnTo>
                  <a:lnTo>
                    <a:pt x="215" y="215"/>
                  </a:lnTo>
                  <a:lnTo>
                    <a:pt x="210" y="215"/>
                  </a:lnTo>
                  <a:lnTo>
                    <a:pt x="200" y="213"/>
                  </a:lnTo>
                  <a:lnTo>
                    <a:pt x="191" y="207"/>
                  </a:lnTo>
                  <a:lnTo>
                    <a:pt x="189" y="200"/>
                  </a:lnTo>
                  <a:lnTo>
                    <a:pt x="191" y="192"/>
                  </a:lnTo>
                  <a:lnTo>
                    <a:pt x="189" y="181"/>
                  </a:lnTo>
                  <a:lnTo>
                    <a:pt x="187" y="175"/>
                  </a:lnTo>
                  <a:lnTo>
                    <a:pt x="183" y="170"/>
                  </a:lnTo>
                  <a:lnTo>
                    <a:pt x="181" y="164"/>
                  </a:lnTo>
                  <a:lnTo>
                    <a:pt x="178" y="162"/>
                  </a:lnTo>
                  <a:lnTo>
                    <a:pt x="170" y="143"/>
                  </a:lnTo>
                  <a:lnTo>
                    <a:pt x="166" y="138"/>
                  </a:lnTo>
                  <a:lnTo>
                    <a:pt x="161" y="136"/>
                  </a:lnTo>
                  <a:lnTo>
                    <a:pt x="155" y="126"/>
                  </a:lnTo>
                  <a:lnTo>
                    <a:pt x="151" y="119"/>
                  </a:lnTo>
                  <a:lnTo>
                    <a:pt x="146" y="117"/>
                  </a:lnTo>
                  <a:lnTo>
                    <a:pt x="149" y="117"/>
                  </a:lnTo>
                  <a:lnTo>
                    <a:pt x="151" y="117"/>
                  </a:lnTo>
                  <a:lnTo>
                    <a:pt x="157" y="113"/>
                  </a:lnTo>
                  <a:lnTo>
                    <a:pt x="159" y="109"/>
                  </a:lnTo>
                  <a:lnTo>
                    <a:pt x="166" y="96"/>
                  </a:lnTo>
                  <a:lnTo>
                    <a:pt x="172" y="94"/>
                  </a:lnTo>
                  <a:lnTo>
                    <a:pt x="181" y="98"/>
                  </a:lnTo>
                  <a:lnTo>
                    <a:pt x="204" y="100"/>
                  </a:lnTo>
                  <a:lnTo>
                    <a:pt x="210" y="100"/>
                  </a:lnTo>
                  <a:lnTo>
                    <a:pt x="217" y="98"/>
                  </a:lnTo>
                  <a:lnTo>
                    <a:pt x="221" y="96"/>
                  </a:lnTo>
                  <a:lnTo>
                    <a:pt x="232" y="87"/>
                  </a:lnTo>
                  <a:lnTo>
                    <a:pt x="238" y="79"/>
                  </a:lnTo>
                  <a:lnTo>
                    <a:pt x="242" y="68"/>
                  </a:lnTo>
                  <a:lnTo>
                    <a:pt x="242" y="68"/>
                  </a:lnTo>
                  <a:lnTo>
                    <a:pt x="249" y="60"/>
                  </a:lnTo>
                  <a:lnTo>
                    <a:pt x="259" y="53"/>
                  </a:lnTo>
                  <a:lnTo>
                    <a:pt x="259" y="51"/>
                  </a:lnTo>
                  <a:lnTo>
                    <a:pt x="272" y="38"/>
                  </a:lnTo>
                  <a:lnTo>
                    <a:pt x="276" y="40"/>
                  </a:lnTo>
                  <a:lnTo>
                    <a:pt x="276" y="43"/>
                  </a:lnTo>
                  <a:lnTo>
                    <a:pt x="272" y="43"/>
                  </a:lnTo>
                  <a:lnTo>
                    <a:pt x="276" y="45"/>
                  </a:lnTo>
                  <a:lnTo>
                    <a:pt x="281" y="43"/>
                  </a:lnTo>
                  <a:lnTo>
                    <a:pt x="287" y="43"/>
                  </a:lnTo>
                  <a:lnTo>
                    <a:pt x="287" y="43"/>
                  </a:lnTo>
                  <a:lnTo>
                    <a:pt x="298" y="40"/>
                  </a:lnTo>
                  <a:lnTo>
                    <a:pt x="310" y="32"/>
                  </a:lnTo>
                  <a:lnTo>
                    <a:pt x="315" y="32"/>
                  </a:lnTo>
                  <a:lnTo>
                    <a:pt x="315" y="32"/>
                  </a:lnTo>
                  <a:lnTo>
                    <a:pt x="315" y="40"/>
                  </a:lnTo>
                  <a:lnTo>
                    <a:pt x="310" y="45"/>
                  </a:lnTo>
                  <a:lnTo>
                    <a:pt x="313" y="43"/>
                  </a:lnTo>
                  <a:lnTo>
                    <a:pt x="315" y="49"/>
                  </a:lnTo>
                  <a:lnTo>
                    <a:pt x="317" y="40"/>
                  </a:lnTo>
                  <a:lnTo>
                    <a:pt x="327" y="38"/>
                  </a:lnTo>
                  <a:lnTo>
                    <a:pt x="323" y="38"/>
                  </a:lnTo>
                  <a:lnTo>
                    <a:pt x="319" y="34"/>
                  </a:lnTo>
                  <a:lnTo>
                    <a:pt x="317" y="28"/>
                  </a:lnTo>
                  <a:lnTo>
                    <a:pt x="317" y="26"/>
                  </a:lnTo>
                  <a:lnTo>
                    <a:pt x="327" y="19"/>
                  </a:lnTo>
                  <a:lnTo>
                    <a:pt x="334" y="19"/>
                  </a:lnTo>
                  <a:lnTo>
                    <a:pt x="330" y="23"/>
                  </a:lnTo>
                  <a:lnTo>
                    <a:pt x="332" y="28"/>
                  </a:lnTo>
                  <a:lnTo>
                    <a:pt x="338" y="23"/>
                  </a:lnTo>
                  <a:lnTo>
                    <a:pt x="342" y="26"/>
                  </a:lnTo>
                  <a:lnTo>
                    <a:pt x="357" y="26"/>
                  </a:lnTo>
                  <a:lnTo>
                    <a:pt x="370" y="19"/>
                  </a:lnTo>
                  <a:lnTo>
                    <a:pt x="374" y="15"/>
                  </a:lnTo>
                  <a:lnTo>
                    <a:pt x="379" y="11"/>
                  </a:lnTo>
                  <a:lnTo>
                    <a:pt x="387" y="2"/>
                  </a:lnTo>
                  <a:lnTo>
                    <a:pt x="393" y="0"/>
                  </a:lnTo>
                  <a:lnTo>
                    <a:pt x="389" y="4"/>
                  </a:lnTo>
                  <a:lnTo>
                    <a:pt x="393" y="6"/>
                  </a:lnTo>
                  <a:lnTo>
                    <a:pt x="396" y="13"/>
                  </a:lnTo>
                  <a:lnTo>
                    <a:pt x="402" y="13"/>
                  </a:lnTo>
                  <a:lnTo>
                    <a:pt x="406" y="17"/>
                  </a:lnTo>
                  <a:lnTo>
                    <a:pt x="404" y="21"/>
                  </a:lnTo>
                  <a:lnTo>
                    <a:pt x="400" y="26"/>
                  </a:lnTo>
                  <a:lnTo>
                    <a:pt x="393" y="26"/>
                  </a:lnTo>
                  <a:lnTo>
                    <a:pt x="393" y="28"/>
                  </a:lnTo>
                  <a:lnTo>
                    <a:pt x="396" y="32"/>
                  </a:lnTo>
                  <a:lnTo>
                    <a:pt x="400" y="34"/>
                  </a:lnTo>
                  <a:lnTo>
                    <a:pt x="408" y="26"/>
                  </a:lnTo>
                  <a:lnTo>
                    <a:pt x="411" y="19"/>
                  </a:lnTo>
                  <a:lnTo>
                    <a:pt x="415" y="26"/>
                  </a:lnTo>
                  <a:lnTo>
                    <a:pt x="417" y="21"/>
                  </a:lnTo>
                  <a:lnTo>
                    <a:pt x="421" y="23"/>
                  </a:lnTo>
                  <a:lnTo>
                    <a:pt x="423" y="28"/>
                  </a:lnTo>
                  <a:lnTo>
                    <a:pt x="419" y="32"/>
                  </a:lnTo>
                  <a:lnTo>
                    <a:pt x="423" y="36"/>
                  </a:lnTo>
                  <a:lnTo>
                    <a:pt x="428" y="40"/>
                  </a:lnTo>
                  <a:lnTo>
                    <a:pt x="440" y="36"/>
                  </a:lnTo>
                  <a:lnTo>
                    <a:pt x="445" y="36"/>
                  </a:lnTo>
                  <a:lnTo>
                    <a:pt x="451" y="36"/>
                  </a:lnTo>
                  <a:lnTo>
                    <a:pt x="455" y="40"/>
                  </a:lnTo>
                  <a:lnTo>
                    <a:pt x="459" y="40"/>
                  </a:lnTo>
                  <a:lnTo>
                    <a:pt x="464" y="40"/>
                  </a:lnTo>
                  <a:lnTo>
                    <a:pt x="464" y="47"/>
                  </a:lnTo>
                  <a:lnTo>
                    <a:pt x="462" y="49"/>
                  </a:lnTo>
                  <a:lnTo>
                    <a:pt x="466" y="55"/>
                  </a:lnTo>
                  <a:lnTo>
                    <a:pt x="459" y="55"/>
                  </a:lnTo>
                  <a:lnTo>
                    <a:pt x="464" y="60"/>
                  </a:lnTo>
                  <a:lnTo>
                    <a:pt x="468" y="57"/>
                  </a:lnTo>
                  <a:lnTo>
                    <a:pt x="474" y="60"/>
                  </a:lnTo>
                  <a:lnTo>
                    <a:pt x="470" y="64"/>
                  </a:lnTo>
                  <a:lnTo>
                    <a:pt x="481" y="68"/>
                  </a:lnTo>
                  <a:lnTo>
                    <a:pt x="485" y="70"/>
                  </a:lnTo>
                  <a:lnTo>
                    <a:pt x="487" y="68"/>
                  </a:lnTo>
                  <a:lnTo>
                    <a:pt x="489" y="66"/>
                  </a:lnTo>
                  <a:lnTo>
                    <a:pt x="494" y="66"/>
                  </a:lnTo>
                  <a:lnTo>
                    <a:pt x="500" y="66"/>
                  </a:lnTo>
                  <a:lnTo>
                    <a:pt x="500" y="68"/>
                  </a:lnTo>
                  <a:lnTo>
                    <a:pt x="506" y="70"/>
                  </a:lnTo>
                  <a:lnTo>
                    <a:pt x="511" y="66"/>
                  </a:lnTo>
                  <a:lnTo>
                    <a:pt x="517" y="66"/>
                  </a:lnTo>
                  <a:lnTo>
                    <a:pt x="521" y="68"/>
                  </a:lnTo>
                  <a:lnTo>
                    <a:pt x="526" y="68"/>
                  </a:lnTo>
                  <a:lnTo>
                    <a:pt x="530" y="70"/>
                  </a:lnTo>
                  <a:lnTo>
                    <a:pt x="534" y="72"/>
                  </a:lnTo>
                  <a:lnTo>
                    <a:pt x="538" y="79"/>
                  </a:lnTo>
                  <a:lnTo>
                    <a:pt x="543" y="77"/>
                  </a:lnTo>
                  <a:lnTo>
                    <a:pt x="547" y="79"/>
                  </a:lnTo>
                  <a:lnTo>
                    <a:pt x="551" y="79"/>
                  </a:lnTo>
                  <a:lnTo>
                    <a:pt x="551" y="83"/>
                  </a:lnTo>
                  <a:lnTo>
                    <a:pt x="555" y="85"/>
                  </a:lnTo>
                  <a:lnTo>
                    <a:pt x="566" y="89"/>
                  </a:lnTo>
                  <a:lnTo>
                    <a:pt x="570" y="87"/>
                  </a:lnTo>
                  <a:lnTo>
                    <a:pt x="577" y="87"/>
                  </a:lnTo>
                  <a:lnTo>
                    <a:pt x="581" y="87"/>
                  </a:lnTo>
                  <a:lnTo>
                    <a:pt x="587" y="89"/>
                  </a:lnTo>
                  <a:lnTo>
                    <a:pt x="592" y="89"/>
                  </a:lnTo>
                  <a:lnTo>
                    <a:pt x="596" y="96"/>
                  </a:lnTo>
                  <a:lnTo>
                    <a:pt x="600" y="98"/>
                  </a:lnTo>
                  <a:lnTo>
                    <a:pt x="600" y="98"/>
                  </a:lnTo>
                  <a:lnTo>
                    <a:pt x="609" y="100"/>
                  </a:lnTo>
                  <a:lnTo>
                    <a:pt x="613" y="100"/>
                  </a:lnTo>
                  <a:lnTo>
                    <a:pt x="621" y="96"/>
                  </a:lnTo>
                  <a:lnTo>
                    <a:pt x="626" y="98"/>
                  </a:lnTo>
                  <a:lnTo>
                    <a:pt x="628" y="94"/>
                  </a:lnTo>
                  <a:lnTo>
                    <a:pt x="632" y="92"/>
                  </a:lnTo>
                  <a:lnTo>
                    <a:pt x="636" y="94"/>
                  </a:lnTo>
                  <a:lnTo>
                    <a:pt x="643" y="96"/>
                  </a:lnTo>
                  <a:lnTo>
                    <a:pt x="647" y="94"/>
                  </a:lnTo>
                  <a:lnTo>
                    <a:pt x="651" y="96"/>
                  </a:lnTo>
                  <a:lnTo>
                    <a:pt x="655" y="98"/>
                  </a:lnTo>
                  <a:lnTo>
                    <a:pt x="660" y="102"/>
                  </a:lnTo>
                  <a:lnTo>
                    <a:pt x="668" y="109"/>
                  </a:lnTo>
                  <a:lnTo>
                    <a:pt x="670" y="109"/>
                  </a:lnTo>
                  <a:lnTo>
                    <a:pt x="675" y="111"/>
                  </a:lnTo>
                  <a:lnTo>
                    <a:pt x="679" y="115"/>
                  </a:lnTo>
                  <a:lnTo>
                    <a:pt x="681" y="115"/>
                  </a:lnTo>
                  <a:lnTo>
                    <a:pt x="689" y="117"/>
                  </a:lnTo>
                  <a:lnTo>
                    <a:pt x="689" y="119"/>
                  </a:lnTo>
                  <a:lnTo>
                    <a:pt x="692" y="160"/>
                  </a:lnTo>
                  <a:lnTo>
                    <a:pt x="719" y="656"/>
                  </a:lnTo>
                  <a:lnTo>
                    <a:pt x="721" y="660"/>
                  </a:lnTo>
                  <a:lnTo>
                    <a:pt x="734" y="664"/>
                  </a:lnTo>
                  <a:lnTo>
                    <a:pt x="738" y="660"/>
                  </a:lnTo>
                  <a:lnTo>
                    <a:pt x="749" y="664"/>
                  </a:lnTo>
                  <a:lnTo>
                    <a:pt x="751" y="664"/>
                  </a:lnTo>
                  <a:lnTo>
                    <a:pt x="760" y="656"/>
                  </a:lnTo>
                  <a:lnTo>
                    <a:pt x="770" y="654"/>
                  </a:lnTo>
                  <a:lnTo>
                    <a:pt x="775" y="658"/>
                  </a:lnTo>
                  <a:lnTo>
                    <a:pt x="775" y="664"/>
                  </a:lnTo>
                  <a:lnTo>
                    <a:pt x="773" y="669"/>
                  </a:lnTo>
                  <a:lnTo>
                    <a:pt x="777" y="673"/>
                  </a:lnTo>
                  <a:lnTo>
                    <a:pt x="783" y="677"/>
                  </a:lnTo>
                  <a:lnTo>
                    <a:pt x="790" y="682"/>
                  </a:lnTo>
                  <a:lnTo>
                    <a:pt x="792" y="688"/>
                  </a:lnTo>
                  <a:lnTo>
                    <a:pt x="824" y="716"/>
                  </a:lnTo>
                  <a:lnTo>
                    <a:pt x="832" y="733"/>
                  </a:lnTo>
                  <a:lnTo>
                    <a:pt x="834" y="728"/>
                  </a:lnTo>
                  <a:lnTo>
                    <a:pt x="839" y="724"/>
                  </a:lnTo>
                  <a:lnTo>
                    <a:pt x="849" y="716"/>
                  </a:lnTo>
                  <a:lnTo>
                    <a:pt x="856" y="711"/>
                  </a:lnTo>
                  <a:lnTo>
                    <a:pt x="858" y="707"/>
                  </a:lnTo>
                  <a:lnTo>
                    <a:pt x="856" y="703"/>
                  </a:lnTo>
                  <a:lnTo>
                    <a:pt x="862" y="692"/>
                  </a:lnTo>
                  <a:lnTo>
                    <a:pt x="862" y="686"/>
                  </a:lnTo>
                  <a:lnTo>
                    <a:pt x="868" y="684"/>
                  </a:lnTo>
                  <a:lnTo>
                    <a:pt x="873" y="679"/>
                  </a:lnTo>
                  <a:lnTo>
                    <a:pt x="879" y="675"/>
                  </a:lnTo>
                  <a:lnTo>
                    <a:pt x="885" y="677"/>
                  </a:lnTo>
                  <a:lnTo>
                    <a:pt x="890" y="679"/>
                  </a:lnTo>
                  <a:lnTo>
                    <a:pt x="894" y="684"/>
                  </a:lnTo>
                  <a:lnTo>
                    <a:pt x="896" y="684"/>
                  </a:lnTo>
                  <a:lnTo>
                    <a:pt x="898" y="690"/>
                  </a:lnTo>
                  <a:lnTo>
                    <a:pt x="902" y="703"/>
                  </a:lnTo>
                  <a:lnTo>
                    <a:pt x="907" y="703"/>
                  </a:lnTo>
                  <a:lnTo>
                    <a:pt x="911" y="707"/>
                  </a:lnTo>
                  <a:lnTo>
                    <a:pt x="917" y="709"/>
                  </a:lnTo>
                  <a:lnTo>
                    <a:pt x="924" y="720"/>
                  </a:lnTo>
                  <a:lnTo>
                    <a:pt x="928" y="724"/>
                  </a:lnTo>
                  <a:lnTo>
                    <a:pt x="936" y="728"/>
                  </a:lnTo>
                  <a:lnTo>
                    <a:pt x="941" y="731"/>
                  </a:lnTo>
                  <a:lnTo>
                    <a:pt x="947" y="737"/>
                  </a:lnTo>
                  <a:lnTo>
                    <a:pt x="956" y="745"/>
                  </a:lnTo>
                  <a:lnTo>
                    <a:pt x="956" y="745"/>
                  </a:lnTo>
                  <a:lnTo>
                    <a:pt x="958" y="752"/>
                  </a:lnTo>
                  <a:lnTo>
                    <a:pt x="966" y="760"/>
                  </a:lnTo>
                  <a:lnTo>
                    <a:pt x="968" y="765"/>
                  </a:lnTo>
                  <a:lnTo>
                    <a:pt x="977" y="773"/>
                  </a:lnTo>
                  <a:lnTo>
                    <a:pt x="990" y="790"/>
                  </a:lnTo>
                  <a:lnTo>
                    <a:pt x="996" y="799"/>
                  </a:lnTo>
                  <a:lnTo>
                    <a:pt x="1000" y="803"/>
                  </a:lnTo>
                  <a:lnTo>
                    <a:pt x="1002" y="809"/>
                  </a:lnTo>
                  <a:lnTo>
                    <a:pt x="1002" y="814"/>
                  </a:lnTo>
                  <a:lnTo>
                    <a:pt x="1007" y="816"/>
                  </a:lnTo>
                  <a:lnTo>
                    <a:pt x="1011" y="820"/>
                  </a:lnTo>
                  <a:lnTo>
                    <a:pt x="1015" y="826"/>
                  </a:lnTo>
                  <a:lnTo>
                    <a:pt x="1020" y="831"/>
                  </a:lnTo>
                  <a:lnTo>
                    <a:pt x="1022" y="837"/>
                  </a:lnTo>
                  <a:lnTo>
                    <a:pt x="1024" y="839"/>
                  </a:lnTo>
                  <a:lnTo>
                    <a:pt x="1028" y="839"/>
                  </a:lnTo>
                  <a:lnTo>
                    <a:pt x="1034" y="839"/>
                  </a:lnTo>
                  <a:lnTo>
                    <a:pt x="1043" y="843"/>
                  </a:lnTo>
                  <a:lnTo>
                    <a:pt x="1047" y="846"/>
                  </a:lnTo>
                  <a:lnTo>
                    <a:pt x="1058" y="846"/>
                  </a:lnTo>
                  <a:lnTo>
                    <a:pt x="1062" y="850"/>
                  </a:lnTo>
                  <a:lnTo>
                    <a:pt x="1068" y="852"/>
                  </a:lnTo>
                  <a:lnTo>
                    <a:pt x="1073" y="856"/>
                  </a:lnTo>
                  <a:lnTo>
                    <a:pt x="1077" y="858"/>
                  </a:lnTo>
                  <a:lnTo>
                    <a:pt x="1083" y="856"/>
                  </a:lnTo>
                  <a:lnTo>
                    <a:pt x="1088" y="860"/>
                  </a:lnTo>
                  <a:lnTo>
                    <a:pt x="1088" y="867"/>
                  </a:lnTo>
                  <a:lnTo>
                    <a:pt x="1088" y="871"/>
                  </a:lnTo>
                  <a:lnTo>
                    <a:pt x="1086" y="875"/>
                  </a:lnTo>
                  <a:lnTo>
                    <a:pt x="1088" y="882"/>
                  </a:lnTo>
                  <a:lnTo>
                    <a:pt x="1088" y="888"/>
                  </a:lnTo>
                  <a:lnTo>
                    <a:pt x="1096" y="903"/>
                  </a:lnTo>
                  <a:lnTo>
                    <a:pt x="1094" y="907"/>
                  </a:lnTo>
                  <a:lnTo>
                    <a:pt x="1092" y="922"/>
                  </a:lnTo>
                  <a:lnTo>
                    <a:pt x="1090" y="926"/>
                  </a:lnTo>
                  <a:lnTo>
                    <a:pt x="1086" y="931"/>
                  </a:lnTo>
                  <a:lnTo>
                    <a:pt x="1081" y="935"/>
                  </a:lnTo>
                  <a:lnTo>
                    <a:pt x="1081" y="937"/>
                  </a:lnTo>
                  <a:lnTo>
                    <a:pt x="1077" y="926"/>
                  </a:lnTo>
                  <a:lnTo>
                    <a:pt x="1077" y="935"/>
                  </a:lnTo>
                  <a:lnTo>
                    <a:pt x="1073" y="935"/>
                  </a:lnTo>
                  <a:lnTo>
                    <a:pt x="1068" y="924"/>
                  </a:lnTo>
                  <a:lnTo>
                    <a:pt x="1071" y="920"/>
                  </a:lnTo>
                  <a:lnTo>
                    <a:pt x="1075" y="918"/>
                  </a:lnTo>
                  <a:lnTo>
                    <a:pt x="1077" y="914"/>
                  </a:lnTo>
                  <a:lnTo>
                    <a:pt x="1081" y="905"/>
                  </a:lnTo>
                  <a:lnTo>
                    <a:pt x="1077" y="914"/>
                  </a:lnTo>
                  <a:lnTo>
                    <a:pt x="1075" y="918"/>
                  </a:lnTo>
                  <a:lnTo>
                    <a:pt x="1068" y="920"/>
                  </a:lnTo>
                  <a:lnTo>
                    <a:pt x="1064" y="918"/>
                  </a:lnTo>
                  <a:lnTo>
                    <a:pt x="1064" y="914"/>
                  </a:lnTo>
                  <a:lnTo>
                    <a:pt x="1066" y="907"/>
                  </a:lnTo>
                  <a:lnTo>
                    <a:pt x="1073" y="907"/>
                  </a:lnTo>
                  <a:lnTo>
                    <a:pt x="1068" y="905"/>
                  </a:lnTo>
                  <a:lnTo>
                    <a:pt x="1066" y="899"/>
                  </a:lnTo>
                  <a:lnTo>
                    <a:pt x="1064" y="888"/>
                  </a:lnTo>
                  <a:lnTo>
                    <a:pt x="1060" y="882"/>
                  </a:lnTo>
                  <a:lnTo>
                    <a:pt x="1054" y="873"/>
                  </a:lnTo>
                  <a:lnTo>
                    <a:pt x="1051" y="869"/>
                  </a:lnTo>
                  <a:lnTo>
                    <a:pt x="1054" y="865"/>
                  </a:lnTo>
                  <a:lnTo>
                    <a:pt x="1045" y="873"/>
                  </a:lnTo>
                  <a:lnTo>
                    <a:pt x="1041" y="873"/>
                  </a:lnTo>
                  <a:lnTo>
                    <a:pt x="1030" y="882"/>
                  </a:lnTo>
                  <a:lnTo>
                    <a:pt x="1034" y="886"/>
                  </a:lnTo>
                  <a:lnTo>
                    <a:pt x="1032" y="897"/>
                  </a:lnTo>
                  <a:lnTo>
                    <a:pt x="1028" y="895"/>
                  </a:lnTo>
                  <a:lnTo>
                    <a:pt x="1032" y="901"/>
                  </a:lnTo>
                  <a:lnTo>
                    <a:pt x="1026" y="901"/>
                  </a:lnTo>
                  <a:lnTo>
                    <a:pt x="1022" y="897"/>
                  </a:lnTo>
                  <a:lnTo>
                    <a:pt x="1017" y="892"/>
                  </a:lnTo>
                  <a:lnTo>
                    <a:pt x="1022" y="886"/>
                  </a:lnTo>
                  <a:lnTo>
                    <a:pt x="1024" y="882"/>
                  </a:lnTo>
                  <a:lnTo>
                    <a:pt x="1026" y="873"/>
                  </a:lnTo>
                  <a:lnTo>
                    <a:pt x="1024" y="867"/>
                  </a:lnTo>
                  <a:lnTo>
                    <a:pt x="1028" y="863"/>
                  </a:lnTo>
                  <a:lnTo>
                    <a:pt x="1032" y="863"/>
                  </a:lnTo>
                  <a:lnTo>
                    <a:pt x="1030" y="860"/>
                  </a:lnTo>
                  <a:lnTo>
                    <a:pt x="1026" y="860"/>
                  </a:lnTo>
                  <a:lnTo>
                    <a:pt x="1022" y="856"/>
                  </a:lnTo>
                  <a:lnTo>
                    <a:pt x="1017" y="854"/>
                  </a:lnTo>
                  <a:lnTo>
                    <a:pt x="1011" y="850"/>
                  </a:lnTo>
                  <a:lnTo>
                    <a:pt x="1007" y="848"/>
                  </a:lnTo>
                  <a:lnTo>
                    <a:pt x="1007" y="841"/>
                  </a:lnTo>
                  <a:lnTo>
                    <a:pt x="1000" y="843"/>
                  </a:lnTo>
                  <a:lnTo>
                    <a:pt x="1000" y="837"/>
                  </a:lnTo>
                  <a:lnTo>
                    <a:pt x="1002" y="833"/>
                  </a:lnTo>
                  <a:lnTo>
                    <a:pt x="996" y="835"/>
                  </a:lnTo>
                  <a:lnTo>
                    <a:pt x="992" y="833"/>
                  </a:lnTo>
                  <a:lnTo>
                    <a:pt x="988" y="828"/>
                  </a:lnTo>
                  <a:lnTo>
                    <a:pt x="990" y="822"/>
                  </a:lnTo>
                  <a:lnTo>
                    <a:pt x="988" y="818"/>
                  </a:lnTo>
                  <a:lnTo>
                    <a:pt x="983" y="822"/>
                  </a:lnTo>
                  <a:lnTo>
                    <a:pt x="977" y="820"/>
                  </a:lnTo>
                  <a:lnTo>
                    <a:pt x="973" y="816"/>
                  </a:lnTo>
                  <a:lnTo>
                    <a:pt x="968" y="818"/>
                  </a:lnTo>
                  <a:lnTo>
                    <a:pt x="962" y="816"/>
                  </a:lnTo>
                  <a:lnTo>
                    <a:pt x="964" y="811"/>
                  </a:lnTo>
                  <a:lnTo>
                    <a:pt x="971" y="809"/>
                  </a:lnTo>
                  <a:lnTo>
                    <a:pt x="975" y="805"/>
                  </a:lnTo>
                  <a:lnTo>
                    <a:pt x="964" y="805"/>
                  </a:lnTo>
                  <a:lnTo>
                    <a:pt x="966" y="801"/>
                  </a:lnTo>
                  <a:lnTo>
                    <a:pt x="962" y="801"/>
                  </a:lnTo>
                  <a:lnTo>
                    <a:pt x="962" y="794"/>
                  </a:lnTo>
                  <a:lnTo>
                    <a:pt x="958" y="792"/>
                  </a:lnTo>
                  <a:lnTo>
                    <a:pt x="956" y="788"/>
                  </a:lnTo>
                  <a:lnTo>
                    <a:pt x="964" y="790"/>
                  </a:lnTo>
                  <a:lnTo>
                    <a:pt x="973" y="794"/>
                  </a:lnTo>
                  <a:lnTo>
                    <a:pt x="971" y="788"/>
                  </a:lnTo>
                  <a:lnTo>
                    <a:pt x="964" y="788"/>
                  </a:lnTo>
                  <a:lnTo>
                    <a:pt x="960" y="784"/>
                  </a:lnTo>
                  <a:lnTo>
                    <a:pt x="956" y="779"/>
                  </a:lnTo>
                  <a:lnTo>
                    <a:pt x="956" y="775"/>
                  </a:lnTo>
                  <a:lnTo>
                    <a:pt x="966" y="775"/>
                  </a:lnTo>
                  <a:lnTo>
                    <a:pt x="956" y="773"/>
                  </a:lnTo>
                  <a:lnTo>
                    <a:pt x="954" y="777"/>
                  </a:lnTo>
                  <a:lnTo>
                    <a:pt x="949" y="777"/>
                  </a:lnTo>
                  <a:lnTo>
                    <a:pt x="947" y="771"/>
                  </a:lnTo>
                  <a:lnTo>
                    <a:pt x="949" y="762"/>
                  </a:lnTo>
                  <a:lnTo>
                    <a:pt x="947" y="767"/>
                  </a:lnTo>
                  <a:lnTo>
                    <a:pt x="945" y="771"/>
                  </a:lnTo>
                  <a:lnTo>
                    <a:pt x="941" y="769"/>
                  </a:lnTo>
                  <a:lnTo>
                    <a:pt x="939" y="762"/>
                  </a:lnTo>
                  <a:lnTo>
                    <a:pt x="936" y="758"/>
                  </a:lnTo>
                  <a:lnTo>
                    <a:pt x="939" y="754"/>
                  </a:lnTo>
                  <a:lnTo>
                    <a:pt x="939" y="748"/>
                  </a:lnTo>
                  <a:lnTo>
                    <a:pt x="939" y="743"/>
                  </a:lnTo>
                  <a:lnTo>
                    <a:pt x="943" y="741"/>
                  </a:lnTo>
                  <a:lnTo>
                    <a:pt x="936" y="741"/>
                  </a:lnTo>
                  <a:lnTo>
                    <a:pt x="936" y="756"/>
                  </a:lnTo>
                  <a:lnTo>
                    <a:pt x="930" y="758"/>
                  </a:lnTo>
                  <a:lnTo>
                    <a:pt x="926" y="756"/>
                  </a:lnTo>
                  <a:lnTo>
                    <a:pt x="922" y="754"/>
                  </a:lnTo>
                  <a:lnTo>
                    <a:pt x="922" y="754"/>
                  </a:lnTo>
                  <a:lnTo>
                    <a:pt x="922" y="754"/>
                  </a:lnTo>
                  <a:lnTo>
                    <a:pt x="915" y="754"/>
                  </a:lnTo>
                  <a:lnTo>
                    <a:pt x="913" y="748"/>
                  </a:lnTo>
                  <a:lnTo>
                    <a:pt x="905" y="737"/>
                  </a:lnTo>
                  <a:lnTo>
                    <a:pt x="907" y="733"/>
                  </a:lnTo>
                  <a:lnTo>
                    <a:pt x="902" y="731"/>
                  </a:lnTo>
                  <a:lnTo>
                    <a:pt x="898" y="724"/>
                  </a:lnTo>
                  <a:lnTo>
                    <a:pt x="898" y="720"/>
                  </a:lnTo>
                  <a:lnTo>
                    <a:pt x="892" y="709"/>
                  </a:lnTo>
                  <a:lnTo>
                    <a:pt x="890" y="703"/>
                  </a:lnTo>
                  <a:lnTo>
                    <a:pt x="887" y="692"/>
                  </a:lnTo>
                  <a:lnTo>
                    <a:pt x="885" y="703"/>
                  </a:lnTo>
                  <a:lnTo>
                    <a:pt x="885" y="703"/>
                  </a:lnTo>
                  <a:lnTo>
                    <a:pt x="890" y="707"/>
                  </a:lnTo>
                  <a:lnTo>
                    <a:pt x="892" y="713"/>
                  </a:lnTo>
                  <a:lnTo>
                    <a:pt x="887" y="709"/>
                  </a:lnTo>
                  <a:lnTo>
                    <a:pt x="890" y="713"/>
                  </a:lnTo>
                  <a:lnTo>
                    <a:pt x="892" y="720"/>
                  </a:lnTo>
                  <a:lnTo>
                    <a:pt x="898" y="737"/>
                  </a:lnTo>
                  <a:lnTo>
                    <a:pt x="902" y="743"/>
                  </a:lnTo>
                  <a:lnTo>
                    <a:pt x="900" y="741"/>
                  </a:lnTo>
                  <a:lnTo>
                    <a:pt x="902" y="748"/>
                  </a:lnTo>
                  <a:lnTo>
                    <a:pt x="907" y="758"/>
                  </a:lnTo>
                  <a:lnTo>
                    <a:pt x="907" y="762"/>
                  </a:lnTo>
                  <a:lnTo>
                    <a:pt x="900" y="765"/>
                  </a:lnTo>
                  <a:lnTo>
                    <a:pt x="896" y="760"/>
                  </a:lnTo>
                  <a:lnTo>
                    <a:pt x="894" y="754"/>
                  </a:lnTo>
                  <a:lnTo>
                    <a:pt x="887" y="754"/>
                  </a:lnTo>
                  <a:lnTo>
                    <a:pt x="883" y="756"/>
                  </a:lnTo>
                  <a:lnTo>
                    <a:pt x="879" y="754"/>
                  </a:lnTo>
                  <a:lnTo>
                    <a:pt x="881" y="750"/>
                  </a:lnTo>
                  <a:lnTo>
                    <a:pt x="875" y="737"/>
                  </a:lnTo>
                  <a:lnTo>
                    <a:pt x="875" y="733"/>
                  </a:lnTo>
                  <a:lnTo>
                    <a:pt x="879" y="728"/>
                  </a:lnTo>
                  <a:lnTo>
                    <a:pt x="870" y="726"/>
                  </a:lnTo>
                  <a:lnTo>
                    <a:pt x="870" y="731"/>
                  </a:lnTo>
                  <a:lnTo>
                    <a:pt x="870" y="737"/>
                  </a:lnTo>
                  <a:lnTo>
                    <a:pt x="866" y="737"/>
                  </a:lnTo>
                  <a:lnTo>
                    <a:pt x="860" y="735"/>
                  </a:lnTo>
                  <a:lnTo>
                    <a:pt x="858" y="728"/>
                  </a:lnTo>
                  <a:lnTo>
                    <a:pt x="853" y="726"/>
                  </a:lnTo>
                  <a:lnTo>
                    <a:pt x="847" y="728"/>
                  </a:lnTo>
                  <a:lnTo>
                    <a:pt x="845" y="724"/>
                  </a:lnTo>
                  <a:lnTo>
                    <a:pt x="847" y="731"/>
                  </a:lnTo>
                  <a:lnTo>
                    <a:pt x="843" y="735"/>
                  </a:lnTo>
                  <a:lnTo>
                    <a:pt x="847" y="733"/>
                  </a:lnTo>
                  <a:lnTo>
                    <a:pt x="858" y="735"/>
                  </a:lnTo>
                  <a:lnTo>
                    <a:pt x="860" y="739"/>
                  </a:lnTo>
                  <a:lnTo>
                    <a:pt x="864" y="741"/>
                  </a:lnTo>
                  <a:lnTo>
                    <a:pt x="862" y="745"/>
                  </a:lnTo>
                  <a:lnTo>
                    <a:pt x="868" y="743"/>
                  </a:lnTo>
                  <a:lnTo>
                    <a:pt x="873" y="748"/>
                  </a:lnTo>
                  <a:lnTo>
                    <a:pt x="875" y="754"/>
                  </a:lnTo>
                  <a:lnTo>
                    <a:pt x="877" y="758"/>
                  </a:lnTo>
                  <a:lnTo>
                    <a:pt x="870" y="762"/>
                  </a:lnTo>
                  <a:lnTo>
                    <a:pt x="862" y="758"/>
                  </a:lnTo>
                  <a:lnTo>
                    <a:pt x="862" y="762"/>
                  </a:lnTo>
                  <a:lnTo>
                    <a:pt x="862" y="767"/>
                  </a:lnTo>
                  <a:lnTo>
                    <a:pt x="860" y="771"/>
                  </a:lnTo>
                  <a:lnTo>
                    <a:pt x="856" y="767"/>
                  </a:lnTo>
                  <a:lnTo>
                    <a:pt x="849" y="762"/>
                  </a:lnTo>
                  <a:lnTo>
                    <a:pt x="841" y="760"/>
                  </a:lnTo>
                  <a:lnTo>
                    <a:pt x="828" y="752"/>
                  </a:lnTo>
                  <a:lnTo>
                    <a:pt x="832" y="748"/>
                  </a:lnTo>
                  <a:lnTo>
                    <a:pt x="828" y="750"/>
                  </a:lnTo>
                  <a:lnTo>
                    <a:pt x="817" y="743"/>
                  </a:lnTo>
                  <a:lnTo>
                    <a:pt x="815" y="737"/>
                  </a:lnTo>
                  <a:lnTo>
                    <a:pt x="809" y="728"/>
                  </a:lnTo>
                  <a:lnTo>
                    <a:pt x="802" y="726"/>
                  </a:lnTo>
                  <a:lnTo>
                    <a:pt x="798" y="724"/>
                  </a:lnTo>
                  <a:lnTo>
                    <a:pt x="800" y="720"/>
                  </a:lnTo>
                  <a:lnTo>
                    <a:pt x="794" y="722"/>
                  </a:lnTo>
                  <a:lnTo>
                    <a:pt x="785" y="718"/>
                  </a:lnTo>
                  <a:lnTo>
                    <a:pt x="779" y="716"/>
                  </a:lnTo>
                  <a:lnTo>
                    <a:pt x="775" y="711"/>
                  </a:lnTo>
                  <a:lnTo>
                    <a:pt x="770" y="711"/>
                  </a:lnTo>
                  <a:lnTo>
                    <a:pt x="766" y="707"/>
                  </a:lnTo>
                  <a:lnTo>
                    <a:pt x="755" y="703"/>
                  </a:lnTo>
                  <a:lnTo>
                    <a:pt x="762" y="701"/>
                  </a:lnTo>
                  <a:lnTo>
                    <a:pt x="764" y="696"/>
                  </a:lnTo>
                  <a:lnTo>
                    <a:pt x="766" y="690"/>
                  </a:lnTo>
                  <a:lnTo>
                    <a:pt x="762" y="686"/>
                  </a:lnTo>
                  <a:lnTo>
                    <a:pt x="762" y="679"/>
                  </a:lnTo>
                  <a:lnTo>
                    <a:pt x="768" y="679"/>
                  </a:lnTo>
                  <a:lnTo>
                    <a:pt x="770" y="684"/>
                  </a:lnTo>
                  <a:lnTo>
                    <a:pt x="770" y="690"/>
                  </a:lnTo>
                  <a:lnTo>
                    <a:pt x="773" y="696"/>
                  </a:lnTo>
                  <a:lnTo>
                    <a:pt x="770" y="690"/>
                  </a:lnTo>
                  <a:lnTo>
                    <a:pt x="770" y="684"/>
                  </a:lnTo>
                  <a:lnTo>
                    <a:pt x="777" y="684"/>
                  </a:lnTo>
                  <a:lnTo>
                    <a:pt x="781" y="686"/>
                  </a:lnTo>
                  <a:lnTo>
                    <a:pt x="777" y="684"/>
                  </a:lnTo>
                  <a:lnTo>
                    <a:pt x="773" y="682"/>
                  </a:lnTo>
                  <a:lnTo>
                    <a:pt x="766" y="675"/>
                  </a:lnTo>
                  <a:lnTo>
                    <a:pt x="762" y="675"/>
                  </a:lnTo>
                  <a:lnTo>
                    <a:pt x="758" y="684"/>
                  </a:lnTo>
                  <a:lnTo>
                    <a:pt x="745" y="692"/>
                  </a:lnTo>
                  <a:lnTo>
                    <a:pt x="741" y="694"/>
                  </a:lnTo>
                  <a:lnTo>
                    <a:pt x="724" y="692"/>
                  </a:lnTo>
                  <a:lnTo>
                    <a:pt x="711" y="686"/>
                  </a:lnTo>
                  <a:lnTo>
                    <a:pt x="713" y="682"/>
                  </a:lnTo>
                  <a:lnTo>
                    <a:pt x="713" y="679"/>
                  </a:lnTo>
                  <a:lnTo>
                    <a:pt x="711" y="673"/>
                  </a:lnTo>
                  <a:lnTo>
                    <a:pt x="709" y="677"/>
                  </a:lnTo>
                  <a:lnTo>
                    <a:pt x="702" y="682"/>
                  </a:lnTo>
                  <a:lnTo>
                    <a:pt x="696" y="679"/>
                  </a:lnTo>
                  <a:lnTo>
                    <a:pt x="672" y="675"/>
                  </a:lnTo>
                  <a:lnTo>
                    <a:pt x="662" y="677"/>
                  </a:lnTo>
                  <a:lnTo>
                    <a:pt x="645" y="679"/>
                  </a:lnTo>
                  <a:lnTo>
                    <a:pt x="638" y="682"/>
                  </a:lnTo>
                  <a:lnTo>
                    <a:pt x="636" y="682"/>
                  </a:lnTo>
                  <a:lnTo>
                    <a:pt x="632" y="679"/>
                  </a:lnTo>
                  <a:lnTo>
                    <a:pt x="630" y="673"/>
                  </a:lnTo>
                  <a:lnTo>
                    <a:pt x="626" y="669"/>
                  </a:lnTo>
                  <a:lnTo>
                    <a:pt x="615" y="669"/>
                  </a:lnTo>
                  <a:lnTo>
                    <a:pt x="611" y="664"/>
                  </a:lnTo>
                  <a:lnTo>
                    <a:pt x="609" y="658"/>
                  </a:lnTo>
                  <a:lnTo>
                    <a:pt x="611" y="654"/>
                  </a:lnTo>
                  <a:lnTo>
                    <a:pt x="611" y="650"/>
                  </a:lnTo>
                  <a:lnTo>
                    <a:pt x="613" y="643"/>
                  </a:lnTo>
                  <a:lnTo>
                    <a:pt x="617" y="639"/>
                  </a:lnTo>
                  <a:lnTo>
                    <a:pt x="611" y="643"/>
                  </a:lnTo>
                  <a:lnTo>
                    <a:pt x="609" y="647"/>
                  </a:lnTo>
                  <a:lnTo>
                    <a:pt x="604" y="652"/>
                  </a:lnTo>
                  <a:lnTo>
                    <a:pt x="602" y="658"/>
                  </a:lnTo>
                  <a:lnTo>
                    <a:pt x="596" y="660"/>
                  </a:lnTo>
                  <a:lnTo>
                    <a:pt x="592" y="658"/>
                  </a:lnTo>
                  <a:lnTo>
                    <a:pt x="587" y="654"/>
                  </a:lnTo>
                  <a:lnTo>
                    <a:pt x="583" y="654"/>
                  </a:lnTo>
                  <a:lnTo>
                    <a:pt x="583" y="650"/>
                  </a:lnTo>
                  <a:lnTo>
                    <a:pt x="587" y="645"/>
                  </a:lnTo>
                  <a:lnTo>
                    <a:pt x="581" y="645"/>
                  </a:lnTo>
                  <a:lnTo>
                    <a:pt x="577" y="641"/>
                  </a:lnTo>
                  <a:lnTo>
                    <a:pt x="570" y="643"/>
                  </a:lnTo>
                  <a:lnTo>
                    <a:pt x="577" y="635"/>
                  </a:lnTo>
                  <a:lnTo>
                    <a:pt x="564" y="641"/>
                  </a:lnTo>
                  <a:lnTo>
                    <a:pt x="560" y="641"/>
                  </a:lnTo>
                  <a:lnTo>
                    <a:pt x="564" y="637"/>
                  </a:lnTo>
                  <a:lnTo>
                    <a:pt x="574" y="633"/>
                  </a:lnTo>
                  <a:lnTo>
                    <a:pt x="570" y="628"/>
                  </a:lnTo>
                  <a:lnTo>
                    <a:pt x="566" y="633"/>
                  </a:lnTo>
                  <a:lnTo>
                    <a:pt x="562" y="630"/>
                  </a:lnTo>
                  <a:lnTo>
                    <a:pt x="557" y="628"/>
                  </a:lnTo>
                  <a:lnTo>
                    <a:pt x="557" y="622"/>
                  </a:lnTo>
                  <a:lnTo>
                    <a:pt x="560" y="618"/>
                  </a:lnTo>
                  <a:lnTo>
                    <a:pt x="570" y="618"/>
                  </a:lnTo>
                  <a:lnTo>
                    <a:pt x="566" y="615"/>
                  </a:lnTo>
                  <a:lnTo>
                    <a:pt x="562" y="615"/>
                  </a:lnTo>
                  <a:lnTo>
                    <a:pt x="553" y="624"/>
                  </a:lnTo>
                  <a:lnTo>
                    <a:pt x="549" y="624"/>
                  </a:lnTo>
                  <a:lnTo>
                    <a:pt x="543" y="622"/>
                  </a:lnTo>
                  <a:lnTo>
                    <a:pt x="540" y="626"/>
                  </a:lnTo>
                  <a:lnTo>
                    <a:pt x="536" y="622"/>
                  </a:lnTo>
                  <a:lnTo>
                    <a:pt x="536" y="626"/>
                  </a:lnTo>
                  <a:lnTo>
                    <a:pt x="536" y="615"/>
                  </a:lnTo>
                  <a:lnTo>
                    <a:pt x="532" y="620"/>
                  </a:lnTo>
                  <a:lnTo>
                    <a:pt x="532" y="630"/>
                  </a:lnTo>
                  <a:lnTo>
                    <a:pt x="530" y="624"/>
                  </a:lnTo>
                  <a:lnTo>
                    <a:pt x="528" y="628"/>
                  </a:lnTo>
                  <a:lnTo>
                    <a:pt x="521" y="626"/>
                  </a:lnTo>
                  <a:lnTo>
                    <a:pt x="523" y="620"/>
                  </a:lnTo>
                  <a:lnTo>
                    <a:pt x="523" y="615"/>
                  </a:lnTo>
                  <a:lnTo>
                    <a:pt x="528" y="611"/>
                  </a:lnTo>
                  <a:lnTo>
                    <a:pt x="530" y="605"/>
                  </a:lnTo>
                  <a:lnTo>
                    <a:pt x="528" y="609"/>
                  </a:lnTo>
                  <a:lnTo>
                    <a:pt x="523" y="613"/>
                  </a:lnTo>
                  <a:lnTo>
                    <a:pt x="521" y="618"/>
                  </a:lnTo>
                  <a:lnTo>
                    <a:pt x="517" y="613"/>
                  </a:lnTo>
                  <a:lnTo>
                    <a:pt x="511" y="615"/>
                  </a:lnTo>
                  <a:lnTo>
                    <a:pt x="508" y="622"/>
                  </a:lnTo>
                  <a:lnTo>
                    <a:pt x="515" y="618"/>
                  </a:lnTo>
                  <a:lnTo>
                    <a:pt x="515" y="622"/>
                  </a:lnTo>
                  <a:lnTo>
                    <a:pt x="513" y="628"/>
                  </a:lnTo>
                  <a:lnTo>
                    <a:pt x="502" y="633"/>
                  </a:lnTo>
                  <a:lnTo>
                    <a:pt x="506" y="630"/>
                  </a:lnTo>
                  <a:lnTo>
                    <a:pt x="502" y="635"/>
                  </a:lnTo>
                  <a:lnTo>
                    <a:pt x="508" y="635"/>
                  </a:lnTo>
                  <a:lnTo>
                    <a:pt x="508" y="639"/>
                  </a:lnTo>
                  <a:lnTo>
                    <a:pt x="513" y="635"/>
                  </a:lnTo>
                  <a:lnTo>
                    <a:pt x="515" y="641"/>
                  </a:lnTo>
                  <a:lnTo>
                    <a:pt x="513" y="645"/>
                  </a:lnTo>
                  <a:lnTo>
                    <a:pt x="506" y="645"/>
                  </a:lnTo>
                  <a:lnTo>
                    <a:pt x="502" y="650"/>
                  </a:lnTo>
                  <a:lnTo>
                    <a:pt x="508" y="647"/>
                  </a:lnTo>
                  <a:lnTo>
                    <a:pt x="513" y="650"/>
                  </a:lnTo>
                  <a:lnTo>
                    <a:pt x="517" y="645"/>
                  </a:lnTo>
                  <a:lnTo>
                    <a:pt x="521" y="650"/>
                  </a:lnTo>
                  <a:lnTo>
                    <a:pt x="521" y="654"/>
                  </a:lnTo>
                  <a:lnTo>
                    <a:pt x="515" y="656"/>
                  </a:lnTo>
                  <a:lnTo>
                    <a:pt x="513" y="660"/>
                  </a:lnTo>
                  <a:lnTo>
                    <a:pt x="508" y="664"/>
                  </a:lnTo>
                  <a:lnTo>
                    <a:pt x="513" y="664"/>
                  </a:lnTo>
                  <a:lnTo>
                    <a:pt x="513" y="669"/>
                  </a:lnTo>
                  <a:lnTo>
                    <a:pt x="508" y="673"/>
                  </a:lnTo>
                  <a:lnTo>
                    <a:pt x="506" y="679"/>
                  </a:lnTo>
                  <a:lnTo>
                    <a:pt x="504" y="679"/>
                  </a:lnTo>
                  <a:lnTo>
                    <a:pt x="500" y="684"/>
                  </a:lnTo>
                  <a:lnTo>
                    <a:pt x="487" y="677"/>
                  </a:lnTo>
                  <a:lnTo>
                    <a:pt x="485" y="677"/>
                  </a:lnTo>
                  <a:lnTo>
                    <a:pt x="483" y="682"/>
                  </a:lnTo>
                  <a:lnTo>
                    <a:pt x="481" y="671"/>
                  </a:lnTo>
                  <a:lnTo>
                    <a:pt x="479" y="677"/>
                  </a:lnTo>
                  <a:lnTo>
                    <a:pt x="474" y="682"/>
                  </a:lnTo>
                  <a:lnTo>
                    <a:pt x="472" y="686"/>
                  </a:lnTo>
                  <a:lnTo>
                    <a:pt x="472" y="690"/>
                  </a:lnTo>
                  <a:lnTo>
                    <a:pt x="470" y="686"/>
                  </a:lnTo>
                  <a:lnTo>
                    <a:pt x="470" y="679"/>
                  </a:lnTo>
                  <a:lnTo>
                    <a:pt x="468" y="686"/>
                  </a:lnTo>
                  <a:lnTo>
                    <a:pt x="466" y="690"/>
                  </a:lnTo>
                  <a:lnTo>
                    <a:pt x="466" y="694"/>
                  </a:lnTo>
                  <a:lnTo>
                    <a:pt x="464" y="690"/>
                  </a:lnTo>
                  <a:lnTo>
                    <a:pt x="459" y="688"/>
                  </a:lnTo>
                  <a:lnTo>
                    <a:pt x="462" y="694"/>
                  </a:lnTo>
                  <a:lnTo>
                    <a:pt x="459" y="696"/>
                  </a:lnTo>
                  <a:lnTo>
                    <a:pt x="453" y="699"/>
                  </a:lnTo>
                  <a:lnTo>
                    <a:pt x="451" y="703"/>
                  </a:lnTo>
                  <a:lnTo>
                    <a:pt x="451" y="699"/>
                  </a:lnTo>
                  <a:lnTo>
                    <a:pt x="453" y="694"/>
                  </a:lnTo>
                  <a:lnTo>
                    <a:pt x="447" y="703"/>
                  </a:lnTo>
                  <a:lnTo>
                    <a:pt x="442" y="699"/>
                  </a:lnTo>
                  <a:lnTo>
                    <a:pt x="442" y="705"/>
                  </a:lnTo>
                  <a:lnTo>
                    <a:pt x="432" y="711"/>
                  </a:lnTo>
                  <a:lnTo>
                    <a:pt x="432" y="718"/>
                  </a:lnTo>
                  <a:lnTo>
                    <a:pt x="421" y="713"/>
                  </a:lnTo>
                  <a:lnTo>
                    <a:pt x="425" y="718"/>
                  </a:lnTo>
                  <a:lnTo>
                    <a:pt x="419" y="718"/>
                  </a:lnTo>
                  <a:lnTo>
                    <a:pt x="415" y="716"/>
                  </a:lnTo>
                  <a:lnTo>
                    <a:pt x="411" y="720"/>
                  </a:lnTo>
                  <a:lnTo>
                    <a:pt x="406" y="720"/>
                  </a:lnTo>
                  <a:lnTo>
                    <a:pt x="402" y="716"/>
                  </a:lnTo>
                  <a:lnTo>
                    <a:pt x="400" y="709"/>
                  </a:lnTo>
                  <a:lnTo>
                    <a:pt x="402" y="705"/>
                  </a:lnTo>
                  <a:lnTo>
                    <a:pt x="408" y="703"/>
                  </a:lnTo>
                  <a:lnTo>
                    <a:pt x="413" y="703"/>
                  </a:lnTo>
                  <a:lnTo>
                    <a:pt x="419" y="705"/>
                  </a:lnTo>
                  <a:lnTo>
                    <a:pt x="417" y="699"/>
                  </a:lnTo>
                  <a:lnTo>
                    <a:pt x="423" y="696"/>
                  </a:lnTo>
                  <a:lnTo>
                    <a:pt x="430" y="688"/>
                  </a:lnTo>
                  <a:lnTo>
                    <a:pt x="425" y="688"/>
                  </a:lnTo>
                  <a:lnTo>
                    <a:pt x="419" y="692"/>
                  </a:lnTo>
                  <a:lnTo>
                    <a:pt x="413" y="692"/>
                  </a:lnTo>
                  <a:lnTo>
                    <a:pt x="408" y="690"/>
                  </a:lnTo>
                  <a:lnTo>
                    <a:pt x="406" y="684"/>
                  </a:lnTo>
                  <a:lnTo>
                    <a:pt x="411" y="671"/>
                  </a:lnTo>
                  <a:lnTo>
                    <a:pt x="415" y="667"/>
                  </a:lnTo>
                  <a:lnTo>
                    <a:pt x="421" y="658"/>
                  </a:lnTo>
                  <a:lnTo>
                    <a:pt x="423" y="652"/>
                  </a:lnTo>
                  <a:lnTo>
                    <a:pt x="425" y="650"/>
                  </a:lnTo>
                  <a:lnTo>
                    <a:pt x="428" y="641"/>
                  </a:lnTo>
                  <a:lnTo>
                    <a:pt x="425" y="630"/>
                  </a:lnTo>
                  <a:lnTo>
                    <a:pt x="436" y="626"/>
                  </a:lnTo>
                  <a:lnTo>
                    <a:pt x="447" y="618"/>
                  </a:lnTo>
                  <a:lnTo>
                    <a:pt x="453" y="615"/>
                  </a:lnTo>
                  <a:lnTo>
                    <a:pt x="462" y="622"/>
                  </a:lnTo>
                  <a:lnTo>
                    <a:pt x="466" y="622"/>
                  </a:lnTo>
                  <a:lnTo>
                    <a:pt x="470" y="620"/>
                  </a:lnTo>
                  <a:lnTo>
                    <a:pt x="474" y="622"/>
                  </a:lnTo>
                  <a:lnTo>
                    <a:pt x="489" y="626"/>
                  </a:lnTo>
                  <a:lnTo>
                    <a:pt x="485" y="622"/>
                  </a:lnTo>
                  <a:lnTo>
                    <a:pt x="477" y="618"/>
                  </a:lnTo>
                  <a:lnTo>
                    <a:pt x="466" y="609"/>
                  </a:lnTo>
                  <a:lnTo>
                    <a:pt x="466" y="605"/>
                  </a:lnTo>
                  <a:lnTo>
                    <a:pt x="470" y="601"/>
                  </a:lnTo>
                  <a:lnTo>
                    <a:pt x="481" y="594"/>
                  </a:lnTo>
                  <a:lnTo>
                    <a:pt x="485" y="590"/>
                  </a:lnTo>
                  <a:lnTo>
                    <a:pt x="481" y="590"/>
                  </a:lnTo>
                  <a:lnTo>
                    <a:pt x="477" y="590"/>
                  </a:lnTo>
                  <a:lnTo>
                    <a:pt x="472" y="594"/>
                  </a:lnTo>
                  <a:lnTo>
                    <a:pt x="466" y="603"/>
                  </a:lnTo>
                  <a:lnTo>
                    <a:pt x="462" y="603"/>
                  </a:lnTo>
                  <a:lnTo>
                    <a:pt x="457" y="603"/>
                  </a:lnTo>
                  <a:lnTo>
                    <a:pt x="453" y="601"/>
                  </a:lnTo>
                  <a:lnTo>
                    <a:pt x="453" y="594"/>
                  </a:lnTo>
                  <a:lnTo>
                    <a:pt x="451" y="594"/>
                  </a:lnTo>
                  <a:lnTo>
                    <a:pt x="451" y="598"/>
                  </a:lnTo>
                  <a:lnTo>
                    <a:pt x="438" y="605"/>
                  </a:lnTo>
                  <a:lnTo>
                    <a:pt x="436" y="609"/>
                  </a:lnTo>
                  <a:lnTo>
                    <a:pt x="430" y="611"/>
                  </a:lnTo>
                  <a:lnTo>
                    <a:pt x="423" y="613"/>
                  </a:lnTo>
                  <a:lnTo>
                    <a:pt x="419" y="615"/>
                  </a:lnTo>
                  <a:lnTo>
                    <a:pt x="415" y="622"/>
                  </a:lnTo>
                  <a:lnTo>
                    <a:pt x="415" y="626"/>
                  </a:lnTo>
                  <a:lnTo>
                    <a:pt x="411" y="628"/>
                  </a:lnTo>
                  <a:lnTo>
                    <a:pt x="400" y="637"/>
                  </a:lnTo>
                  <a:lnTo>
                    <a:pt x="398" y="641"/>
                  </a:lnTo>
                  <a:lnTo>
                    <a:pt x="398" y="647"/>
                  </a:lnTo>
                  <a:lnTo>
                    <a:pt x="389" y="654"/>
                  </a:lnTo>
                  <a:lnTo>
                    <a:pt x="383" y="654"/>
                  </a:lnTo>
                  <a:lnTo>
                    <a:pt x="381" y="650"/>
                  </a:lnTo>
                  <a:lnTo>
                    <a:pt x="374" y="650"/>
                  </a:lnTo>
                  <a:lnTo>
                    <a:pt x="379" y="654"/>
                  </a:lnTo>
                  <a:lnTo>
                    <a:pt x="383" y="658"/>
                  </a:lnTo>
                  <a:lnTo>
                    <a:pt x="387" y="662"/>
                  </a:lnTo>
                  <a:lnTo>
                    <a:pt x="383" y="673"/>
                  </a:lnTo>
                  <a:lnTo>
                    <a:pt x="376" y="675"/>
                  </a:lnTo>
                  <a:lnTo>
                    <a:pt x="372" y="673"/>
                  </a:lnTo>
                  <a:lnTo>
                    <a:pt x="366" y="675"/>
                  </a:lnTo>
                  <a:lnTo>
                    <a:pt x="370" y="677"/>
                  </a:lnTo>
                  <a:lnTo>
                    <a:pt x="372" y="682"/>
                  </a:lnTo>
                  <a:lnTo>
                    <a:pt x="368" y="686"/>
                  </a:lnTo>
                  <a:lnTo>
                    <a:pt x="362" y="688"/>
                  </a:lnTo>
                  <a:lnTo>
                    <a:pt x="362" y="682"/>
                  </a:lnTo>
                  <a:lnTo>
                    <a:pt x="357" y="686"/>
                  </a:lnTo>
                  <a:lnTo>
                    <a:pt x="351" y="686"/>
                  </a:lnTo>
                  <a:lnTo>
                    <a:pt x="349" y="690"/>
                  </a:lnTo>
                  <a:lnTo>
                    <a:pt x="349" y="696"/>
                  </a:lnTo>
                  <a:lnTo>
                    <a:pt x="338" y="699"/>
                  </a:lnTo>
                  <a:lnTo>
                    <a:pt x="336" y="703"/>
                  </a:lnTo>
                  <a:lnTo>
                    <a:pt x="336" y="709"/>
                  </a:lnTo>
                  <a:lnTo>
                    <a:pt x="332" y="713"/>
                  </a:lnTo>
                  <a:lnTo>
                    <a:pt x="332" y="718"/>
                  </a:lnTo>
                  <a:lnTo>
                    <a:pt x="338" y="716"/>
                  </a:lnTo>
                  <a:lnTo>
                    <a:pt x="342" y="718"/>
                  </a:lnTo>
                  <a:lnTo>
                    <a:pt x="347" y="718"/>
                  </a:lnTo>
                  <a:lnTo>
                    <a:pt x="351" y="724"/>
                  </a:lnTo>
                  <a:lnTo>
                    <a:pt x="355" y="726"/>
                  </a:lnTo>
                  <a:lnTo>
                    <a:pt x="359" y="733"/>
                  </a:lnTo>
                  <a:lnTo>
                    <a:pt x="351" y="741"/>
                  </a:lnTo>
                  <a:lnTo>
                    <a:pt x="345" y="743"/>
                  </a:lnTo>
                  <a:lnTo>
                    <a:pt x="338" y="743"/>
                  </a:lnTo>
                  <a:lnTo>
                    <a:pt x="336" y="748"/>
                  </a:lnTo>
                  <a:lnTo>
                    <a:pt x="330" y="750"/>
                  </a:lnTo>
                  <a:lnTo>
                    <a:pt x="332" y="756"/>
                  </a:lnTo>
                  <a:lnTo>
                    <a:pt x="327" y="758"/>
                  </a:lnTo>
                  <a:lnTo>
                    <a:pt x="321" y="760"/>
                  </a:lnTo>
                  <a:lnTo>
                    <a:pt x="327" y="760"/>
                  </a:lnTo>
                  <a:lnTo>
                    <a:pt x="327" y="765"/>
                  </a:lnTo>
                  <a:lnTo>
                    <a:pt x="323" y="769"/>
                  </a:lnTo>
                  <a:lnTo>
                    <a:pt x="319" y="771"/>
                  </a:lnTo>
                  <a:lnTo>
                    <a:pt x="313" y="769"/>
                  </a:lnTo>
                  <a:lnTo>
                    <a:pt x="313" y="775"/>
                  </a:lnTo>
                  <a:lnTo>
                    <a:pt x="308" y="773"/>
                  </a:lnTo>
                  <a:lnTo>
                    <a:pt x="304" y="773"/>
                  </a:lnTo>
                  <a:lnTo>
                    <a:pt x="298" y="777"/>
                  </a:lnTo>
                  <a:lnTo>
                    <a:pt x="296" y="782"/>
                  </a:lnTo>
                  <a:lnTo>
                    <a:pt x="289" y="782"/>
                  </a:lnTo>
                  <a:lnTo>
                    <a:pt x="289" y="788"/>
                  </a:lnTo>
                  <a:lnTo>
                    <a:pt x="283" y="786"/>
                  </a:lnTo>
                  <a:lnTo>
                    <a:pt x="279" y="784"/>
                  </a:lnTo>
                  <a:lnTo>
                    <a:pt x="279" y="788"/>
                  </a:lnTo>
                  <a:lnTo>
                    <a:pt x="274" y="792"/>
                  </a:lnTo>
                  <a:lnTo>
                    <a:pt x="272" y="797"/>
                  </a:lnTo>
                  <a:lnTo>
                    <a:pt x="268" y="797"/>
                  </a:lnTo>
                  <a:lnTo>
                    <a:pt x="264" y="797"/>
                  </a:lnTo>
                  <a:lnTo>
                    <a:pt x="264" y="801"/>
                  </a:lnTo>
                  <a:lnTo>
                    <a:pt x="259" y="799"/>
                  </a:lnTo>
                  <a:lnTo>
                    <a:pt x="247" y="805"/>
                  </a:lnTo>
                  <a:lnTo>
                    <a:pt x="251" y="807"/>
                  </a:lnTo>
                  <a:lnTo>
                    <a:pt x="249" y="811"/>
                  </a:lnTo>
                  <a:lnTo>
                    <a:pt x="249" y="818"/>
                  </a:lnTo>
                  <a:lnTo>
                    <a:pt x="234" y="828"/>
                  </a:lnTo>
                  <a:lnTo>
                    <a:pt x="230" y="822"/>
                  </a:lnTo>
                  <a:lnTo>
                    <a:pt x="227" y="826"/>
                  </a:lnTo>
                  <a:lnTo>
                    <a:pt x="221" y="828"/>
                  </a:lnTo>
                  <a:lnTo>
                    <a:pt x="221" y="831"/>
                  </a:lnTo>
                  <a:lnTo>
                    <a:pt x="217" y="831"/>
                  </a:lnTo>
                  <a:lnTo>
                    <a:pt x="212" y="828"/>
                  </a:lnTo>
                  <a:lnTo>
                    <a:pt x="212" y="833"/>
                  </a:lnTo>
                  <a:lnTo>
                    <a:pt x="208" y="837"/>
                  </a:lnTo>
                  <a:lnTo>
                    <a:pt x="202" y="839"/>
                  </a:lnTo>
                  <a:lnTo>
                    <a:pt x="198" y="835"/>
                  </a:lnTo>
                  <a:lnTo>
                    <a:pt x="193" y="839"/>
                  </a:lnTo>
                  <a:lnTo>
                    <a:pt x="198" y="841"/>
                  </a:lnTo>
                  <a:lnTo>
                    <a:pt x="195" y="848"/>
                  </a:lnTo>
                  <a:lnTo>
                    <a:pt x="191" y="843"/>
                  </a:lnTo>
                  <a:lnTo>
                    <a:pt x="185" y="846"/>
                  </a:lnTo>
                  <a:lnTo>
                    <a:pt x="181" y="843"/>
                  </a:lnTo>
                  <a:lnTo>
                    <a:pt x="170" y="852"/>
                  </a:lnTo>
                  <a:lnTo>
                    <a:pt x="176" y="850"/>
                  </a:lnTo>
                  <a:lnTo>
                    <a:pt x="181" y="854"/>
                  </a:lnTo>
                  <a:lnTo>
                    <a:pt x="176" y="858"/>
                  </a:lnTo>
                  <a:lnTo>
                    <a:pt x="181" y="860"/>
                  </a:lnTo>
                  <a:lnTo>
                    <a:pt x="176" y="860"/>
                  </a:lnTo>
                  <a:lnTo>
                    <a:pt x="172" y="869"/>
                  </a:lnTo>
                  <a:lnTo>
                    <a:pt x="170" y="869"/>
                  </a:lnTo>
                  <a:lnTo>
                    <a:pt x="168" y="865"/>
                  </a:lnTo>
                  <a:lnTo>
                    <a:pt x="172" y="860"/>
                  </a:lnTo>
                  <a:lnTo>
                    <a:pt x="166" y="863"/>
                  </a:lnTo>
                  <a:lnTo>
                    <a:pt x="164" y="867"/>
                  </a:lnTo>
                  <a:lnTo>
                    <a:pt x="157" y="869"/>
                  </a:lnTo>
                  <a:lnTo>
                    <a:pt x="153" y="871"/>
                  </a:lnTo>
                  <a:lnTo>
                    <a:pt x="149" y="869"/>
                  </a:lnTo>
                  <a:lnTo>
                    <a:pt x="138" y="873"/>
                  </a:lnTo>
                  <a:lnTo>
                    <a:pt x="132" y="882"/>
                  </a:lnTo>
                  <a:lnTo>
                    <a:pt x="125" y="886"/>
                  </a:lnTo>
                  <a:lnTo>
                    <a:pt x="129" y="882"/>
                  </a:lnTo>
                  <a:lnTo>
                    <a:pt x="129" y="875"/>
                  </a:lnTo>
                  <a:lnTo>
                    <a:pt x="132" y="871"/>
                  </a:lnTo>
                  <a:lnTo>
                    <a:pt x="127" y="869"/>
                  </a:lnTo>
                  <a:lnTo>
                    <a:pt x="119" y="871"/>
                  </a:lnTo>
                  <a:lnTo>
                    <a:pt x="117" y="875"/>
                  </a:lnTo>
                  <a:lnTo>
                    <a:pt x="110" y="877"/>
                  </a:lnTo>
                  <a:lnTo>
                    <a:pt x="106" y="875"/>
                  </a:lnTo>
                  <a:lnTo>
                    <a:pt x="100" y="884"/>
                  </a:lnTo>
                  <a:lnTo>
                    <a:pt x="98" y="880"/>
                  </a:lnTo>
                  <a:lnTo>
                    <a:pt x="93" y="880"/>
                  </a:lnTo>
                  <a:lnTo>
                    <a:pt x="93" y="884"/>
                  </a:lnTo>
                  <a:lnTo>
                    <a:pt x="89" y="884"/>
                  </a:lnTo>
                  <a:lnTo>
                    <a:pt x="85" y="882"/>
                  </a:lnTo>
                  <a:lnTo>
                    <a:pt x="78" y="884"/>
                  </a:lnTo>
                  <a:lnTo>
                    <a:pt x="74" y="886"/>
                  </a:lnTo>
                  <a:lnTo>
                    <a:pt x="68" y="884"/>
                  </a:lnTo>
                  <a:lnTo>
                    <a:pt x="68" y="877"/>
                  </a:lnTo>
                  <a:lnTo>
                    <a:pt x="70" y="873"/>
                  </a:lnTo>
                  <a:lnTo>
                    <a:pt x="76" y="875"/>
                  </a:lnTo>
                  <a:lnTo>
                    <a:pt x="74" y="869"/>
                  </a:lnTo>
                  <a:lnTo>
                    <a:pt x="68" y="869"/>
                  </a:lnTo>
                  <a:lnTo>
                    <a:pt x="63" y="871"/>
                  </a:lnTo>
                  <a:lnTo>
                    <a:pt x="57" y="882"/>
                  </a:lnTo>
                  <a:lnTo>
                    <a:pt x="53" y="884"/>
                  </a:lnTo>
                  <a:lnTo>
                    <a:pt x="49" y="886"/>
                  </a:lnTo>
                  <a:lnTo>
                    <a:pt x="49" y="890"/>
                  </a:lnTo>
                  <a:lnTo>
                    <a:pt x="42" y="892"/>
                  </a:lnTo>
                  <a:lnTo>
                    <a:pt x="36" y="897"/>
                  </a:lnTo>
                  <a:lnTo>
                    <a:pt x="32" y="895"/>
                  </a:lnTo>
                  <a:lnTo>
                    <a:pt x="32" y="888"/>
                  </a:lnTo>
                  <a:lnTo>
                    <a:pt x="32" y="877"/>
                  </a:lnTo>
                  <a:lnTo>
                    <a:pt x="25" y="880"/>
                  </a:lnTo>
                  <a:lnTo>
                    <a:pt x="27" y="884"/>
                  </a:lnTo>
                  <a:lnTo>
                    <a:pt x="25" y="890"/>
                  </a:lnTo>
                  <a:lnTo>
                    <a:pt x="25" y="895"/>
                  </a:lnTo>
                  <a:lnTo>
                    <a:pt x="14" y="895"/>
                  </a:lnTo>
                  <a:lnTo>
                    <a:pt x="14" y="890"/>
                  </a:lnTo>
                  <a:lnTo>
                    <a:pt x="12" y="884"/>
                  </a:lnTo>
                  <a:lnTo>
                    <a:pt x="8" y="882"/>
                  </a:lnTo>
                  <a:lnTo>
                    <a:pt x="6" y="888"/>
                  </a:lnTo>
                  <a:lnTo>
                    <a:pt x="10" y="892"/>
                  </a:lnTo>
                  <a:lnTo>
                    <a:pt x="4" y="897"/>
                  </a:lnTo>
                  <a:lnTo>
                    <a:pt x="0" y="899"/>
                  </a:lnTo>
                  <a:lnTo>
                    <a:pt x="0" y="892"/>
                  </a:lnTo>
                  <a:lnTo>
                    <a:pt x="4" y="888"/>
                  </a:lnTo>
                  <a:lnTo>
                    <a:pt x="4" y="884"/>
                  </a:lnTo>
                  <a:lnTo>
                    <a:pt x="8" y="880"/>
                  </a:lnTo>
                  <a:lnTo>
                    <a:pt x="12" y="877"/>
                  </a:lnTo>
                  <a:lnTo>
                    <a:pt x="19" y="882"/>
                  </a:lnTo>
                  <a:lnTo>
                    <a:pt x="21" y="875"/>
                  </a:lnTo>
                  <a:lnTo>
                    <a:pt x="32" y="875"/>
                  </a:lnTo>
                  <a:lnTo>
                    <a:pt x="36" y="871"/>
                  </a:lnTo>
                  <a:lnTo>
                    <a:pt x="38" y="867"/>
                  </a:lnTo>
                  <a:lnTo>
                    <a:pt x="49" y="858"/>
                  </a:lnTo>
                  <a:lnTo>
                    <a:pt x="66" y="850"/>
                  </a:lnTo>
                  <a:lnTo>
                    <a:pt x="80" y="850"/>
                  </a:lnTo>
                  <a:lnTo>
                    <a:pt x="85" y="852"/>
                  </a:lnTo>
                  <a:lnTo>
                    <a:pt x="91" y="854"/>
                  </a:lnTo>
                  <a:lnTo>
                    <a:pt x="89" y="858"/>
                  </a:lnTo>
                  <a:lnTo>
                    <a:pt x="91" y="865"/>
                  </a:lnTo>
                  <a:lnTo>
                    <a:pt x="95" y="867"/>
                  </a:lnTo>
                  <a:lnTo>
                    <a:pt x="95" y="863"/>
                  </a:lnTo>
                  <a:lnTo>
                    <a:pt x="102" y="863"/>
                  </a:lnTo>
                  <a:lnTo>
                    <a:pt x="106" y="867"/>
                  </a:lnTo>
                  <a:lnTo>
                    <a:pt x="110" y="869"/>
                  </a:lnTo>
                  <a:lnTo>
                    <a:pt x="110" y="865"/>
                  </a:lnTo>
                  <a:lnTo>
                    <a:pt x="106" y="860"/>
                  </a:lnTo>
                  <a:lnTo>
                    <a:pt x="106" y="856"/>
                  </a:lnTo>
                  <a:lnTo>
                    <a:pt x="110" y="846"/>
                  </a:lnTo>
                  <a:lnTo>
                    <a:pt x="115" y="841"/>
                  </a:lnTo>
                  <a:lnTo>
                    <a:pt x="125" y="835"/>
                  </a:lnTo>
                  <a:lnTo>
                    <a:pt x="129" y="833"/>
                  </a:lnTo>
                  <a:lnTo>
                    <a:pt x="134" y="828"/>
                  </a:lnTo>
                  <a:lnTo>
                    <a:pt x="144" y="826"/>
                  </a:lnTo>
                  <a:lnTo>
                    <a:pt x="157" y="824"/>
                  </a:lnTo>
                  <a:lnTo>
                    <a:pt x="159" y="820"/>
                  </a:lnTo>
                  <a:lnTo>
                    <a:pt x="166" y="818"/>
                  </a:lnTo>
                  <a:lnTo>
                    <a:pt x="170" y="822"/>
                  </a:lnTo>
                  <a:lnTo>
                    <a:pt x="174" y="818"/>
                  </a:lnTo>
                  <a:lnTo>
                    <a:pt x="176" y="814"/>
                  </a:lnTo>
                  <a:lnTo>
                    <a:pt x="178" y="809"/>
                  </a:lnTo>
                  <a:lnTo>
                    <a:pt x="185" y="801"/>
                  </a:lnTo>
                  <a:lnTo>
                    <a:pt x="191" y="797"/>
                  </a:lnTo>
                  <a:lnTo>
                    <a:pt x="208" y="786"/>
                  </a:lnTo>
                  <a:lnTo>
                    <a:pt x="212" y="786"/>
                  </a:lnTo>
                  <a:lnTo>
                    <a:pt x="212" y="790"/>
                  </a:lnTo>
                  <a:lnTo>
                    <a:pt x="219" y="792"/>
                  </a:lnTo>
                  <a:lnTo>
                    <a:pt x="223" y="788"/>
                  </a:lnTo>
                  <a:lnTo>
                    <a:pt x="217" y="790"/>
                  </a:lnTo>
                  <a:lnTo>
                    <a:pt x="217" y="784"/>
                  </a:lnTo>
                  <a:lnTo>
                    <a:pt x="215" y="779"/>
                  </a:lnTo>
                  <a:lnTo>
                    <a:pt x="217" y="769"/>
                  </a:lnTo>
                  <a:lnTo>
                    <a:pt x="221" y="754"/>
                  </a:lnTo>
                  <a:lnTo>
                    <a:pt x="227" y="752"/>
                  </a:lnTo>
                  <a:lnTo>
                    <a:pt x="234" y="752"/>
                  </a:lnTo>
                  <a:lnTo>
                    <a:pt x="236" y="754"/>
                  </a:lnTo>
                  <a:lnTo>
                    <a:pt x="232" y="750"/>
                  </a:lnTo>
                  <a:lnTo>
                    <a:pt x="227" y="750"/>
                  </a:lnTo>
                  <a:lnTo>
                    <a:pt x="225" y="743"/>
                  </a:lnTo>
                  <a:lnTo>
                    <a:pt x="227" y="739"/>
                  </a:lnTo>
                  <a:lnTo>
                    <a:pt x="230" y="735"/>
                  </a:lnTo>
                  <a:lnTo>
                    <a:pt x="236" y="731"/>
                  </a:lnTo>
                  <a:lnTo>
                    <a:pt x="238" y="726"/>
                  </a:lnTo>
                  <a:lnTo>
                    <a:pt x="249" y="722"/>
                  </a:lnTo>
                  <a:lnTo>
                    <a:pt x="249" y="716"/>
                  </a:lnTo>
                  <a:lnTo>
                    <a:pt x="249" y="711"/>
                  </a:lnTo>
                  <a:lnTo>
                    <a:pt x="255" y="707"/>
                  </a:lnTo>
                  <a:lnTo>
                    <a:pt x="255" y="703"/>
                  </a:lnTo>
                  <a:lnTo>
                    <a:pt x="257" y="699"/>
                  </a:lnTo>
                  <a:lnTo>
                    <a:pt x="255" y="703"/>
                  </a:lnTo>
                  <a:lnTo>
                    <a:pt x="255" y="703"/>
                  </a:lnTo>
                  <a:lnTo>
                    <a:pt x="251" y="707"/>
                  </a:lnTo>
                  <a:lnTo>
                    <a:pt x="247" y="711"/>
                  </a:lnTo>
                  <a:lnTo>
                    <a:pt x="240" y="713"/>
                  </a:lnTo>
                  <a:lnTo>
                    <a:pt x="225" y="718"/>
                  </a:lnTo>
                  <a:lnTo>
                    <a:pt x="212" y="722"/>
                  </a:lnTo>
                  <a:lnTo>
                    <a:pt x="208" y="722"/>
                  </a:lnTo>
                  <a:lnTo>
                    <a:pt x="206" y="718"/>
                  </a:lnTo>
                  <a:lnTo>
                    <a:pt x="206" y="713"/>
                  </a:lnTo>
                  <a:lnTo>
                    <a:pt x="202" y="709"/>
                  </a:lnTo>
                  <a:lnTo>
                    <a:pt x="206" y="701"/>
                  </a:lnTo>
                  <a:lnTo>
                    <a:pt x="212" y="699"/>
                  </a:lnTo>
                  <a:lnTo>
                    <a:pt x="217" y="701"/>
                  </a:lnTo>
                  <a:lnTo>
                    <a:pt x="217" y="705"/>
                  </a:lnTo>
                  <a:lnTo>
                    <a:pt x="219" y="707"/>
                  </a:lnTo>
                  <a:lnTo>
                    <a:pt x="219" y="701"/>
                  </a:lnTo>
                  <a:lnTo>
                    <a:pt x="208" y="694"/>
                  </a:lnTo>
                  <a:lnTo>
                    <a:pt x="206" y="688"/>
                  </a:lnTo>
                  <a:lnTo>
                    <a:pt x="208" y="692"/>
                  </a:lnTo>
                  <a:lnTo>
                    <a:pt x="202" y="701"/>
                  </a:lnTo>
                  <a:lnTo>
                    <a:pt x="198" y="699"/>
                  </a:lnTo>
                  <a:lnTo>
                    <a:pt x="195" y="709"/>
                  </a:lnTo>
                  <a:lnTo>
                    <a:pt x="191" y="711"/>
                  </a:lnTo>
                  <a:lnTo>
                    <a:pt x="191" y="720"/>
                  </a:lnTo>
                  <a:lnTo>
                    <a:pt x="193" y="726"/>
                  </a:lnTo>
                  <a:lnTo>
                    <a:pt x="189" y="731"/>
                  </a:lnTo>
                  <a:lnTo>
                    <a:pt x="185" y="728"/>
                  </a:lnTo>
                  <a:lnTo>
                    <a:pt x="183" y="726"/>
                  </a:lnTo>
                  <a:lnTo>
                    <a:pt x="176" y="705"/>
                  </a:lnTo>
                  <a:lnTo>
                    <a:pt x="172" y="701"/>
                  </a:lnTo>
                  <a:lnTo>
                    <a:pt x="172" y="694"/>
                  </a:lnTo>
                  <a:lnTo>
                    <a:pt x="166" y="699"/>
                  </a:lnTo>
                  <a:lnTo>
                    <a:pt x="161" y="701"/>
                  </a:lnTo>
                  <a:lnTo>
                    <a:pt x="161" y="694"/>
                  </a:lnTo>
                  <a:lnTo>
                    <a:pt x="157" y="692"/>
                  </a:lnTo>
                  <a:lnTo>
                    <a:pt x="155" y="686"/>
                  </a:lnTo>
                  <a:lnTo>
                    <a:pt x="151" y="684"/>
                  </a:lnTo>
                  <a:lnTo>
                    <a:pt x="138" y="688"/>
                  </a:lnTo>
                  <a:lnTo>
                    <a:pt x="134" y="688"/>
                  </a:lnTo>
                  <a:lnTo>
                    <a:pt x="127" y="690"/>
                  </a:lnTo>
                  <a:lnTo>
                    <a:pt x="123" y="690"/>
                  </a:lnTo>
                  <a:lnTo>
                    <a:pt x="119" y="694"/>
                  </a:lnTo>
                  <a:lnTo>
                    <a:pt x="106" y="701"/>
                  </a:lnTo>
                  <a:lnTo>
                    <a:pt x="102" y="696"/>
                  </a:lnTo>
                  <a:lnTo>
                    <a:pt x="98" y="694"/>
                  </a:lnTo>
                  <a:lnTo>
                    <a:pt x="102" y="694"/>
                  </a:lnTo>
                  <a:lnTo>
                    <a:pt x="106" y="690"/>
                  </a:lnTo>
                  <a:lnTo>
                    <a:pt x="108" y="686"/>
                  </a:lnTo>
                  <a:lnTo>
                    <a:pt x="108" y="675"/>
                  </a:lnTo>
                  <a:lnTo>
                    <a:pt x="115" y="673"/>
                  </a:lnTo>
                  <a:lnTo>
                    <a:pt x="106" y="662"/>
                  </a:lnTo>
                  <a:lnTo>
                    <a:pt x="106" y="658"/>
                  </a:lnTo>
                  <a:lnTo>
                    <a:pt x="119" y="645"/>
                  </a:lnTo>
                  <a:lnTo>
                    <a:pt x="115" y="624"/>
                  </a:lnTo>
                  <a:lnTo>
                    <a:pt x="117" y="620"/>
                  </a:lnTo>
                  <a:lnTo>
                    <a:pt x="115" y="615"/>
                  </a:lnTo>
                  <a:lnTo>
                    <a:pt x="115" y="611"/>
                  </a:lnTo>
                  <a:lnTo>
                    <a:pt x="115" y="607"/>
                  </a:lnTo>
                  <a:lnTo>
                    <a:pt x="112" y="601"/>
                  </a:lnTo>
                  <a:lnTo>
                    <a:pt x="115" y="596"/>
                  </a:lnTo>
                  <a:lnTo>
                    <a:pt x="121" y="586"/>
                  </a:lnTo>
                  <a:lnTo>
                    <a:pt x="123" y="581"/>
                  </a:lnTo>
                  <a:lnTo>
                    <a:pt x="129" y="581"/>
                  </a:lnTo>
                  <a:lnTo>
                    <a:pt x="134" y="579"/>
                  </a:lnTo>
                  <a:lnTo>
                    <a:pt x="127" y="579"/>
                  </a:lnTo>
                  <a:lnTo>
                    <a:pt x="125" y="575"/>
                  </a:lnTo>
                  <a:lnTo>
                    <a:pt x="125" y="579"/>
                  </a:lnTo>
                  <a:lnTo>
                    <a:pt x="121" y="584"/>
                  </a:lnTo>
                  <a:lnTo>
                    <a:pt x="115" y="592"/>
                  </a:lnTo>
                  <a:lnTo>
                    <a:pt x="108" y="594"/>
                  </a:lnTo>
                  <a:lnTo>
                    <a:pt x="104" y="598"/>
                  </a:lnTo>
                  <a:lnTo>
                    <a:pt x="110" y="603"/>
                  </a:lnTo>
                  <a:lnTo>
                    <a:pt x="106" y="611"/>
                  </a:lnTo>
                  <a:lnTo>
                    <a:pt x="104" y="613"/>
                  </a:lnTo>
                  <a:lnTo>
                    <a:pt x="100" y="613"/>
                  </a:lnTo>
                  <a:lnTo>
                    <a:pt x="98" y="611"/>
                  </a:lnTo>
                  <a:lnTo>
                    <a:pt x="93" y="615"/>
                  </a:lnTo>
                  <a:lnTo>
                    <a:pt x="87" y="618"/>
                  </a:lnTo>
                  <a:lnTo>
                    <a:pt x="76" y="618"/>
                  </a:lnTo>
                  <a:lnTo>
                    <a:pt x="68" y="615"/>
                  </a:lnTo>
                  <a:lnTo>
                    <a:pt x="57" y="611"/>
                  </a:lnTo>
                  <a:lnTo>
                    <a:pt x="57" y="605"/>
                  </a:lnTo>
                  <a:lnTo>
                    <a:pt x="61" y="601"/>
                  </a:lnTo>
                  <a:lnTo>
                    <a:pt x="57" y="596"/>
                  </a:lnTo>
                  <a:lnTo>
                    <a:pt x="53" y="590"/>
                  </a:lnTo>
                  <a:lnTo>
                    <a:pt x="53" y="588"/>
                  </a:lnTo>
                  <a:lnTo>
                    <a:pt x="51" y="581"/>
                  </a:lnTo>
                  <a:lnTo>
                    <a:pt x="51" y="577"/>
                  </a:lnTo>
                  <a:lnTo>
                    <a:pt x="49" y="579"/>
                  </a:lnTo>
                  <a:lnTo>
                    <a:pt x="44" y="575"/>
                  </a:lnTo>
                  <a:lnTo>
                    <a:pt x="40" y="571"/>
                  </a:lnTo>
                  <a:lnTo>
                    <a:pt x="44" y="567"/>
                  </a:lnTo>
                  <a:lnTo>
                    <a:pt x="34" y="560"/>
                  </a:lnTo>
                  <a:lnTo>
                    <a:pt x="40" y="558"/>
                  </a:lnTo>
                  <a:lnTo>
                    <a:pt x="44" y="556"/>
                  </a:lnTo>
                  <a:lnTo>
                    <a:pt x="49" y="552"/>
                  </a:lnTo>
                  <a:lnTo>
                    <a:pt x="55" y="547"/>
                  </a:lnTo>
                  <a:lnTo>
                    <a:pt x="59" y="545"/>
                  </a:lnTo>
                  <a:lnTo>
                    <a:pt x="59" y="549"/>
                  </a:lnTo>
                  <a:lnTo>
                    <a:pt x="63" y="552"/>
                  </a:lnTo>
                  <a:lnTo>
                    <a:pt x="68" y="556"/>
                  </a:lnTo>
                  <a:lnTo>
                    <a:pt x="70" y="560"/>
                  </a:lnTo>
                  <a:lnTo>
                    <a:pt x="61" y="567"/>
                  </a:lnTo>
                  <a:lnTo>
                    <a:pt x="68" y="562"/>
                  </a:lnTo>
                  <a:lnTo>
                    <a:pt x="72" y="562"/>
                  </a:lnTo>
                  <a:lnTo>
                    <a:pt x="78" y="558"/>
                  </a:lnTo>
                  <a:lnTo>
                    <a:pt x="80" y="564"/>
                  </a:lnTo>
                  <a:lnTo>
                    <a:pt x="78" y="569"/>
                  </a:lnTo>
                  <a:lnTo>
                    <a:pt x="83" y="571"/>
                  </a:lnTo>
                  <a:lnTo>
                    <a:pt x="87" y="569"/>
                  </a:lnTo>
                  <a:lnTo>
                    <a:pt x="91" y="564"/>
                  </a:lnTo>
                  <a:lnTo>
                    <a:pt x="87" y="558"/>
                  </a:lnTo>
                  <a:lnTo>
                    <a:pt x="83" y="556"/>
                  </a:lnTo>
                  <a:lnTo>
                    <a:pt x="89" y="556"/>
                  </a:lnTo>
                  <a:lnTo>
                    <a:pt x="87" y="549"/>
                  </a:lnTo>
                  <a:lnTo>
                    <a:pt x="80" y="554"/>
                  </a:lnTo>
                  <a:lnTo>
                    <a:pt x="76" y="552"/>
                  </a:lnTo>
                  <a:lnTo>
                    <a:pt x="66" y="549"/>
                  </a:lnTo>
                  <a:lnTo>
                    <a:pt x="61" y="545"/>
                  </a:lnTo>
                  <a:lnTo>
                    <a:pt x="57" y="543"/>
                  </a:lnTo>
                  <a:lnTo>
                    <a:pt x="51" y="541"/>
                  </a:lnTo>
                  <a:lnTo>
                    <a:pt x="51" y="537"/>
                  </a:lnTo>
                  <a:lnTo>
                    <a:pt x="55" y="537"/>
                  </a:lnTo>
                  <a:lnTo>
                    <a:pt x="61" y="532"/>
                  </a:lnTo>
                  <a:lnTo>
                    <a:pt x="51" y="530"/>
                  </a:lnTo>
                  <a:lnTo>
                    <a:pt x="55" y="526"/>
                  </a:lnTo>
                  <a:lnTo>
                    <a:pt x="49" y="526"/>
                  </a:lnTo>
                  <a:lnTo>
                    <a:pt x="51" y="522"/>
                  </a:lnTo>
                  <a:lnTo>
                    <a:pt x="53" y="515"/>
                  </a:lnTo>
                  <a:lnTo>
                    <a:pt x="66" y="511"/>
                  </a:lnTo>
                  <a:lnTo>
                    <a:pt x="70" y="507"/>
                  </a:lnTo>
                  <a:lnTo>
                    <a:pt x="72" y="505"/>
                  </a:lnTo>
                  <a:lnTo>
                    <a:pt x="68" y="509"/>
                  </a:lnTo>
                  <a:lnTo>
                    <a:pt x="55" y="513"/>
                  </a:lnTo>
                  <a:lnTo>
                    <a:pt x="49" y="522"/>
                  </a:lnTo>
                  <a:lnTo>
                    <a:pt x="46" y="526"/>
                  </a:lnTo>
                  <a:lnTo>
                    <a:pt x="42" y="528"/>
                  </a:lnTo>
                  <a:lnTo>
                    <a:pt x="40" y="524"/>
                  </a:lnTo>
                  <a:lnTo>
                    <a:pt x="40" y="518"/>
                  </a:lnTo>
                  <a:lnTo>
                    <a:pt x="36" y="513"/>
                  </a:lnTo>
                  <a:lnTo>
                    <a:pt x="36" y="507"/>
                  </a:lnTo>
                  <a:lnTo>
                    <a:pt x="42" y="505"/>
                  </a:lnTo>
                  <a:lnTo>
                    <a:pt x="38" y="498"/>
                  </a:lnTo>
                  <a:lnTo>
                    <a:pt x="34" y="500"/>
                  </a:lnTo>
                  <a:lnTo>
                    <a:pt x="32" y="494"/>
                  </a:lnTo>
                  <a:lnTo>
                    <a:pt x="34" y="490"/>
                  </a:lnTo>
                  <a:lnTo>
                    <a:pt x="38" y="492"/>
                  </a:lnTo>
                  <a:lnTo>
                    <a:pt x="44" y="492"/>
                  </a:lnTo>
                  <a:lnTo>
                    <a:pt x="40" y="488"/>
                  </a:lnTo>
                  <a:lnTo>
                    <a:pt x="40" y="483"/>
                  </a:lnTo>
                  <a:lnTo>
                    <a:pt x="49" y="483"/>
                  </a:lnTo>
                  <a:lnTo>
                    <a:pt x="51" y="479"/>
                  </a:lnTo>
                  <a:lnTo>
                    <a:pt x="51" y="475"/>
                  </a:lnTo>
                  <a:lnTo>
                    <a:pt x="55" y="471"/>
                  </a:lnTo>
                  <a:lnTo>
                    <a:pt x="74" y="454"/>
                  </a:lnTo>
                  <a:lnTo>
                    <a:pt x="80" y="451"/>
                  </a:lnTo>
                  <a:lnTo>
                    <a:pt x="85" y="454"/>
                  </a:lnTo>
                  <a:lnTo>
                    <a:pt x="85" y="456"/>
                  </a:lnTo>
                  <a:lnTo>
                    <a:pt x="85" y="456"/>
                  </a:lnTo>
                  <a:lnTo>
                    <a:pt x="85" y="456"/>
                  </a:lnTo>
                  <a:lnTo>
                    <a:pt x="87" y="460"/>
                  </a:lnTo>
                  <a:lnTo>
                    <a:pt x="89" y="460"/>
                  </a:lnTo>
                  <a:lnTo>
                    <a:pt x="85" y="456"/>
                  </a:lnTo>
                  <a:lnTo>
                    <a:pt x="85" y="456"/>
                  </a:lnTo>
                  <a:lnTo>
                    <a:pt x="85" y="451"/>
                  </a:lnTo>
                  <a:lnTo>
                    <a:pt x="91" y="449"/>
                  </a:lnTo>
                  <a:lnTo>
                    <a:pt x="98" y="443"/>
                  </a:lnTo>
                  <a:lnTo>
                    <a:pt x="91" y="447"/>
                  </a:lnTo>
                  <a:lnTo>
                    <a:pt x="87" y="441"/>
                  </a:lnTo>
                  <a:lnTo>
                    <a:pt x="91" y="439"/>
                  </a:lnTo>
                  <a:lnTo>
                    <a:pt x="91" y="434"/>
                  </a:lnTo>
                  <a:lnTo>
                    <a:pt x="93" y="430"/>
                  </a:lnTo>
                  <a:lnTo>
                    <a:pt x="100" y="428"/>
                  </a:lnTo>
                  <a:lnTo>
                    <a:pt x="106" y="430"/>
                  </a:lnTo>
                  <a:lnTo>
                    <a:pt x="102" y="424"/>
                  </a:lnTo>
                  <a:lnTo>
                    <a:pt x="104" y="420"/>
                  </a:lnTo>
                  <a:lnTo>
                    <a:pt x="110" y="417"/>
                  </a:lnTo>
                  <a:lnTo>
                    <a:pt x="115" y="417"/>
                  </a:lnTo>
                  <a:lnTo>
                    <a:pt x="123" y="424"/>
                  </a:lnTo>
                  <a:lnTo>
                    <a:pt x="125" y="428"/>
                  </a:lnTo>
                  <a:lnTo>
                    <a:pt x="119" y="437"/>
                  </a:lnTo>
                  <a:lnTo>
                    <a:pt x="125" y="432"/>
                  </a:lnTo>
                  <a:lnTo>
                    <a:pt x="129" y="432"/>
                  </a:lnTo>
                  <a:lnTo>
                    <a:pt x="134" y="437"/>
                  </a:lnTo>
                  <a:lnTo>
                    <a:pt x="138" y="437"/>
                  </a:lnTo>
                  <a:lnTo>
                    <a:pt x="151" y="430"/>
                  </a:lnTo>
                  <a:lnTo>
                    <a:pt x="159" y="422"/>
                  </a:lnTo>
                  <a:lnTo>
                    <a:pt x="166" y="417"/>
                  </a:lnTo>
                  <a:lnTo>
                    <a:pt x="170" y="420"/>
                  </a:lnTo>
                  <a:lnTo>
                    <a:pt x="174" y="424"/>
                  </a:lnTo>
                  <a:lnTo>
                    <a:pt x="178" y="424"/>
                  </a:lnTo>
                  <a:lnTo>
                    <a:pt x="189" y="426"/>
                  </a:lnTo>
                  <a:lnTo>
                    <a:pt x="195" y="424"/>
                  </a:lnTo>
                  <a:lnTo>
                    <a:pt x="204" y="415"/>
                  </a:lnTo>
                  <a:lnTo>
                    <a:pt x="206" y="411"/>
                  </a:lnTo>
                  <a:lnTo>
                    <a:pt x="206" y="394"/>
                  </a:lnTo>
                  <a:lnTo>
                    <a:pt x="208" y="383"/>
                  </a:lnTo>
                  <a:lnTo>
                    <a:pt x="204" y="373"/>
                  </a:lnTo>
                  <a:lnTo>
                    <a:pt x="200" y="371"/>
                  </a:lnTo>
                  <a:lnTo>
                    <a:pt x="200" y="366"/>
                  </a:lnTo>
                  <a:lnTo>
                    <a:pt x="202" y="364"/>
                  </a:lnTo>
                  <a:lnTo>
                    <a:pt x="206" y="368"/>
                  </a:lnTo>
                  <a:lnTo>
                    <a:pt x="212" y="366"/>
                  </a:lnTo>
                  <a:lnTo>
                    <a:pt x="219" y="362"/>
                  </a:lnTo>
                  <a:lnTo>
                    <a:pt x="219" y="358"/>
                  </a:lnTo>
                  <a:lnTo>
                    <a:pt x="219" y="351"/>
                  </a:lnTo>
                  <a:lnTo>
                    <a:pt x="215" y="347"/>
                  </a:lnTo>
                  <a:lnTo>
                    <a:pt x="217" y="345"/>
                  </a:lnTo>
                  <a:lnTo>
                    <a:pt x="212" y="343"/>
                  </a:lnTo>
                  <a:lnTo>
                    <a:pt x="208" y="347"/>
                  </a:lnTo>
                  <a:lnTo>
                    <a:pt x="202" y="351"/>
                  </a:lnTo>
                  <a:lnTo>
                    <a:pt x="198" y="347"/>
                  </a:lnTo>
                  <a:lnTo>
                    <a:pt x="191" y="349"/>
                  </a:lnTo>
                  <a:lnTo>
                    <a:pt x="187" y="351"/>
                  </a:lnTo>
                  <a:lnTo>
                    <a:pt x="181" y="356"/>
                  </a:lnTo>
                  <a:lnTo>
                    <a:pt x="174" y="358"/>
                  </a:lnTo>
                  <a:lnTo>
                    <a:pt x="168" y="366"/>
                  </a:lnTo>
                  <a:lnTo>
                    <a:pt x="166" y="356"/>
                  </a:lnTo>
                  <a:lnTo>
                    <a:pt x="161" y="349"/>
                  </a:lnTo>
                  <a:lnTo>
                    <a:pt x="157" y="349"/>
                  </a:lnTo>
                  <a:lnTo>
                    <a:pt x="159" y="356"/>
                  </a:lnTo>
                  <a:lnTo>
                    <a:pt x="159" y="360"/>
                  </a:lnTo>
                  <a:lnTo>
                    <a:pt x="151" y="349"/>
                  </a:lnTo>
                  <a:lnTo>
                    <a:pt x="146" y="347"/>
                  </a:lnTo>
                  <a:lnTo>
                    <a:pt x="132" y="343"/>
                  </a:lnTo>
                  <a:lnTo>
                    <a:pt x="121" y="345"/>
                  </a:lnTo>
                  <a:lnTo>
                    <a:pt x="117" y="343"/>
                  </a:lnTo>
                  <a:lnTo>
                    <a:pt x="110" y="343"/>
                  </a:lnTo>
                  <a:lnTo>
                    <a:pt x="102" y="336"/>
                  </a:lnTo>
                  <a:lnTo>
                    <a:pt x="89" y="328"/>
                  </a:lnTo>
                  <a:lnTo>
                    <a:pt x="85" y="324"/>
                  </a:lnTo>
                  <a:lnTo>
                    <a:pt x="85" y="319"/>
                  </a:lnTo>
                  <a:lnTo>
                    <a:pt x="89" y="309"/>
                  </a:lnTo>
                  <a:lnTo>
                    <a:pt x="89" y="309"/>
                  </a:lnTo>
                  <a:lnTo>
                    <a:pt x="85" y="302"/>
                  </a:lnTo>
                  <a:lnTo>
                    <a:pt x="85" y="298"/>
                  </a:lnTo>
                  <a:lnTo>
                    <a:pt x="80" y="292"/>
                  </a:lnTo>
                  <a:lnTo>
                    <a:pt x="83" y="287"/>
                  </a:lnTo>
                  <a:lnTo>
                    <a:pt x="83" y="292"/>
                  </a:lnTo>
                  <a:lnTo>
                    <a:pt x="87" y="294"/>
                  </a:lnTo>
                  <a:lnTo>
                    <a:pt x="91" y="294"/>
                  </a:lnTo>
                  <a:lnTo>
                    <a:pt x="95" y="290"/>
                  </a:lnTo>
                  <a:lnTo>
                    <a:pt x="100" y="292"/>
                  </a:lnTo>
                  <a:lnTo>
                    <a:pt x="104" y="294"/>
                  </a:lnTo>
                  <a:lnTo>
                    <a:pt x="100" y="287"/>
                  </a:lnTo>
                  <a:lnTo>
                    <a:pt x="87" y="279"/>
                  </a:lnTo>
                  <a:lnTo>
                    <a:pt x="91" y="283"/>
                  </a:lnTo>
                  <a:lnTo>
                    <a:pt x="87" y="281"/>
                  </a:lnTo>
                  <a:lnTo>
                    <a:pt x="83" y="277"/>
                  </a:lnTo>
                  <a:lnTo>
                    <a:pt x="78" y="275"/>
                  </a:lnTo>
                  <a:lnTo>
                    <a:pt x="74" y="270"/>
                  </a:lnTo>
                  <a:lnTo>
                    <a:pt x="63" y="253"/>
                  </a:lnTo>
                  <a:lnTo>
                    <a:pt x="68" y="253"/>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6" name="Rectangle 1141"/>
            <p:cNvSpPr>
              <a:spLocks noChangeArrowheads="1"/>
            </p:cNvSpPr>
            <p:nvPr/>
          </p:nvSpPr>
          <p:spPr bwMode="auto">
            <a:xfrm>
              <a:off x="566" y="3510"/>
              <a:ext cx="1" cy="1"/>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7" name="Freeform 1142"/>
            <p:cNvSpPr>
              <a:spLocks/>
            </p:cNvSpPr>
            <p:nvPr/>
          </p:nvSpPr>
          <p:spPr bwMode="auto">
            <a:xfrm>
              <a:off x="566" y="35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8" name="Freeform 1143"/>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59" name="Freeform 1144"/>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0" name="Freeform 1145"/>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1" name="Freeform 1146"/>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2" name="Freeform 1147"/>
            <p:cNvSpPr>
              <a:spLocks/>
            </p:cNvSpPr>
            <p:nvPr/>
          </p:nvSpPr>
          <p:spPr bwMode="auto">
            <a:xfrm>
              <a:off x="834" y="3827"/>
              <a:ext cx="9" cy="9"/>
            </a:xfrm>
            <a:custGeom>
              <a:avLst/>
              <a:gdLst>
                <a:gd name="T0" fmla="*/ 0 w 9"/>
                <a:gd name="T1" fmla="*/ 0 h 9"/>
                <a:gd name="T2" fmla="*/ 2 w 9"/>
                <a:gd name="T3" fmla="*/ 2 h 9"/>
                <a:gd name="T4" fmla="*/ 6 w 9"/>
                <a:gd name="T5" fmla="*/ 6 h 9"/>
                <a:gd name="T6" fmla="*/ 9 w 9"/>
                <a:gd name="T7" fmla="*/ 9 h 9"/>
                <a:gd name="T8" fmla="*/ 4 w 9"/>
                <a:gd name="T9" fmla="*/ 9 h 9"/>
                <a:gd name="T10" fmla="*/ 0 w 9"/>
                <a:gd name="T11" fmla="*/ 4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2" y="2"/>
                  </a:lnTo>
                  <a:lnTo>
                    <a:pt x="6" y="6"/>
                  </a:lnTo>
                  <a:lnTo>
                    <a:pt x="9" y="9"/>
                  </a:lnTo>
                  <a:lnTo>
                    <a:pt x="4" y="9"/>
                  </a:lnTo>
                  <a:lnTo>
                    <a:pt x="0" y="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3" name="Freeform 1148"/>
            <p:cNvSpPr>
              <a:spLocks/>
            </p:cNvSpPr>
            <p:nvPr/>
          </p:nvSpPr>
          <p:spPr bwMode="auto">
            <a:xfrm>
              <a:off x="834" y="3827"/>
              <a:ext cx="9" cy="9"/>
            </a:xfrm>
            <a:custGeom>
              <a:avLst/>
              <a:gdLst>
                <a:gd name="T0" fmla="*/ 0 w 9"/>
                <a:gd name="T1" fmla="*/ 0 h 9"/>
                <a:gd name="T2" fmla="*/ 2 w 9"/>
                <a:gd name="T3" fmla="*/ 2 h 9"/>
                <a:gd name="T4" fmla="*/ 6 w 9"/>
                <a:gd name="T5" fmla="*/ 6 h 9"/>
                <a:gd name="T6" fmla="*/ 9 w 9"/>
                <a:gd name="T7" fmla="*/ 9 h 9"/>
                <a:gd name="T8" fmla="*/ 4 w 9"/>
                <a:gd name="T9" fmla="*/ 9 h 9"/>
                <a:gd name="T10" fmla="*/ 0 w 9"/>
                <a:gd name="T11" fmla="*/ 4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2" y="2"/>
                  </a:lnTo>
                  <a:lnTo>
                    <a:pt x="6" y="6"/>
                  </a:lnTo>
                  <a:lnTo>
                    <a:pt x="9" y="9"/>
                  </a:lnTo>
                  <a:lnTo>
                    <a:pt x="4" y="9"/>
                  </a:lnTo>
                  <a:lnTo>
                    <a:pt x="0" y="4"/>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4" name="Freeform 1149"/>
            <p:cNvSpPr>
              <a:spLocks/>
            </p:cNvSpPr>
            <p:nvPr/>
          </p:nvSpPr>
          <p:spPr bwMode="auto">
            <a:xfrm>
              <a:off x="836" y="3812"/>
              <a:ext cx="38" cy="26"/>
            </a:xfrm>
            <a:custGeom>
              <a:avLst/>
              <a:gdLst>
                <a:gd name="T0" fmla="*/ 0 w 38"/>
                <a:gd name="T1" fmla="*/ 17 h 26"/>
                <a:gd name="T2" fmla="*/ 4 w 38"/>
                <a:gd name="T3" fmla="*/ 13 h 26"/>
                <a:gd name="T4" fmla="*/ 9 w 38"/>
                <a:gd name="T5" fmla="*/ 13 h 26"/>
                <a:gd name="T6" fmla="*/ 4 w 38"/>
                <a:gd name="T7" fmla="*/ 9 h 26"/>
                <a:gd name="T8" fmla="*/ 9 w 38"/>
                <a:gd name="T9" fmla="*/ 9 h 26"/>
                <a:gd name="T10" fmla="*/ 15 w 38"/>
                <a:gd name="T11" fmla="*/ 11 h 26"/>
                <a:gd name="T12" fmla="*/ 15 w 38"/>
                <a:gd name="T13" fmla="*/ 0 h 26"/>
                <a:gd name="T14" fmla="*/ 21 w 38"/>
                <a:gd name="T15" fmla="*/ 0 h 26"/>
                <a:gd name="T16" fmla="*/ 26 w 38"/>
                <a:gd name="T17" fmla="*/ 4 h 26"/>
                <a:gd name="T18" fmla="*/ 30 w 38"/>
                <a:gd name="T19" fmla="*/ 7 h 26"/>
                <a:gd name="T20" fmla="*/ 34 w 38"/>
                <a:gd name="T21" fmla="*/ 9 h 26"/>
                <a:gd name="T22" fmla="*/ 34 w 38"/>
                <a:gd name="T23" fmla="*/ 13 h 26"/>
                <a:gd name="T24" fmla="*/ 38 w 38"/>
                <a:gd name="T25" fmla="*/ 9 h 26"/>
                <a:gd name="T26" fmla="*/ 38 w 38"/>
                <a:gd name="T27" fmla="*/ 15 h 26"/>
                <a:gd name="T28" fmla="*/ 32 w 38"/>
                <a:gd name="T29" fmla="*/ 19 h 26"/>
                <a:gd name="T30" fmla="*/ 28 w 38"/>
                <a:gd name="T31" fmla="*/ 15 h 26"/>
                <a:gd name="T32" fmla="*/ 24 w 38"/>
                <a:gd name="T33" fmla="*/ 19 h 26"/>
                <a:gd name="T34" fmla="*/ 19 w 38"/>
                <a:gd name="T35" fmla="*/ 19 h 26"/>
                <a:gd name="T36" fmla="*/ 19 w 38"/>
                <a:gd name="T37" fmla="*/ 15 h 26"/>
                <a:gd name="T38" fmla="*/ 17 w 38"/>
                <a:gd name="T39" fmla="*/ 19 h 26"/>
                <a:gd name="T40" fmla="*/ 13 w 38"/>
                <a:gd name="T41" fmla="*/ 21 h 26"/>
                <a:gd name="T42" fmla="*/ 11 w 38"/>
                <a:gd name="T43" fmla="*/ 26 h 26"/>
                <a:gd name="T44" fmla="*/ 4 w 38"/>
                <a:gd name="T45" fmla="*/ 21 h 26"/>
                <a:gd name="T46" fmla="*/ 2 w 38"/>
                <a:gd name="T47" fmla="*/ 19 h 26"/>
                <a:gd name="T48" fmla="*/ 0 w 38"/>
                <a:gd name="T4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0" y="17"/>
                  </a:moveTo>
                  <a:lnTo>
                    <a:pt x="4" y="13"/>
                  </a:lnTo>
                  <a:lnTo>
                    <a:pt x="9" y="13"/>
                  </a:lnTo>
                  <a:lnTo>
                    <a:pt x="4" y="9"/>
                  </a:lnTo>
                  <a:lnTo>
                    <a:pt x="9" y="9"/>
                  </a:lnTo>
                  <a:lnTo>
                    <a:pt x="15" y="11"/>
                  </a:lnTo>
                  <a:lnTo>
                    <a:pt x="15" y="0"/>
                  </a:lnTo>
                  <a:lnTo>
                    <a:pt x="21" y="0"/>
                  </a:lnTo>
                  <a:lnTo>
                    <a:pt x="26" y="4"/>
                  </a:lnTo>
                  <a:lnTo>
                    <a:pt x="30" y="7"/>
                  </a:lnTo>
                  <a:lnTo>
                    <a:pt x="34" y="9"/>
                  </a:lnTo>
                  <a:lnTo>
                    <a:pt x="34" y="13"/>
                  </a:lnTo>
                  <a:lnTo>
                    <a:pt x="38" y="9"/>
                  </a:lnTo>
                  <a:lnTo>
                    <a:pt x="38" y="15"/>
                  </a:lnTo>
                  <a:lnTo>
                    <a:pt x="32" y="19"/>
                  </a:lnTo>
                  <a:lnTo>
                    <a:pt x="28" y="15"/>
                  </a:lnTo>
                  <a:lnTo>
                    <a:pt x="24" y="19"/>
                  </a:lnTo>
                  <a:lnTo>
                    <a:pt x="19" y="19"/>
                  </a:lnTo>
                  <a:lnTo>
                    <a:pt x="19" y="15"/>
                  </a:lnTo>
                  <a:lnTo>
                    <a:pt x="17" y="19"/>
                  </a:lnTo>
                  <a:lnTo>
                    <a:pt x="13" y="21"/>
                  </a:lnTo>
                  <a:lnTo>
                    <a:pt x="11" y="26"/>
                  </a:lnTo>
                  <a:lnTo>
                    <a:pt x="4" y="21"/>
                  </a:lnTo>
                  <a:lnTo>
                    <a:pt x="2" y="19"/>
                  </a:lnTo>
                  <a:lnTo>
                    <a:pt x="0" y="1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5" name="Freeform 1150"/>
            <p:cNvSpPr>
              <a:spLocks/>
            </p:cNvSpPr>
            <p:nvPr/>
          </p:nvSpPr>
          <p:spPr bwMode="auto">
            <a:xfrm>
              <a:off x="836" y="3812"/>
              <a:ext cx="38" cy="26"/>
            </a:xfrm>
            <a:custGeom>
              <a:avLst/>
              <a:gdLst>
                <a:gd name="T0" fmla="*/ 0 w 38"/>
                <a:gd name="T1" fmla="*/ 17 h 26"/>
                <a:gd name="T2" fmla="*/ 4 w 38"/>
                <a:gd name="T3" fmla="*/ 13 h 26"/>
                <a:gd name="T4" fmla="*/ 9 w 38"/>
                <a:gd name="T5" fmla="*/ 13 h 26"/>
                <a:gd name="T6" fmla="*/ 4 w 38"/>
                <a:gd name="T7" fmla="*/ 9 h 26"/>
                <a:gd name="T8" fmla="*/ 9 w 38"/>
                <a:gd name="T9" fmla="*/ 9 h 26"/>
                <a:gd name="T10" fmla="*/ 15 w 38"/>
                <a:gd name="T11" fmla="*/ 11 h 26"/>
                <a:gd name="T12" fmla="*/ 15 w 38"/>
                <a:gd name="T13" fmla="*/ 0 h 26"/>
                <a:gd name="T14" fmla="*/ 21 w 38"/>
                <a:gd name="T15" fmla="*/ 0 h 26"/>
                <a:gd name="T16" fmla="*/ 26 w 38"/>
                <a:gd name="T17" fmla="*/ 4 h 26"/>
                <a:gd name="T18" fmla="*/ 30 w 38"/>
                <a:gd name="T19" fmla="*/ 7 h 26"/>
                <a:gd name="T20" fmla="*/ 34 w 38"/>
                <a:gd name="T21" fmla="*/ 9 h 26"/>
                <a:gd name="T22" fmla="*/ 34 w 38"/>
                <a:gd name="T23" fmla="*/ 13 h 26"/>
                <a:gd name="T24" fmla="*/ 38 w 38"/>
                <a:gd name="T25" fmla="*/ 9 h 26"/>
                <a:gd name="T26" fmla="*/ 38 w 38"/>
                <a:gd name="T27" fmla="*/ 15 h 26"/>
                <a:gd name="T28" fmla="*/ 32 w 38"/>
                <a:gd name="T29" fmla="*/ 19 h 26"/>
                <a:gd name="T30" fmla="*/ 28 w 38"/>
                <a:gd name="T31" fmla="*/ 15 h 26"/>
                <a:gd name="T32" fmla="*/ 24 w 38"/>
                <a:gd name="T33" fmla="*/ 19 h 26"/>
                <a:gd name="T34" fmla="*/ 19 w 38"/>
                <a:gd name="T35" fmla="*/ 19 h 26"/>
                <a:gd name="T36" fmla="*/ 19 w 38"/>
                <a:gd name="T37" fmla="*/ 15 h 26"/>
                <a:gd name="T38" fmla="*/ 17 w 38"/>
                <a:gd name="T39" fmla="*/ 19 h 26"/>
                <a:gd name="T40" fmla="*/ 13 w 38"/>
                <a:gd name="T41" fmla="*/ 21 h 26"/>
                <a:gd name="T42" fmla="*/ 11 w 38"/>
                <a:gd name="T43" fmla="*/ 26 h 26"/>
                <a:gd name="T44" fmla="*/ 4 w 38"/>
                <a:gd name="T45" fmla="*/ 21 h 26"/>
                <a:gd name="T46" fmla="*/ 2 w 38"/>
                <a:gd name="T47" fmla="*/ 19 h 26"/>
                <a:gd name="T48" fmla="*/ 0 w 38"/>
                <a:gd name="T4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0" y="17"/>
                  </a:moveTo>
                  <a:lnTo>
                    <a:pt x="4" y="13"/>
                  </a:lnTo>
                  <a:lnTo>
                    <a:pt x="9" y="13"/>
                  </a:lnTo>
                  <a:lnTo>
                    <a:pt x="4" y="9"/>
                  </a:lnTo>
                  <a:lnTo>
                    <a:pt x="9" y="9"/>
                  </a:lnTo>
                  <a:lnTo>
                    <a:pt x="15" y="11"/>
                  </a:lnTo>
                  <a:lnTo>
                    <a:pt x="15" y="0"/>
                  </a:lnTo>
                  <a:lnTo>
                    <a:pt x="21" y="0"/>
                  </a:lnTo>
                  <a:lnTo>
                    <a:pt x="26" y="4"/>
                  </a:lnTo>
                  <a:lnTo>
                    <a:pt x="30" y="7"/>
                  </a:lnTo>
                  <a:lnTo>
                    <a:pt x="34" y="9"/>
                  </a:lnTo>
                  <a:lnTo>
                    <a:pt x="34" y="13"/>
                  </a:lnTo>
                  <a:lnTo>
                    <a:pt x="38" y="9"/>
                  </a:lnTo>
                  <a:lnTo>
                    <a:pt x="38" y="15"/>
                  </a:lnTo>
                  <a:lnTo>
                    <a:pt x="32" y="19"/>
                  </a:lnTo>
                  <a:lnTo>
                    <a:pt x="28" y="15"/>
                  </a:lnTo>
                  <a:lnTo>
                    <a:pt x="24" y="19"/>
                  </a:lnTo>
                  <a:lnTo>
                    <a:pt x="19" y="19"/>
                  </a:lnTo>
                  <a:lnTo>
                    <a:pt x="19" y="15"/>
                  </a:lnTo>
                  <a:lnTo>
                    <a:pt x="17" y="19"/>
                  </a:lnTo>
                  <a:lnTo>
                    <a:pt x="13" y="21"/>
                  </a:lnTo>
                  <a:lnTo>
                    <a:pt x="11" y="26"/>
                  </a:lnTo>
                  <a:lnTo>
                    <a:pt x="4" y="21"/>
                  </a:lnTo>
                  <a:lnTo>
                    <a:pt x="2" y="19"/>
                  </a:lnTo>
                  <a:lnTo>
                    <a:pt x="0" y="17"/>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6" name="Freeform 1151"/>
            <p:cNvSpPr>
              <a:spLocks/>
            </p:cNvSpPr>
            <p:nvPr/>
          </p:nvSpPr>
          <p:spPr bwMode="auto">
            <a:xfrm>
              <a:off x="836" y="3829"/>
              <a:ext cx="4" cy="4"/>
            </a:xfrm>
            <a:custGeom>
              <a:avLst/>
              <a:gdLst>
                <a:gd name="T0" fmla="*/ 0 w 4"/>
                <a:gd name="T1" fmla="*/ 0 h 4"/>
                <a:gd name="T2" fmla="*/ 2 w 4"/>
                <a:gd name="T3" fmla="*/ 2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2" y="2"/>
                  </a:lnTo>
                  <a:lnTo>
                    <a:pt x="4" y="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7" name="Freeform 1152"/>
            <p:cNvSpPr>
              <a:spLocks/>
            </p:cNvSpPr>
            <p:nvPr/>
          </p:nvSpPr>
          <p:spPr bwMode="auto">
            <a:xfrm>
              <a:off x="836" y="3829"/>
              <a:ext cx="4" cy="4"/>
            </a:xfrm>
            <a:custGeom>
              <a:avLst/>
              <a:gdLst>
                <a:gd name="T0" fmla="*/ 0 w 4"/>
                <a:gd name="T1" fmla="*/ 0 h 4"/>
                <a:gd name="T2" fmla="*/ 2 w 4"/>
                <a:gd name="T3" fmla="*/ 2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2" y="2"/>
                  </a:lnTo>
                  <a:lnTo>
                    <a:pt x="4" y="4"/>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8" name="Freeform 1153"/>
            <p:cNvSpPr>
              <a:spLocks/>
            </p:cNvSpPr>
            <p:nvPr/>
          </p:nvSpPr>
          <p:spPr bwMode="auto">
            <a:xfrm>
              <a:off x="1403" y="3808"/>
              <a:ext cx="4" cy="2"/>
            </a:xfrm>
            <a:custGeom>
              <a:avLst/>
              <a:gdLst>
                <a:gd name="T0" fmla="*/ 0 w 4"/>
                <a:gd name="T1" fmla="*/ 0 h 2"/>
                <a:gd name="T2" fmla="*/ 0 w 4"/>
                <a:gd name="T3" fmla="*/ 0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0"/>
                  </a:lnTo>
                  <a:lnTo>
                    <a:pt x="4" y="2"/>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69" name="Freeform 1154"/>
            <p:cNvSpPr>
              <a:spLocks/>
            </p:cNvSpPr>
            <p:nvPr/>
          </p:nvSpPr>
          <p:spPr bwMode="auto">
            <a:xfrm>
              <a:off x="1403" y="3808"/>
              <a:ext cx="4" cy="2"/>
            </a:xfrm>
            <a:custGeom>
              <a:avLst/>
              <a:gdLst>
                <a:gd name="T0" fmla="*/ 0 w 4"/>
                <a:gd name="T1" fmla="*/ 0 h 2"/>
                <a:gd name="T2" fmla="*/ 0 w 4"/>
                <a:gd name="T3" fmla="*/ 0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0"/>
                  </a:lnTo>
                  <a:lnTo>
                    <a:pt x="4" y="2"/>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0" name="Freeform 1155"/>
            <p:cNvSpPr>
              <a:spLocks/>
            </p:cNvSpPr>
            <p:nvPr/>
          </p:nvSpPr>
          <p:spPr bwMode="auto">
            <a:xfrm>
              <a:off x="1400" y="3808"/>
              <a:ext cx="13" cy="6"/>
            </a:xfrm>
            <a:custGeom>
              <a:avLst/>
              <a:gdLst>
                <a:gd name="T0" fmla="*/ 3 w 13"/>
                <a:gd name="T1" fmla="*/ 0 h 6"/>
                <a:gd name="T2" fmla="*/ 7 w 13"/>
                <a:gd name="T3" fmla="*/ 2 h 6"/>
                <a:gd name="T4" fmla="*/ 13 w 13"/>
                <a:gd name="T5" fmla="*/ 6 h 6"/>
                <a:gd name="T6" fmla="*/ 3 w 13"/>
                <a:gd name="T7" fmla="*/ 6 h 6"/>
                <a:gd name="T8" fmla="*/ 0 w 13"/>
                <a:gd name="T9" fmla="*/ 2 h 6"/>
                <a:gd name="T10" fmla="*/ 3 w 13"/>
                <a:gd name="T11" fmla="*/ 0 h 6"/>
              </a:gdLst>
              <a:ahLst/>
              <a:cxnLst>
                <a:cxn ang="0">
                  <a:pos x="T0" y="T1"/>
                </a:cxn>
                <a:cxn ang="0">
                  <a:pos x="T2" y="T3"/>
                </a:cxn>
                <a:cxn ang="0">
                  <a:pos x="T4" y="T5"/>
                </a:cxn>
                <a:cxn ang="0">
                  <a:pos x="T6" y="T7"/>
                </a:cxn>
                <a:cxn ang="0">
                  <a:pos x="T8" y="T9"/>
                </a:cxn>
                <a:cxn ang="0">
                  <a:pos x="T10" y="T11"/>
                </a:cxn>
              </a:cxnLst>
              <a:rect l="0" t="0" r="r" b="b"/>
              <a:pathLst>
                <a:path w="13" h="6">
                  <a:moveTo>
                    <a:pt x="3" y="0"/>
                  </a:moveTo>
                  <a:lnTo>
                    <a:pt x="7" y="2"/>
                  </a:lnTo>
                  <a:lnTo>
                    <a:pt x="13" y="6"/>
                  </a:lnTo>
                  <a:lnTo>
                    <a:pt x="3" y="6"/>
                  </a:lnTo>
                  <a:lnTo>
                    <a:pt x="0" y="2"/>
                  </a:lnTo>
                  <a:lnTo>
                    <a:pt x="3"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1" name="Freeform 1156"/>
            <p:cNvSpPr>
              <a:spLocks/>
            </p:cNvSpPr>
            <p:nvPr/>
          </p:nvSpPr>
          <p:spPr bwMode="auto">
            <a:xfrm>
              <a:off x="1400" y="3808"/>
              <a:ext cx="13" cy="6"/>
            </a:xfrm>
            <a:custGeom>
              <a:avLst/>
              <a:gdLst>
                <a:gd name="T0" fmla="*/ 3 w 13"/>
                <a:gd name="T1" fmla="*/ 0 h 6"/>
                <a:gd name="T2" fmla="*/ 7 w 13"/>
                <a:gd name="T3" fmla="*/ 2 h 6"/>
                <a:gd name="T4" fmla="*/ 13 w 13"/>
                <a:gd name="T5" fmla="*/ 6 h 6"/>
                <a:gd name="T6" fmla="*/ 3 w 13"/>
                <a:gd name="T7" fmla="*/ 6 h 6"/>
                <a:gd name="T8" fmla="*/ 0 w 13"/>
                <a:gd name="T9" fmla="*/ 2 h 6"/>
                <a:gd name="T10" fmla="*/ 3 w 13"/>
                <a:gd name="T11" fmla="*/ 0 h 6"/>
              </a:gdLst>
              <a:ahLst/>
              <a:cxnLst>
                <a:cxn ang="0">
                  <a:pos x="T0" y="T1"/>
                </a:cxn>
                <a:cxn ang="0">
                  <a:pos x="T2" y="T3"/>
                </a:cxn>
                <a:cxn ang="0">
                  <a:pos x="T4" y="T5"/>
                </a:cxn>
                <a:cxn ang="0">
                  <a:pos x="T6" y="T7"/>
                </a:cxn>
                <a:cxn ang="0">
                  <a:pos x="T8" y="T9"/>
                </a:cxn>
                <a:cxn ang="0">
                  <a:pos x="T10" y="T11"/>
                </a:cxn>
              </a:cxnLst>
              <a:rect l="0" t="0" r="r" b="b"/>
              <a:pathLst>
                <a:path w="13" h="6">
                  <a:moveTo>
                    <a:pt x="3" y="0"/>
                  </a:moveTo>
                  <a:lnTo>
                    <a:pt x="7" y="2"/>
                  </a:lnTo>
                  <a:lnTo>
                    <a:pt x="13" y="6"/>
                  </a:lnTo>
                  <a:lnTo>
                    <a:pt x="3" y="6"/>
                  </a:lnTo>
                  <a:lnTo>
                    <a:pt x="0" y="2"/>
                  </a:lnTo>
                  <a:lnTo>
                    <a:pt x="3"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2" name="Freeform 1157"/>
            <p:cNvSpPr>
              <a:spLocks/>
            </p:cNvSpPr>
            <p:nvPr/>
          </p:nvSpPr>
          <p:spPr bwMode="auto">
            <a:xfrm>
              <a:off x="1460" y="3927"/>
              <a:ext cx="2" cy="4"/>
            </a:xfrm>
            <a:custGeom>
              <a:avLst/>
              <a:gdLst>
                <a:gd name="T0" fmla="*/ 0 w 2"/>
                <a:gd name="T1" fmla="*/ 2 h 4"/>
                <a:gd name="T2" fmla="*/ 2 w 2"/>
                <a:gd name="T3" fmla="*/ 0 h 4"/>
                <a:gd name="T4" fmla="*/ 2 w 2"/>
                <a:gd name="T5" fmla="*/ 2 h 4"/>
                <a:gd name="T6" fmla="*/ 2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2"/>
                  </a:lnTo>
                  <a:lnTo>
                    <a:pt x="2" y="4"/>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3" name="Freeform 1158"/>
            <p:cNvSpPr>
              <a:spLocks/>
            </p:cNvSpPr>
            <p:nvPr/>
          </p:nvSpPr>
          <p:spPr bwMode="auto">
            <a:xfrm>
              <a:off x="1460" y="3927"/>
              <a:ext cx="2" cy="4"/>
            </a:xfrm>
            <a:custGeom>
              <a:avLst/>
              <a:gdLst>
                <a:gd name="T0" fmla="*/ 0 w 2"/>
                <a:gd name="T1" fmla="*/ 2 h 4"/>
                <a:gd name="T2" fmla="*/ 2 w 2"/>
                <a:gd name="T3" fmla="*/ 0 h 4"/>
                <a:gd name="T4" fmla="*/ 2 w 2"/>
                <a:gd name="T5" fmla="*/ 2 h 4"/>
                <a:gd name="T6" fmla="*/ 2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2"/>
                  </a:lnTo>
                  <a:lnTo>
                    <a:pt x="2" y="4"/>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4" name="Freeform 1159"/>
            <p:cNvSpPr>
              <a:spLocks/>
            </p:cNvSpPr>
            <p:nvPr/>
          </p:nvSpPr>
          <p:spPr bwMode="auto">
            <a:xfrm>
              <a:off x="1449" y="3929"/>
              <a:ext cx="15" cy="15"/>
            </a:xfrm>
            <a:custGeom>
              <a:avLst/>
              <a:gdLst>
                <a:gd name="T0" fmla="*/ 11 w 15"/>
                <a:gd name="T1" fmla="*/ 0 h 15"/>
                <a:gd name="T2" fmla="*/ 13 w 15"/>
                <a:gd name="T3" fmla="*/ 2 h 15"/>
                <a:gd name="T4" fmla="*/ 15 w 15"/>
                <a:gd name="T5" fmla="*/ 5 h 15"/>
                <a:gd name="T6" fmla="*/ 9 w 15"/>
                <a:gd name="T7" fmla="*/ 7 h 15"/>
                <a:gd name="T8" fmla="*/ 7 w 15"/>
                <a:gd name="T9" fmla="*/ 11 h 15"/>
                <a:gd name="T10" fmla="*/ 0 w 15"/>
                <a:gd name="T11" fmla="*/ 15 h 15"/>
                <a:gd name="T12" fmla="*/ 0 w 15"/>
                <a:gd name="T13" fmla="*/ 11 h 15"/>
                <a:gd name="T14" fmla="*/ 3 w 15"/>
                <a:gd name="T15" fmla="*/ 5 h 15"/>
                <a:gd name="T16" fmla="*/ 7 w 15"/>
                <a:gd name="T17" fmla="*/ 2 h 15"/>
                <a:gd name="T18" fmla="*/ 11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1" y="0"/>
                  </a:moveTo>
                  <a:lnTo>
                    <a:pt x="13" y="2"/>
                  </a:lnTo>
                  <a:lnTo>
                    <a:pt x="15" y="5"/>
                  </a:lnTo>
                  <a:lnTo>
                    <a:pt x="9" y="7"/>
                  </a:lnTo>
                  <a:lnTo>
                    <a:pt x="7" y="11"/>
                  </a:lnTo>
                  <a:lnTo>
                    <a:pt x="0" y="15"/>
                  </a:lnTo>
                  <a:lnTo>
                    <a:pt x="0" y="11"/>
                  </a:lnTo>
                  <a:lnTo>
                    <a:pt x="3" y="5"/>
                  </a:lnTo>
                  <a:lnTo>
                    <a:pt x="7" y="2"/>
                  </a:lnTo>
                  <a:lnTo>
                    <a:pt x="11"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5" name="Freeform 1160"/>
            <p:cNvSpPr>
              <a:spLocks/>
            </p:cNvSpPr>
            <p:nvPr/>
          </p:nvSpPr>
          <p:spPr bwMode="auto">
            <a:xfrm>
              <a:off x="1449" y="3929"/>
              <a:ext cx="15" cy="15"/>
            </a:xfrm>
            <a:custGeom>
              <a:avLst/>
              <a:gdLst>
                <a:gd name="T0" fmla="*/ 11 w 15"/>
                <a:gd name="T1" fmla="*/ 0 h 15"/>
                <a:gd name="T2" fmla="*/ 13 w 15"/>
                <a:gd name="T3" fmla="*/ 2 h 15"/>
                <a:gd name="T4" fmla="*/ 15 w 15"/>
                <a:gd name="T5" fmla="*/ 5 h 15"/>
                <a:gd name="T6" fmla="*/ 9 w 15"/>
                <a:gd name="T7" fmla="*/ 7 h 15"/>
                <a:gd name="T8" fmla="*/ 7 w 15"/>
                <a:gd name="T9" fmla="*/ 11 h 15"/>
                <a:gd name="T10" fmla="*/ 0 w 15"/>
                <a:gd name="T11" fmla="*/ 15 h 15"/>
                <a:gd name="T12" fmla="*/ 0 w 15"/>
                <a:gd name="T13" fmla="*/ 11 h 15"/>
                <a:gd name="T14" fmla="*/ 3 w 15"/>
                <a:gd name="T15" fmla="*/ 5 h 15"/>
                <a:gd name="T16" fmla="*/ 7 w 15"/>
                <a:gd name="T17" fmla="*/ 2 h 15"/>
                <a:gd name="T18" fmla="*/ 11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1" y="0"/>
                  </a:moveTo>
                  <a:lnTo>
                    <a:pt x="13" y="2"/>
                  </a:lnTo>
                  <a:lnTo>
                    <a:pt x="15" y="5"/>
                  </a:lnTo>
                  <a:lnTo>
                    <a:pt x="9" y="7"/>
                  </a:lnTo>
                  <a:lnTo>
                    <a:pt x="7" y="11"/>
                  </a:lnTo>
                  <a:lnTo>
                    <a:pt x="0" y="15"/>
                  </a:lnTo>
                  <a:lnTo>
                    <a:pt x="0" y="11"/>
                  </a:lnTo>
                  <a:lnTo>
                    <a:pt x="3" y="5"/>
                  </a:lnTo>
                  <a:lnTo>
                    <a:pt x="7" y="2"/>
                  </a:lnTo>
                  <a:lnTo>
                    <a:pt x="11"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6" name="Freeform 1161"/>
            <p:cNvSpPr>
              <a:spLocks/>
            </p:cNvSpPr>
            <p:nvPr/>
          </p:nvSpPr>
          <p:spPr bwMode="auto">
            <a:xfrm>
              <a:off x="1564" y="3989"/>
              <a:ext cx="3" cy="2"/>
            </a:xfrm>
            <a:custGeom>
              <a:avLst/>
              <a:gdLst>
                <a:gd name="T0" fmla="*/ 0 w 3"/>
                <a:gd name="T1" fmla="*/ 2 h 2"/>
                <a:gd name="T2" fmla="*/ 3 w 3"/>
                <a:gd name="T3" fmla="*/ 0 h 2"/>
                <a:gd name="T4" fmla="*/ 3 w 3"/>
                <a:gd name="T5" fmla="*/ 2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3" y="2"/>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7" name="Freeform 1162"/>
            <p:cNvSpPr>
              <a:spLocks/>
            </p:cNvSpPr>
            <p:nvPr/>
          </p:nvSpPr>
          <p:spPr bwMode="auto">
            <a:xfrm>
              <a:off x="1564" y="3989"/>
              <a:ext cx="3" cy="2"/>
            </a:xfrm>
            <a:custGeom>
              <a:avLst/>
              <a:gdLst>
                <a:gd name="T0" fmla="*/ 0 w 3"/>
                <a:gd name="T1" fmla="*/ 2 h 2"/>
                <a:gd name="T2" fmla="*/ 3 w 3"/>
                <a:gd name="T3" fmla="*/ 0 h 2"/>
                <a:gd name="T4" fmla="*/ 3 w 3"/>
                <a:gd name="T5" fmla="*/ 2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3" y="2"/>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8" name="Freeform 1163"/>
            <p:cNvSpPr>
              <a:spLocks/>
            </p:cNvSpPr>
            <p:nvPr/>
          </p:nvSpPr>
          <p:spPr bwMode="auto">
            <a:xfrm>
              <a:off x="1567" y="3987"/>
              <a:ext cx="2" cy="4"/>
            </a:xfrm>
            <a:custGeom>
              <a:avLst/>
              <a:gdLst>
                <a:gd name="T0" fmla="*/ 0 w 2"/>
                <a:gd name="T1" fmla="*/ 2 h 4"/>
                <a:gd name="T2" fmla="*/ 2 w 2"/>
                <a:gd name="T3" fmla="*/ 0 h 4"/>
                <a:gd name="T4" fmla="*/ 2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0"/>
                  </a:lnTo>
                  <a:lnTo>
                    <a:pt x="0" y="4"/>
                  </a:lnTo>
                  <a:lnTo>
                    <a:pt x="0"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79" name="Freeform 1164"/>
            <p:cNvSpPr>
              <a:spLocks/>
            </p:cNvSpPr>
            <p:nvPr/>
          </p:nvSpPr>
          <p:spPr bwMode="auto">
            <a:xfrm>
              <a:off x="1567" y="3987"/>
              <a:ext cx="2" cy="4"/>
            </a:xfrm>
            <a:custGeom>
              <a:avLst/>
              <a:gdLst>
                <a:gd name="T0" fmla="*/ 0 w 2"/>
                <a:gd name="T1" fmla="*/ 2 h 4"/>
                <a:gd name="T2" fmla="*/ 2 w 2"/>
                <a:gd name="T3" fmla="*/ 0 h 4"/>
                <a:gd name="T4" fmla="*/ 2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0"/>
                  </a:lnTo>
                  <a:lnTo>
                    <a:pt x="0" y="4"/>
                  </a:lnTo>
                  <a:lnTo>
                    <a:pt x="0"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0" name="Rectangle 1165"/>
            <p:cNvSpPr>
              <a:spLocks noChangeArrowheads="1"/>
            </p:cNvSpPr>
            <p:nvPr/>
          </p:nvSpPr>
          <p:spPr bwMode="auto">
            <a:xfrm>
              <a:off x="566" y="3510"/>
              <a:ext cx="1" cy="1"/>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1" name="Freeform 1166"/>
            <p:cNvSpPr>
              <a:spLocks/>
            </p:cNvSpPr>
            <p:nvPr/>
          </p:nvSpPr>
          <p:spPr bwMode="auto">
            <a:xfrm>
              <a:off x="566" y="35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2" name="Freeform 1167"/>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3" name="Freeform 1168"/>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4" name="Freeform 1169"/>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5" name="Freeform 1170"/>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6" name="Freeform 1171"/>
            <p:cNvSpPr>
              <a:spLocks/>
            </p:cNvSpPr>
            <p:nvPr/>
          </p:nvSpPr>
          <p:spPr bwMode="auto">
            <a:xfrm>
              <a:off x="306" y="3961"/>
              <a:ext cx="64" cy="32"/>
            </a:xfrm>
            <a:custGeom>
              <a:avLst/>
              <a:gdLst>
                <a:gd name="T0" fmla="*/ 4 w 64"/>
                <a:gd name="T1" fmla="*/ 32 h 32"/>
                <a:gd name="T2" fmla="*/ 0 w 64"/>
                <a:gd name="T3" fmla="*/ 28 h 32"/>
                <a:gd name="T4" fmla="*/ 6 w 64"/>
                <a:gd name="T5" fmla="*/ 24 h 32"/>
                <a:gd name="T6" fmla="*/ 11 w 64"/>
                <a:gd name="T7" fmla="*/ 26 h 32"/>
                <a:gd name="T8" fmla="*/ 17 w 64"/>
                <a:gd name="T9" fmla="*/ 26 h 32"/>
                <a:gd name="T10" fmla="*/ 28 w 64"/>
                <a:gd name="T11" fmla="*/ 24 h 32"/>
                <a:gd name="T12" fmla="*/ 32 w 64"/>
                <a:gd name="T13" fmla="*/ 24 h 32"/>
                <a:gd name="T14" fmla="*/ 28 w 64"/>
                <a:gd name="T15" fmla="*/ 22 h 32"/>
                <a:gd name="T16" fmla="*/ 34 w 64"/>
                <a:gd name="T17" fmla="*/ 19 h 32"/>
                <a:gd name="T18" fmla="*/ 34 w 64"/>
                <a:gd name="T19" fmla="*/ 15 h 32"/>
                <a:gd name="T20" fmla="*/ 45 w 64"/>
                <a:gd name="T21" fmla="*/ 17 h 32"/>
                <a:gd name="T22" fmla="*/ 40 w 64"/>
                <a:gd name="T23" fmla="*/ 13 h 32"/>
                <a:gd name="T24" fmla="*/ 36 w 64"/>
                <a:gd name="T25" fmla="*/ 11 h 32"/>
                <a:gd name="T26" fmla="*/ 32 w 64"/>
                <a:gd name="T27" fmla="*/ 5 h 32"/>
                <a:gd name="T28" fmla="*/ 38 w 64"/>
                <a:gd name="T29" fmla="*/ 0 h 32"/>
                <a:gd name="T30" fmla="*/ 45 w 64"/>
                <a:gd name="T31" fmla="*/ 0 h 32"/>
                <a:gd name="T32" fmla="*/ 49 w 64"/>
                <a:gd name="T33" fmla="*/ 0 h 32"/>
                <a:gd name="T34" fmla="*/ 53 w 64"/>
                <a:gd name="T35" fmla="*/ 2 h 32"/>
                <a:gd name="T36" fmla="*/ 51 w 64"/>
                <a:gd name="T37" fmla="*/ 9 h 32"/>
                <a:gd name="T38" fmla="*/ 55 w 64"/>
                <a:gd name="T39" fmla="*/ 9 h 32"/>
                <a:gd name="T40" fmla="*/ 62 w 64"/>
                <a:gd name="T41" fmla="*/ 5 h 32"/>
                <a:gd name="T42" fmla="*/ 64 w 64"/>
                <a:gd name="T43" fmla="*/ 11 h 32"/>
                <a:gd name="T44" fmla="*/ 57 w 64"/>
                <a:gd name="T45" fmla="*/ 15 h 32"/>
                <a:gd name="T46" fmla="*/ 53 w 64"/>
                <a:gd name="T47" fmla="*/ 15 h 32"/>
                <a:gd name="T48" fmla="*/ 51 w 64"/>
                <a:gd name="T49" fmla="*/ 22 h 32"/>
                <a:gd name="T50" fmla="*/ 55 w 64"/>
                <a:gd name="T51" fmla="*/ 17 h 32"/>
                <a:gd name="T52" fmla="*/ 60 w 64"/>
                <a:gd name="T53" fmla="*/ 24 h 32"/>
                <a:gd name="T54" fmla="*/ 53 w 64"/>
                <a:gd name="T55" fmla="*/ 24 h 32"/>
                <a:gd name="T56" fmla="*/ 49 w 64"/>
                <a:gd name="T57" fmla="*/ 24 h 32"/>
                <a:gd name="T58" fmla="*/ 45 w 64"/>
                <a:gd name="T59" fmla="*/ 28 h 32"/>
                <a:gd name="T60" fmla="*/ 40 w 64"/>
                <a:gd name="T61" fmla="*/ 24 h 32"/>
                <a:gd name="T62" fmla="*/ 40 w 64"/>
                <a:gd name="T63" fmla="*/ 30 h 32"/>
                <a:gd name="T64" fmla="*/ 34 w 64"/>
                <a:gd name="T65" fmla="*/ 28 h 32"/>
                <a:gd name="T66" fmla="*/ 30 w 64"/>
                <a:gd name="T67" fmla="*/ 28 h 32"/>
                <a:gd name="T68" fmla="*/ 19 w 64"/>
                <a:gd name="T69" fmla="*/ 30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0" y="28"/>
                  </a:lnTo>
                  <a:lnTo>
                    <a:pt x="6" y="24"/>
                  </a:lnTo>
                  <a:lnTo>
                    <a:pt x="11" y="26"/>
                  </a:lnTo>
                  <a:lnTo>
                    <a:pt x="17" y="26"/>
                  </a:lnTo>
                  <a:lnTo>
                    <a:pt x="28" y="24"/>
                  </a:lnTo>
                  <a:lnTo>
                    <a:pt x="32" y="24"/>
                  </a:lnTo>
                  <a:lnTo>
                    <a:pt x="28" y="22"/>
                  </a:lnTo>
                  <a:lnTo>
                    <a:pt x="34" y="19"/>
                  </a:lnTo>
                  <a:lnTo>
                    <a:pt x="34" y="15"/>
                  </a:lnTo>
                  <a:lnTo>
                    <a:pt x="45" y="17"/>
                  </a:lnTo>
                  <a:lnTo>
                    <a:pt x="40" y="13"/>
                  </a:lnTo>
                  <a:lnTo>
                    <a:pt x="36" y="11"/>
                  </a:lnTo>
                  <a:lnTo>
                    <a:pt x="32" y="5"/>
                  </a:lnTo>
                  <a:lnTo>
                    <a:pt x="38" y="0"/>
                  </a:lnTo>
                  <a:lnTo>
                    <a:pt x="45" y="0"/>
                  </a:lnTo>
                  <a:lnTo>
                    <a:pt x="49" y="0"/>
                  </a:lnTo>
                  <a:lnTo>
                    <a:pt x="53" y="2"/>
                  </a:lnTo>
                  <a:lnTo>
                    <a:pt x="51" y="9"/>
                  </a:lnTo>
                  <a:lnTo>
                    <a:pt x="55" y="9"/>
                  </a:lnTo>
                  <a:lnTo>
                    <a:pt x="62" y="5"/>
                  </a:lnTo>
                  <a:lnTo>
                    <a:pt x="64" y="11"/>
                  </a:lnTo>
                  <a:lnTo>
                    <a:pt x="57" y="15"/>
                  </a:lnTo>
                  <a:lnTo>
                    <a:pt x="53" y="15"/>
                  </a:lnTo>
                  <a:lnTo>
                    <a:pt x="51" y="22"/>
                  </a:lnTo>
                  <a:lnTo>
                    <a:pt x="55" y="17"/>
                  </a:lnTo>
                  <a:lnTo>
                    <a:pt x="60" y="24"/>
                  </a:lnTo>
                  <a:lnTo>
                    <a:pt x="53" y="24"/>
                  </a:lnTo>
                  <a:lnTo>
                    <a:pt x="49" y="24"/>
                  </a:lnTo>
                  <a:lnTo>
                    <a:pt x="45" y="28"/>
                  </a:lnTo>
                  <a:lnTo>
                    <a:pt x="40" y="24"/>
                  </a:lnTo>
                  <a:lnTo>
                    <a:pt x="40" y="30"/>
                  </a:lnTo>
                  <a:lnTo>
                    <a:pt x="34" y="28"/>
                  </a:lnTo>
                  <a:lnTo>
                    <a:pt x="30" y="28"/>
                  </a:lnTo>
                  <a:lnTo>
                    <a:pt x="19" y="30"/>
                  </a:lnTo>
                  <a:lnTo>
                    <a:pt x="4" y="3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7" name="Freeform 1172"/>
            <p:cNvSpPr>
              <a:spLocks/>
            </p:cNvSpPr>
            <p:nvPr/>
          </p:nvSpPr>
          <p:spPr bwMode="auto">
            <a:xfrm>
              <a:off x="306" y="3961"/>
              <a:ext cx="64" cy="32"/>
            </a:xfrm>
            <a:custGeom>
              <a:avLst/>
              <a:gdLst>
                <a:gd name="T0" fmla="*/ 4 w 64"/>
                <a:gd name="T1" fmla="*/ 32 h 32"/>
                <a:gd name="T2" fmla="*/ 0 w 64"/>
                <a:gd name="T3" fmla="*/ 28 h 32"/>
                <a:gd name="T4" fmla="*/ 6 w 64"/>
                <a:gd name="T5" fmla="*/ 24 h 32"/>
                <a:gd name="T6" fmla="*/ 11 w 64"/>
                <a:gd name="T7" fmla="*/ 26 h 32"/>
                <a:gd name="T8" fmla="*/ 17 w 64"/>
                <a:gd name="T9" fmla="*/ 26 h 32"/>
                <a:gd name="T10" fmla="*/ 28 w 64"/>
                <a:gd name="T11" fmla="*/ 24 h 32"/>
                <a:gd name="T12" fmla="*/ 32 w 64"/>
                <a:gd name="T13" fmla="*/ 24 h 32"/>
                <a:gd name="T14" fmla="*/ 28 w 64"/>
                <a:gd name="T15" fmla="*/ 22 h 32"/>
                <a:gd name="T16" fmla="*/ 34 w 64"/>
                <a:gd name="T17" fmla="*/ 19 h 32"/>
                <a:gd name="T18" fmla="*/ 34 w 64"/>
                <a:gd name="T19" fmla="*/ 15 h 32"/>
                <a:gd name="T20" fmla="*/ 45 w 64"/>
                <a:gd name="T21" fmla="*/ 17 h 32"/>
                <a:gd name="T22" fmla="*/ 40 w 64"/>
                <a:gd name="T23" fmla="*/ 13 h 32"/>
                <a:gd name="T24" fmla="*/ 36 w 64"/>
                <a:gd name="T25" fmla="*/ 11 h 32"/>
                <a:gd name="T26" fmla="*/ 32 w 64"/>
                <a:gd name="T27" fmla="*/ 5 h 32"/>
                <a:gd name="T28" fmla="*/ 38 w 64"/>
                <a:gd name="T29" fmla="*/ 0 h 32"/>
                <a:gd name="T30" fmla="*/ 45 w 64"/>
                <a:gd name="T31" fmla="*/ 0 h 32"/>
                <a:gd name="T32" fmla="*/ 49 w 64"/>
                <a:gd name="T33" fmla="*/ 0 h 32"/>
                <a:gd name="T34" fmla="*/ 53 w 64"/>
                <a:gd name="T35" fmla="*/ 2 h 32"/>
                <a:gd name="T36" fmla="*/ 51 w 64"/>
                <a:gd name="T37" fmla="*/ 9 h 32"/>
                <a:gd name="T38" fmla="*/ 55 w 64"/>
                <a:gd name="T39" fmla="*/ 9 h 32"/>
                <a:gd name="T40" fmla="*/ 62 w 64"/>
                <a:gd name="T41" fmla="*/ 5 h 32"/>
                <a:gd name="T42" fmla="*/ 64 w 64"/>
                <a:gd name="T43" fmla="*/ 11 h 32"/>
                <a:gd name="T44" fmla="*/ 57 w 64"/>
                <a:gd name="T45" fmla="*/ 15 h 32"/>
                <a:gd name="T46" fmla="*/ 53 w 64"/>
                <a:gd name="T47" fmla="*/ 15 h 32"/>
                <a:gd name="T48" fmla="*/ 51 w 64"/>
                <a:gd name="T49" fmla="*/ 22 h 32"/>
                <a:gd name="T50" fmla="*/ 55 w 64"/>
                <a:gd name="T51" fmla="*/ 17 h 32"/>
                <a:gd name="T52" fmla="*/ 60 w 64"/>
                <a:gd name="T53" fmla="*/ 24 h 32"/>
                <a:gd name="T54" fmla="*/ 53 w 64"/>
                <a:gd name="T55" fmla="*/ 24 h 32"/>
                <a:gd name="T56" fmla="*/ 49 w 64"/>
                <a:gd name="T57" fmla="*/ 24 h 32"/>
                <a:gd name="T58" fmla="*/ 45 w 64"/>
                <a:gd name="T59" fmla="*/ 28 h 32"/>
                <a:gd name="T60" fmla="*/ 40 w 64"/>
                <a:gd name="T61" fmla="*/ 24 h 32"/>
                <a:gd name="T62" fmla="*/ 40 w 64"/>
                <a:gd name="T63" fmla="*/ 30 h 32"/>
                <a:gd name="T64" fmla="*/ 34 w 64"/>
                <a:gd name="T65" fmla="*/ 28 h 32"/>
                <a:gd name="T66" fmla="*/ 30 w 64"/>
                <a:gd name="T67" fmla="*/ 28 h 32"/>
                <a:gd name="T68" fmla="*/ 19 w 64"/>
                <a:gd name="T69" fmla="*/ 30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0" y="28"/>
                  </a:lnTo>
                  <a:lnTo>
                    <a:pt x="6" y="24"/>
                  </a:lnTo>
                  <a:lnTo>
                    <a:pt x="11" y="26"/>
                  </a:lnTo>
                  <a:lnTo>
                    <a:pt x="17" y="26"/>
                  </a:lnTo>
                  <a:lnTo>
                    <a:pt x="28" y="24"/>
                  </a:lnTo>
                  <a:lnTo>
                    <a:pt x="32" y="24"/>
                  </a:lnTo>
                  <a:lnTo>
                    <a:pt x="28" y="22"/>
                  </a:lnTo>
                  <a:lnTo>
                    <a:pt x="34" y="19"/>
                  </a:lnTo>
                  <a:lnTo>
                    <a:pt x="34" y="15"/>
                  </a:lnTo>
                  <a:lnTo>
                    <a:pt x="45" y="17"/>
                  </a:lnTo>
                  <a:lnTo>
                    <a:pt x="40" y="13"/>
                  </a:lnTo>
                  <a:lnTo>
                    <a:pt x="36" y="11"/>
                  </a:lnTo>
                  <a:lnTo>
                    <a:pt x="32" y="5"/>
                  </a:lnTo>
                  <a:lnTo>
                    <a:pt x="38" y="0"/>
                  </a:lnTo>
                  <a:lnTo>
                    <a:pt x="45" y="0"/>
                  </a:lnTo>
                  <a:lnTo>
                    <a:pt x="49" y="0"/>
                  </a:lnTo>
                  <a:lnTo>
                    <a:pt x="53" y="2"/>
                  </a:lnTo>
                  <a:lnTo>
                    <a:pt x="51" y="9"/>
                  </a:lnTo>
                  <a:lnTo>
                    <a:pt x="55" y="9"/>
                  </a:lnTo>
                  <a:lnTo>
                    <a:pt x="62" y="5"/>
                  </a:lnTo>
                  <a:lnTo>
                    <a:pt x="64" y="11"/>
                  </a:lnTo>
                  <a:lnTo>
                    <a:pt x="57" y="15"/>
                  </a:lnTo>
                  <a:lnTo>
                    <a:pt x="53" y="15"/>
                  </a:lnTo>
                  <a:lnTo>
                    <a:pt x="51" y="22"/>
                  </a:lnTo>
                  <a:lnTo>
                    <a:pt x="55" y="17"/>
                  </a:lnTo>
                  <a:lnTo>
                    <a:pt x="60" y="24"/>
                  </a:lnTo>
                  <a:lnTo>
                    <a:pt x="53" y="24"/>
                  </a:lnTo>
                  <a:lnTo>
                    <a:pt x="49" y="24"/>
                  </a:lnTo>
                  <a:lnTo>
                    <a:pt x="45" y="28"/>
                  </a:lnTo>
                  <a:lnTo>
                    <a:pt x="40" y="24"/>
                  </a:lnTo>
                  <a:lnTo>
                    <a:pt x="40" y="30"/>
                  </a:lnTo>
                  <a:lnTo>
                    <a:pt x="34" y="28"/>
                  </a:lnTo>
                  <a:lnTo>
                    <a:pt x="30" y="28"/>
                  </a:lnTo>
                  <a:lnTo>
                    <a:pt x="19" y="30"/>
                  </a:lnTo>
                  <a:lnTo>
                    <a:pt x="4" y="3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8" name="Freeform 1173"/>
            <p:cNvSpPr>
              <a:spLocks/>
            </p:cNvSpPr>
            <p:nvPr/>
          </p:nvSpPr>
          <p:spPr bwMode="auto">
            <a:xfrm>
              <a:off x="366" y="3978"/>
              <a:ext cx="6" cy="7"/>
            </a:xfrm>
            <a:custGeom>
              <a:avLst/>
              <a:gdLst>
                <a:gd name="T0" fmla="*/ 2 w 6"/>
                <a:gd name="T1" fmla="*/ 7 h 7"/>
                <a:gd name="T2" fmla="*/ 0 w 6"/>
                <a:gd name="T3" fmla="*/ 0 h 7"/>
                <a:gd name="T4" fmla="*/ 6 w 6"/>
                <a:gd name="T5" fmla="*/ 0 h 7"/>
                <a:gd name="T6" fmla="*/ 4 w 6"/>
                <a:gd name="T7" fmla="*/ 5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0" y="0"/>
                  </a:lnTo>
                  <a:lnTo>
                    <a:pt x="6" y="0"/>
                  </a:lnTo>
                  <a:lnTo>
                    <a:pt x="4" y="5"/>
                  </a:lnTo>
                  <a:lnTo>
                    <a:pt x="2" y="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89" name="Freeform 1174"/>
            <p:cNvSpPr>
              <a:spLocks/>
            </p:cNvSpPr>
            <p:nvPr/>
          </p:nvSpPr>
          <p:spPr bwMode="auto">
            <a:xfrm>
              <a:off x="366" y="3978"/>
              <a:ext cx="6" cy="7"/>
            </a:xfrm>
            <a:custGeom>
              <a:avLst/>
              <a:gdLst>
                <a:gd name="T0" fmla="*/ 2 w 6"/>
                <a:gd name="T1" fmla="*/ 7 h 7"/>
                <a:gd name="T2" fmla="*/ 0 w 6"/>
                <a:gd name="T3" fmla="*/ 0 h 7"/>
                <a:gd name="T4" fmla="*/ 6 w 6"/>
                <a:gd name="T5" fmla="*/ 0 h 7"/>
                <a:gd name="T6" fmla="*/ 4 w 6"/>
                <a:gd name="T7" fmla="*/ 5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0" y="0"/>
                  </a:lnTo>
                  <a:lnTo>
                    <a:pt x="6" y="0"/>
                  </a:lnTo>
                  <a:lnTo>
                    <a:pt x="4" y="5"/>
                  </a:lnTo>
                  <a:lnTo>
                    <a:pt x="2" y="7"/>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0" name="Freeform 1175"/>
            <p:cNvSpPr>
              <a:spLocks/>
            </p:cNvSpPr>
            <p:nvPr/>
          </p:nvSpPr>
          <p:spPr bwMode="auto">
            <a:xfrm>
              <a:off x="455" y="3614"/>
              <a:ext cx="49" cy="36"/>
            </a:xfrm>
            <a:custGeom>
              <a:avLst/>
              <a:gdLst>
                <a:gd name="T0" fmla="*/ 6 w 49"/>
                <a:gd name="T1" fmla="*/ 15 h 36"/>
                <a:gd name="T2" fmla="*/ 2 w 49"/>
                <a:gd name="T3" fmla="*/ 13 h 36"/>
                <a:gd name="T4" fmla="*/ 0 w 49"/>
                <a:gd name="T5" fmla="*/ 2 h 36"/>
                <a:gd name="T6" fmla="*/ 6 w 49"/>
                <a:gd name="T7" fmla="*/ 0 h 36"/>
                <a:gd name="T8" fmla="*/ 15 w 49"/>
                <a:gd name="T9" fmla="*/ 4 h 36"/>
                <a:gd name="T10" fmla="*/ 19 w 49"/>
                <a:gd name="T11" fmla="*/ 0 h 36"/>
                <a:gd name="T12" fmla="*/ 23 w 49"/>
                <a:gd name="T13" fmla="*/ 2 h 36"/>
                <a:gd name="T14" fmla="*/ 30 w 49"/>
                <a:gd name="T15" fmla="*/ 0 h 36"/>
                <a:gd name="T16" fmla="*/ 34 w 49"/>
                <a:gd name="T17" fmla="*/ 0 h 36"/>
                <a:gd name="T18" fmla="*/ 38 w 49"/>
                <a:gd name="T19" fmla="*/ 7 h 36"/>
                <a:gd name="T20" fmla="*/ 45 w 49"/>
                <a:gd name="T21" fmla="*/ 7 h 36"/>
                <a:gd name="T22" fmla="*/ 49 w 49"/>
                <a:gd name="T23" fmla="*/ 11 h 36"/>
                <a:gd name="T24" fmla="*/ 45 w 49"/>
                <a:gd name="T25" fmla="*/ 26 h 36"/>
                <a:gd name="T26" fmla="*/ 45 w 49"/>
                <a:gd name="T27" fmla="*/ 32 h 36"/>
                <a:gd name="T28" fmla="*/ 40 w 49"/>
                <a:gd name="T29" fmla="*/ 32 h 36"/>
                <a:gd name="T30" fmla="*/ 30 w 49"/>
                <a:gd name="T31" fmla="*/ 32 h 36"/>
                <a:gd name="T32" fmla="*/ 23 w 49"/>
                <a:gd name="T33" fmla="*/ 30 h 36"/>
                <a:gd name="T34" fmla="*/ 28 w 49"/>
                <a:gd name="T35" fmla="*/ 36 h 36"/>
                <a:gd name="T36" fmla="*/ 19 w 49"/>
                <a:gd name="T37" fmla="*/ 28 h 36"/>
                <a:gd name="T38" fmla="*/ 15 w 49"/>
                <a:gd name="T39" fmla="*/ 26 h 36"/>
                <a:gd name="T40" fmla="*/ 6 w 49"/>
                <a:gd name="T41" fmla="*/ 15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2" y="13"/>
                  </a:lnTo>
                  <a:lnTo>
                    <a:pt x="0" y="2"/>
                  </a:lnTo>
                  <a:lnTo>
                    <a:pt x="6" y="0"/>
                  </a:lnTo>
                  <a:lnTo>
                    <a:pt x="15" y="4"/>
                  </a:lnTo>
                  <a:lnTo>
                    <a:pt x="19" y="0"/>
                  </a:lnTo>
                  <a:lnTo>
                    <a:pt x="23" y="2"/>
                  </a:lnTo>
                  <a:lnTo>
                    <a:pt x="30" y="0"/>
                  </a:lnTo>
                  <a:lnTo>
                    <a:pt x="34" y="0"/>
                  </a:lnTo>
                  <a:lnTo>
                    <a:pt x="38" y="7"/>
                  </a:lnTo>
                  <a:lnTo>
                    <a:pt x="45" y="7"/>
                  </a:lnTo>
                  <a:lnTo>
                    <a:pt x="49" y="11"/>
                  </a:lnTo>
                  <a:lnTo>
                    <a:pt x="45" y="26"/>
                  </a:lnTo>
                  <a:lnTo>
                    <a:pt x="45" y="32"/>
                  </a:lnTo>
                  <a:lnTo>
                    <a:pt x="40" y="32"/>
                  </a:lnTo>
                  <a:lnTo>
                    <a:pt x="30" y="32"/>
                  </a:lnTo>
                  <a:lnTo>
                    <a:pt x="23" y="30"/>
                  </a:lnTo>
                  <a:lnTo>
                    <a:pt x="28" y="36"/>
                  </a:lnTo>
                  <a:lnTo>
                    <a:pt x="19" y="28"/>
                  </a:lnTo>
                  <a:lnTo>
                    <a:pt x="15" y="26"/>
                  </a:lnTo>
                  <a:lnTo>
                    <a:pt x="6" y="15"/>
                  </a:lnTo>
                  <a:lnTo>
                    <a:pt x="6" y="1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1" name="Freeform 1176"/>
            <p:cNvSpPr>
              <a:spLocks/>
            </p:cNvSpPr>
            <p:nvPr/>
          </p:nvSpPr>
          <p:spPr bwMode="auto">
            <a:xfrm>
              <a:off x="455" y="3614"/>
              <a:ext cx="49" cy="36"/>
            </a:xfrm>
            <a:custGeom>
              <a:avLst/>
              <a:gdLst>
                <a:gd name="T0" fmla="*/ 6 w 49"/>
                <a:gd name="T1" fmla="*/ 15 h 36"/>
                <a:gd name="T2" fmla="*/ 2 w 49"/>
                <a:gd name="T3" fmla="*/ 13 h 36"/>
                <a:gd name="T4" fmla="*/ 0 w 49"/>
                <a:gd name="T5" fmla="*/ 2 h 36"/>
                <a:gd name="T6" fmla="*/ 6 w 49"/>
                <a:gd name="T7" fmla="*/ 0 h 36"/>
                <a:gd name="T8" fmla="*/ 15 w 49"/>
                <a:gd name="T9" fmla="*/ 4 h 36"/>
                <a:gd name="T10" fmla="*/ 19 w 49"/>
                <a:gd name="T11" fmla="*/ 0 h 36"/>
                <a:gd name="T12" fmla="*/ 23 w 49"/>
                <a:gd name="T13" fmla="*/ 2 h 36"/>
                <a:gd name="T14" fmla="*/ 30 w 49"/>
                <a:gd name="T15" fmla="*/ 0 h 36"/>
                <a:gd name="T16" fmla="*/ 34 w 49"/>
                <a:gd name="T17" fmla="*/ 0 h 36"/>
                <a:gd name="T18" fmla="*/ 38 w 49"/>
                <a:gd name="T19" fmla="*/ 7 h 36"/>
                <a:gd name="T20" fmla="*/ 45 w 49"/>
                <a:gd name="T21" fmla="*/ 7 h 36"/>
                <a:gd name="T22" fmla="*/ 49 w 49"/>
                <a:gd name="T23" fmla="*/ 11 h 36"/>
                <a:gd name="T24" fmla="*/ 45 w 49"/>
                <a:gd name="T25" fmla="*/ 26 h 36"/>
                <a:gd name="T26" fmla="*/ 45 w 49"/>
                <a:gd name="T27" fmla="*/ 32 h 36"/>
                <a:gd name="T28" fmla="*/ 40 w 49"/>
                <a:gd name="T29" fmla="*/ 32 h 36"/>
                <a:gd name="T30" fmla="*/ 30 w 49"/>
                <a:gd name="T31" fmla="*/ 32 h 36"/>
                <a:gd name="T32" fmla="*/ 23 w 49"/>
                <a:gd name="T33" fmla="*/ 30 h 36"/>
                <a:gd name="T34" fmla="*/ 28 w 49"/>
                <a:gd name="T35" fmla="*/ 36 h 36"/>
                <a:gd name="T36" fmla="*/ 19 w 49"/>
                <a:gd name="T37" fmla="*/ 28 h 36"/>
                <a:gd name="T38" fmla="*/ 15 w 49"/>
                <a:gd name="T39" fmla="*/ 26 h 36"/>
                <a:gd name="T40" fmla="*/ 6 w 49"/>
                <a:gd name="T41" fmla="*/ 15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2" y="13"/>
                  </a:lnTo>
                  <a:lnTo>
                    <a:pt x="0" y="2"/>
                  </a:lnTo>
                  <a:lnTo>
                    <a:pt x="6" y="0"/>
                  </a:lnTo>
                  <a:lnTo>
                    <a:pt x="15" y="4"/>
                  </a:lnTo>
                  <a:lnTo>
                    <a:pt x="19" y="0"/>
                  </a:lnTo>
                  <a:lnTo>
                    <a:pt x="23" y="2"/>
                  </a:lnTo>
                  <a:lnTo>
                    <a:pt x="30" y="0"/>
                  </a:lnTo>
                  <a:lnTo>
                    <a:pt x="34" y="0"/>
                  </a:lnTo>
                  <a:lnTo>
                    <a:pt x="38" y="7"/>
                  </a:lnTo>
                  <a:lnTo>
                    <a:pt x="45" y="7"/>
                  </a:lnTo>
                  <a:lnTo>
                    <a:pt x="49" y="11"/>
                  </a:lnTo>
                  <a:lnTo>
                    <a:pt x="45" y="26"/>
                  </a:lnTo>
                  <a:lnTo>
                    <a:pt x="45" y="32"/>
                  </a:lnTo>
                  <a:lnTo>
                    <a:pt x="40" y="32"/>
                  </a:lnTo>
                  <a:lnTo>
                    <a:pt x="30" y="32"/>
                  </a:lnTo>
                  <a:lnTo>
                    <a:pt x="23" y="30"/>
                  </a:lnTo>
                  <a:lnTo>
                    <a:pt x="28" y="36"/>
                  </a:lnTo>
                  <a:lnTo>
                    <a:pt x="19" y="28"/>
                  </a:lnTo>
                  <a:lnTo>
                    <a:pt x="15" y="26"/>
                  </a:lnTo>
                  <a:lnTo>
                    <a:pt x="6" y="15"/>
                  </a:lnTo>
                  <a:lnTo>
                    <a:pt x="6" y="15"/>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2" name="Freeform 1177"/>
            <p:cNvSpPr>
              <a:spLocks/>
            </p:cNvSpPr>
            <p:nvPr/>
          </p:nvSpPr>
          <p:spPr bwMode="auto">
            <a:xfrm>
              <a:off x="378" y="3959"/>
              <a:ext cx="15" cy="11"/>
            </a:xfrm>
            <a:custGeom>
              <a:avLst/>
              <a:gdLst>
                <a:gd name="T0" fmla="*/ 5 w 15"/>
                <a:gd name="T1" fmla="*/ 11 h 11"/>
                <a:gd name="T2" fmla="*/ 0 w 15"/>
                <a:gd name="T3" fmla="*/ 9 h 11"/>
                <a:gd name="T4" fmla="*/ 0 w 15"/>
                <a:gd name="T5" fmla="*/ 4 h 11"/>
                <a:gd name="T6" fmla="*/ 5 w 15"/>
                <a:gd name="T7" fmla="*/ 0 h 11"/>
                <a:gd name="T8" fmla="*/ 9 w 15"/>
                <a:gd name="T9" fmla="*/ 4 h 11"/>
                <a:gd name="T10" fmla="*/ 15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0" y="9"/>
                  </a:lnTo>
                  <a:lnTo>
                    <a:pt x="0" y="4"/>
                  </a:lnTo>
                  <a:lnTo>
                    <a:pt x="5" y="0"/>
                  </a:lnTo>
                  <a:lnTo>
                    <a:pt x="9" y="4"/>
                  </a:lnTo>
                  <a:lnTo>
                    <a:pt x="15" y="9"/>
                  </a:lnTo>
                  <a:lnTo>
                    <a:pt x="5" y="1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3" name="Freeform 1178"/>
            <p:cNvSpPr>
              <a:spLocks/>
            </p:cNvSpPr>
            <p:nvPr/>
          </p:nvSpPr>
          <p:spPr bwMode="auto">
            <a:xfrm>
              <a:off x="378" y="3959"/>
              <a:ext cx="15" cy="11"/>
            </a:xfrm>
            <a:custGeom>
              <a:avLst/>
              <a:gdLst>
                <a:gd name="T0" fmla="*/ 5 w 15"/>
                <a:gd name="T1" fmla="*/ 11 h 11"/>
                <a:gd name="T2" fmla="*/ 0 w 15"/>
                <a:gd name="T3" fmla="*/ 9 h 11"/>
                <a:gd name="T4" fmla="*/ 0 w 15"/>
                <a:gd name="T5" fmla="*/ 4 h 11"/>
                <a:gd name="T6" fmla="*/ 5 w 15"/>
                <a:gd name="T7" fmla="*/ 0 h 11"/>
                <a:gd name="T8" fmla="*/ 9 w 15"/>
                <a:gd name="T9" fmla="*/ 4 h 11"/>
                <a:gd name="T10" fmla="*/ 15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0" y="9"/>
                  </a:lnTo>
                  <a:lnTo>
                    <a:pt x="0" y="4"/>
                  </a:lnTo>
                  <a:lnTo>
                    <a:pt x="5" y="0"/>
                  </a:lnTo>
                  <a:lnTo>
                    <a:pt x="9" y="4"/>
                  </a:lnTo>
                  <a:lnTo>
                    <a:pt x="15" y="9"/>
                  </a:lnTo>
                  <a:lnTo>
                    <a:pt x="5" y="11"/>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4" name="Freeform 1179"/>
            <p:cNvSpPr>
              <a:spLocks/>
            </p:cNvSpPr>
            <p:nvPr/>
          </p:nvSpPr>
          <p:spPr bwMode="auto">
            <a:xfrm>
              <a:off x="395" y="3959"/>
              <a:ext cx="5" cy="11"/>
            </a:xfrm>
            <a:custGeom>
              <a:avLst/>
              <a:gdLst>
                <a:gd name="T0" fmla="*/ 0 w 5"/>
                <a:gd name="T1" fmla="*/ 11 h 11"/>
                <a:gd name="T2" fmla="*/ 0 w 5"/>
                <a:gd name="T3" fmla="*/ 4 h 11"/>
                <a:gd name="T4" fmla="*/ 3 w 5"/>
                <a:gd name="T5" fmla="*/ 0 h 11"/>
                <a:gd name="T6" fmla="*/ 5 w 5"/>
                <a:gd name="T7" fmla="*/ 7 h 11"/>
                <a:gd name="T8" fmla="*/ 0 w 5"/>
                <a:gd name="T9" fmla="*/ 11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4"/>
                  </a:lnTo>
                  <a:lnTo>
                    <a:pt x="3" y="0"/>
                  </a:lnTo>
                  <a:lnTo>
                    <a:pt x="5" y="7"/>
                  </a:lnTo>
                  <a:lnTo>
                    <a:pt x="0" y="11"/>
                  </a:lnTo>
                  <a:lnTo>
                    <a:pt x="0" y="1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5" name="Freeform 1180"/>
            <p:cNvSpPr>
              <a:spLocks/>
            </p:cNvSpPr>
            <p:nvPr/>
          </p:nvSpPr>
          <p:spPr bwMode="auto">
            <a:xfrm>
              <a:off x="395" y="3959"/>
              <a:ext cx="5" cy="11"/>
            </a:xfrm>
            <a:custGeom>
              <a:avLst/>
              <a:gdLst>
                <a:gd name="T0" fmla="*/ 0 w 5"/>
                <a:gd name="T1" fmla="*/ 11 h 11"/>
                <a:gd name="T2" fmla="*/ 0 w 5"/>
                <a:gd name="T3" fmla="*/ 4 h 11"/>
                <a:gd name="T4" fmla="*/ 3 w 5"/>
                <a:gd name="T5" fmla="*/ 0 h 11"/>
                <a:gd name="T6" fmla="*/ 5 w 5"/>
                <a:gd name="T7" fmla="*/ 7 h 11"/>
                <a:gd name="T8" fmla="*/ 0 w 5"/>
                <a:gd name="T9" fmla="*/ 11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4"/>
                  </a:lnTo>
                  <a:lnTo>
                    <a:pt x="3" y="0"/>
                  </a:lnTo>
                  <a:lnTo>
                    <a:pt x="5" y="7"/>
                  </a:lnTo>
                  <a:lnTo>
                    <a:pt x="0" y="11"/>
                  </a:lnTo>
                  <a:lnTo>
                    <a:pt x="0" y="11"/>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6" name="Freeform 1181"/>
            <p:cNvSpPr>
              <a:spLocks/>
            </p:cNvSpPr>
            <p:nvPr/>
          </p:nvSpPr>
          <p:spPr bwMode="auto">
            <a:xfrm>
              <a:off x="400" y="3972"/>
              <a:ext cx="4" cy="4"/>
            </a:xfrm>
            <a:custGeom>
              <a:avLst/>
              <a:gdLst>
                <a:gd name="T0" fmla="*/ 4 w 4"/>
                <a:gd name="T1" fmla="*/ 4 h 4"/>
                <a:gd name="T2" fmla="*/ 0 w 4"/>
                <a:gd name="T3" fmla="*/ 0 h 4"/>
                <a:gd name="T4" fmla="*/ 4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0" y="0"/>
                  </a:lnTo>
                  <a:lnTo>
                    <a:pt x="4" y="2"/>
                  </a:lnTo>
                  <a:lnTo>
                    <a:pt x="4"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7" name="Freeform 1182"/>
            <p:cNvSpPr>
              <a:spLocks/>
            </p:cNvSpPr>
            <p:nvPr/>
          </p:nvSpPr>
          <p:spPr bwMode="auto">
            <a:xfrm>
              <a:off x="400" y="3972"/>
              <a:ext cx="4" cy="4"/>
            </a:xfrm>
            <a:custGeom>
              <a:avLst/>
              <a:gdLst>
                <a:gd name="T0" fmla="*/ 4 w 4"/>
                <a:gd name="T1" fmla="*/ 4 h 4"/>
                <a:gd name="T2" fmla="*/ 0 w 4"/>
                <a:gd name="T3" fmla="*/ 0 h 4"/>
                <a:gd name="T4" fmla="*/ 4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0" y="0"/>
                  </a:lnTo>
                  <a:lnTo>
                    <a:pt x="4" y="2"/>
                  </a:lnTo>
                  <a:lnTo>
                    <a:pt x="4"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8" name="Freeform 1183"/>
            <p:cNvSpPr>
              <a:spLocks/>
            </p:cNvSpPr>
            <p:nvPr/>
          </p:nvSpPr>
          <p:spPr bwMode="auto">
            <a:xfrm>
              <a:off x="423" y="3934"/>
              <a:ext cx="62" cy="29"/>
            </a:xfrm>
            <a:custGeom>
              <a:avLst/>
              <a:gdLst>
                <a:gd name="T0" fmla="*/ 2 w 62"/>
                <a:gd name="T1" fmla="*/ 15 h 29"/>
                <a:gd name="T2" fmla="*/ 11 w 62"/>
                <a:gd name="T3" fmla="*/ 12 h 29"/>
                <a:gd name="T4" fmla="*/ 19 w 62"/>
                <a:gd name="T5" fmla="*/ 4 h 29"/>
                <a:gd name="T6" fmla="*/ 23 w 62"/>
                <a:gd name="T7" fmla="*/ 2 h 29"/>
                <a:gd name="T8" fmla="*/ 28 w 62"/>
                <a:gd name="T9" fmla="*/ 4 h 29"/>
                <a:gd name="T10" fmla="*/ 34 w 62"/>
                <a:gd name="T11" fmla="*/ 2 h 29"/>
                <a:gd name="T12" fmla="*/ 45 w 62"/>
                <a:gd name="T13" fmla="*/ 0 h 29"/>
                <a:gd name="T14" fmla="*/ 49 w 62"/>
                <a:gd name="T15" fmla="*/ 2 h 29"/>
                <a:gd name="T16" fmla="*/ 53 w 62"/>
                <a:gd name="T17" fmla="*/ 6 h 29"/>
                <a:gd name="T18" fmla="*/ 55 w 62"/>
                <a:gd name="T19" fmla="*/ 10 h 29"/>
                <a:gd name="T20" fmla="*/ 55 w 62"/>
                <a:gd name="T21" fmla="*/ 17 h 29"/>
                <a:gd name="T22" fmla="*/ 58 w 62"/>
                <a:gd name="T23" fmla="*/ 21 h 29"/>
                <a:gd name="T24" fmla="*/ 62 w 62"/>
                <a:gd name="T25" fmla="*/ 23 h 29"/>
                <a:gd name="T26" fmla="*/ 62 w 62"/>
                <a:gd name="T27" fmla="*/ 29 h 29"/>
                <a:gd name="T28" fmla="*/ 58 w 62"/>
                <a:gd name="T29" fmla="*/ 25 h 29"/>
                <a:gd name="T30" fmla="*/ 53 w 62"/>
                <a:gd name="T31" fmla="*/ 21 h 29"/>
                <a:gd name="T32" fmla="*/ 51 w 62"/>
                <a:gd name="T33" fmla="*/ 25 h 29"/>
                <a:gd name="T34" fmla="*/ 45 w 62"/>
                <a:gd name="T35" fmla="*/ 27 h 29"/>
                <a:gd name="T36" fmla="*/ 36 w 62"/>
                <a:gd name="T37" fmla="*/ 23 h 29"/>
                <a:gd name="T38" fmla="*/ 30 w 62"/>
                <a:gd name="T39" fmla="*/ 21 h 29"/>
                <a:gd name="T40" fmla="*/ 26 w 62"/>
                <a:gd name="T41" fmla="*/ 21 h 29"/>
                <a:gd name="T42" fmla="*/ 19 w 62"/>
                <a:gd name="T43" fmla="*/ 25 h 29"/>
                <a:gd name="T44" fmla="*/ 15 w 62"/>
                <a:gd name="T45" fmla="*/ 29 h 29"/>
                <a:gd name="T46" fmla="*/ 11 w 62"/>
                <a:gd name="T47" fmla="*/ 29 h 29"/>
                <a:gd name="T48" fmla="*/ 6 w 62"/>
                <a:gd name="T49" fmla="*/ 27 h 29"/>
                <a:gd name="T50" fmla="*/ 0 w 62"/>
                <a:gd name="T51" fmla="*/ 25 h 29"/>
                <a:gd name="T52" fmla="*/ 0 w 62"/>
                <a:gd name="T53" fmla="*/ 19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11" y="12"/>
                  </a:lnTo>
                  <a:lnTo>
                    <a:pt x="19" y="4"/>
                  </a:lnTo>
                  <a:lnTo>
                    <a:pt x="23" y="2"/>
                  </a:lnTo>
                  <a:lnTo>
                    <a:pt x="28" y="4"/>
                  </a:lnTo>
                  <a:lnTo>
                    <a:pt x="34" y="2"/>
                  </a:lnTo>
                  <a:lnTo>
                    <a:pt x="45" y="0"/>
                  </a:lnTo>
                  <a:lnTo>
                    <a:pt x="49" y="2"/>
                  </a:lnTo>
                  <a:lnTo>
                    <a:pt x="53" y="6"/>
                  </a:lnTo>
                  <a:lnTo>
                    <a:pt x="55" y="10"/>
                  </a:lnTo>
                  <a:lnTo>
                    <a:pt x="55" y="17"/>
                  </a:lnTo>
                  <a:lnTo>
                    <a:pt x="58" y="21"/>
                  </a:lnTo>
                  <a:lnTo>
                    <a:pt x="62" y="23"/>
                  </a:lnTo>
                  <a:lnTo>
                    <a:pt x="62" y="29"/>
                  </a:lnTo>
                  <a:lnTo>
                    <a:pt x="58" y="25"/>
                  </a:lnTo>
                  <a:lnTo>
                    <a:pt x="53" y="21"/>
                  </a:lnTo>
                  <a:lnTo>
                    <a:pt x="51" y="25"/>
                  </a:lnTo>
                  <a:lnTo>
                    <a:pt x="45" y="27"/>
                  </a:lnTo>
                  <a:lnTo>
                    <a:pt x="36" y="23"/>
                  </a:lnTo>
                  <a:lnTo>
                    <a:pt x="30" y="21"/>
                  </a:lnTo>
                  <a:lnTo>
                    <a:pt x="26" y="21"/>
                  </a:lnTo>
                  <a:lnTo>
                    <a:pt x="19" y="25"/>
                  </a:lnTo>
                  <a:lnTo>
                    <a:pt x="15" y="29"/>
                  </a:lnTo>
                  <a:lnTo>
                    <a:pt x="11" y="29"/>
                  </a:lnTo>
                  <a:lnTo>
                    <a:pt x="6" y="27"/>
                  </a:lnTo>
                  <a:lnTo>
                    <a:pt x="0" y="25"/>
                  </a:lnTo>
                  <a:lnTo>
                    <a:pt x="0" y="19"/>
                  </a:lnTo>
                  <a:lnTo>
                    <a:pt x="2" y="1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499" name="Freeform 1184"/>
            <p:cNvSpPr>
              <a:spLocks/>
            </p:cNvSpPr>
            <p:nvPr/>
          </p:nvSpPr>
          <p:spPr bwMode="auto">
            <a:xfrm>
              <a:off x="423" y="3934"/>
              <a:ext cx="62" cy="29"/>
            </a:xfrm>
            <a:custGeom>
              <a:avLst/>
              <a:gdLst>
                <a:gd name="T0" fmla="*/ 2 w 62"/>
                <a:gd name="T1" fmla="*/ 15 h 29"/>
                <a:gd name="T2" fmla="*/ 11 w 62"/>
                <a:gd name="T3" fmla="*/ 12 h 29"/>
                <a:gd name="T4" fmla="*/ 19 w 62"/>
                <a:gd name="T5" fmla="*/ 4 h 29"/>
                <a:gd name="T6" fmla="*/ 23 w 62"/>
                <a:gd name="T7" fmla="*/ 2 h 29"/>
                <a:gd name="T8" fmla="*/ 28 w 62"/>
                <a:gd name="T9" fmla="*/ 4 h 29"/>
                <a:gd name="T10" fmla="*/ 34 w 62"/>
                <a:gd name="T11" fmla="*/ 2 h 29"/>
                <a:gd name="T12" fmla="*/ 45 w 62"/>
                <a:gd name="T13" fmla="*/ 0 h 29"/>
                <a:gd name="T14" fmla="*/ 49 w 62"/>
                <a:gd name="T15" fmla="*/ 2 h 29"/>
                <a:gd name="T16" fmla="*/ 53 w 62"/>
                <a:gd name="T17" fmla="*/ 6 h 29"/>
                <a:gd name="T18" fmla="*/ 55 w 62"/>
                <a:gd name="T19" fmla="*/ 10 h 29"/>
                <a:gd name="T20" fmla="*/ 55 w 62"/>
                <a:gd name="T21" fmla="*/ 17 h 29"/>
                <a:gd name="T22" fmla="*/ 58 w 62"/>
                <a:gd name="T23" fmla="*/ 21 h 29"/>
                <a:gd name="T24" fmla="*/ 62 w 62"/>
                <a:gd name="T25" fmla="*/ 23 h 29"/>
                <a:gd name="T26" fmla="*/ 62 w 62"/>
                <a:gd name="T27" fmla="*/ 29 h 29"/>
                <a:gd name="T28" fmla="*/ 58 w 62"/>
                <a:gd name="T29" fmla="*/ 25 h 29"/>
                <a:gd name="T30" fmla="*/ 53 w 62"/>
                <a:gd name="T31" fmla="*/ 21 h 29"/>
                <a:gd name="T32" fmla="*/ 51 w 62"/>
                <a:gd name="T33" fmla="*/ 25 h 29"/>
                <a:gd name="T34" fmla="*/ 45 w 62"/>
                <a:gd name="T35" fmla="*/ 27 h 29"/>
                <a:gd name="T36" fmla="*/ 36 w 62"/>
                <a:gd name="T37" fmla="*/ 23 h 29"/>
                <a:gd name="T38" fmla="*/ 30 w 62"/>
                <a:gd name="T39" fmla="*/ 21 h 29"/>
                <a:gd name="T40" fmla="*/ 26 w 62"/>
                <a:gd name="T41" fmla="*/ 21 h 29"/>
                <a:gd name="T42" fmla="*/ 19 w 62"/>
                <a:gd name="T43" fmla="*/ 25 h 29"/>
                <a:gd name="T44" fmla="*/ 15 w 62"/>
                <a:gd name="T45" fmla="*/ 29 h 29"/>
                <a:gd name="T46" fmla="*/ 11 w 62"/>
                <a:gd name="T47" fmla="*/ 29 h 29"/>
                <a:gd name="T48" fmla="*/ 6 w 62"/>
                <a:gd name="T49" fmla="*/ 27 h 29"/>
                <a:gd name="T50" fmla="*/ 0 w 62"/>
                <a:gd name="T51" fmla="*/ 25 h 29"/>
                <a:gd name="T52" fmla="*/ 0 w 62"/>
                <a:gd name="T53" fmla="*/ 19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11" y="12"/>
                  </a:lnTo>
                  <a:lnTo>
                    <a:pt x="19" y="4"/>
                  </a:lnTo>
                  <a:lnTo>
                    <a:pt x="23" y="2"/>
                  </a:lnTo>
                  <a:lnTo>
                    <a:pt x="28" y="4"/>
                  </a:lnTo>
                  <a:lnTo>
                    <a:pt x="34" y="2"/>
                  </a:lnTo>
                  <a:lnTo>
                    <a:pt x="45" y="0"/>
                  </a:lnTo>
                  <a:lnTo>
                    <a:pt x="49" y="2"/>
                  </a:lnTo>
                  <a:lnTo>
                    <a:pt x="53" y="6"/>
                  </a:lnTo>
                  <a:lnTo>
                    <a:pt x="55" y="10"/>
                  </a:lnTo>
                  <a:lnTo>
                    <a:pt x="55" y="17"/>
                  </a:lnTo>
                  <a:lnTo>
                    <a:pt x="58" y="21"/>
                  </a:lnTo>
                  <a:lnTo>
                    <a:pt x="62" y="23"/>
                  </a:lnTo>
                  <a:lnTo>
                    <a:pt x="62" y="29"/>
                  </a:lnTo>
                  <a:lnTo>
                    <a:pt x="58" y="25"/>
                  </a:lnTo>
                  <a:lnTo>
                    <a:pt x="53" y="21"/>
                  </a:lnTo>
                  <a:lnTo>
                    <a:pt x="51" y="25"/>
                  </a:lnTo>
                  <a:lnTo>
                    <a:pt x="45" y="27"/>
                  </a:lnTo>
                  <a:lnTo>
                    <a:pt x="36" y="23"/>
                  </a:lnTo>
                  <a:lnTo>
                    <a:pt x="30" y="21"/>
                  </a:lnTo>
                  <a:lnTo>
                    <a:pt x="26" y="21"/>
                  </a:lnTo>
                  <a:lnTo>
                    <a:pt x="19" y="25"/>
                  </a:lnTo>
                  <a:lnTo>
                    <a:pt x="15" y="29"/>
                  </a:lnTo>
                  <a:lnTo>
                    <a:pt x="11" y="29"/>
                  </a:lnTo>
                  <a:lnTo>
                    <a:pt x="6" y="27"/>
                  </a:lnTo>
                  <a:lnTo>
                    <a:pt x="0" y="25"/>
                  </a:lnTo>
                  <a:lnTo>
                    <a:pt x="0" y="19"/>
                  </a:lnTo>
                  <a:lnTo>
                    <a:pt x="2" y="15"/>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0" name="Freeform 1185"/>
            <p:cNvSpPr>
              <a:spLocks/>
            </p:cNvSpPr>
            <p:nvPr/>
          </p:nvSpPr>
          <p:spPr bwMode="auto">
            <a:xfrm>
              <a:off x="491" y="3974"/>
              <a:ext cx="7" cy="9"/>
            </a:xfrm>
            <a:custGeom>
              <a:avLst/>
              <a:gdLst>
                <a:gd name="T0" fmla="*/ 2 w 7"/>
                <a:gd name="T1" fmla="*/ 2 h 9"/>
                <a:gd name="T2" fmla="*/ 7 w 7"/>
                <a:gd name="T3" fmla="*/ 4 h 9"/>
                <a:gd name="T4" fmla="*/ 4 w 7"/>
                <a:gd name="T5" fmla="*/ 9 h 9"/>
                <a:gd name="T6" fmla="*/ 0 w 7"/>
                <a:gd name="T7" fmla="*/ 6 h 9"/>
                <a:gd name="T8" fmla="*/ 0 w 7"/>
                <a:gd name="T9" fmla="*/ 0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7" y="4"/>
                  </a:lnTo>
                  <a:lnTo>
                    <a:pt x="4" y="9"/>
                  </a:lnTo>
                  <a:lnTo>
                    <a:pt x="0" y="6"/>
                  </a:lnTo>
                  <a:lnTo>
                    <a:pt x="0" y="0"/>
                  </a:lnTo>
                  <a:lnTo>
                    <a:pt x="2"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1" name="Freeform 1186"/>
            <p:cNvSpPr>
              <a:spLocks/>
            </p:cNvSpPr>
            <p:nvPr/>
          </p:nvSpPr>
          <p:spPr bwMode="auto">
            <a:xfrm>
              <a:off x="491" y="3974"/>
              <a:ext cx="7" cy="9"/>
            </a:xfrm>
            <a:custGeom>
              <a:avLst/>
              <a:gdLst>
                <a:gd name="T0" fmla="*/ 2 w 7"/>
                <a:gd name="T1" fmla="*/ 2 h 9"/>
                <a:gd name="T2" fmla="*/ 7 w 7"/>
                <a:gd name="T3" fmla="*/ 4 h 9"/>
                <a:gd name="T4" fmla="*/ 4 w 7"/>
                <a:gd name="T5" fmla="*/ 9 h 9"/>
                <a:gd name="T6" fmla="*/ 0 w 7"/>
                <a:gd name="T7" fmla="*/ 6 h 9"/>
                <a:gd name="T8" fmla="*/ 0 w 7"/>
                <a:gd name="T9" fmla="*/ 0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7" y="4"/>
                  </a:lnTo>
                  <a:lnTo>
                    <a:pt x="4" y="9"/>
                  </a:lnTo>
                  <a:lnTo>
                    <a:pt x="0" y="6"/>
                  </a:lnTo>
                  <a:lnTo>
                    <a:pt x="0" y="0"/>
                  </a:lnTo>
                  <a:lnTo>
                    <a:pt x="2"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2" name="Freeform 1187"/>
            <p:cNvSpPr>
              <a:spLocks/>
            </p:cNvSpPr>
            <p:nvPr/>
          </p:nvSpPr>
          <p:spPr bwMode="auto">
            <a:xfrm>
              <a:off x="510" y="3953"/>
              <a:ext cx="7" cy="4"/>
            </a:xfrm>
            <a:custGeom>
              <a:avLst/>
              <a:gdLst>
                <a:gd name="T0" fmla="*/ 7 w 7"/>
                <a:gd name="T1" fmla="*/ 0 h 4"/>
                <a:gd name="T2" fmla="*/ 5 w 7"/>
                <a:gd name="T3" fmla="*/ 4 h 4"/>
                <a:gd name="T4" fmla="*/ 0 w 7"/>
                <a:gd name="T5" fmla="*/ 4 h 4"/>
                <a:gd name="T6" fmla="*/ 3 w 7"/>
                <a:gd name="T7" fmla="*/ 0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5" y="4"/>
                  </a:lnTo>
                  <a:lnTo>
                    <a:pt x="0" y="4"/>
                  </a:lnTo>
                  <a:lnTo>
                    <a:pt x="3" y="0"/>
                  </a:lnTo>
                  <a:lnTo>
                    <a:pt x="7"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3" name="Freeform 1188"/>
            <p:cNvSpPr>
              <a:spLocks/>
            </p:cNvSpPr>
            <p:nvPr/>
          </p:nvSpPr>
          <p:spPr bwMode="auto">
            <a:xfrm>
              <a:off x="510" y="3953"/>
              <a:ext cx="7" cy="4"/>
            </a:xfrm>
            <a:custGeom>
              <a:avLst/>
              <a:gdLst>
                <a:gd name="T0" fmla="*/ 7 w 7"/>
                <a:gd name="T1" fmla="*/ 0 h 4"/>
                <a:gd name="T2" fmla="*/ 5 w 7"/>
                <a:gd name="T3" fmla="*/ 4 h 4"/>
                <a:gd name="T4" fmla="*/ 0 w 7"/>
                <a:gd name="T5" fmla="*/ 4 h 4"/>
                <a:gd name="T6" fmla="*/ 3 w 7"/>
                <a:gd name="T7" fmla="*/ 0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5" y="4"/>
                  </a:lnTo>
                  <a:lnTo>
                    <a:pt x="0" y="4"/>
                  </a:lnTo>
                  <a:lnTo>
                    <a:pt x="3" y="0"/>
                  </a:lnTo>
                  <a:lnTo>
                    <a:pt x="7"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4" name="Rectangle 1189"/>
            <p:cNvSpPr>
              <a:spLocks noChangeArrowheads="1"/>
            </p:cNvSpPr>
            <p:nvPr/>
          </p:nvSpPr>
          <p:spPr bwMode="auto">
            <a:xfrm>
              <a:off x="640" y="3463"/>
              <a:ext cx="5" cy="4"/>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5" name="Rectangle 1190"/>
            <p:cNvSpPr>
              <a:spLocks noChangeArrowheads="1"/>
            </p:cNvSpPr>
            <p:nvPr/>
          </p:nvSpPr>
          <p:spPr bwMode="auto">
            <a:xfrm>
              <a:off x="640" y="3463"/>
              <a:ext cx="5" cy="4"/>
            </a:xfrm>
            <a:prstGeom prst="rect">
              <a:avLst/>
            </a:pr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6" name="Freeform 1191"/>
            <p:cNvSpPr>
              <a:spLocks/>
            </p:cNvSpPr>
            <p:nvPr/>
          </p:nvSpPr>
          <p:spPr bwMode="auto">
            <a:xfrm>
              <a:off x="534" y="3946"/>
              <a:ext cx="2" cy="7"/>
            </a:xfrm>
            <a:custGeom>
              <a:avLst/>
              <a:gdLst>
                <a:gd name="T0" fmla="*/ 2 w 2"/>
                <a:gd name="T1" fmla="*/ 0 h 7"/>
                <a:gd name="T2" fmla="*/ 2 w 2"/>
                <a:gd name="T3" fmla="*/ 7 h 7"/>
                <a:gd name="T4" fmla="*/ 0 w 2"/>
                <a:gd name="T5" fmla="*/ 0 h 7"/>
                <a:gd name="T6" fmla="*/ 2 w 2"/>
                <a:gd name="T7" fmla="*/ 0 h 7"/>
              </a:gdLst>
              <a:ahLst/>
              <a:cxnLst>
                <a:cxn ang="0">
                  <a:pos x="T0" y="T1"/>
                </a:cxn>
                <a:cxn ang="0">
                  <a:pos x="T2" y="T3"/>
                </a:cxn>
                <a:cxn ang="0">
                  <a:pos x="T4" y="T5"/>
                </a:cxn>
                <a:cxn ang="0">
                  <a:pos x="T6" y="T7"/>
                </a:cxn>
              </a:cxnLst>
              <a:rect l="0" t="0" r="r" b="b"/>
              <a:pathLst>
                <a:path w="2" h="7">
                  <a:moveTo>
                    <a:pt x="2" y="0"/>
                  </a:moveTo>
                  <a:lnTo>
                    <a:pt x="2" y="7"/>
                  </a:lnTo>
                  <a:lnTo>
                    <a:pt x="0" y="0"/>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7" name="Freeform 1192"/>
            <p:cNvSpPr>
              <a:spLocks/>
            </p:cNvSpPr>
            <p:nvPr/>
          </p:nvSpPr>
          <p:spPr bwMode="auto">
            <a:xfrm>
              <a:off x="534" y="3946"/>
              <a:ext cx="2" cy="7"/>
            </a:xfrm>
            <a:custGeom>
              <a:avLst/>
              <a:gdLst>
                <a:gd name="T0" fmla="*/ 2 w 2"/>
                <a:gd name="T1" fmla="*/ 0 h 7"/>
                <a:gd name="T2" fmla="*/ 2 w 2"/>
                <a:gd name="T3" fmla="*/ 7 h 7"/>
                <a:gd name="T4" fmla="*/ 0 w 2"/>
                <a:gd name="T5" fmla="*/ 0 h 7"/>
                <a:gd name="T6" fmla="*/ 2 w 2"/>
                <a:gd name="T7" fmla="*/ 0 h 7"/>
              </a:gdLst>
              <a:ahLst/>
              <a:cxnLst>
                <a:cxn ang="0">
                  <a:pos x="T0" y="T1"/>
                </a:cxn>
                <a:cxn ang="0">
                  <a:pos x="T2" y="T3"/>
                </a:cxn>
                <a:cxn ang="0">
                  <a:pos x="T4" y="T5"/>
                </a:cxn>
                <a:cxn ang="0">
                  <a:pos x="T6" y="T7"/>
                </a:cxn>
              </a:cxnLst>
              <a:rect l="0" t="0" r="r" b="b"/>
              <a:pathLst>
                <a:path w="2" h="7">
                  <a:moveTo>
                    <a:pt x="2" y="0"/>
                  </a:moveTo>
                  <a:lnTo>
                    <a:pt x="2" y="7"/>
                  </a:lnTo>
                  <a:lnTo>
                    <a:pt x="0" y="0"/>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8" name="Freeform 1193"/>
            <p:cNvSpPr>
              <a:spLocks/>
            </p:cNvSpPr>
            <p:nvPr/>
          </p:nvSpPr>
          <p:spPr bwMode="auto">
            <a:xfrm>
              <a:off x="606" y="3748"/>
              <a:ext cx="11" cy="11"/>
            </a:xfrm>
            <a:custGeom>
              <a:avLst/>
              <a:gdLst>
                <a:gd name="T0" fmla="*/ 0 w 11"/>
                <a:gd name="T1" fmla="*/ 7 h 11"/>
                <a:gd name="T2" fmla="*/ 7 w 11"/>
                <a:gd name="T3" fmla="*/ 2 h 11"/>
                <a:gd name="T4" fmla="*/ 11 w 11"/>
                <a:gd name="T5" fmla="*/ 0 h 11"/>
                <a:gd name="T6" fmla="*/ 9 w 11"/>
                <a:gd name="T7" fmla="*/ 7 h 11"/>
                <a:gd name="T8" fmla="*/ 7 w 11"/>
                <a:gd name="T9" fmla="*/ 11 h 11"/>
                <a:gd name="T10" fmla="*/ 0 w 11"/>
                <a:gd name="T11" fmla="*/ 11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7" y="2"/>
                  </a:lnTo>
                  <a:lnTo>
                    <a:pt x="11" y="0"/>
                  </a:lnTo>
                  <a:lnTo>
                    <a:pt x="9" y="7"/>
                  </a:lnTo>
                  <a:lnTo>
                    <a:pt x="7" y="11"/>
                  </a:lnTo>
                  <a:lnTo>
                    <a:pt x="0" y="11"/>
                  </a:lnTo>
                  <a:lnTo>
                    <a:pt x="0" y="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09" name="Freeform 1194"/>
            <p:cNvSpPr>
              <a:spLocks/>
            </p:cNvSpPr>
            <p:nvPr/>
          </p:nvSpPr>
          <p:spPr bwMode="auto">
            <a:xfrm>
              <a:off x="606" y="3748"/>
              <a:ext cx="11" cy="11"/>
            </a:xfrm>
            <a:custGeom>
              <a:avLst/>
              <a:gdLst>
                <a:gd name="T0" fmla="*/ 0 w 11"/>
                <a:gd name="T1" fmla="*/ 7 h 11"/>
                <a:gd name="T2" fmla="*/ 7 w 11"/>
                <a:gd name="T3" fmla="*/ 2 h 11"/>
                <a:gd name="T4" fmla="*/ 11 w 11"/>
                <a:gd name="T5" fmla="*/ 0 h 11"/>
                <a:gd name="T6" fmla="*/ 9 w 11"/>
                <a:gd name="T7" fmla="*/ 7 h 11"/>
                <a:gd name="T8" fmla="*/ 7 w 11"/>
                <a:gd name="T9" fmla="*/ 11 h 11"/>
                <a:gd name="T10" fmla="*/ 0 w 11"/>
                <a:gd name="T11" fmla="*/ 11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7" y="2"/>
                  </a:lnTo>
                  <a:lnTo>
                    <a:pt x="11" y="0"/>
                  </a:lnTo>
                  <a:lnTo>
                    <a:pt x="9" y="7"/>
                  </a:lnTo>
                  <a:lnTo>
                    <a:pt x="7" y="11"/>
                  </a:lnTo>
                  <a:lnTo>
                    <a:pt x="0" y="11"/>
                  </a:lnTo>
                  <a:lnTo>
                    <a:pt x="0" y="7"/>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0" name="Freeform 1195"/>
            <p:cNvSpPr>
              <a:spLocks/>
            </p:cNvSpPr>
            <p:nvPr/>
          </p:nvSpPr>
          <p:spPr bwMode="auto">
            <a:xfrm>
              <a:off x="566" y="3942"/>
              <a:ext cx="13" cy="15"/>
            </a:xfrm>
            <a:custGeom>
              <a:avLst/>
              <a:gdLst>
                <a:gd name="T0" fmla="*/ 8 w 13"/>
                <a:gd name="T1" fmla="*/ 0 h 15"/>
                <a:gd name="T2" fmla="*/ 6 w 13"/>
                <a:gd name="T3" fmla="*/ 4 h 15"/>
                <a:gd name="T4" fmla="*/ 13 w 13"/>
                <a:gd name="T5" fmla="*/ 2 h 15"/>
                <a:gd name="T6" fmla="*/ 8 w 13"/>
                <a:gd name="T7" fmla="*/ 7 h 15"/>
                <a:gd name="T8" fmla="*/ 10 w 13"/>
                <a:gd name="T9" fmla="*/ 11 h 15"/>
                <a:gd name="T10" fmla="*/ 0 w 13"/>
                <a:gd name="T11" fmla="*/ 15 h 15"/>
                <a:gd name="T12" fmla="*/ 0 w 13"/>
                <a:gd name="T13" fmla="*/ 9 h 15"/>
                <a:gd name="T14" fmla="*/ 0 w 13"/>
                <a:gd name="T15" fmla="*/ 4 h 15"/>
                <a:gd name="T16" fmla="*/ 4 w 13"/>
                <a:gd name="T17" fmla="*/ 0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6" y="4"/>
                  </a:lnTo>
                  <a:lnTo>
                    <a:pt x="13" y="2"/>
                  </a:lnTo>
                  <a:lnTo>
                    <a:pt x="8" y="7"/>
                  </a:lnTo>
                  <a:lnTo>
                    <a:pt x="10" y="11"/>
                  </a:lnTo>
                  <a:lnTo>
                    <a:pt x="0" y="15"/>
                  </a:lnTo>
                  <a:lnTo>
                    <a:pt x="0" y="9"/>
                  </a:lnTo>
                  <a:lnTo>
                    <a:pt x="0" y="4"/>
                  </a:lnTo>
                  <a:lnTo>
                    <a:pt x="4" y="0"/>
                  </a:lnTo>
                  <a:lnTo>
                    <a:pt x="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1" name="Freeform 1196"/>
            <p:cNvSpPr>
              <a:spLocks/>
            </p:cNvSpPr>
            <p:nvPr/>
          </p:nvSpPr>
          <p:spPr bwMode="auto">
            <a:xfrm>
              <a:off x="566" y="3942"/>
              <a:ext cx="13" cy="15"/>
            </a:xfrm>
            <a:custGeom>
              <a:avLst/>
              <a:gdLst>
                <a:gd name="T0" fmla="*/ 8 w 13"/>
                <a:gd name="T1" fmla="*/ 0 h 15"/>
                <a:gd name="T2" fmla="*/ 6 w 13"/>
                <a:gd name="T3" fmla="*/ 4 h 15"/>
                <a:gd name="T4" fmla="*/ 13 w 13"/>
                <a:gd name="T5" fmla="*/ 2 h 15"/>
                <a:gd name="T6" fmla="*/ 8 w 13"/>
                <a:gd name="T7" fmla="*/ 7 h 15"/>
                <a:gd name="T8" fmla="*/ 10 w 13"/>
                <a:gd name="T9" fmla="*/ 11 h 15"/>
                <a:gd name="T10" fmla="*/ 0 w 13"/>
                <a:gd name="T11" fmla="*/ 15 h 15"/>
                <a:gd name="T12" fmla="*/ 0 w 13"/>
                <a:gd name="T13" fmla="*/ 9 h 15"/>
                <a:gd name="T14" fmla="*/ 0 w 13"/>
                <a:gd name="T15" fmla="*/ 4 h 15"/>
                <a:gd name="T16" fmla="*/ 4 w 13"/>
                <a:gd name="T17" fmla="*/ 0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6" y="4"/>
                  </a:lnTo>
                  <a:lnTo>
                    <a:pt x="13" y="2"/>
                  </a:lnTo>
                  <a:lnTo>
                    <a:pt x="8" y="7"/>
                  </a:lnTo>
                  <a:lnTo>
                    <a:pt x="10" y="11"/>
                  </a:lnTo>
                  <a:lnTo>
                    <a:pt x="0" y="15"/>
                  </a:lnTo>
                  <a:lnTo>
                    <a:pt x="0" y="9"/>
                  </a:lnTo>
                  <a:lnTo>
                    <a:pt x="0" y="4"/>
                  </a:lnTo>
                  <a:lnTo>
                    <a:pt x="4" y="0"/>
                  </a:lnTo>
                  <a:lnTo>
                    <a:pt x="8"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2" name="Freeform 1197"/>
            <p:cNvSpPr>
              <a:spLocks/>
            </p:cNvSpPr>
            <p:nvPr/>
          </p:nvSpPr>
          <p:spPr bwMode="auto">
            <a:xfrm>
              <a:off x="579" y="3946"/>
              <a:ext cx="6" cy="7"/>
            </a:xfrm>
            <a:custGeom>
              <a:avLst/>
              <a:gdLst>
                <a:gd name="T0" fmla="*/ 6 w 6"/>
                <a:gd name="T1" fmla="*/ 0 h 7"/>
                <a:gd name="T2" fmla="*/ 4 w 6"/>
                <a:gd name="T3" fmla="*/ 7 h 7"/>
                <a:gd name="T4" fmla="*/ 0 w 6"/>
                <a:gd name="T5" fmla="*/ 3 h 7"/>
                <a:gd name="T6" fmla="*/ 6 w 6"/>
                <a:gd name="T7" fmla="*/ 0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4" y="7"/>
                  </a:lnTo>
                  <a:lnTo>
                    <a:pt x="0" y="3"/>
                  </a:lnTo>
                  <a:lnTo>
                    <a:pt x="6" y="0"/>
                  </a:lnTo>
                  <a:lnTo>
                    <a:pt x="6"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3" name="Freeform 1198"/>
            <p:cNvSpPr>
              <a:spLocks/>
            </p:cNvSpPr>
            <p:nvPr/>
          </p:nvSpPr>
          <p:spPr bwMode="auto">
            <a:xfrm>
              <a:off x="579" y="3946"/>
              <a:ext cx="6" cy="7"/>
            </a:xfrm>
            <a:custGeom>
              <a:avLst/>
              <a:gdLst>
                <a:gd name="T0" fmla="*/ 6 w 6"/>
                <a:gd name="T1" fmla="*/ 0 h 7"/>
                <a:gd name="T2" fmla="*/ 4 w 6"/>
                <a:gd name="T3" fmla="*/ 7 h 7"/>
                <a:gd name="T4" fmla="*/ 0 w 6"/>
                <a:gd name="T5" fmla="*/ 3 h 7"/>
                <a:gd name="T6" fmla="*/ 6 w 6"/>
                <a:gd name="T7" fmla="*/ 0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4" y="7"/>
                  </a:lnTo>
                  <a:lnTo>
                    <a:pt x="0" y="3"/>
                  </a:lnTo>
                  <a:lnTo>
                    <a:pt x="6" y="0"/>
                  </a:lnTo>
                  <a:lnTo>
                    <a:pt x="6"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4" name="Freeform 1199"/>
            <p:cNvSpPr>
              <a:spLocks/>
            </p:cNvSpPr>
            <p:nvPr/>
          </p:nvSpPr>
          <p:spPr bwMode="auto">
            <a:xfrm>
              <a:off x="583" y="3955"/>
              <a:ext cx="15" cy="19"/>
            </a:xfrm>
            <a:custGeom>
              <a:avLst/>
              <a:gdLst>
                <a:gd name="T0" fmla="*/ 8 w 15"/>
                <a:gd name="T1" fmla="*/ 11 h 19"/>
                <a:gd name="T2" fmla="*/ 0 w 15"/>
                <a:gd name="T3" fmla="*/ 19 h 19"/>
                <a:gd name="T4" fmla="*/ 2 w 15"/>
                <a:gd name="T5" fmla="*/ 15 h 19"/>
                <a:gd name="T6" fmla="*/ 4 w 15"/>
                <a:gd name="T7" fmla="*/ 8 h 19"/>
                <a:gd name="T8" fmla="*/ 6 w 15"/>
                <a:gd name="T9" fmla="*/ 4 h 19"/>
                <a:gd name="T10" fmla="*/ 10 w 15"/>
                <a:gd name="T11" fmla="*/ 4 h 19"/>
                <a:gd name="T12" fmla="*/ 15 w 15"/>
                <a:gd name="T13" fmla="*/ 0 h 19"/>
                <a:gd name="T14" fmla="*/ 13 w 15"/>
                <a:gd name="T15" fmla="*/ 4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0" y="19"/>
                  </a:lnTo>
                  <a:lnTo>
                    <a:pt x="2" y="15"/>
                  </a:lnTo>
                  <a:lnTo>
                    <a:pt x="4" y="8"/>
                  </a:lnTo>
                  <a:lnTo>
                    <a:pt x="6" y="4"/>
                  </a:lnTo>
                  <a:lnTo>
                    <a:pt x="10" y="4"/>
                  </a:lnTo>
                  <a:lnTo>
                    <a:pt x="15" y="0"/>
                  </a:lnTo>
                  <a:lnTo>
                    <a:pt x="13" y="4"/>
                  </a:lnTo>
                  <a:lnTo>
                    <a:pt x="8" y="1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5" name="Freeform 1200"/>
            <p:cNvSpPr>
              <a:spLocks/>
            </p:cNvSpPr>
            <p:nvPr/>
          </p:nvSpPr>
          <p:spPr bwMode="auto">
            <a:xfrm>
              <a:off x="583" y="3955"/>
              <a:ext cx="15" cy="19"/>
            </a:xfrm>
            <a:custGeom>
              <a:avLst/>
              <a:gdLst>
                <a:gd name="T0" fmla="*/ 8 w 15"/>
                <a:gd name="T1" fmla="*/ 11 h 19"/>
                <a:gd name="T2" fmla="*/ 0 w 15"/>
                <a:gd name="T3" fmla="*/ 19 h 19"/>
                <a:gd name="T4" fmla="*/ 2 w 15"/>
                <a:gd name="T5" fmla="*/ 15 h 19"/>
                <a:gd name="T6" fmla="*/ 4 w 15"/>
                <a:gd name="T7" fmla="*/ 8 h 19"/>
                <a:gd name="T8" fmla="*/ 6 w 15"/>
                <a:gd name="T9" fmla="*/ 4 h 19"/>
                <a:gd name="T10" fmla="*/ 10 w 15"/>
                <a:gd name="T11" fmla="*/ 4 h 19"/>
                <a:gd name="T12" fmla="*/ 15 w 15"/>
                <a:gd name="T13" fmla="*/ 0 h 19"/>
                <a:gd name="T14" fmla="*/ 13 w 15"/>
                <a:gd name="T15" fmla="*/ 4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0" y="19"/>
                  </a:lnTo>
                  <a:lnTo>
                    <a:pt x="2" y="15"/>
                  </a:lnTo>
                  <a:lnTo>
                    <a:pt x="4" y="8"/>
                  </a:lnTo>
                  <a:lnTo>
                    <a:pt x="6" y="4"/>
                  </a:lnTo>
                  <a:lnTo>
                    <a:pt x="10" y="4"/>
                  </a:lnTo>
                  <a:lnTo>
                    <a:pt x="15" y="0"/>
                  </a:lnTo>
                  <a:lnTo>
                    <a:pt x="13" y="4"/>
                  </a:lnTo>
                  <a:lnTo>
                    <a:pt x="8" y="11"/>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6" name="Freeform 1201"/>
            <p:cNvSpPr>
              <a:spLocks/>
            </p:cNvSpPr>
            <p:nvPr/>
          </p:nvSpPr>
          <p:spPr bwMode="auto">
            <a:xfrm>
              <a:off x="606" y="3959"/>
              <a:ext cx="2" cy="11"/>
            </a:xfrm>
            <a:custGeom>
              <a:avLst/>
              <a:gdLst>
                <a:gd name="T0" fmla="*/ 2 w 2"/>
                <a:gd name="T1" fmla="*/ 0 h 11"/>
                <a:gd name="T2" fmla="*/ 0 w 2"/>
                <a:gd name="T3" fmla="*/ 11 h 11"/>
                <a:gd name="T4" fmla="*/ 0 w 2"/>
                <a:gd name="T5" fmla="*/ 4 h 11"/>
                <a:gd name="T6" fmla="*/ 2 w 2"/>
                <a:gd name="T7" fmla="*/ 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0" y="11"/>
                  </a:lnTo>
                  <a:lnTo>
                    <a:pt x="0" y="4"/>
                  </a:lnTo>
                  <a:lnTo>
                    <a:pt x="2" y="0"/>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7" name="Freeform 1202"/>
            <p:cNvSpPr>
              <a:spLocks/>
            </p:cNvSpPr>
            <p:nvPr/>
          </p:nvSpPr>
          <p:spPr bwMode="auto">
            <a:xfrm>
              <a:off x="606" y="3959"/>
              <a:ext cx="2" cy="11"/>
            </a:xfrm>
            <a:custGeom>
              <a:avLst/>
              <a:gdLst>
                <a:gd name="T0" fmla="*/ 2 w 2"/>
                <a:gd name="T1" fmla="*/ 0 h 11"/>
                <a:gd name="T2" fmla="*/ 0 w 2"/>
                <a:gd name="T3" fmla="*/ 11 h 11"/>
                <a:gd name="T4" fmla="*/ 0 w 2"/>
                <a:gd name="T5" fmla="*/ 4 h 11"/>
                <a:gd name="T6" fmla="*/ 2 w 2"/>
                <a:gd name="T7" fmla="*/ 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0" y="11"/>
                  </a:lnTo>
                  <a:lnTo>
                    <a:pt x="0" y="4"/>
                  </a:lnTo>
                  <a:lnTo>
                    <a:pt x="2" y="0"/>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8" name="Freeform 1203"/>
            <p:cNvSpPr>
              <a:spLocks/>
            </p:cNvSpPr>
            <p:nvPr/>
          </p:nvSpPr>
          <p:spPr bwMode="auto">
            <a:xfrm>
              <a:off x="608" y="3970"/>
              <a:ext cx="2" cy="6"/>
            </a:xfrm>
            <a:custGeom>
              <a:avLst/>
              <a:gdLst>
                <a:gd name="T0" fmla="*/ 2 w 2"/>
                <a:gd name="T1" fmla="*/ 0 h 6"/>
                <a:gd name="T2" fmla="*/ 2 w 2"/>
                <a:gd name="T3" fmla="*/ 6 h 6"/>
                <a:gd name="T4" fmla="*/ 0 w 2"/>
                <a:gd name="T5" fmla="*/ 0 h 6"/>
                <a:gd name="T6" fmla="*/ 2 w 2"/>
                <a:gd name="T7" fmla="*/ 0 h 6"/>
              </a:gdLst>
              <a:ahLst/>
              <a:cxnLst>
                <a:cxn ang="0">
                  <a:pos x="T0" y="T1"/>
                </a:cxn>
                <a:cxn ang="0">
                  <a:pos x="T2" y="T3"/>
                </a:cxn>
                <a:cxn ang="0">
                  <a:pos x="T4" y="T5"/>
                </a:cxn>
                <a:cxn ang="0">
                  <a:pos x="T6" y="T7"/>
                </a:cxn>
              </a:cxnLst>
              <a:rect l="0" t="0" r="r" b="b"/>
              <a:pathLst>
                <a:path w="2" h="6">
                  <a:moveTo>
                    <a:pt x="2" y="0"/>
                  </a:moveTo>
                  <a:lnTo>
                    <a:pt x="2" y="6"/>
                  </a:lnTo>
                  <a:lnTo>
                    <a:pt x="0" y="0"/>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19" name="Freeform 1204"/>
            <p:cNvSpPr>
              <a:spLocks/>
            </p:cNvSpPr>
            <p:nvPr/>
          </p:nvSpPr>
          <p:spPr bwMode="auto">
            <a:xfrm>
              <a:off x="608" y="3970"/>
              <a:ext cx="2" cy="6"/>
            </a:xfrm>
            <a:custGeom>
              <a:avLst/>
              <a:gdLst>
                <a:gd name="T0" fmla="*/ 2 w 2"/>
                <a:gd name="T1" fmla="*/ 0 h 6"/>
                <a:gd name="T2" fmla="*/ 2 w 2"/>
                <a:gd name="T3" fmla="*/ 6 h 6"/>
                <a:gd name="T4" fmla="*/ 0 w 2"/>
                <a:gd name="T5" fmla="*/ 0 h 6"/>
                <a:gd name="T6" fmla="*/ 2 w 2"/>
                <a:gd name="T7" fmla="*/ 0 h 6"/>
              </a:gdLst>
              <a:ahLst/>
              <a:cxnLst>
                <a:cxn ang="0">
                  <a:pos x="T0" y="T1"/>
                </a:cxn>
                <a:cxn ang="0">
                  <a:pos x="T2" y="T3"/>
                </a:cxn>
                <a:cxn ang="0">
                  <a:pos x="T4" y="T5"/>
                </a:cxn>
                <a:cxn ang="0">
                  <a:pos x="T6" y="T7"/>
                </a:cxn>
              </a:cxnLst>
              <a:rect l="0" t="0" r="r" b="b"/>
              <a:pathLst>
                <a:path w="2" h="6">
                  <a:moveTo>
                    <a:pt x="2" y="0"/>
                  </a:moveTo>
                  <a:lnTo>
                    <a:pt x="2" y="6"/>
                  </a:lnTo>
                  <a:lnTo>
                    <a:pt x="0" y="0"/>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0" name="Freeform 1205"/>
            <p:cNvSpPr>
              <a:spLocks/>
            </p:cNvSpPr>
            <p:nvPr/>
          </p:nvSpPr>
          <p:spPr bwMode="auto">
            <a:xfrm>
              <a:off x="638" y="3927"/>
              <a:ext cx="2" cy="4"/>
            </a:xfrm>
            <a:custGeom>
              <a:avLst/>
              <a:gdLst>
                <a:gd name="T0" fmla="*/ 2 w 2"/>
                <a:gd name="T1" fmla="*/ 0 h 4"/>
                <a:gd name="T2" fmla="*/ 0 w 2"/>
                <a:gd name="T3" fmla="*/ 4 h 4"/>
                <a:gd name="T4" fmla="*/ 0 w 2"/>
                <a:gd name="T5" fmla="*/ 0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0" y="0"/>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1" name="Freeform 1206"/>
            <p:cNvSpPr>
              <a:spLocks/>
            </p:cNvSpPr>
            <p:nvPr/>
          </p:nvSpPr>
          <p:spPr bwMode="auto">
            <a:xfrm>
              <a:off x="638" y="3927"/>
              <a:ext cx="2" cy="4"/>
            </a:xfrm>
            <a:custGeom>
              <a:avLst/>
              <a:gdLst>
                <a:gd name="T0" fmla="*/ 2 w 2"/>
                <a:gd name="T1" fmla="*/ 0 h 4"/>
                <a:gd name="T2" fmla="*/ 0 w 2"/>
                <a:gd name="T3" fmla="*/ 4 h 4"/>
                <a:gd name="T4" fmla="*/ 0 w 2"/>
                <a:gd name="T5" fmla="*/ 0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0" y="0"/>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2" name="Freeform 1207"/>
            <p:cNvSpPr>
              <a:spLocks/>
            </p:cNvSpPr>
            <p:nvPr/>
          </p:nvSpPr>
          <p:spPr bwMode="auto">
            <a:xfrm>
              <a:off x="696" y="3897"/>
              <a:ext cx="6" cy="5"/>
            </a:xfrm>
            <a:custGeom>
              <a:avLst/>
              <a:gdLst>
                <a:gd name="T0" fmla="*/ 2 w 6"/>
                <a:gd name="T1" fmla="*/ 0 h 5"/>
                <a:gd name="T2" fmla="*/ 6 w 6"/>
                <a:gd name="T3" fmla="*/ 3 h 5"/>
                <a:gd name="T4" fmla="*/ 0 w 6"/>
                <a:gd name="T5" fmla="*/ 5 h 5"/>
                <a:gd name="T6" fmla="*/ 2 w 6"/>
                <a:gd name="T7" fmla="*/ 0 h 5"/>
              </a:gdLst>
              <a:ahLst/>
              <a:cxnLst>
                <a:cxn ang="0">
                  <a:pos x="T0" y="T1"/>
                </a:cxn>
                <a:cxn ang="0">
                  <a:pos x="T2" y="T3"/>
                </a:cxn>
                <a:cxn ang="0">
                  <a:pos x="T4" y="T5"/>
                </a:cxn>
                <a:cxn ang="0">
                  <a:pos x="T6" y="T7"/>
                </a:cxn>
              </a:cxnLst>
              <a:rect l="0" t="0" r="r" b="b"/>
              <a:pathLst>
                <a:path w="6" h="5">
                  <a:moveTo>
                    <a:pt x="2" y="0"/>
                  </a:moveTo>
                  <a:lnTo>
                    <a:pt x="6" y="3"/>
                  </a:lnTo>
                  <a:lnTo>
                    <a:pt x="0" y="5"/>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3" name="Freeform 1208"/>
            <p:cNvSpPr>
              <a:spLocks/>
            </p:cNvSpPr>
            <p:nvPr/>
          </p:nvSpPr>
          <p:spPr bwMode="auto">
            <a:xfrm>
              <a:off x="696" y="3897"/>
              <a:ext cx="6" cy="5"/>
            </a:xfrm>
            <a:custGeom>
              <a:avLst/>
              <a:gdLst>
                <a:gd name="T0" fmla="*/ 2 w 6"/>
                <a:gd name="T1" fmla="*/ 0 h 5"/>
                <a:gd name="T2" fmla="*/ 6 w 6"/>
                <a:gd name="T3" fmla="*/ 3 h 5"/>
                <a:gd name="T4" fmla="*/ 0 w 6"/>
                <a:gd name="T5" fmla="*/ 5 h 5"/>
                <a:gd name="T6" fmla="*/ 2 w 6"/>
                <a:gd name="T7" fmla="*/ 0 h 5"/>
              </a:gdLst>
              <a:ahLst/>
              <a:cxnLst>
                <a:cxn ang="0">
                  <a:pos x="T0" y="T1"/>
                </a:cxn>
                <a:cxn ang="0">
                  <a:pos x="T2" y="T3"/>
                </a:cxn>
                <a:cxn ang="0">
                  <a:pos x="T4" y="T5"/>
                </a:cxn>
                <a:cxn ang="0">
                  <a:pos x="T6" y="T7"/>
                </a:cxn>
              </a:cxnLst>
              <a:rect l="0" t="0" r="r" b="b"/>
              <a:pathLst>
                <a:path w="6" h="5">
                  <a:moveTo>
                    <a:pt x="2" y="0"/>
                  </a:moveTo>
                  <a:lnTo>
                    <a:pt x="6" y="3"/>
                  </a:lnTo>
                  <a:lnTo>
                    <a:pt x="0" y="5"/>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4" name="Freeform 1209"/>
            <p:cNvSpPr>
              <a:spLocks/>
            </p:cNvSpPr>
            <p:nvPr/>
          </p:nvSpPr>
          <p:spPr bwMode="auto">
            <a:xfrm>
              <a:off x="738" y="3946"/>
              <a:ext cx="7" cy="7"/>
            </a:xfrm>
            <a:custGeom>
              <a:avLst/>
              <a:gdLst>
                <a:gd name="T0" fmla="*/ 7 w 7"/>
                <a:gd name="T1" fmla="*/ 0 h 7"/>
                <a:gd name="T2" fmla="*/ 4 w 7"/>
                <a:gd name="T3" fmla="*/ 5 h 7"/>
                <a:gd name="T4" fmla="*/ 0 w 7"/>
                <a:gd name="T5" fmla="*/ 7 h 7"/>
                <a:gd name="T6" fmla="*/ 2 w 7"/>
                <a:gd name="T7" fmla="*/ 3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4" y="5"/>
                  </a:lnTo>
                  <a:lnTo>
                    <a:pt x="0" y="7"/>
                  </a:lnTo>
                  <a:lnTo>
                    <a:pt x="2" y="3"/>
                  </a:lnTo>
                  <a:lnTo>
                    <a:pt x="7"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5" name="Freeform 1210"/>
            <p:cNvSpPr>
              <a:spLocks/>
            </p:cNvSpPr>
            <p:nvPr/>
          </p:nvSpPr>
          <p:spPr bwMode="auto">
            <a:xfrm>
              <a:off x="738" y="3946"/>
              <a:ext cx="7" cy="7"/>
            </a:xfrm>
            <a:custGeom>
              <a:avLst/>
              <a:gdLst>
                <a:gd name="T0" fmla="*/ 7 w 7"/>
                <a:gd name="T1" fmla="*/ 0 h 7"/>
                <a:gd name="T2" fmla="*/ 4 w 7"/>
                <a:gd name="T3" fmla="*/ 5 h 7"/>
                <a:gd name="T4" fmla="*/ 0 w 7"/>
                <a:gd name="T5" fmla="*/ 7 h 7"/>
                <a:gd name="T6" fmla="*/ 2 w 7"/>
                <a:gd name="T7" fmla="*/ 3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4" y="5"/>
                  </a:lnTo>
                  <a:lnTo>
                    <a:pt x="0" y="7"/>
                  </a:lnTo>
                  <a:lnTo>
                    <a:pt x="2" y="3"/>
                  </a:lnTo>
                  <a:lnTo>
                    <a:pt x="7"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6" name="Freeform 1211"/>
            <p:cNvSpPr>
              <a:spLocks/>
            </p:cNvSpPr>
            <p:nvPr/>
          </p:nvSpPr>
          <p:spPr bwMode="auto">
            <a:xfrm>
              <a:off x="777" y="3910"/>
              <a:ext cx="8" cy="9"/>
            </a:xfrm>
            <a:custGeom>
              <a:avLst/>
              <a:gdLst>
                <a:gd name="T0" fmla="*/ 8 w 8"/>
                <a:gd name="T1" fmla="*/ 2 h 9"/>
                <a:gd name="T2" fmla="*/ 6 w 8"/>
                <a:gd name="T3" fmla="*/ 7 h 9"/>
                <a:gd name="T4" fmla="*/ 0 w 8"/>
                <a:gd name="T5" fmla="*/ 9 h 9"/>
                <a:gd name="T6" fmla="*/ 2 w 8"/>
                <a:gd name="T7" fmla="*/ 4 h 9"/>
                <a:gd name="T8" fmla="*/ 6 w 8"/>
                <a:gd name="T9" fmla="*/ 0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7"/>
                  </a:lnTo>
                  <a:lnTo>
                    <a:pt x="0" y="9"/>
                  </a:lnTo>
                  <a:lnTo>
                    <a:pt x="2" y="4"/>
                  </a:lnTo>
                  <a:lnTo>
                    <a:pt x="6" y="0"/>
                  </a:lnTo>
                  <a:lnTo>
                    <a:pt x="8"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7" name="Freeform 1212"/>
            <p:cNvSpPr>
              <a:spLocks/>
            </p:cNvSpPr>
            <p:nvPr/>
          </p:nvSpPr>
          <p:spPr bwMode="auto">
            <a:xfrm>
              <a:off x="777" y="3910"/>
              <a:ext cx="8" cy="9"/>
            </a:xfrm>
            <a:custGeom>
              <a:avLst/>
              <a:gdLst>
                <a:gd name="T0" fmla="*/ 8 w 8"/>
                <a:gd name="T1" fmla="*/ 2 h 9"/>
                <a:gd name="T2" fmla="*/ 6 w 8"/>
                <a:gd name="T3" fmla="*/ 7 h 9"/>
                <a:gd name="T4" fmla="*/ 0 w 8"/>
                <a:gd name="T5" fmla="*/ 9 h 9"/>
                <a:gd name="T6" fmla="*/ 2 w 8"/>
                <a:gd name="T7" fmla="*/ 4 h 9"/>
                <a:gd name="T8" fmla="*/ 6 w 8"/>
                <a:gd name="T9" fmla="*/ 0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7"/>
                  </a:lnTo>
                  <a:lnTo>
                    <a:pt x="0" y="9"/>
                  </a:lnTo>
                  <a:lnTo>
                    <a:pt x="2" y="4"/>
                  </a:lnTo>
                  <a:lnTo>
                    <a:pt x="6" y="0"/>
                  </a:lnTo>
                  <a:lnTo>
                    <a:pt x="8"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8" name="Freeform 1213"/>
            <p:cNvSpPr>
              <a:spLocks/>
            </p:cNvSpPr>
            <p:nvPr/>
          </p:nvSpPr>
          <p:spPr bwMode="auto">
            <a:xfrm>
              <a:off x="789" y="3912"/>
              <a:ext cx="7" cy="7"/>
            </a:xfrm>
            <a:custGeom>
              <a:avLst/>
              <a:gdLst>
                <a:gd name="T0" fmla="*/ 7 w 7"/>
                <a:gd name="T1" fmla="*/ 0 h 7"/>
                <a:gd name="T2" fmla="*/ 5 w 7"/>
                <a:gd name="T3" fmla="*/ 7 h 7"/>
                <a:gd name="T4" fmla="*/ 0 w 7"/>
                <a:gd name="T5" fmla="*/ 5 h 7"/>
                <a:gd name="T6" fmla="*/ 0 w 7"/>
                <a:gd name="T7" fmla="*/ 0 h 7"/>
                <a:gd name="T8" fmla="*/ 7 w 7"/>
                <a:gd name="T9" fmla="*/ 0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5" y="7"/>
                  </a:lnTo>
                  <a:lnTo>
                    <a:pt x="0" y="5"/>
                  </a:lnTo>
                  <a:lnTo>
                    <a:pt x="0" y="0"/>
                  </a:lnTo>
                  <a:lnTo>
                    <a:pt x="7" y="0"/>
                  </a:lnTo>
                  <a:lnTo>
                    <a:pt x="7"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29" name="Freeform 1214"/>
            <p:cNvSpPr>
              <a:spLocks/>
            </p:cNvSpPr>
            <p:nvPr/>
          </p:nvSpPr>
          <p:spPr bwMode="auto">
            <a:xfrm>
              <a:off x="789" y="3912"/>
              <a:ext cx="7" cy="7"/>
            </a:xfrm>
            <a:custGeom>
              <a:avLst/>
              <a:gdLst>
                <a:gd name="T0" fmla="*/ 7 w 7"/>
                <a:gd name="T1" fmla="*/ 0 h 7"/>
                <a:gd name="T2" fmla="*/ 5 w 7"/>
                <a:gd name="T3" fmla="*/ 7 h 7"/>
                <a:gd name="T4" fmla="*/ 0 w 7"/>
                <a:gd name="T5" fmla="*/ 5 h 7"/>
                <a:gd name="T6" fmla="*/ 0 w 7"/>
                <a:gd name="T7" fmla="*/ 0 h 7"/>
                <a:gd name="T8" fmla="*/ 7 w 7"/>
                <a:gd name="T9" fmla="*/ 0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5" y="7"/>
                  </a:lnTo>
                  <a:lnTo>
                    <a:pt x="0" y="5"/>
                  </a:lnTo>
                  <a:lnTo>
                    <a:pt x="0" y="0"/>
                  </a:lnTo>
                  <a:lnTo>
                    <a:pt x="7" y="0"/>
                  </a:lnTo>
                  <a:lnTo>
                    <a:pt x="7"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0" name="Freeform 1215"/>
            <p:cNvSpPr>
              <a:spLocks/>
            </p:cNvSpPr>
            <p:nvPr/>
          </p:nvSpPr>
          <p:spPr bwMode="auto">
            <a:xfrm>
              <a:off x="826" y="3838"/>
              <a:ext cx="8" cy="8"/>
            </a:xfrm>
            <a:custGeom>
              <a:avLst/>
              <a:gdLst>
                <a:gd name="T0" fmla="*/ 2 w 8"/>
                <a:gd name="T1" fmla="*/ 0 h 8"/>
                <a:gd name="T2" fmla="*/ 6 w 8"/>
                <a:gd name="T3" fmla="*/ 2 h 8"/>
                <a:gd name="T4" fmla="*/ 8 w 8"/>
                <a:gd name="T5" fmla="*/ 8 h 8"/>
                <a:gd name="T6" fmla="*/ 2 w 8"/>
                <a:gd name="T7" fmla="*/ 6 h 8"/>
                <a:gd name="T8" fmla="*/ 0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6" y="2"/>
                  </a:lnTo>
                  <a:lnTo>
                    <a:pt x="8" y="8"/>
                  </a:lnTo>
                  <a:lnTo>
                    <a:pt x="2" y="6"/>
                  </a:lnTo>
                  <a:lnTo>
                    <a:pt x="0" y="2"/>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1" name="Freeform 1216"/>
            <p:cNvSpPr>
              <a:spLocks/>
            </p:cNvSpPr>
            <p:nvPr/>
          </p:nvSpPr>
          <p:spPr bwMode="auto">
            <a:xfrm>
              <a:off x="826" y="3838"/>
              <a:ext cx="8" cy="8"/>
            </a:xfrm>
            <a:custGeom>
              <a:avLst/>
              <a:gdLst>
                <a:gd name="T0" fmla="*/ 2 w 8"/>
                <a:gd name="T1" fmla="*/ 0 h 8"/>
                <a:gd name="T2" fmla="*/ 6 w 8"/>
                <a:gd name="T3" fmla="*/ 2 h 8"/>
                <a:gd name="T4" fmla="*/ 8 w 8"/>
                <a:gd name="T5" fmla="*/ 8 h 8"/>
                <a:gd name="T6" fmla="*/ 2 w 8"/>
                <a:gd name="T7" fmla="*/ 6 h 8"/>
                <a:gd name="T8" fmla="*/ 0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6" y="2"/>
                  </a:lnTo>
                  <a:lnTo>
                    <a:pt x="8" y="8"/>
                  </a:lnTo>
                  <a:lnTo>
                    <a:pt x="2" y="6"/>
                  </a:lnTo>
                  <a:lnTo>
                    <a:pt x="0" y="2"/>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2" name="Freeform 1217"/>
            <p:cNvSpPr>
              <a:spLocks/>
            </p:cNvSpPr>
            <p:nvPr/>
          </p:nvSpPr>
          <p:spPr bwMode="auto">
            <a:xfrm>
              <a:off x="781" y="3836"/>
              <a:ext cx="83" cy="70"/>
            </a:xfrm>
            <a:custGeom>
              <a:avLst/>
              <a:gdLst>
                <a:gd name="T0" fmla="*/ 38 w 83"/>
                <a:gd name="T1" fmla="*/ 46 h 70"/>
                <a:gd name="T2" fmla="*/ 32 w 83"/>
                <a:gd name="T3" fmla="*/ 53 h 70"/>
                <a:gd name="T4" fmla="*/ 30 w 83"/>
                <a:gd name="T5" fmla="*/ 61 h 70"/>
                <a:gd name="T6" fmla="*/ 15 w 83"/>
                <a:gd name="T7" fmla="*/ 68 h 70"/>
                <a:gd name="T8" fmla="*/ 27 w 83"/>
                <a:gd name="T9" fmla="*/ 55 h 70"/>
                <a:gd name="T10" fmla="*/ 30 w 83"/>
                <a:gd name="T11" fmla="*/ 46 h 70"/>
                <a:gd name="T12" fmla="*/ 19 w 83"/>
                <a:gd name="T13" fmla="*/ 53 h 70"/>
                <a:gd name="T14" fmla="*/ 17 w 83"/>
                <a:gd name="T15" fmla="*/ 44 h 70"/>
                <a:gd name="T16" fmla="*/ 8 w 83"/>
                <a:gd name="T17" fmla="*/ 49 h 70"/>
                <a:gd name="T18" fmla="*/ 19 w 83"/>
                <a:gd name="T19" fmla="*/ 46 h 70"/>
                <a:gd name="T20" fmla="*/ 10 w 83"/>
                <a:gd name="T21" fmla="*/ 61 h 70"/>
                <a:gd name="T22" fmla="*/ 4 w 83"/>
                <a:gd name="T23" fmla="*/ 53 h 70"/>
                <a:gd name="T24" fmla="*/ 6 w 83"/>
                <a:gd name="T25" fmla="*/ 42 h 70"/>
                <a:gd name="T26" fmla="*/ 0 w 83"/>
                <a:gd name="T27" fmla="*/ 32 h 70"/>
                <a:gd name="T28" fmla="*/ 17 w 83"/>
                <a:gd name="T29" fmla="*/ 17 h 70"/>
                <a:gd name="T30" fmla="*/ 27 w 83"/>
                <a:gd name="T31" fmla="*/ 19 h 70"/>
                <a:gd name="T32" fmla="*/ 27 w 83"/>
                <a:gd name="T33" fmla="*/ 27 h 70"/>
                <a:gd name="T34" fmla="*/ 32 w 83"/>
                <a:gd name="T35" fmla="*/ 38 h 70"/>
                <a:gd name="T36" fmla="*/ 32 w 83"/>
                <a:gd name="T37" fmla="*/ 21 h 70"/>
                <a:gd name="T38" fmla="*/ 32 w 83"/>
                <a:gd name="T39" fmla="*/ 21 h 70"/>
                <a:gd name="T40" fmla="*/ 32 w 83"/>
                <a:gd name="T41" fmla="*/ 15 h 70"/>
                <a:gd name="T42" fmla="*/ 34 w 83"/>
                <a:gd name="T43" fmla="*/ 6 h 70"/>
                <a:gd name="T44" fmla="*/ 42 w 83"/>
                <a:gd name="T45" fmla="*/ 12 h 70"/>
                <a:gd name="T46" fmla="*/ 45 w 83"/>
                <a:gd name="T47" fmla="*/ 12 h 70"/>
                <a:gd name="T48" fmla="*/ 49 w 83"/>
                <a:gd name="T49" fmla="*/ 10 h 70"/>
                <a:gd name="T50" fmla="*/ 53 w 83"/>
                <a:gd name="T51" fmla="*/ 10 h 70"/>
                <a:gd name="T52" fmla="*/ 53 w 83"/>
                <a:gd name="T53" fmla="*/ 0 h 70"/>
                <a:gd name="T54" fmla="*/ 62 w 83"/>
                <a:gd name="T55" fmla="*/ 4 h 70"/>
                <a:gd name="T56" fmla="*/ 68 w 83"/>
                <a:gd name="T57" fmla="*/ 10 h 70"/>
                <a:gd name="T58" fmla="*/ 76 w 83"/>
                <a:gd name="T59" fmla="*/ 8 h 70"/>
                <a:gd name="T60" fmla="*/ 74 w 83"/>
                <a:gd name="T61" fmla="*/ 19 h 70"/>
                <a:gd name="T62" fmla="*/ 83 w 83"/>
                <a:gd name="T63" fmla="*/ 27 h 70"/>
                <a:gd name="T64" fmla="*/ 70 w 83"/>
                <a:gd name="T65" fmla="*/ 34 h 70"/>
                <a:gd name="T66" fmla="*/ 59 w 83"/>
                <a:gd name="T67" fmla="*/ 32 h 70"/>
                <a:gd name="T68" fmla="*/ 68 w 83"/>
                <a:gd name="T69" fmla="*/ 40 h 70"/>
                <a:gd name="T70" fmla="*/ 59 w 83"/>
                <a:gd name="T71" fmla="*/ 42 h 70"/>
                <a:gd name="T72" fmla="*/ 49 w 83"/>
                <a:gd name="T73" fmla="*/ 40 h 70"/>
                <a:gd name="T74" fmla="*/ 49 w 83"/>
                <a:gd name="T7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38" y="46"/>
                  </a:lnTo>
                  <a:lnTo>
                    <a:pt x="36" y="53"/>
                  </a:lnTo>
                  <a:lnTo>
                    <a:pt x="32" y="53"/>
                  </a:lnTo>
                  <a:lnTo>
                    <a:pt x="36" y="57"/>
                  </a:lnTo>
                  <a:lnTo>
                    <a:pt x="30" y="61"/>
                  </a:lnTo>
                  <a:lnTo>
                    <a:pt x="21" y="70"/>
                  </a:lnTo>
                  <a:lnTo>
                    <a:pt x="15" y="68"/>
                  </a:lnTo>
                  <a:lnTo>
                    <a:pt x="17" y="64"/>
                  </a:lnTo>
                  <a:lnTo>
                    <a:pt x="27" y="55"/>
                  </a:lnTo>
                  <a:lnTo>
                    <a:pt x="23" y="55"/>
                  </a:lnTo>
                  <a:lnTo>
                    <a:pt x="30" y="46"/>
                  </a:lnTo>
                  <a:lnTo>
                    <a:pt x="23" y="51"/>
                  </a:lnTo>
                  <a:lnTo>
                    <a:pt x="19" y="53"/>
                  </a:lnTo>
                  <a:lnTo>
                    <a:pt x="21" y="46"/>
                  </a:lnTo>
                  <a:lnTo>
                    <a:pt x="17" y="44"/>
                  </a:lnTo>
                  <a:lnTo>
                    <a:pt x="10" y="44"/>
                  </a:lnTo>
                  <a:lnTo>
                    <a:pt x="8" y="49"/>
                  </a:lnTo>
                  <a:lnTo>
                    <a:pt x="15" y="46"/>
                  </a:lnTo>
                  <a:lnTo>
                    <a:pt x="19" y="46"/>
                  </a:lnTo>
                  <a:lnTo>
                    <a:pt x="17" y="57"/>
                  </a:lnTo>
                  <a:lnTo>
                    <a:pt x="10" y="61"/>
                  </a:lnTo>
                  <a:lnTo>
                    <a:pt x="10" y="55"/>
                  </a:lnTo>
                  <a:lnTo>
                    <a:pt x="4" y="53"/>
                  </a:lnTo>
                  <a:lnTo>
                    <a:pt x="6" y="46"/>
                  </a:lnTo>
                  <a:lnTo>
                    <a:pt x="6" y="42"/>
                  </a:lnTo>
                  <a:lnTo>
                    <a:pt x="4" y="36"/>
                  </a:lnTo>
                  <a:lnTo>
                    <a:pt x="0" y="32"/>
                  </a:lnTo>
                  <a:lnTo>
                    <a:pt x="6" y="23"/>
                  </a:lnTo>
                  <a:lnTo>
                    <a:pt x="17" y="17"/>
                  </a:lnTo>
                  <a:lnTo>
                    <a:pt x="23" y="17"/>
                  </a:lnTo>
                  <a:lnTo>
                    <a:pt x="27" y="19"/>
                  </a:lnTo>
                  <a:lnTo>
                    <a:pt x="23" y="23"/>
                  </a:lnTo>
                  <a:lnTo>
                    <a:pt x="27" y="27"/>
                  </a:lnTo>
                  <a:lnTo>
                    <a:pt x="30" y="32"/>
                  </a:lnTo>
                  <a:lnTo>
                    <a:pt x="32" y="38"/>
                  </a:lnTo>
                  <a:lnTo>
                    <a:pt x="32" y="32"/>
                  </a:lnTo>
                  <a:lnTo>
                    <a:pt x="32" y="21"/>
                  </a:lnTo>
                  <a:lnTo>
                    <a:pt x="36" y="25"/>
                  </a:lnTo>
                  <a:lnTo>
                    <a:pt x="32" y="21"/>
                  </a:lnTo>
                  <a:lnTo>
                    <a:pt x="36" y="17"/>
                  </a:lnTo>
                  <a:lnTo>
                    <a:pt x="32" y="15"/>
                  </a:lnTo>
                  <a:lnTo>
                    <a:pt x="30" y="8"/>
                  </a:lnTo>
                  <a:lnTo>
                    <a:pt x="34" y="6"/>
                  </a:lnTo>
                  <a:lnTo>
                    <a:pt x="40" y="6"/>
                  </a:lnTo>
                  <a:lnTo>
                    <a:pt x="42" y="12"/>
                  </a:lnTo>
                  <a:lnTo>
                    <a:pt x="42" y="17"/>
                  </a:lnTo>
                  <a:lnTo>
                    <a:pt x="45" y="12"/>
                  </a:lnTo>
                  <a:lnTo>
                    <a:pt x="49" y="17"/>
                  </a:lnTo>
                  <a:lnTo>
                    <a:pt x="49" y="10"/>
                  </a:lnTo>
                  <a:lnTo>
                    <a:pt x="53" y="17"/>
                  </a:lnTo>
                  <a:lnTo>
                    <a:pt x="53" y="10"/>
                  </a:lnTo>
                  <a:lnTo>
                    <a:pt x="55" y="6"/>
                  </a:lnTo>
                  <a:lnTo>
                    <a:pt x="53" y="0"/>
                  </a:lnTo>
                  <a:lnTo>
                    <a:pt x="57" y="4"/>
                  </a:lnTo>
                  <a:lnTo>
                    <a:pt x="62" y="4"/>
                  </a:lnTo>
                  <a:lnTo>
                    <a:pt x="64" y="15"/>
                  </a:lnTo>
                  <a:lnTo>
                    <a:pt x="68" y="10"/>
                  </a:lnTo>
                  <a:lnTo>
                    <a:pt x="72" y="6"/>
                  </a:lnTo>
                  <a:lnTo>
                    <a:pt x="76" y="8"/>
                  </a:lnTo>
                  <a:lnTo>
                    <a:pt x="79" y="15"/>
                  </a:lnTo>
                  <a:lnTo>
                    <a:pt x="74" y="19"/>
                  </a:lnTo>
                  <a:lnTo>
                    <a:pt x="79" y="25"/>
                  </a:lnTo>
                  <a:lnTo>
                    <a:pt x="83" y="27"/>
                  </a:lnTo>
                  <a:lnTo>
                    <a:pt x="74" y="36"/>
                  </a:lnTo>
                  <a:lnTo>
                    <a:pt x="70" y="34"/>
                  </a:lnTo>
                  <a:lnTo>
                    <a:pt x="66" y="29"/>
                  </a:lnTo>
                  <a:lnTo>
                    <a:pt x="59" y="32"/>
                  </a:lnTo>
                  <a:lnTo>
                    <a:pt x="64" y="34"/>
                  </a:lnTo>
                  <a:lnTo>
                    <a:pt x="68" y="40"/>
                  </a:lnTo>
                  <a:lnTo>
                    <a:pt x="64" y="44"/>
                  </a:lnTo>
                  <a:lnTo>
                    <a:pt x="59" y="42"/>
                  </a:lnTo>
                  <a:lnTo>
                    <a:pt x="55" y="40"/>
                  </a:lnTo>
                  <a:lnTo>
                    <a:pt x="49" y="40"/>
                  </a:lnTo>
                  <a:lnTo>
                    <a:pt x="53" y="46"/>
                  </a:lnTo>
                  <a:lnTo>
                    <a:pt x="49" y="44"/>
                  </a:lnTo>
                  <a:lnTo>
                    <a:pt x="42" y="4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3" name="Freeform 1218"/>
            <p:cNvSpPr>
              <a:spLocks/>
            </p:cNvSpPr>
            <p:nvPr/>
          </p:nvSpPr>
          <p:spPr bwMode="auto">
            <a:xfrm>
              <a:off x="781" y="3836"/>
              <a:ext cx="83" cy="70"/>
            </a:xfrm>
            <a:custGeom>
              <a:avLst/>
              <a:gdLst>
                <a:gd name="T0" fmla="*/ 38 w 83"/>
                <a:gd name="T1" fmla="*/ 46 h 70"/>
                <a:gd name="T2" fmla="*/ 32 w 83"/>
                <a:gd name="T3" fmla="*/ 53 h 70"/>
                <a:gd name="T4" fmla="*/ 30 w 83"/>
                <a:gd name="T5" fmla="*/ 61 h 70"/>
                <a:gd name="T6" fmla="*/ 15 w 83"/>
                <a:gd name="T7" fmla="*/ 68 h 70"/>
                <a:gd name="T8" fmla="*/ 27 w 83"/>
                <a:gd name="T9" fmla="*/ 55 h 70"/>
                <a:gd name="T10" fmla="*/ 30 w 83"/>
                <a:gd name="T11" fmla="*/ 46 h 70"/>
                <a:gd name="T12" fmla="*/ 19 w 83"/>
                <a:gd name="T13" fmla="*/ 53 h 70"/>
                <a:gd name="T14" fmla="*/ 17 w 83"/>
                <a:gd name="T15" fmla="*/ 44 h 70"/>
                <a:gd name="T16" fmla="*/ 8 w 83"/>
                <a:gd name="T17" fmla="*/ 49 h 70"/>
                <a:gd name="T18" fmla="*/ 19 w 83"/>
                <a:gd name="T19" fmla="*/ 46 h 70"/>
                <a:gd name="T20" fmla="*/ 10 w 83"/>
                <a:gd name="T21" fmla="*/ 61 h 70"/>
                <a:gd name="T22" fmla="*/ 4 w 83"/>
                <a:gd name="T23" fmla="*/ 53 h 70"/>
                <a:gd name="T24" fmla="*/ 6 w 83"/>
                <a:gd name="T25" fmla="*/ 42 h 70"/>
                <a:gd name="T26" fmla="*/ 0 w 83"/>
                <a:gd name="T27" fmla="*/ 32 h 70"/>
                <a:gd name="T28" fmla="*/ 17 w 83"/>
                <a:gd name="T29" fmla="*/ 17 h 70"/>
                <a:gd name="T30" fmla="*/ 27 w 83"/>
                <a:gd name="T31" fmla="*/ 19 h 70"/>
                <a:gd name="T32" fmla="*/ 27 w 83"/>
                <a:gd name="T33" fmla="*/ 27 h 70"/>
                <a:gd name="T34" fmla="*/ 32 w 83"/>
                <a:gd name="T35" fmla="*/ 38 h 70"/>
                <a:gd name="T36" fmla="*/ 32 w 83"/>
                <a:gd name="T37" fmla="*/ 21 h 70"/>
                <a:gd name="T38" fmla="*/ 32 w 83"/>
                <a:gd name="T39" fmla="*/ 21 h 70"/>
                <a:gd name="T40" fmla="*/ 32 w 83"/>
                <a:gd name="T41" fmla="*/ 15 h 70"/>
                <a:gd name="T42" fmla="*/ 34 w 83"/>
                <a:gd name="T43" fmla="*/ 6 h 70"/>
                <a:gd name="T44" fmla="*/ 42 w 83"/>
                <a:gd name="T45" fmla="*/ 12 h 70"/>
                <a:gd name="T46" fmla="*/ 45 w 83"/>
                <a:gd name="T47" fmla="*/ 12 h 70"/>
                <a:gd name="T48" fmla="*/ 49 w 83"/>
                <a:gd name="T49" fmla="*/ 10 h 70"/>
                <a:gd name="T50" fmla="*/ 53 w 83"/>
                <a:gd name="T51" fmla="*/ 10 h 70"/>
                <a:gd name="T52" fmla="*/ 53 w 83"/>
                <a:gd name="T53" fmla="*/ 0 h 70"/>
                <a:gd name="T54" fmla="*/ 62 w 83"/>
                <a:gd name="T55" fmla="*/ 4 h 70"/>
                <a:gd name="T56" fmla="*/ 68 w 83"/>
                <a:gd name="T57" fmla="*/ 10 h 70"/>
                <a:gd name="T58" fmla="*/ 76 w 83"/>
                <a:gd name="T59" fmla="*/ 8 h 70"/>
                <a:gd name="T60" fmla="*/ 74 w 83"/>
                <a:gd name="T61" fmla="*/ 19 h 70"/>
                <a:gd name="T62" fmla="*/ 83 w 83"/>
                <a:gd name="T63" fmla="*/ 27 h 70"/>
                <a:gd name="T64" fmla="*/ 70 w 83"/>
                <a:gd name="T65" fmla="*/ 34 h 70"/>
                <a:gd name="T66" fmla="*/ 59 w 83"/>
                <a:gd name="T67" fmla="*/ 32 h 70"/>
                <a:gd name="T68" fmla="*/ 68 w 83"/>
                <a:gd name="T69" fmla="*/ 40 h 70"/>
                <a:gd name="T70" fmla="*/ 59 w 83"/>
                <a:gd name="T71" fmla="*/ 42 h 70"/>
                <a:gd name="T72" fmla="*/ 49 w 83"/>
                <a:gd name="T73" fmla="*/ 40 h 70"/>
                <a:gd name="T74" fmla="*/ 49 w 83"/>
                <a:gd name="T7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38" y="46"/>
                  </a:lnTo>
                  <a:lnTo>
                    <a:pt x="36" y="53"/>
                  </a:lnTo>
                  <a:lnTo>
                    <a:pt x="32" y="53"/>
                  </a:lnTo>
                  <a:lnTo>
                    <a:pt x="36" y="57"/>
                  </a:lnTo>
                  <a:lnTo>
                    <a:pt x="30" y="61"/>
                  </a:lnTo>
                  <a:lnTo>
                    <a:pt x="21" y="70"/>
                  </a:lnTo>
                  <a:lnTo>
                    <a:pt x="15" y="68"/>
                  </a:lnTo>
                  <a:lnTo>
                    <a:pt x="17" y="64"/>
                  </a:lnTo>
                  <a:lnTo>
                    <a:pt x="27" y="55"/>
                  </a:lnTo>
                  <a:lnTo>
                    <a:pt x="23" y="55"/>
                  </a:lnTo>
                  <a:lnTo>
                    <a:pt x="30" y="46"/>
                  </a:lnTo>
                  <a:lnTo>
                    <a:pt x="23" y="51"/>
                  </a:lnTo>
                  <a:lnTo>
                    <a:pt x="19" y="53"/>
                  </a:lnTo>
                  <a:lnTo>
                    <a:pt x="21" y="46"/>
                  </a:lnTo>
                  <a:lnTo>
                    <a:pt x="17" y="44"/>
                  </a:lnTo>
                  <a:lnTo>
                    <a:pt x="10" y="44"/>
                  </a:lnTo>
                  <a:lnTo>
                    <a:pt x="8" y="49"/>
                  </a:lnTo>
                  <a:lnTo>
                    <a:pt x="15" y="46"/>
                  </a:lnTo>
                  <a:lnTo>
                    <a:pt x="19" y="46"/>
                  </a:lnTo>
                  <a:lnTo>
                    <a:pt x="17" y="57"/>
                  </a:lnTo>
                  <a:lnTo>
                    <a:pt x="10" y="61"/>
                  </a:lnTo>
                  <a:lnTo>
                    <a:pt x="10" y="55"/>
                  </a:lnTo>
                  <a:lnTo>
                    <a:pt x="4" y="53"/>
                  </a:lnTo>
                  <a:lnTo>
                    <a:pt x="6" y="46"/>
                  </a:lnTo>
                  <a:lnTo>
                    <a:pt x="6" y="42"/>
                  </a:lnTo>
                  <a:lnTo>
                    <a:pt x="4" y="36"/>
                  </a:lnTo>
                  <a:lnTo>
                    <a:pt x="0" y="32"/>
                  </a:lnTo>
                  <a:lnTo>
                    <a:pt x="6" y="23"/>
                  </a:lnTo>
                  <a:lnTo>
                    <a:pt x="17" y="17"/>
                  </a:lnTo>
                  <a:lnTo>
                    <a:pt x="23" y="17"/>
                  </a:lnTo>
                  <a:lnTo>
                    <a:pt x="27" y="19"/>
                  </a:lnTo>
                  <a:lnTo>
                    <a:pt x="23" y="23"/>
                  </a:lnTo>
                  <a:lnTo>
                    <a:pt x="27" y="27"/>
                  </a:lnTo>
                  <a:lnTo>
                    <a:pt x="30" y="32"/>
                  </a:lnTo>
                  <a:lnTo>
                    <a:pt x="32" y="38"/>
                  </a:lnTo>
                  <a:lnTo>
                    <a:pt x="32" y="32"/>
                  </a:lnTo>
                  <a:lnTo>
                    <a:pt x="32" y="21"/>
                  </a:lnTo>
                  <a:lnTo>
                    <a:pt x="36" y="25"/>
                  </a:lnTo>
                  <a:lnTo>
                    <a:pt x="32" y="21"/>
                  </a:lnTo>
                  <a:lnTo>
                    <a:pt x="36" y="17"/>
                  </a:lnTo>
                  <a:lnTo>
                    <a:pt x="32" y="15"/>
                  </a:lnTo>
                  <a:lnTo>
                    <a:pt x="30" y="8"/>
                  </a:lnTo>
                  <a:lnTo>
                    <a:pt x="34" y="6"/>
                  </a:lnTo>
                  <a:lnTo>
                    <a:pt x="40" y="6"/>
                  </a:lnTo>
                  <a:lnTo>
                    <a:pt x="42" y="12"/>
                  </a:lnTo>
                  <a:lnTo>
                    <a:pt x="42" y="17"/>
                  </a:lnTo>
                  <a:lnTo>
                    <a:pt x="45" y="12"/>
                  </a:lnTo>
                  <a:lnTo>
                    <a:pt x="49" y="17"/>
                  </a:lnTo>
                  <a:lnTo>
                    <a:pt x="49" y="10"/>
                  </a:lnTo>
                  <a:lnTo>
                    <a:pt x="53" y="17"/>
                  </a:lnTo>
                  <a:lnTo>
                    <a:pt x="53" y="10"/>
                  </a:lnTo>
                  <a:lnTo>
                    <a:pt x="55" y="6"/>
                  </a:lnTo>
                  <a:lnTo>
                    <a:pt x="53" y="0"/>
                  </a:lnTo>
                  <a:lnTo>
                    <a:pt x="57" y="4"/>
                  </a:lnTo>
                  <a:lnTo>
                    <a:pt x="62" y="4"/>
                  </a:lnTo>
                  <a:lnTo>
                    <a:pt x="64" y="15"/>
                  </a:lnTo>
                  <a:lnTo>
                    <a:pt x="68" y="10"/>
                  </a:lnTo>
                  <a:lnTo>
                    <a:pt x="72" y="6"/>
                  </a:lnTo>
                  <a:lnTo>
                    <a:pt x="76" y="8"/>
                  </a:lnTo>
                  <a:lnTo>
                    <a:pt x="79" y="15"/>
                  </a:lnTo>
                  <a:lnTo>
                    <a:pt x="74" y="19"/>
                  </a:lnTo>
                  <a:lnTo>
                    <a:pt x="79" y="25"/>
                  </a:lnTo>
                  <a:lnTo>
                    <a:pt x="83" y="27"/>
                  </a:lnTo>
                  <a:lnTo>
                    <a:pt x="74" y="36"/>
                  </a:lnTo>
                  <a:lnTo>
                    <a:pt x="70" y="34"/>
                  </a:lnTo>
                  <a:lnTo>
                    <a:pt x="66" y="29"/>
                  </a:lnTo>
                  <a:lnTo>
                    <a:pt x="59" y="32"/>
                  </a:lnTo>
                  <a:lnTo>
                    <a:pt x="64" y="34"/>
                  </a:lnTo>
                  <a:lnTo>
                    <a:pt x="68" y="40"/>
                  </a:lnTo>
                  <a:lnTo>
                    <a:pt x="64" y="44"/>
                  </a:lnTo>
                  <a:lnTo>
                    <a:pt x="59" y="42"/>
                  </a:lnTo>
                  <a:lnTo>
                    <a:pt x="55" y="40"/>
                  </a:lnTo>
                  <a:lnTo>
                    <a:pt x="49" y="40"/>
                  </a:lnTo>
                  <a:lnTo>
                    <a:pt x="53" y="46"/>
                  </a:lnTo>
                  <a:lnTo>
                    <a:pt x="49" y="44"/>
                  </a:lnTo>
                  <a:lnTo>
                    <a:pt x="42" y="49"/>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4" name="Freeform 1219"/>
            <p:cNvSpPr>
              <a:spLocks/>
            </p:cNvSpPr>
            <p:nvPr/>
          </p:nvSpPr>
          <p:spPr bwMode="auto">
            <a:xfrm>
              <a:off x="823" y="3885"/>
              <a:ext cx="15" cy="8"/>
            </a:xfrm>
            <a:custGeom>
              <a:avLst/>
              <a:gdLst>
                <a:gd name="T0" fmla="*/ 15 w 15"/>
                <a:gd name="T1" fmla="*/ 2 h 8"/>
                <a:gd name="T2" fmla="*/ 9 w 15"/>
                <a:gd name="T3" fmla="*/ 4 h 8"/>
                <a:gd name="T4" fmla="*/ 5 w 15"/>
                <a:gd name="T5" fmla="*/ 8 h 8"/>
                <a:gd name="T6" fmla="*/ 0 w 15"/>
                <a:gd name="T7" fmla="*/ 4 h 8"/>
                <a:gd name="T8" fmla="*/ 3 w 15"/>
                <a:gd name="T9" fmla="*/ 0 h 8"/>
                <a:gd name="T10" fmla="*/ 7 w 15"/>
                <a:gd name="T11" fmla="*/ 0 h 8"/>
                <a:gd name="T12" fmla="*/ 11 w 15"/>
                <a:gd name="T13" fmla="*/ 0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9" y="4"/>
                  </a:lnTo>
                  <a:lnTo>
                    <a:pt x="5" y="8"/>
                  </a:lnTo>
                  <a:lnTo>
                    <a:pt x="0" y="4"/>
                  </a:lnTo>
                  <a:lnTo>
                    <a:pt x="3" y="0"/>
                  </a:lnTo>
                  <a:lnTo>
                    <a:pt x="7" y="0"/>
                  </a:lnTo>
                  <a:lnTo>
                    <a:pt x="11" y="0"/>
                  </a:lnTo>
                  <a:lnTo>
                    <a:pt x="15"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5" name="Freeform 1220"/>
            <p:cNvSpPr>
              <a:spLocks/>
            </p:cNvSpPr>
            <p:nvPr/>
          </p:nvSpPr>
          <p:spPr bwMode="auto">
            <a:xfrm>
              <a:off x="823" y="3885"/>
              <a:ext cx="15" cy="8"/>
            </a:xfrm>
            <a:custGeom>
              <a:avLst/>
              <a:gdLst>
                <a:gd name="T0" fmla="*/ 15 w 15"/>
                <a:gd name="T1" fmla="*/ 2 h 8"/>
                <a:gd name="T2" fmla="*/ 9 w 15"/>
                <a:gd name="T3" fmla="*/ 4 h 8"/>
                <a:gd name="T4" fmla="*/ 5 w 15"/>
                <a:gd name="T5" fmla="*/ 8 h 8"/>
                <a:gd name="T6" fmla="*/ 0 w 15"/>
                <a:gd name="T7" fmla="*/ 4 h 8"/>
                <a:gd name="T8" fmla="*/ 3 w 15"/>
                <a:gd name="T9" fmla="*/ 0 h 8"/>
                <a:gd name="T10" fmla="*/ 7 w 15"/>
                <a:gd name="T11" fmla="*/ 0 h 8"/>
                <a:gd name="T12" fmla="*/ 11 w 15"/>
                <a:gd name="T13" fmla="*/ 0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9" y="4"/>
                  </a:lnTo>
                  <a:lnTo>
                    <a:pt x="5" y="8"/>
                  </a:lnTo>
                  <a:lnTo>
                    <a:pt x="0" y="4"/>
                  </a:lnTo>
                  <a:lnTo>
                    <a:pt x="3" y="0"/>
                  </a:lnTo>
                  <a:lnTo>
                    <a:pt x="7" y="0"/>
                  </a:lnTo>
                  <a:lnTo>
                    <a:pt x="11" y="0"/>
                  </a:lnTo>
                  <a:lnTo>
                    <a:pt x="15"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6" name="Freeform 1221"/>
            <p:cNvSpPr>
              <a:spLocks/>
            </p:cNvSpPr>
            <p:nvPr/>
          </p:nvSpPr>
          <p:spPr bwMode="auto">
            <a:xfrm>
              <a:off x="857" y="3802"/>
              <a:ext cx="9" cy="8"/>
            </a:xfrm>
            <a:custGeom>
              <a:avLst/>
              <a:gdLst>
                <a:gd name="T0" fmla="*/ 9 w 9"/>
                <a:gd name="T1" fmla="*/ 4 h 8"/>
                <a:gd name="T2" fmla="*/ 5 w 9"/>
                <a:gd name="T3" fmla="*/ 8 h 8"/>
                <a:gd name="T4" fmla="*/ 0 w 9"/>
                <a:gd name="T5" fmla="*/ 8 h 8"/>
                <a:gd name="T6" fmla="*/ 3 w 9"/>
                <a:gd name="T7" fmla="*/ 4 h 8"/>
                <a:gd name="T8" fmla="*/ 7 w 9"/>
                <a:gd name="T9" fmla="*/ 0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5" y="8"/>
                  </a:lnTo>
                  <a:lnTo>
                    <a:pt x="0" y="8"/>
                  </a:lnTo>
                  <a:lnTo>
                    <a:pt x="3" y="4"/>
                  </a:lnTo>
                  <a:lnTo>
                    <a:pt x="7" y="0"/>
                  </a:lnTo>
                  <a:lnTo>
                    <a:pt x="9"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7" name="Freeform 1222"/>
            <p:cNvSpPr>
              <a:spLocks/>
            </p:cNvSpPr>
            <p:nvPr/>
          </p:nvSpPr>
          <p:spPr bwMode="auto">
            <a:xfrm>
              <a:off x="857" y="3802"/>
              <a:ext cx="9" cy="8"/>
            </a:xfrm>
            <a:custGeom>
              <a:avLst/>
              <a:gdLst>
                <a:gd name="T0" fmla="*/ 9 w 9"/>
                <a:gd name="T1" fmla="*/ 4 h 8"/>
                <a:gd name="T2" fmla="*/ 5 w 9"/>
                <a:gd name="T3" fmla="*/ 8 h 8"/>
                <a:gd name="T4" fmla="*/ 0 w 9"/>
                <a:gd name="T5" fmla="*/ 8 h 8"/>
                <a:gd name="T6" fmla="*/ 3 w 9"/>
                <a:gd name="T7" fmla="*/ 4 h 8"/>
                <a:gd name="T8" fmla="*/ 7 w 9"/>
                <a:gd name="T9" fmla="*/ 0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5" y="8"/>
                  </a:lnTo>
                  <a:lnTo>
                    <a:pt x="0" y="8"/>
                  </a:lnTo>
                  <a:lnTo>
                    <a:pt x="3" y="4"/>
                  </a:lnTo>
                  <a:lnTo>
                    <a:pt x="7" y="0"/>
                  </a:lnTo>
                  <a:lnTo>
                    <a:pt x="9"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8" name="Freeform 1223"/>
            <p:cNvSpPr>
              <a:spLocks/>
            </p:cNvSpPr>
            <p:nvPr/>
          </p:nvSpPr>
          <p:spPr bwMode="auto">
            <a:xfrm>
              <a:off x="887" y="3695"/>
              <a:ext cx="5" cy="6"/>
            </a:xfrm>
            <a:custGeom>
              <a:avLst/>
              <a:gdLst>
                <a:gd name="T0" fmla="*/ 5 w 5"/>
                <a:gd name="T1" fmla="*/ 2 h 6"/>
                <a:gd name="T2" fmla="*/ 0 w 5"/>
                <a:gd name="T3" fmla="*/ 6 h 6"/>
                <a:gd name="T4" fmla="*/ 0 w 5"/>
                <a:gd name="T5" fmla="*/ 0 h 6"/>
                <a:gd name="T6" fmla="*/ 5 w 5"/>
                <a:gd name="T7" fmla="*/ 2 h 6"/>
              </a:gdLst>
              <a:ahLst/>
              <a:cxnLst>
                <a:cxn ang="0">
                  <a:pos x="T0" y="T1"/>
                </a:cxn>
                <a:cxn ang="0">
                  <a:pos x="T2" y="T3"/>
                </a:cxn>
                <a:cxn ang="0">
                  <a:pos x="T4" y="T5"/>
                </a:cxn>
                <a:cxn ang="0">
                  <a:pos x="T6" y="T7"/>
                </a:cxn>
              </a:cxnLst>
              <a:rect l="0" t="0" r="r" b="b"/>
              <a:pathLst>
                <a:path w="5" h="6">
                  <a:moveTo>
                    <a:pt x="5" y="2"/>
                  </a:moveTo>
                  <a:lnTo>
                    <a:pt x="0" y="6"/>
                  </a:lnTo>
                  <a:lnTo>
                    <a:pt x="0" y="0"/>
                  </a:lnTo>
                  <a:lnTo>
                    <a:pt x="5" y="2"/>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39" name="Freeform 1224"/>
            <p:cNvSpPr>
              <a:spLocks/>
            </p:cNvSpPr>
            <p:nvPr/>
          </p:nvSpPr>
          <p:spPr bwMode="auto">
            <a:xfrm>
              <a:off x="887" y="3695"/>
              <a:ext cx="5" cy="6"/>
            </a:xfrm>
            <a:custGeom>
              <a:avLst/>
              <a:gdLst>
                <a:gd name="T0" fmla="*/ 5 w 5"/>
                <a:gd name="T1" fmla="*/ 2 h 6"/>
                <a:gd name="T2" fmla="*/ 0 w 5"/>
                <a:gd name="T3" fmla="*/ 6 h 6"/>
                <a:gd name="T4" fmla="*/ 0 w 5"/>
                <a:gd name="T5" fmla="*/ 0 h 6"/>
                <a:gd name="T6" fmla="*/ 5 w 5"/>
                <a:gd name="T7" fmla="*/ 2 h 6"/>
              </a:gdLst>
              <a:ahLst/>
              <a:cxnLst>
                <a:cxn ang="0">
                  <a:pos x="T0" y="T1"/>
                </a:cxn>
                <a:cxn ang="0">
                  <a:pos x="T2" y="T3"/>
                </a:cxn>
                <a:cxn ang="0">
                  <a:pos x="T4" y="T5"/>
                </a:cxn>
                <a:cxn ang="0">
                  <a:pos x="T6" y="T7"/>
                </a:cxn>
              </a:cxnLst>
              <a:rect l="0" t="0" r="r" b="b"/>
              <a:pathLst>
                <a:path w="5" h="6">
                  <a:moveTo>
                    <a:pt x="5" y="2"/>
                  </a:moveTo>
                  <a:lnTo>
                    <a:pt x="0" y="6"/>
                  </a:lnTo>
                  <a:lnTo>
                    <a:pt x="0" y="0"/>
                  </a:lnTo>
                  <a:lnTo>
                    <a:pt x="5" y="2"/>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0" name="Freeform 1225"/>
            <p:cNvSpPr>
              <a:spLocks/>
            </p:cNvSpPr>
            <p:nvPr/>
          </p:nvSpPr>
          <p:spPr bwMode="auto">
            <a:xfrm>
              <a:off x="1002" y="3706"/>
              <a:ext cx="9" cy="17"/>
            </a:xfrm>
            <a:custGeom>
              <a:avLst/>
              <a:gdLst>
                <a:gd name="T0" fmla="*/ 9 w 9"/>
                <a:gd name="T1" fmla="*/ 4 h 17"/>
                <a:gd name="T2" fmla="*/ 9 w 9"/>
                <a:gd name="T3" fmla="*/ 8 h 17"/>
                <a:gd name="T4" fmla="*/ 7 w 9"/>
                <a:gd name="T5" fmla="*/ 12 h 17"/>
                <a:gd name="T6" fmla="*/ 5 w 9"/>
                <a:gd name="T7" fmla="*/ 17 h 17"/>
                <a:gd name="T8" fmla="*/ 0 w 9"/>
                <a:gd name="T9" fmla="*/ 15 h 17"/>
                <a:gd name="T10" fmla="*/ 5 w 9"/>
                <a:gd name="T11" fmla="*/ 8 h 17"/>
                <a:gd name="T12" fmla="*/ 7 w 9"/>
                <a:gd name="T13" fmla="*/ 0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9" y="8"/>
                  </a:lnTo>
                  <a:lnTo>
                    <a:pt x="7" y="12"/>
                  </a:lnTo>
                  <a:lnTo>
                    <a:pt x="5" y="17"/>
                  </a:lnTo>
                  <a:lnTo>
                    <a:pt x="0" y="15"/>
                  </a:lnTo>
                  <a:lnTo>
                    <a:pt x="5" y="8"/>
                  </a:lnTo>
                  <a:lnTo>
                    <a:pt x="7" y="0"/>
                  </a:lnTo>
                  <a:lnTo>
                    <a:pt x="9"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1" name="Freeform 1226"/>
            <p:cNvSpPr>
              <a:spLocks/>
            </p:cNvSpPr>
            <p:nvPr/>
          </p:nvSpPr>
          <p:spPr bwMode="auto">
            <a:xfrm>
              <a:off x="1002" y="3706"/>
              <a:ext cx="9" cy="17"/>
            </a:xfrm>
            <a:custGeom>
              <a:avLst/>
              <a:gdLst>
                <a:gd name="T0" fmla="*/ 9 w 9"/>
                <a:gd name="T1" fmla="*/ 4 h 17"/>
                <a:gd name="T2" fmla="*/ 9 w 9"/>
                <a:gd name="T3" fmla="*/ 8 h 17"/>
                <a:gd name="T4" fmla="*/ 7 w 9"/>
                <a:gd name="T5" fmla="*/ 12 h 17"/>
                <a:gd name="T6" fmla="*/ 5 w 9"/>
                <a:gd name="T7" fmla="*/ 17 h 17"/>
                <a:gd name="T8" fmla="*/ 0 w 9"/>
                <a:gd name="T9" fmla="*/ 15 h 17"/>
                <a:gd name="T10" fmla="*/ 5 w 9"/>
                <a:gd name="T11" fmla="*/ 8 h 17"/>
                <a:gd name="T12" fmla="*/ 7 w 9"/>
                <a:gd name="T13" fmla="*/ 0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9" y="8"/>
                  </a:lnTo>
                  <a:lnTo>
                    <a:pt x="7" y="12"/>
                  </a:lnTo>
                  <a:lnTo>
                    <a:pt x="5" y="17"/>
                  </a:lnTo>
                  <a:lnTo>
                    <a:pt x="0" y="15"/>
                  </a:lnTo>
                  <a:lnTo>
                    <a:pt x="5" y="8"/>
                  </a:lnTo>
                  <a:lnTo>
                    <a:pt x="7" y="0"/>
                  </a:lnTo>
                  <a:lnTo>
                    <a:pt x="9"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2" name="Freeform 1227"/>
            <p:cNvSpPr>
              <a:spLocks/>
            </p:cNvSpPr>
            <p:nvPr/>
          </p:nvSpPr>
          <p:spPr bwMode="auto">
            <a:xfrm>
              <a:off x="1004" y="3712"/>
              <a:ext cx="24" cy="34"/>
            </a:xfrm>
            <a:custGeom>
              <a:avLst/>
              <a:gdLst>
                <a:gd name="T0" fmla="*/ 5 w 24"/>
                <a:gd name="T1" fmla="*/ 21 h 34"/>
                <a:gd name="T2" fmla="*/ 11 w 24"/>
                <a:gd name="T3" fmla="*/ 17 h 34"/>
                <a:gd name="T4" fmla="*/ 15 w 24"/>
                <a:gd name="T5" fmla="*/ 13 h 34"/>
                <a:gd name="T6" fmla="*/ 22 w 24"/>
                <a:gd name="T7" fmla="*/ 0 h 34"/>
                <a:gd name="T8" fmla="*/ 24 w 24"/>
                <a:gd name="T9" fmla="*/ 11 h 34"/>
                <a:gd name="T10" fmla="*/ 17 w 24"/>
                <a:gd name="T11" fmla="*/ 15 h 34"/>
                <a:gd name="T12" fmla="*/ 13 w 24"/>
                <a:gd name="T13" fmla="*/ 21 h 34"/>
                <a:gd name="T14" fmla="*/ 11 w 24"/>
                <a:gd name="T15" fmla="*/ 26 h 34"/>
                <a:gd name="T16" fmla="*/ 7 w 24"/>
                <a:gd name="T17" fmla="*/ 30 h 34"/>
                <a:gd name="T18" fmla="*/ 0 w 24"/>
                <a:gd name="T19" fmla="*/ 34 h 34"/>
                <a:gd name="T20" fmla="*/ 0 w 24"/>
                <a:gd name="T21" fmla="*/ 30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11" y="17"/>
                  </a:lnTo>
                  <a:lnTo>
                    <a:pt x="15" y="13"/>
                  </a:lnTo>
                  <a:lnTo>
                    <a:pt x="22" y="0"/>
                  </a:lnTo>
                  <a:lnTo>
                    <a:pt x="24" y="11"/>
                  </a:lnTo>
                  <a:lnTo>
                    <a:pt x="17" y="15"/>
                  </a:lnTo>
                  <a:lnTo>
                    <a:pt x="13" y="21"/>
                  </a:lnTo>
                  <a:lnTo>
                    <a:pt x="11" y="26"/>
                  </a:lnTo>
                  <a:lnTo>
                    <a:pt x="7" y="30"/>
                  </a:lnTo>
                  <a:lnTo>
                    <a:pt x="0" y="34"/>
                  </a:lnTo>
                  <a:lnTo>
                    <a:pt x="0" y="30"/>
                  </a:lnTo>
                  <a:lnTo>
                    <a:pt x="5" y="2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3" name="Freeform 1228"/>
            <p:cNvSpPr>
              <a:spLocks/>
            </p:cNvSpPr>
            <p:nvPr/>
          </p:nvSpPr>
          <p:spPr bwMode="auto">
            <a:xfrm>
              <a:off x="1004" y="3712"/>
              <a:ext cx="24" cy="34"/>
            </a:xfrm>
            <a:custGeom>
              <a:avLst/>
              <a:gdLst>
                <a:gd name="T0" fmla="*/ 5 w 24"/>
                <a:gd name="T1" fmla="*/ 21 h 34"/>
                <a:gd name="T2" fmla="*/ 11 w 24"/>
                <a:gd name="T3" fmla="*/ 17 h 34"/>
                <a:gd name="T4" fmla="*/ 15 w 24"/>
                <a:gd name="T5" fmla="*/ 13 h 34"/>
                <a:gd name="T6" fmla="*/ 22 w 24"/>
                <a:gd name="T7" fmla="*/ 0 h 34"/>
                <a:gd name="T8" fmla="*/ 24 w 24"/>
                <a:gd name="T9" fmla="*/ 11 h 34"/>
                <a:gd name="T10" fmla="*/ 17 w 24"/>
                <a:gd name="T11" fmla="*/ 15 h 34"/>
                <a:gd name="T12" fmla="*/ 13 w 24"/>
                <a:gd name="T13" fmla="*/ 21 h 34"/>
                <a:gd name="T14" fmla="*/ 11 w 24"/>
                <a:gd name="T15" fmla="*/ 26 h 34"/>
                <a:gd name="T16" fmla="*/ 7 w 24"/>
                <a:gd name="T17" fmla="*/ 30 h 34"/>
                <a:gd name="T18" fmla="*/ 0 w 24"/>
                <a:gd name="T19" fmla="*/ 34 h 34"/>
                <a:gd name="T20" fmla="*/ 0 w 24"/>
                <a:gd name="T21" fmla="*/ 30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11" y="17"/>
                  </a:lnTo>
                  <a:lnTo>
                    <a:pt x="15" y="13"/>
                  </a:lnTo>
                  <a:lnTo>
                    <a:pt x="22" y="0"/>
                  </a:lnTo>
                  <a:lnTo>
                    <a:pt x="24" y="11"/>
                  </a:lnTo>
                  <a:lnTo>
                    <a:pt x="17" y="15"/>
                  </a:lnTo>
                  <a:lnTo>
                    <a:pt x="13" y="21"/>
                  </a:lnTo>
                  <a:lnTo>
                    <a:pt x="11" y="26"/>
                  </a:lnTo>
                  <a:lnTo>
                    <a:pt x="7" y="30"/>
                  </a:lnTo>
                  <a:lnTo>
                    <a:pt x="0" y="34"/>
                  </a:lnTo>
                  <a:lnTo>
                    <a:pt x="0" y="30"/>
                  </a:lnTo>
                  <a:lnTo>
                    <a:pt x="5" y="21"/>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4" name="Freeform 1229"/>
            <p:cNvSpPr>
              <a:spLocks/>
            </p:cNvSpPr>
            <p:nvPr/>
          </p:nvSpPr>
          <p:spPr bwMode="auto">
            <a:xfrm>
              <a:off x="1038" y="3708"/>
              <a:ext cx="17" cy="10"/>
            </a:xfrm>
            <a:custGeom>
              <a:avLst/>
              <a:gdLst>
                <a:gd name="T0" fmla="*/ 17 w 17"/>
                <a:gd name="T1" fmla="*/ 4 h 10"/>
                <a:gd name="T2" fmla="*/ 11 w 17"/>
                <a:gd name="T3" fmla="*/ 6 h 10"/>
                <a:gd name="T4" fmla="*/ 5 w 17"/>
                <a:gd name="T5" fmla="*/ 10 h 10"/>
                <a:gd name="T6" fmla="*/ 0 w 17"/>
                <a:gd name="T7" fmla="*/ 10 h 10"/>
                <a:gd name="T8" fmla="*/ 5 w 17"/>
                <a:gd name="T9" fmla="*/ 6 h 10"/>
                <a:gd name="T10" fmla="*/ 0 w 17"/>
                <a:gd name="T11" fmla="*/ 6 h 10"/>
                <a:gd name="T12" fmla="*/ 0 w 17"/>
                <a:gd name="T13" fmla="*/ 2 h 10"/>
                <a:gd name="T14" fmla="*/ 7 w 17"/>
                <a:gd name="T15" fmla="*/ 0 h 10"/>
                <a:gd name="T16" fmla="*/ 11 w 17"/>
                <a:gd name="T17" fmla="*/ 2 h 10"/>
                <a:gd name="T18" fmla="*/ 17 w 17"/>
                <a:gd name="T19" fmla="*/ 2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1" y="6"/>
                  </a:lnTo>
                  <a:lnTo>
                    <a:pt x="5" y="10"/>
                  </a:lnTo>
                  <a:lnTo>
                    <a:pt x="0" y="10"/>
                  </a:lnTo>
                  <a:lnTo>
                    <a:pt x="5" y="6"/>
                  </a:lnTo>
                  <a:lnTo>
                    <a:pt x="0" y="6"/>
                  </a:lnTo>
                  <a:lnTo>
                    <a:pt x="0" y="2"/>
                  </a:lnTo>
                  <a:lnTo>
                    <a:pt x="7" y="0"/>
                  </a:lnTo>
                  <a:lnTo>
                    <a:pt x="11" y="2"/>
                  </a:lnTo>
                  <a:lnTo>
                    <a:pt x="17" y="2"/>
                  </a:lnTo>
                  <a:lnTo>
                    <a:pt x="17"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5" name="Freeform 1230"/>
            <p:cNvSpPr>
              <a:spLocks/>
            </p:cNvSpPr>
            <p:nvPr/>
          </p:nvSpPr>
          <p:spPr bwMode="auto">
            <a:xfrm>
              <a:off x="1038" y="3708"/>
              <a:ext cx="17" cy="10"/>
            </a:xfrm>
            <a:custGeom>
              <a:avLst/>
              <a:gdLst>
                <a:gd name="T0" fmla="*/ 17 w 17"/>
                <a:gd name="T1" fmla="*/ 4 h 10"/>
                <a:gd name="T2" fmla="*/ 11 w 17"/>
                <a:gd name="T3" fmla="*/ 6 h 10"/>
                <a:gd name="T4" fmla="*/ 5 w 17"/>
                <a:gd name="T5" fmla="*/ 10 h 10"/>
                <a:gd name="T6" fmla="*/ 0 w 17"/>
                <a:gd name="T7" fmla="*/ 10 h 10"/>
                <a:gd name="T8" fmla="*/ 5 w 17"/>
                <a:gd name="T9" fmla="*/ 6 h 10"/>
                <a:gd name="T10" fmla="*/ 0 w 17"/>
                <a:gd name="T11" fmla="*/ 6 h 10"/>
                <a:gd name="T12" fmla="*/ 0 w 17"/>
                <a:gd name="T13" fmla="*/ 2 h 10"/>
                <a:gd name="T14" fmla="*/ 7 w 17"/>
                <a:gd name="T15" fmla="*/ 0 h 10"/>
                <a:gd name="T16" fmla="*/ 11 w 17"/>
                <a:gd name="T17" fmla="*/ 2 h 10"/>
                <a:gd name="T18" fmla="*/ 17 w 17"/>
                <a:gd name="T19" fmla="*/ 2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1" y="6"/>
                  </a:lnTo>
                  <a:lnTo>
                    <a:pt x="5" y="10"/>
                  </a:lnTo>
                  <a:lnTo>
                    <a:pt x="0" y="10"/>
                  </a:lnTo>
                  <a:lnTo>
                    <a:pt x="5" y="6"/>
                  </a:lnTo>
                  <a:lnTo>
                    <a:pt x="0" y="6"/>
                  </a:lnTo>
                  <a:lnTo>
                    <a:pt x="0" y="2"/>
                  </a:lnTo>
                  <a:lnTo>
                    <a:pt x="7" y="0"/>
                  </a:lnTo>
                  <a:lnTo>
                    <a:pt x="11" y="2"/>
                  </a:lnTo>
                  <a:lnTo>
                    <a:pt x="17" y="2"/>
                  </a:lnTo>
                  <a:lnTo>
                    <a:pt x="17"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6" name="Freeform 1231"/>
            <p:cNvSpPr>
              <a:spLocks/>
            </p:cNvSpPr>
            <p:nvPr/>
          </p:nvSpPr>
          <p:spPr bwMode="auto">
            <a:xfrm>
              <a:off x="1345" y="3831"/>
              <a:ext cx="6" cy="13"/>
            </a:xfrm>
            <a:custGeom>
              <a:avLst/>
              <a:gdLst>
                <a:gd name="T0" fmla="*/ 2 w 6"/>
                <a:gd name="T1" fmla="*/ 0 h 13"/>
                <a:gd name="T2" fmla="*/ 6 w 6"/>
                <a:gd name="T3" fmla="*/ 5 h 13"/>
                <a:gd name="T4" fmla="*/ 6 w 6"/>
                <a:gd name="T5" fmla="*/ 9 h 13"/>
                <a:gd name="T6" fmla="*/ 4 w 6"/>
                <a:gd name="T7" fmla="*/ 13 h 13"/>
                <a:gd name="T8" fmla="*/ 0 w 6"/>
                <a:gd name="T9" fmla="*/ 11 h 13"/>
                <a:gd name="T10" fmla="*/ 0 w 6"/>
                <a:gd name="T11" fmla="*/ 0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6" y="5"/>
                  </a:lnTo>
                  <a:lnTo>
                    <a:pt x="6" y="9"/>
                  </a:lnTo>
                  <a:lnTo>
                    <a:pt x="4" y="13"/>
                  </a:lnTo>
                  <a:lnTo>
                    <a:pt x="0" y="11"/>
                  </a:lnTo>
                  <a:lnTo>
                    <a:pt x="0" y="0"/>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7" name="Freeform 1232"/>
            <p:cNvSpPr>
              <a:spLocks/>
            </p:cNvSpPr>
            <p:nvPr/>
          </p:nvSpPr>
          <p:spPr bwMode="auto">
            <a:xfrm>
              <a:off x="1345" y="3831"/>
              <a:ext cx="6" cy="13"/>
            </a:xfrm>
            <a:custGeom>
              <a:avLst/>
              <a:gdLst>
                <a:gd name="T0" fmla="*/ 2 w 6"/>
                <a:gd name="T1" fmla="*/ 0 h 13"/>
                <a:gd name="T2" fmla="*/ 6 w 6"/>
                <a:gd name="T3" fmla="*/ 5 h 13"/>
                <a:gd name="T4" fmla="*/ 6 w 6"/>
                <a:gd name="T5" fmla="*/ 9 h 13"/>
                <a:gd name="T6" fmla="*/ 4 w 6"/>
                <a:gd name="T7" fmla="*/ 13 h 13"/>
                <a:gd name="T8" fmla="*/ 0 w 6"/>
                <a:gd name="T9" fmla="*/ 11 h 13"/>
                <a:gd name="T10" fmla="*/ 0 w 6"/>
                <a:gd name="T11" fmla="*/ 0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6" y="5"/>
                  </a:lnTo>
                  <a:lnTo>
                    <a:pt x="6" y="9"/>
                  </a:lnTo>
                  <a:lnTo>
                    <a:pt x="4" y="13"/>
                  </a:lnTo>
                  <a:lnTo>
                    <a:pt x="0" y="11"/>
                  </a:lnTo>
                  <a:lnTo>
                    <a:pt x="0" y="0"/>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8" name="Freeform 1233"/>
            <p:cNvSpPr>
              <a:spLocks/>
            </p:cNvSpPr>
            <p:nvPr/>
          </p:nvSpPr>
          <p:spPr bwMode="auto">
            <a:xfrm>
              <a:off x="1349" y="3819"/>
              <a:ext cx="51" cy="51"/>
            </a:xfrm>
            <a:custGeom>
              <a:avLst/>
              <a:gdLst>
                <a:gd name="T0" fmla="*/ 24 w 51"/>
                <a:gd name="T1" fmla="*/ 49 h 51"/>
                <a:gd name="T2" fmla="*/ 19 w 51"/>
                <a:gd name="T3" fmla="*/ 42 h 51"/>
                <a:gd name="T4" fmla="*/ 17 w 51"/>
                <a:gd name="T5" fmla="*/ 38 h 51"/>
                <a:gd name="T6" fmla="*/ 11 w 51"/>
                <a:gd name="T7" fmla="*/ 38 h 51"/>
                <a:gd name="T8" fmla="*/ 9 w 51"/>
                <a:gd name="T9" fmla="*/ 32 h 51"/>
                <a:gd name="T10" fmla="*/ 5 w 51"/>
                <a:gd name="T11" fmla="*/ 29 h 51"/>
                <a:gd name="T12" fmla="*/ 2 w 51"/>
                <a:gd name="T13" fmla="*/ 23 h 51"/>
                <a:gd name="T14" fmla="*/ 5 w 51"/>
                <a:gd name="T15" fmla="*/ 19 h 51"/>
                <a:gd name="T16" fmla="*/ 9 w 51"/>
                <a:gd name="T17" fmla="*/ 21 h 51"/>
                <a:gd name="T18" fmla="*/ 0 w 51"/>
                <a:gd name="T19" fmla="*/ 14 h 51"/>
                <a:gd name="T20" fmla="*/ 2 w 51"/>
                <a:gd name="T21" fmla="*/ 10 h 51"/>
                <a:gd name="T22" fmla="*/ 2 w 51"/>
                <a:gd name="T23" fmla="*/ 4 h 51"/>
                <a:gd name="T24" fmla="*/ 7 w 51"/>
                <a:gd name="T25" fmla="*/ 8 h 51"/>
                <a:gd name="T26" fmla="*/ 7 w 51"/>
                <a:gd name="T27" fmla="*/ 4 h 51"/>
                <a:gd name="T28" fmla="*/ 13 w 51"/>
                <a:gd name="T29" fmla="*/ 4 h 51"/>
                <a:gd name="T30" fmla="*/ 17 w 51"/>
                <a:gd name="T31" fmla="*/ 0 h 51"/>
                <a:gd name="T32" fmla="*/ 22 w 51"/>
                <a:gd name="T33" fmla="*/ 2 h 51"/>
                <a:gd name="T34" fmla="*/ 26 w 51"/>
                <a:gd name="T35" fmla="*/ 4 h 51"/>
                <a:gd name="T36" fmla="*/ 26 w 51"/>
                <a:gd name="T37" fmla="*/ 8 h 51"/>
                <a:gd name="T38" fmla="*/ 19 w 51"/>
                <a:gd name="T39" fmla="*/ 12 h 51"/>
                <a:gd name="T40" fmla="*/ 24 w 51"/>
                <a:gd name="T41" fmla="*/ 14 h 51"/>
                <a:gd name="T42" fmla="*/ 28 w 51"/>
                <a:gd name="T43" fmla="*/ 6 h 51"/>
                <a:gd name="T44" fmla="*/ 32 w 51"/>
                <a:gd name="T45" fmla="*/ 6 h 51"/>
                <a:gd name="T46" fmla="*/ 39 w 51"/>
                <a:gd name="T47" fmla="*/ 6 h 51"/>
                <a:gd name="T48" fmla="*/ 43 w 51"/>
                <a:gd name="T49" fmla="*/ 8 h 51"/>
                <a:gd name="T50" fmla="*/ 45 w 51"/>
                <a:gd name="T51" fmla="*/ 14 h 51"/>
                <a:gd name="T52" fmla="*/ 45 w 51"/>
                <a:gd name="T53" fmla="*/ 19 h 51"/>
                <a:gd name="T54" fmla="*/ 41 w 51"/>
                <a:gd name="T55" fmla="*/ 19 h 51"/>
                <a:gd name="T56" fmla="*/ 43 w 51"/>
                <a:gd name="T57" fmla="*/ 23 h 51"/>
                <a:gd name="T58" fmla="*/ 39 w 51"/>
                <a:gd name="T59" fmla="*/ 25 h 51"/>
                <a:gd name="T60" fmla="*/ 34 w 51"/>
                <a:gd name="T61" fmla="*/ 23 h 51"/>
                <a:gd name="T62" fmla="*/ 24 w 51"/>
                <a:gd name="T63" fmla="*/ 19 h 51"/>
                <a:gd name="T64" fmla="*/ 19 w 51"/>
                <a:gd name="T65" fmla="*/ 17 h 51"/>
                <a:gd name="T66" fmla="*/ 32 w 51"/>
                <a:gd name="T67" fmla="*/ 23 h 51"/>
                <a:gd name="T68" fmla="*/ 37 w 51"/>
                <a:gd name="T69" fmla="*/ 27 h 51"/>
                <a:gd name="T70" fmla="*/ 43 w 51"/>
                <a:gd name="T71" fmla="*/ 25 h 51"/>
                <a:gd name="T72" fmla="*/ 47 w 51"/>
                <a:gd name="T73" fmla="*/ 25 h 51"/>
                <a:gd name="T74" fmla="*/ 51 w 51"/>
                <a:gd name="T75" fmla="*/ 38 h 51"/>
                <a:gd name="T76" fmla="*/ 51 w 51"/>
                <a:gd name="T77" fmla="*/ 42 h 51"/>
                <a:gd name="T78" fmla="*/ 45 w 51"/>
                <a:gd name="T79" fmla="*/ 42 h 51"/>
                <a:gd name="T80" fmla="*/ 28 w 51"/>
                <a:gd name="T81" fmla="*/ 32 h 51"/>
                <a:gd name="T82" fmla="*/ 24 w 51"/>
                <a:gd name="T83" fmla="*/ 29 h 51"/>
                <a:gd name="T84" fmla="*/ 26 w 51"/>
                <a:gd name="T85" fmla="*/ 36 h 51"/>
                <a:gd name="T86" fmla="*/ 30 w 51"/>
                <a:gd name="T87" fmla="*/ 42 h 51"/>
                <a:gd name="T88" fmla="*/ 28 w 51"/>
                <a:gd name="T89" fmla="*/ 51 h 51"/>
                <a:gd name="T90" fmla="*/ 22 w 51"/>
                <a:gd name="T91" fmla="*/ 51 h 51"/>
                <a:gd name="T92" fmla="*/ 19 w 51"/>
                <a:gd name="T93" fmla="*/ 44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2"/>
                  </a:lnTo>
                  <a:lnTo>
                    <a:pt x="17" y="38"/>
                  </a:lnTo>
                  <a:lnTo>
                    <a:pt x="11" y="38"/>
                  </a:lnTo>
                  <a:lnTo>
                    <a:pt x="9" y="32"/>
                  </a:lnTo>
                  <a:lnTo>
                    <a:pt x="5" y="29"/>
                  </a:lnTo>
                  <a:lnTo>
                    <a:pt x="2" y="23"/>
                  </a:lnTo>
                  <a:lnTo>
                    <a:pt x="5" y="19"/>
                  </a:lnTo>
                  <a:lnTo>
                    <a:pt x="9" y="21"/>
                  </a:lnTo>
                  <a:lnTo>
                    <a:pt x="0" y="14"/>
                  </a:lnTo>
                  <a:lnTo>
                    <a:pt x="2" y="10"/>
                  </a:lnTo>
                  <a:lnTo>
                    <a:pt x="2" y="4"/>
                  </a:lnTo>
                  <a:lnTo>
                    <a:pt x="7" y="8"/>
                  </a:lnTo>
                  <a:lnTo>
                    <a:pt x="7" y="4"/>
                  </a:lnTo>
                  <a:lnTo>
                    <a:pt x="13" y="4"/>
                  </a:lnTo>
                  <a:lnTo>
                    <a:pt x="17" y="0"/>
                  </a:lnTo>
                  <a:lnTo>
                    <a:pt x="22" y="2"/>
                  </a:lnTo>
                  <a:lnTo>
                    <a:pt x="26" y="4"/>
                  </a:lnTo>
                  <a:lnTo>
                    <a:pt x="26" y="8"/>
                  </a:lnTo>
                  <a:lnTo>
                    <a:pt x="19" y="12"/>
                  </a:lnTo>
                  <a:lnTo>
                    <a:pt x="24" y="14"/>
                  </a:lnTo>
                  <a:lnTo>
                    <a:pt x="28" y="6"/>
                  </a:lnTo>
                  <a:lnTo>
                    <a:pt x="32" y="6"/>
                  </a:lnTo>
                  <a:lnTo>
                    <a:pt x="39" y="6"/>
                  </a:lnTo>
                  <a:lnTo>
                    <a:pt x="43" y="8"/>
                  </a:lnTo>
                  <a:lnTo>
                    <a:pt x="45" y="14"/>
                  </a:lnTo>
                  <a:lnTo>
                    <a:pt x="45" y="19"/>
                  </a:lnTo>
                  <a:lnTo>
                    <a:pt x="41" y="19"/>
                  </a:lnTo>
                  <a:lnTo>
                    <a:pt x="43" y="23"/>
                  </a:lnTo>
                  <a:lnTo>
                    <a:pt x="39" y="25"/>
                  </a:lnTo>
                  <a:lnTo>
                    <a:pt x="34" y="23"/>
                  </a:lnTo>
                  <a:lnTo>
                    <a:pt x="24" y="19"/>
                  </a:lnTo>
                  <a:lnTo>
                    <a:pt x="19" y="17"/>
                  </a:lnTo>
                  <a:lnTo>
                    <a:pt x="32" y="23"/>
                  </a:lnTo>
                  <a:lnTo>
                    <a:pt x="37" y="27"/>
                  </a:lnTo>
                  <a:lnTo>
                    <a:pt x="43" y="25"/>
                  </a:lnTo>
                  <a:lnTo>
                    <a:pt x="47" y="25"/>
                  </a:lnTo>
                  <a:lnTo>
                    <a:pt x="51" y="38"/>
                  </a:lnTo>
                  <a:lnTo>
                    <a:pt x="51" y="42"/>
                  </a:lnTo>
                  <a:lnTo>
                    <a:pt x="45" y="42"/>
                  </a:lnTo>
                  <a:lnTo>
                    <a:pt x="28" y="32"/>
                  </a:lnTo>
                  <a:lnTo>
                    <a:pt x="24" y="29"/>
                  </a:lnTo>
                  <a:lnTo>
                    <a:pt x="26" y="36"/>
                  </a:lnTo>
                  <a:lnTo>
                    <a:pt x="30" y="42"/>
                  </a:lnTo>
                  <a:lnTo>
                    <a:pt x="28" y="51"/>
                  </a:lnTo>
                  <a:lnTo>
                    <a:pt x="22" y="51"/>
                  </a:lnTo>
                  <a:lnTo>
                    <a:pt x="19" y="44"/>
                  </a:lnTo>
                  <a:lnTo>
                    <a:pt x="24" y="49"/>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49" name="Freeform 1234"/>
            <p:cNvSpPr>
              <a:spLocks/>
            </p:cNvSpPr>
            <p:nvPr/>
          </p:nvSpPr>
          <p:spPr bwMode="auto">
            <a:xfrm>
              <a:off x="1349" y="3819"/>
              <a:ext cx="51" cy="51"/>
            </a:xfrm>
            <a:custGeom>
              <a:avLst/>
              <a:gdLst>
                <a:gd name="T0" fmla="*/ 24 w 51"/>
                <a:gd name="T1" fmla="*/ 49 h 51"/>
                <a:gd name="T2" fmla="*/ 19 w 51"/>
                <a:gd name="T3" fmla="*/ 42 h 51"/>
                <a:gd name="T4" fmla="*/ 17 w 51"/>
                <a:gd name="T5" fmla="*/ 38 h 51"/>
                <a:gd name="T6" fmla="*/ 11 w 51"/>
                <a:gd name="T7" fmla="*/ 38 h 51"/>
                <a:gd name="T8" fmla="*/ 9 w 51"/>
                <a:gd name="T9" fmla="*/ 32 h 51"/>
                <a:gd name="T10" fmla="*/ 5 w 51"/>
                <a:gd name="T11" fmla="*/ 29 h 51"/>
                <a:gd name="T12" fmla="*/ 2 w 51"/>
                <a:gd name="T13" fmla="*/ 23 h 51"/>
                <a:gd name="T14" fmla="*/ 5 w 51"/>
                <a:gd name="T15" fmla="*/ 19 h 51"/>
                <a:gd name="T16" fmla="*/ 9 w 51"/>
                <a:gd name="T17" fmla="*/ 21 h 51"/>
                <a:gd name="T18" fmla="*/ 0 w 51"/>
                <a:gd name="T19" fmla="*/ 14 h 51"/>
                <a:gd name="T20" fmla="*/ 2 w 51"/>
                <a:gd name="T21" fmla="*/ 10 h 51"/>
                <a:gd name="T22" fmla="*/ 2 w 51"/>
                <a:gd name="T23" fmla="*/ 4 h 51"/>
                <a:gd name="T24" fmla="*/ 7 w 51"/>
                <a:gd name="T25" fmla="*/ 8 h 51"/>
                <a:gd name="T26" fmla="*/ 7 w 51"/>
                <a:gd name="T27" fmla="*/ 4 h 51"/>
                <a:gd name="T28" fmla="*/ 13 w 51"/>
                <a:gd name="T29" fmla="*/ 4 h 51"/>
                <a:gd name="T30" fmla="*/ 17 w 51"/>
                <a:gd name="T31" fmla="*/ 0 h 51"/>
                <a:gd name="T32" fmla="*/ 22 w 51"/>
                <a:gd name="T33" fmla="*/ 2 h 51"/>
                <a:gd name="T34" fmla="*/ 26 w 51"/>
                <a:gd name="T35" fmla="*/ 4 h 51"/>
                <a:gd name="T36" fmla="*/ 26 w 51"/>
                <a:gd name="T37" fmla="*/ 8 h 51"/>
                <a:gd name="T38" fmla="*/ 19 w 51"/>
                <a:gd name="T39" fmla="*/ 12 h 51"/>
                <a:gd name="T40" fmla="*/ 24 w 51"/>
                <a:gd name="T41" fmla="*/ 14 h 51"/>
                <a:gd name="T42" fmla="*/ 28 w 51"/>
                <a:gd name="T43" fmla="*/ 6 h 51"/>
                <a:gd name="T44" fmla="*/ 32 w 51"/>
                <a:gd name="T45" fmla="*/ 6 h 51"/>
                <a:gd name="T46" fmla="*/ 39 w 51"/>
                <a:gd name="T47" fmla="*/ 6 h 51"/>
                <a:gd name="T48" fmla="*/ 43 w 51"/>
                <a:gd name="T49" fmla="*/ 8 h 51"/>
                <a:gd name="T50" fmla="*/ 45 w 51"/>
                <a:gd name="T51" fmla="*/ 14 h 51"/>
                <a:gd name="T52" fmla="*/ 45 w 51"/>
                <a:gd name="T53" fmla="*/ 19 h 51"/>
                <a:gd name="T54" fmla="*/ 41 w 51"/>
                <a:gd name="T55" fmla="*/ 19 h 51"/>
                <a:gd name="T56" fmla="*/ 43 w 51"/>
                <a:gd name="T57" fmla="*/ 23 h 51"/>
                <a:gd name="T58" fmla="*/ 39 w 51"/>
                <a:gd name="T59" fmla="*/ 25 h 51"/>
                <a:gd name="T60" fmla="*/ 34 w 51"/>
                <a:gd name="T61" fmla="*/ 23 h 51"/>
                <a:gd name="T62" fmla="*/ 24 w 51"/>
                <a:gd name="T63" fmla="*/ 19 h 51"/>
                <a:gd name="T64" fmla="*/ 19 w 51"/>
                <a:gd name="T65" fmla="*/ 17 h 51"/>
                <a:gd name="T66" fmla="*/ 32 w 51"/>
                <a:gd name="T67" fmla="*/ 23 h 51"/>
                <a:gd name="T68" fmla="*/ 37 w 51"/>
                <a:gd name="T69" fmla="*/ 27 h 51"/>
                <a:gd name="T70" fmla="*/ 43 w 51"/>
                <a:gd name="T71" fmla="*/ 25 h 51"/>
                <a:gd name="T72" fmla="*/ 47 w 51"/>
                <a:gd name="T73" fmla="*/ 25 h 51"/>
                <a:gd name="T74" fmla="*/ 51 w 51"/>
                <a:gd name="T75" fmla="*/ 38 h 51"/>
                <a:gd name="T76" fmla="*/ 51 w 51"/>
                <a:gd name="T77" fmla="*/ 42 h 51"/>
                <a:gd name="T78" fmla="*/ 45 w 51"/>
                <a:gd name="T79" fmla="*/ 42 h 51"/>
                <a:gd name="T80" fmla="*/ 28 w 51"/>
                <a:gd name="T81" fmla="*/ 32 h 51"/>
                <a:gd name="T82" fmla="*/ 24 w 51"/>
                <a:gd name="T83" fmla="*/ 29 h 51"/>
                <a:gd name="T84" fmla="*/ 26 w 51"/>
                <a:gd name="T85" fmla="*/ 36 h 51"/>
                <a:gd name="T86" fmla="*/ 30 w 51"/>
                <a:gd name="T87" fmla="*/ 42 h 51"/>
                <a:gd name="T88" fmla="*/ 28 w 51"/>
                <a:gd name="T89" fmla="*/ 51 h 51"/>
                <a:gd name="T90" fmla="*/ 22 w 51"/>
                <a:gd name="T91" fmla="*/ 51 h 51"/>
                <a:gd name="T92" fmla="*/ 19 w 51"/>
                <a:gd name="T93" fmla="*/ 44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2"/>
                  </a:lnTo>
                  <a:lnTo>
                    <a:pt x="17" y="38"/>
                  </a:lnTo>
                  <a:lnTo>
                    <a:pt x="11" y="38"/>
                  </a:lnTo>
                  <a:lnTo>
                    <a:pt x="9" y="32"/>
                  </a:lnTo>
                  <a:lnTo>
                    <a:pt x="5" y="29"/>
                  </a:lnTo>
                  <a:lnTo>
                    <a:pt x="2" y="23"/>
                  </a:lnTo>
                  <a:lnTo>
                    <a:pt x="5" y="19"/>
                  </a:lnTo>
                  <a:lnTo>
                    <a:pt x="9" y="21"/>
                  </a:lnTo>
                  <a:lnTo>
                    <a:pt x="0" y="14"/>
                  </a:lnTo>
                  <a:lnTo>
                    <a:pt x="2" y="10"/>
                  </a:lnTo>
                  <a:lnTo>
                    <a:pt x="2" y="4"/>
                  </a:lnTo>
                  <a:lnTo>
                    <a:pt x="7" y="8"/>
                  </a:lnTo>
                  <a:lnTo>
                    <a:pt x="7" y="4"/>
                  </a:lnTo>
                  <a:lnTo>
                    <a:pt x="13" y="4"/>
                  </a:lnTo>
                  <a:lnTo>
                    <a:pt x="17" y="0"/>
                  </a:lnTo>
                  <a:lnTo>
                    <a:pt x="22" y="2"/>
                  </a:lnTo>
                  <a:lnTo>
                    <a:pt x="26" y="4"/>
                  </a:lnTo>
                  <a:lnTo>
                    <a:pt x="26" y="8"/>
                  </a:lnTo>
                  <a:lnTo>
                    <a:pt x="19" y="12"/>
                  </a:lnTo>
                  <a:lnTo>
                    <a:pt x="24" y="14"/>
                  </a:lnTo>
                  <a:lnTo>
                    <a:pt x="28" y="6"/>
                  </a:lnTo>
                  <a:lnTo>
                    <a:pt x="32" y="6"/>
                  </a:lnTo>
                  <a:lnTo>
                    <a:pt x="39" y="6"/>
                  </a:lnTo>
                  <a:lnTo>
                    <a:pt x="43" y="8"/>
                  </a:lnTo>
                  <a:lnTo>
                    <a:pt x="45" y="14"/>
                  </a:lnTo>
                  <a:lnTo>
                    <a:pt x="45" y="19"/>
                  </a:lnTo>
                  <a:lnTo>
                    <a:pt x="41" y="19"/>
                  </a:lnTo>
                  <a:lnTo>
                    <a:pt x="43" y="23"/>
                  </a:lnTo>
                  <a:lnTo>
                    <a:pt x="39" y="25"/>
                  </a:lnTo>
                  <a:lnTo>
                    <a:pt x="34" y="23"/>
                  </a:lnTo>
                  <a:lnTo>
                    <a:pt x="24" y="19"/>
                  </a:lnTo>
                  <a:lnTo>
                    <a:pt x="19" y="17"/>
                  </a:lnTo>
                  <a:lnTo>
                    <a:pt x="32" y="23"/>
                  </a:lnTo>
                  <a:lnTo>
                    <a:pt x="37" y="27"/>
                  </a:lnTo>
                  <a:lnTo>
                    <a:pt x="43" y="25"/>
                  </a:lnTo>
                  <a:lnTo>
                    <a:pt x="47" y="25"/>
                  </a:lnTo>
                  <a:lnTo>
                    <a:pt x="51" y="38"/>
                  </a:lnTo>
                  <a:lnTo>
                    <a:pt x="51" y="42"/>
                  </a:lnTo>
                  <a:lnTo>
                    <a:pt x="45" y="42"/>
                  </a:lnTo>
                  <a:lnTo>
                    <a:pt x="28" y="32"/>
                  </a:lnTo>
                  <a:lnTo>
                    <a:pt x="24" y="29"/>
                  </a:lnTo>
                  <a:lnTo>
                    <a:pt x="26" y="36"/>
                  </a:lnTo>
                  <a:lnTo>
                    <a:pt x="30" y="42"/>
                  </a:lnTo>
                  <a:lnTo>
                    <a:pt x="28" y="51"/>
                  </a:lnTo>
                  <a:lnTo>
                    <a:pt x="22" y="51"/>
                  </a:lnTo>
                  <a:lnTo>
                    <a:pt x="19" y="44"/>
                  </a:lnTo>
                  <a:lnTo>
                    <a:pt x="24" y="49"/>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0" name="Freeform 1235"/>
            <p:cNvSpPr>
              <a:spLocks/>
            </p:cNvSpPr>
            <p:nvPr/>
          </p:nvSpPr>
          <p:spPr bwMode="auto">
            <a:xfrm>
              <a:off x="1371" y="3872"/>
              <a:ext cx="10" cy="19"/>
            </a:xfrm>
            <a:custGeom>
              <a:avLst/>
              <a:gdLst>
                <a:gd name="T0" fmla="*/ 4 w 10"/>
                <a:gd name="T1" fmla="*/ 0 h 19"/>
                <a:gd name="T2" fmla="*/ 10 w 10"/>
                <a:gd name="T3" fmla="*/ 4 h 19"/>
                <a:gd name="T4" fmla="*/ 10 w 10"/>
                <a:gd name="T5" fmla="*/ 15 h 19"/>
                <a:gd name="T6" fmla="*/ 8 w 10"/>
                <a:gd name="T7" fmla="*/ 19 h 19"/>
                <a:gd name="T8" fmla="*/ 4 w 10"/>
                <a:gd name="T9" fmla="*/ 17 h 19"/>
                <a:gd name="T10" fmla="*/ 6 w 10"/>
                <a:gd name="T11" fmla="*/ 13 h 19"/>
                <a:gd name="T12" fmla="*/ 0 w 10"/>
                <a:gd name="T13" fmla="*/ 0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10" y="4"/>
                  </a:lnTo>
                  <a:lnTo>
                    <a:pt x="10" y="15"/>
                  </a:lnTo>
                  <a:lnTo>
                    <a:pt x="8" y="19"/>
                  </a:lnTo>
                  <a:lnTo>
                    <a:pt x="4" y="17"/>
                  </a:lnTo>
                  <a:lnTo>
                    <a:pt x="6" y="13"/>
                  </a:lnTo>
                  <a:lnTo>
                    <a:pt x="0" y="0"/>
                  </a:lnTo>
                  <a:lnTo>
                    <a:pt x="4"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1" name="Freeform 1236"/>
            <p:cNvSpPr>
              <a:spLocks/>
            </p:cNvSpPr>
            <p:nvPr/>
          </p:nvSpPr>
          <p:spPr bwMode="auto">
            <a:xfrm>
              <a:off x="1371" y="3872"/>
              <a:ext cx="10" cy="19"/>
            </a:xfrm>
            <a:custGeom>
              <a:avLst/>
              <a:gdLst>
                <a:gd name="T0" fmla="*/ 4 w 10"/>
                <a:gd name="T1" fmla="*/ 0 h 19"/>
                <a:gd name="T2" fmla="*/ 10 w 10"/>
                <a:gd name="T3" fmla="*/ 4 h 19"/>
                <a:gd name="T4" fmla="*/ 10 w 10"/>
                <a:gd name="T5" fmla="*/ 15 h 19"/>
                <a:gd name="T6" fmla="*/ 8 w 10"/>
                <a:gd name="T7" fmla="*/ 19 h 19"/>
                <a:gd name="T8" fmla="*/ 4 w 10"/>
                <a:gd name="T9" fmla="*/ 17 h 19"/>
                <a:gd name="T10" fmla="*/ 6 w 10"/>
                <a:gd name="T11" fmla="*/ 13 h 19"/>
                <a:gd name="T12" fmla="*/ 0 w 10"/>
                <a:gd name="T13" fmla="*/ 0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10" y="4"/>
                  </a:lnTo>
                  <a:lnTo>
                    <a:pt x="10" y="15"/>
                  </a:lnTo>
                  <a:lnTo>
                    <a:pt x="8" y="19"/>
                  </a:lnTo>
                  <a:lnTo>
                    <a:pt x="4" y="17"/>
                  </a:lnTo>
                  <a:lnTo>
                    <a:pt x="6" y="13"/>
                  </a:lnTo>
                  <a:lnTo>
                    <a:pt x="0" y="0"/>
                  </a:lnTo>
                  <a:lnTo>
                    <a:pt x="4"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2" name="Freeform 1237"/>
            <p:cNvSpPr>
              <a:spLocks/>
            </p:cNvSpPr>
            <p:nvPr/>
          </p:nvSpPr>
          <p:spPr bwMode="auto">
            <a:xfrm>
              <a:off x="1400" y="3863"/>
              <a:ext cx="5" cy="7"/>
            </a:xfrm>
            <a:custGeom>
              <a:avLst/>
              <a:gdLst>
                <a:gd name="T0" fmla="*/ 3 w 5"/>
                <a:gd name="T1" fmla="*/ 0 h 7"/>
                <a:gd name="T2" fmla="*/ 5 w 5"/>
                <a:gd name="T3" fmla="*/ 7 h 7"/>
                <a:gd name="T4" fmla="*/ 0 w 5"/>
                <a:gd name="T5" fmla="*/ 2 h 7"/>
                <a:gd name="T6" fmla="*/ 3 w 5"/>
                <a:gd name="T7" fmla="*/ 0 h 7"/>
              </a:gdLst>
              <a:ahLst/>
              <a:cxnLst>
                <a:cxn ang="0">
                  <a:pos x="T0" y="T1"/>
                </a:cxn>
                <a:cxn ang="0">
                  <a:pos x="T2" y="T3"/>
                </a:cxn>
                <a:cxn ang="0">
                  <a:pos x="T4" y="T5"/>
                </a:cxn>
                <a:cxn ang="0">
                  <a:pos x="T6" y="T7"/>
                </a:cxn>
              </a:cxnLst>
              <a:rect l="0" t="0" r="r" b="b"/>
              <a:pathLst>
                <a:path w="5" h="7">
                  <a:moveTo>
                    <a:pt x="3" y="0"/>
                  </a:moveTo>
                  <a:lnTo>
                    <a:pt x="5" y="7"/>
                  </a:lnTo>
                  <a:lnTo>
                    <a:pt x="0" y="2"/>
                  </a:lnTo>
                  <a:lnTo>
                    <a:pt x="3"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3" name="Freeform 1238"/>
            <p:cNvSpPr>
              <a:spLocks/>
            </p:cNvSpPr>
            <p:nvPr/>
          </p:nvSpPr>
          <p:spPr bwMode="auto">
            <a:xfrm>
              <a:off x="1400" y="3863"/>
              <a:ext cx="5" cy="7"/>
            </a:xfrm>
            <a:custGeom>
              <a:avLst/>
              <a:gdLst>
                <a:gd name="T0" fmla="*/ 3 w 5"/>
                <a:gd name="T1" fmla="*/ 0 h 7"/>
                <a:gd name="T2" fmla="*/ 5 w 5"/>
                <a:gd name="T3" fmla="*/ 7 h 7"/>
                <a:gd name="T4" fmla="*/ 0 w 5"/>
                <a:gd name="T5" fmla="*/ 2 h 7"/>
                <a:gd name="T6" fmla="*/ 3 w 5"/>
                <a:gd name="T7" fmla="*/ 0 h 7"/>
              </a:gdLst>
              <a:ahLst/>
              <a:cxnLst>
                <a:cxn ang="0">
                  <a:pos x="T0" y="T1"/>
                </a:cxn>
                <a:cxn ang="0">
                  <a:pos x="T2" y="T3"/>
                </a:cxn>
                <a:cxn ang="0">
                  <a:pos x="T4" y="T5"/>
                </a:cxn>
                <a:cxn ang="0">
                  <a:pos x="T6" y="T7"/>
                </a:cxn>
              </a:cxnLst>
              <a:rect l="0" t="0" r="r" b="b"/>
              <a:pathLst>
                <a:path w="5" h="7">
                  <a:moveTo>
                    <a:pt x="3" y="0"/>
                  </a:moveTo>
                  <a:lnTo>
                    <a:pt x="5" y="7"/>
                  </a:lnTo>
                  <a:lnTo>
                    <a:pt x="0" y="2"/>
                  </a:lnTo>
                  <a:lnTo>
                    <a:pt x="3"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4" name="Freeform 1239"/>
            <p:cNvSpPr>
              <a:spLocks/>
            </p:cNvSpPr>
            <p:nvPr/>
          </p:nvSpPr>
          <p:spPr bwMode="auto">
            <a:xfrm>
              <a:off x="1392" y="3810"/>
              <a:ext cx="40" cy="72"/>
            </a:xfrm>
            <a:custGeom>
              <a:avLst/>
              <a:gdLst>
                <a:gd name="T0" fmla="*/ 17 w 40"/>
                <a:gd name="T1" fmla="*/ 47 h 72"/>
                <a:gd name="T2" fmla="*/ 13 w 40"/>
                <a:gd name="T3" fmla="*/ 38 h 72"/>
                <a:gd name="T4" fmla="*/ 6 w 40"/>
                <a:gd name="T5" fmla="*/ 15 h 72"/>
                <a:gd name="T6" fmla="*/ 2 w 40"/>
                <a:gd name="T7" fmla="*/ 9 h 72"/>
                <a:gd name="T8" fmla="*/ 0 w 40"/>
                <a:gd name="T9" fmla="*/ 4 h 72"/>
                <a:gd name="T10" fmla="*/ 0 w 40"/>
                <a:gd name="T11" fmla="*/ 0 h 72"/>
                <a:gd name="T12" fmla="*/ 4 w 40"/>
                <a:gd name="T13" fmla="*/ 4 h 72"/>
                <a:gd name="T14" fmla="*/ 8 w 40"/>
                <a:gd name="T15" fmla="*/ 9 h 72"/>
                <a:gd name="T16" fmla="*/ 13 w 40"/>
                <a:gd name="T17" fmla="*/ 9 h 72"/>
                <a:gd name="T18" fmla="*/ 19 w 40"/>
                <a:gd name="T19" fmla="*/ 9 h 72"/>
                <a:gd name="T20" fmla="*/ 23 w 40"/>
                <a:gd name="T21" fmla="*/ 9 h 72"/>
                <a:gd name="T22" fmla="*/ 25 w 40"/>
                <a:gd name="T23" fmla="*/ 13 h 72"/>
                <a:gd name="T24" fmla="*/ 30 w 40"/>
                <a:gd name="T25" fmla="*/ 19 h 72"/>
                <a:gd name="T26" fmla="*/ 36 w 40"/>
                <a:gd name="T27" fmla="*/ 30 h 72"/>
                <a:gd name="T28" fmla="*/ 38 w 40"/>
                <a:gd name="T29" fmla="*/ 36 h 72"/>
                <a:gd name="T30" fmla="*/ 34 w 40"/>
                <a:gd name="T31" fmla="*/ 32 h 72"/>
                <a:gd name="T32" fmla="*/ 32 w 40"/>
                <a:gd name="T33" fmla="*/ 26 h 72"/>
                <a:gd name="T34" fmla="*/ 28 w 40"/>
                <a:gd name="T35" fmla="*/ 21 h 72"/>
                <a:gd name="T36" fmla="*/ 25 w 40"/>
                <a:gd name="T37" fmla="*/ 15 h 72"/>
                <a:gd name="T38" fmla="*/ 19 w 40"/>
                <a:gd name="T39" fmla="*/ 13 h 72"/>
                <a:gd name="T40" fmla="*/ 21 w 40"/>
                <a:gd name="T41" fmla="*/ 17 h 72"/>
                <a:gd name="T42" fmla="*/ 23 w 40"/>
                <a:gd name="T43" fmla="*/ 23 h 72"/>
                <a:gd name="T44" fmla="*/ 30 w 40"/>
                <a:gd name="T45" fmla="*/ 32 h 72"/>
                <a:gd name="T46" fmla="*/ 36 w 40"/>
                <a:gd name="T47" fmla="*/ 36 h 72"/>
                <a:gd name="T48" fmla="*/ 36 w 40"/>
                <a:gd name="T49" fmla="*/ 43 h 72"/>
                <a:gd name="T50" fmla="*/ 36 w 40"/>
                <a:gd name="T51" fmla="*/ 47 h 72"/>
                <a:gd name="T52" fmla="*/ 40 w 40"/>
                <a:gd name="T53" fmla="*/ 51 h 72"/>
                <a:gd name="T54" fmla="*/ 36 w 40"/>
                <a:gd name="T55" fmla="*/ 55 h 72"/>
                <a:gd name="T56" fmla="*/ 30 w 40"/>
                <a:gd name="T57" fmla="*/ 51 h 72"/>
                <a:gd name="T58" fmla="*/ 34 w 40"/>
                <a:gd name="T59" fmla="*/ 58 h 72"/>
                <a:gd name="T60" fmla="*/ 32 w 40"/>
                <a:gd name="T61" fmla="*/ 62 h 72"/>
                <a:gd name="T62" fmla="*/ 28 w 40"/>
                <a:gd name="T63" fmla="*/ 66 h 72"/>
                <a:gd name="T64" fmla="*/ 25 w 40"/>
                <a:gd name="T65" fmla="*/ 70 h 72"/>
                <a:gd name="T66" fmla="*/ 21 w 40"/>
                <a:gd name="T67" fmla="*/ 72 h 72"/>
                <a:gd name="T68" fmla="*/ 19 w 40"/>
                <a:gd name="T69" fmla="*/ 68 h 72"/>
                <a:gd name="T70" fmla="*/ 23 w 40"/>
                <a:gd name="T71" fmla="*/ 53 h 72"/>
                <a:gd name="T72" fmla="*/ 19 w 40"/>
                <a:gd name="T73" fmla="*/ 47 h 72"/>
                <a:gd name="T74" fmla="*/ 23 w 40"/>
                <a:gd name="T75" fmla="*/ 43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13" y="38"/>
                  </a:lnTo>
                  <a:lnTo>
                    <a:pt x="6" y="15"/>
                  </a:lnTo>
                  <a:lnTo>
                    <a:pt x="2" y="9"/>
                  </a:lnTo>
                  <a:lnTo>
                    <a:pt x="0" y="4"/>
                  </a:lnTo>
                  <a:lnTo>
                    <a:pt x="0" y="0"/>
                  </a:lnTo>
                  <a:lnTo>
                    <a:pt x="4" y="4"/>
                  </a:lnTo>
                  <a:lnTo>
                    <a:pt x="8" y="9"/>
                  </a:lnTo>
                  <a:lnTo>
                    <a:pt x="13" y="9"/>
                  </a:lnTo>
                  <a:lnTo>
                    <a:pt x="19" y="9"/>
                  </a:lnTo>
                  <a:lnTo>
                    <a:pt x="23" y="9"/>
                  </a:lnTo>
                  <a:lnTo>
                    <a:pt x="25" y="13"/>
                  </a:lnTo>
                  <a:lnTo>
                    <a:pt x="30" y="19"/>
                  </a:lnTo>
                  <a:lnTo>
                    <a:pt x="36" y="30"/>
                  </a:lnTo>
                  <a:lnTo>
                    <a:pt x="38" y="36"/>
                  </a:lnTo>
                  <a:lnTo>
                    <a:pt x="34" y="32"/>
                  </a:lnTo>
                  <a:lnTo>
                    <a:pt x="32" y="26"/>
                  </a:lnTo>
                  <a:lnTo>
                    <a:pt x="28" y="21"/>
                  </a:lnTo>
                  <a:lnTo>
                    <a:pt x="25" y="15"/>
                  </a:lnTo>
                  <a:lnTo>
                    <a:pt x="19" y="13"/>
                  </a:lnTo>
                  <a:lnTo>
                    <a:pt x="21" y="17"/>
                  </a:lnTo>
                  <a:lnTo>
                    <a:pt x="23" y="23"/>
                  </a:lnTo>
                  <a:lnTo>
                    <a:pt x="30" y="32"/>
                  </a:lnTo>
                  <a:lnTo>
                    <a:pt x="36" y="36"/>
                  </a:lnTo>
                  <a:lnTo>
                    <a:pt x="36" y="43"/>
                  </a:lnTo>
                  <a:lnTo>
                    <a:pt x="36" y="47"/>
                  </a:lnTo>
                  <a:lnTo>
                    <a:pt x="40" y="51"/>
                  </a:lnTo>
                  <a:lnTo>
                    <a:pt x="36" y="55"/>
                  </a:lnTo>
                  <a:lnTo>
                    <a:pt x="30" y="51"/>
                  </a:lnTo>
                  <a:lnTo>
                    <a:pt x="34" y="58"/>
                  </a:lnTo>
                  <a:lnTo>
                    <a:pt x="32" y="62"/>
                  </a:lnTo>
                  <a:lnTo>
                    <a:pt x="28" y="66"/>
                  </a:lnTo>
                  <a:lnTo>
                    <a:pt x="25" y="70"/>
                  </a:lnTo>
                  <a:lnTo>
                    <a:pt x="21" y="72"/>
                  </a:lnTo>
                  <a:lnTo>
                    <a:pt x="19" y="68"/>
                  </a:lnTo>
                  <a:lnTo>
                    <a:pt x="23" y="53"/>
                  </a:lnTo>
                  <a:lnTo>
                    <a:pt x="19" y="47"/>
                  </a:lnTo>
                  <a:lnTo>
                    <a:pt x="23" y="43"/>
                  </a:lnTo>
                  <a:lnTo>
                    <a:pt x="17" y="47"/>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5" name="Freeform 1240"/>
            <p:cNvSpPr>
              <a:spLocks/>
            </p:cNvSpPr>
            <p:nvPr/>
          </p:nvSpPr>
          <p:spPr bwMode="auto">
            <a:xfrm>
              <a:off x="1392" y="3810"/>
              <a:ext cx="40" cy="72"/>
            </a:xfrm>
            <a:custGeom>
              <a:avLst/>
              <a:gdLst>
                <a:gd name="T0" fmla="*/ 17 w 40"/>
                <a:gd name="T1" fmla="*/ 47 h 72"/>
                <a:gd name="T2" fmla="*/ 13 w 40"/>
                <a:gd name="T3" fmla="*/ 38 h 72"/>
                <a:gd name="T4" fmla="*/ 6 w 40"/>
                <a:gd name="T5" fmla="*/ 15 h 72"/>
                <a:gd name="T6" fmla="*/ 2 w 40"/>
                <a:gd name="T7" fmla="*/ 9 h 72"/>
                <a:gd name="T8" fmla="*/ 0 w 40"/>
                <a:gd name="T9" fmla="*/ 4 h 72"/>
                <a:gd name="T10" fmla="*/ 0 w 40"/>
                <a:gd name="T11" fmla="*/ 0 h 72"/>
                <a:gd name="T12" fmla="*/ 4 w 40"/>
                <a:gd name="T13" fmla="*/ 4 h 72"/>
                <a:gd name="T14" fmla="*/ 8 w 40"/>
                <a:gd name="T15" fmla="*/ 9 h 72"/>
                <a:gd name="T16" fmla="*/ 13 w 40"/>
                <a:gd name="T17" fmla="*/ 9 h 72"/>
                <a:gd name="T18" fmla="*/ 19 w 40"/>
                <a:gd name="T19" fmla="*/ 9 h 72"/>
                <a:gd name="T20" fmla="*/ 23 w 40"/>
                <a:gd name="T21" fmla="*/ 9 h 72"/>
                <a:gd name="T22" fmla="*/ 25 w 40"/>
                <a:gd name="T23" fmla="*/ 13 h 72"/>
                <a:gd name="T24" fmla="*/ 30 w 40"/>
                <a:gd name="T25" fmla="*/ 19 h 72"/>
                <a:gd name="T26" fmla="*/ 36 w 40"/>
                <a:gd name="T27" fmla="*/ 30 h 72"/>
                <a:gd name="T28" fmla="*/ 38 w 40"/>
                <a:gd name="T29" fmla="*/ 36 h 72"/>
                <a:gd name="T30" fmla="*/ 34 w 40"/>
                <a:gd name="T31" fmla="*/ 32 h 72"/>
                <a:gd name="T32" fmla="*/ 32 w 40"/>
                <a:gd name="T33" fmla="*/ 26 h 72"/>
                <a:gd name="T34" fmla="*/ 28 w 40"/>
                <a:gd name="T35" fmla="*/ 21 h 72"/>
                <a:gd name="T36" fmla="*/ 25 w 40"/>
                <a:gd name="T37" fmla="*/ 15 h 72"/>
                <a:gd name="T38" fmla="*/ 19 w 40"/>
                <a:gd name="T39" fmla="*/ 13 h 72"/>
                <a:gd name="T40" fmla="*/ 21 w 40"/>
                <a:gd name="T41" fmla="*/ 17 h 72"/>
                <a:gd name="T42" fmla="*/ 23 w 40"/>
                <a:gd name="T43" fmla="*/ 23 h 72"/>
                <a:gd name="T44" fmla="*/ 30 w 40"/>
                <a:gd name="T45" fmla="*/ 32 h 72"/>
                <a:gd name="T46" fmla="*/ 36 w 40"/>
                <a:gd name="T47" fmla="*/ 36 h 72"/>
                <a:gd name="T48" fmla="*/ 36 w 40"/>
                <a:gd name="T49" fmla="*/ 43 h 72"/>
                <a:gd name="T50" fmla="*/ 36 w 40"/>
                <a:gd name="T51" fmla="*/ 47 h 72"/>
                <a:gd name="T52" fmla="*/ 40 w 40"/>
                <a:gd name="T53" fmla="*/ 51 h 72"/>
                <a:gd name="T54" fmla="*/ 36 w 40"/>
                <a:gd name="T55" fmla="*/ 55 h 72"/>
                <a:gd name="T56" fmla="*/ 30 w 40"/>
                <a:gd name="T57" fmla="*/ 51 h 72"/>
                <a:gd name="T58" fmla="*/ 34 w 40"/>
                <a:gd name="T59" fmla="*/ 58 h 72"/>
                <a:gd name="T60" fmla="*/ 32 w 40"/>
                <a:gd name="T61" fmla="*/ 62 h 72"/>
                <a:gd name="T62" fmla="*/ 28 w 40"/>
                <a:gd name="T63" fmla="*/ 66 h 72"/>
                <a:gd name="T64" fmla="*/ 25 w 40"/>
                <a:gd name="T65" fmla="*/ 70 h 72"/>
                <a:gd name="T66" fmla="*/ 21 w 40"/>
                <a:gd name="T67" fmla="*/ 72 h 72"/>
                <a:gd name="T68" fmla="*/ 19 w 40"/>
                <a:gd name="T69" fmla="*/ 68 h 72"/>
                <a:gd name="T70" fmla="*/ 23 w 40"/>
                <a:gd name="T71" fmla="*/ 53 h 72"/>
                <a:gd name="T72" fmla="*/ 19 w 40"/>
                <a:gd name="T73" fmla="*/ 47 h 72"/>
                <a:gd name="T74" fmla="*/ 23 w 40"/>
                <a:gd name="T75" fmla="*/ 43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13" y="38"/>
                  </a:lnTo>
                  <a:lnTo>
                    <a:pt x="6" y="15"/>
                  </a:lnTo>
                  <a:lnTo>
                    <a:pt x="2" y="9"/>
                  </a:lnTo>
                  <a:lnTo>
                    <a:pt x="0" y="4"/>
                  </a:lnTo>
                  <a:lnTo>
                    <a:pt x="0" y="0"/>
                  </a:lnTo>
                  <a:lnTo>
                    <a:pt x="4" y="4"/>
                  </a:lnTo>
                  <a:lnTo>
                    <a:pt x="8" y="9"/>
                  </a:lnTo>
                  <a:lnTo>
                    <a:pt x="13" y="9"/>
                  </a:lnTo>
                  <a:lnTo>
                    <a:pt x="19" y="9"/>
                  </a:lnTo>
                  <a:lnTo>
                    <a:pt x="23" y="9"/>
                  </a:lnTo>
                  <a:lnTo>
                    <a:pt x="25" y="13"/>
                  </a:lnTo>
                  <a:lnTo>
                    <a:pt x="30" y="19"/>
                  </a:lnTo>
                  <a:lnTo>
                    <a:pt x="36" y="30"/>
                  </a:lnTo>
                  <a:lnTo>
                    <a:pt x="38" y="36"/>
                  </a:lnTo>
                  <a:lnTo>
                    <a:pt x="34" y="32"/>
                  </a:lnTo>
                  <a:lnTo>
                    <a:pt x="32" y="26"/>
                  </a:lnTo>
                  <a:lnTo>
                    <a:pt x="28" y="21"/>
                  </a:lnTo>
                  <a:lnTo>
                    <a:pt x="25" y="15"/>
                  </a:lnTo>
                  <a:lnTo>
                    <a:pt x="19" y="13"/>
                  </a:lnTo>
                  <a:lnTo>
                    <a:pt x="21" y="17"/>
                  </a:lnTo>
                  <a:lnTo>
                    <a:pt x="23" y="23"/>
                  </a:lnTo>
                  <a:lnTo>
                    <a:pt x="30" y="32"/>
                  </a:lnTo>
                  <a:lnTo>
                    <a:pt x="36" y="36"/>
                  </a:lnTo>
                  <a:lnTo>
                    <a:pt x="36" y="43"/>
                  </a:lnTo>
                  <a:lnTo>
                    <a:pt x="36" y="47"/>
                  </a:lnTo>
                  <a:lnTo>
                    <a:pt x="40" y="51"/>
                  </a:lnTo>
                  <a:lnTo>
                    <a:pt x="36" y="55"/>
                  </a:lnTo>
                  <a:lnTo>
                    <a:pt x="30" y="51"/>
                  </a:lnTo>
                  <a:lnTo>
                    <a:pt x="34" y="58"/>
                  </a:lnTo>
                  <a:lnTo>
                    <a:pt x="32" y="62"/>
                  </a:lnTo>
                  <a:lnTo>
                    <a:pt x="28" y="66"/>
                  </a:lnTo>
                  <a:lnTo>
                    <a:pt x="25" y="70"/>
                  </a:lnTo>
                  <a:lnTo>
                    <a:pt x="21" y="72"/>
                  </a:lnTo>
                  <a:lnTo>
                    <a:pt x="19" y="68"/>
                  </a:lnTo>
                  <a:lnTo>
                    <a:pt x="23" y="53"/>
                  </a:lnTo>
                  <a:lnTo>
                    <a:pt x="19" y="47"/>
                  </a:lnTo>
                  <a:lnTo>
                    <a:pt x="23" y="43"/>
                  </a:lnTo>
                  <a:lnTo>
                    <a:pt x="17" y="47"/>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6" name="Freeform 1241"/>
            <p:cNvSpPr>
              <a:spLocks/>
            </p:cNvSpPr>
            <p:nvPr/>
          </p:nvSpPr>
          <p:spPr bwMode="auto">
            <a:xfrm>
              <a:off x="1417" y="3833"/>
              <a:ext cx="5" cy="5"/>
            </a:xfrm>
            <a:custGeom>
              <a:avLst/>
              <a:gdLst>
                <a:gd name="T0" fmla="*/ 0 w 5"/>
                <a:gd name="T1" fmla="*/ 0 h 5"/>
                <a:gd name="T2" fmla="*/ 5 w 5"/>
                <a:gd name="T3" fmla="*/ 5 h 5"/>
                <a:gd name="T4" fmla="*/ 0 w 5"/>
                <a:gd name="T5" fmla="*/ 0 h 5"/>
                <a:gd name="T6" fmla="*/ 0 w 5"/>
                <a:gd name="T7" fmla="*/ 0 h 5"/>
              </a:gdLst>
              <a:ahLst/>
              <a:cxnLst>
                <a:cxn ang="0">
                  <a:pos x="T0" y="T1"/>
                </a:cxn>
                <a:cxn ang="0">
                  <a:pos x="T2" y="T3"/>
                </a:cxn>
                <a:cxn ang="0">
                  <a:pos x="T4" y="T5"/>
                </a:cxn>
                <a:cxn ang="0">
                  <a:pos x="T6" y="T7"/>
                </a:cxn>
              </a:cxnLst>
              <a:rect l="0" t="0" r="r" b="b"/>
              <a:pathLst>
                <a:path w="5" h="5">
                  <a:moveTo>
                    <a:pt x="0" y="0"/>
                  </a:moveTo>
                  <a:lnTo>
                    <a:pt x="5" y="5"/>
                  </a:lnTo>
                  <a:lnTo>
                    <a:pt x="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7" name="Freeform 1242"/>
            <p:cNvSpPr>
              <a:spLocks/>
            </p:cNvSpPr>
            <p:nvPr/>
          </p:nvSpPr>
          <p:spPr bwMode="auto">
            <a:xfrm>
              <a:off x="1417" y="3833"/>
              <a:ext cx="5" cy="5"/>
            </a:xfrm>
            <a:custGeom>
              <a:avLst/>
              <a:gdLst>
                <a:gd name="T0" fmla="*/ 0 w 5"/>
                <a:gd name="T1" fmla="*/ 0 h 5"/>
                <a:gd name="T2" fmla="*/ 5 w 5"/>
                <a:gd name="T3" fmla="*/ 5 h 5"/>
                <a:gd name="T4" fmla="*/ 0 w 5"/>
                <a:gd name="T5" fmla="*/ 0 h 5"/>
                <a:gd name="T6" fmla="*/ 0 w 5"/>
                <a:gd name="T7" fmla="*/ 0 h 5"/>
              </a:gdLst>
              <a:ahLst/>
              <a:cxnLst>
                <a:cxn ang="0">
                  <a:pos x="T0" y="T1"/>
                </a:cxn>
                <a:cxn ang="0">
                  <a:pos x="T2" y="T3"/>
                </a:cxn>
                <a:cxn ang="0">
                  <a:pos x="T4" y="T5"/>
                </a:cxn>
                <a:cxn ang="0">
                  <a:pos x="T6" y="T7"/>
                </a:cxn>
              </a:cxnLst>
              <a:rect l="0" t="0" r="r" b="b"/>
              <a:pathLst>
                <a:path w="5" h="5">
                  <a:moveTo>
                    <a:pt x="0" y="0"/>
                  </a:moveTo>
                  <a:lnTo>
                    <a:pt x="5" y="5"/>
                  </a:lnTo>
                  <a:lnTo>
                    <a:pt x="0"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8" name="Freeform 1243"/>
            <p:cNvSpPr>
              <a:spLocks/>
            </p:cNvSpPr>
            <p:nvPr/>
          </p:nvSpPr>
          <p:spPr bwMode="auto">
            <a:xfrm>
              <a:off x="1377" y="3857"/>
              <a:ext cx="40" cy="74"/>
            </a:xfrm>
            <a:custGeom>
              <a:avLst/>
              <a:gdLst>
                <a:gd name="T0" fmla="*/ 23 w 40"/>
                <a:gd name="T1" fmla="*/ 55 h 74"/>
                <a:gd name="T2" fmla="*/ 23 w 40"/>
                <a:gd name="T3" fmla="*/ 51 h 74"/>
                <a:gd name="T4" fmla="*/ 23 w 40"/>
                <a:gd name="T5" fmla="*/ 47 h 74"/>
                <a:gd name="T6" fmla="*/ 19 w 40"/>
                <a:gd name="T7" fmla="*/ 49 h 74"/>
                <a:gd name="T8" fmla="*/ 21 w 40"/>
                <a:gd name="T9" fmla="*/ 45 h 74"/>
                <a:gd name="T10" fmla="*/ 15 w 40"/>
                <a:gd name="T11" fmla="*/ 45 h 74"/>
                <a:gd name="T12" fmla="*/ 13 w 40"/>
                <a:gd name="T13" fmla="*/ 34 h 74"/>
                <a:gd name="T14" fmla="*/ 17 w 40"/>
                <a:gd name="T15" fmla="*/ 30 h 74"/>
                <a:gd name="T16" fmla="*/ 13 w 40"/>
                <a:gd name="T17" fmla="*/ 28 h 74"/>
                <a:gd name="T18" fmla="*/ 9 w 40"/>
                <a:gd name="T19" fmla="*/ 23 h 74"/>
                <a:gd name="T20" fmla="*/ 11 w 40"/>
                <a:gd name="T21" fmla="*/ 17 h 74"/>
                <a:gd name="T22" fmla="*/ 4 w 40"/>
                <a:gd name="T23" fmla="*/ 19 h 74"/>
                <a:gd name="T24" fmla="*/ 0 w 40"/>
                <a:gd name="T25" fmla="*/ 15 h 74"/>
                <a:gd name="T26" fmla="*/ 2 w 40"/>
                <a:gd name="T27" fmla="*/ 11 h 74"/>
                <a:gd name="T28" fmla="*/ 6 w 40"/>
                <a:gd name="T29" fmla="*/ 0 h 74"/>
                <a:gd name="T30" fmla="*/ 11 w 40"/>
                <a:gd name="T31" fmla="*/ 2 h 74"/>
                <a:gd name="T32" fmla="*/ 6 w 40"/>
                <a:gd name="T33" fmla="*/ 6 h 74"/>
                <a:gd name="T34" fmla="*/ 13 w 40"/>
                <a:gd name="T35" fmla="*/ 4 h 74"/>
                <a:gd name="T36" fmla="*/ 21 w 40"/>
                <a:gd name="T37" fmla="*/ 11 h 74"/>
                <a:gd name="T38" fmla="*/ 23 w 40"/>
                <a:gd name="T39" fmla="*/ 15 h 74"/>
                <a:gd name="T40" fmla="*/ 28 w 40"/>
                <a:gd name="T41" fmla="*/ 19 h 74"/>
                <a:gd name="T42" fmla="*/ 36 w 40"/>
                <a:gd name="T43" fmla="*/ 43 h 74"/>
                <a:gd name="T44" fmla="*/ 40 w 40"/>
                <a:gd name="T45" fmla="*/ 53 h 74"/>
                <a:gd name="T46" fmla="*/ 38 w 40"/>
                <a:gd name="T47" fmla="*/ 57 h 74"/>
                <a:gd name="T48" fmla="*/ 40 w 40"/>
                <a:gd name="T49" fmla="*/ 68 h 74"/>
                <a:gd name="T50" fmla="*/ 40 w 40"/>
                <a:gd name="T51" fmla="*/ 74 h 74"/>
                <a:gd name="T52" fmla="*/ 36 w 40"/>
                <a:gd name="T53" fmla="*/ 70 h 74"/>
                <a:gd name="T54" fmla="*/ 32 w 40"/>
                <a:gd name="T55" fmla="*/ 66 h 74"/>
                <a:gd name="T56" fmla="*/ 28 w 40"/>
                <a:gd name="T57" fmla="*/ 62 h 74"/>
                <a:gd name="T58" fmla="*/ 26 w 40"/>
                <a:gd name="T59" fmla="*/ 55 h 74"/>
                <a:gd name="T60" fmla="*/ 26 w 40"/>
                <a:gd name="T61" fmla="*/ 49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3" y="51"/>
                  </a:lnTo>
                  <a:lnTo>
                    <a:pt x="23" y="47"/>
                  </a:lnTo>
                  <a:lnTo>
                    <a:pt x="19" y="49"/>
                  </a:lnTo>
                  <a:lnTo>
                    <a:pt x="21" y="45"/>
                  </a:lnTo>
                  <a:lnTo>
                    <a:pt x="15" y="45"/>
                  </a:lnTo>
                  <a:lnTo>
                    <a:pt x="13" y="34"/>
                  </a:lnTo>
                  <a:lnTo>
                    <a:pt x="17" y="30"/>
                  </a:lnTo>
                  <a:lnTo>
                    <a:pt x="13" y="28"/>
                  </a:lnTo>
                  <a:lnTo>
                    <a:pt x="9" y="23"/>
                  </a:lnTo>
                  <a:lnTo>
                    <a:pt x="11" y="17"/>
                  </a:lnTo>
                  <a:lnTo>
                    <a:pt x="4" y="19"/>
                  </a:lnTo>
                  <a:lnTo>
                    <a:pt x="0" y="15"/>
                  </a:lnTo>
                  <a:lnTo>
                    <a:pt x="2" y="11"/>
                  </a:lnTo>
                  <a:lnTo>
                    <a:pt x="6" y="0"/>
                  </a:lnTo>
                  <a:lnTo>
                    <a:pt x="11" y="2"/>
                  </a:lnTo>
                  <a:lnTo>
                    <a:pt x="6" y="6"/>
                  </a:lnTo>
                  <a:lnTo>
                    <a:pt x="13" y="4"/>
                  </a:lnTo>
                  <a:lnTo>
                    <a:pt x="21" y="11"/>
                  </a:lnTo>
                  <a:lnTo>
                    <a:pt x="23" y="15"/>
                  </a:lnTo>
                  <a:lnTo>
                    <a:pt x="28" y="19"/>
                  </a:lnTo>
                  <a:lnTo>
                    <a:pt x="36" y="43"/>
                  </a:lnTo>
                  <a:lnTo>
                    <a:pt x="40" y="53"/>
                  </a:lnTo>
                  <a:lnTo>
                    <a:pt x="38" y="57"/>
                  </a:lnTo>
                  <a:lnTo>
                    <a:pt x="40" y="68"/>
                  </a:lnTo>
                  <a:lnTo>
                    <a:pt x="40" y="74"/>
                  </a:lnTo>
                  <a:lnTo>
                    <a:pt x="36" y="70"/>
                  </a:lnTo>
                  <a:lnTo>
                    <a:pt x="32" y="66"/>
                  </a:lnTo>
                  <a:lnTo>
                    <a:pt x="28" y="62"/>
                  </a:lnTo>
                  <a:lnTo>
                    <a:pt x="26" y="55"/>
                  </a:lnTo>
                  <a:lnTo>
                    <a:pt x="26" y="49"/>
                  </a:lnTo>
                  <a:lnTo>
                    <a:pt x="23" y="55"/>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59" name="Freeform 1244"/>
            <p:cNvSpPr>
              <a:spLocks/>
            </p:cNvSpPr>
            <p:nvPr/>
          </p:nvSpPr>
          <p:spPr bwMode="auto">
            <a:xfrm>
              <a:off x="1377" y="3857"/>
              <a:ext cx="40" cy="74"/>
            </a:xfrm>
            <a:custGeom>
              <a:avLst/>
              <a:gdLst>
                <a:gd name="T0" fmla="*/ 23 w 40"/>
                <a:gd name="T1" fmla="*/ 55 h 74"/>
                <a:gd name="T2" fmla="*/ 23 w 40"/>
                <a:gd name="T3" fmla="*/ 51 h 74"/>
                <a:gd name="T4" fmla="*/ 23 w 40"/>
                <a:gd name="T5" fmla="*/ 47 h 74"/>
                <a:gd name="T6" fmla="*/ 19 w 40"/>
                <a:gd name="T7" fmla="*/ 49 h 74"/>
                <a:gd name="T8" fmla="*/ 21 w 40"/>
                <a:gd name="T9" fmla="*/ 45 h 74"/>
                <a:gd name="T10" fmla="*/ 15 w 40"/>
                <a:gd name="T11" fmla="*/ 45 h 74"/>
                <a:gd name="T12" fmla="*/ 13 w 40"/>
                <a:gd name="T13" fmla="*/ 34 h 74"/>
                <a:gd name="T14" fmla="*/ 17 w 40"/>
                <a:gd name="T15" fmla="*/ 30 h 74"/>
                <a:gd name="T16" fmla="*/ 13 w 40"/>
                <a:gd name="T17" fmla="*/ 28 h 74"/>
                <a:gd name="T18" fmla="*/ 9 w 40"/>
                <a:gd name="T19" fmla="*/ 23 h 74"/>
                <a:gd name="T20" fmla="*/ 11 w 40"/>
                <a:gd name="T21" fmla="*/ 17 h 74"/>
                <a:gd name="T22" fmla="*/ 4 w 40"/>
                <a:gd name="T23" fmla="*/ 19 h 74"/>
                <a:gd name="T24" fmla="*/ 0 w 40"/>
                <a:gd name="T25" fmla="*/ 15 h 74"/>
                <a:gd name="T26" fmla="*/ 2 w 40"/>
                <a:gd name="T27" fmla="*/ 11 h 74"/>
                <a:gd name="T28" fmla="*/ 6 w 40"/>
                <a:gd name="T29" fmla="*/ 0 h 74"/>
                <a:gd name="T30" fmla="*/ 11 w 40"/>
                <a:gd name="T31" fmla="*/ 2 h 74"/>
                <a:gd name="T32" fmla="*/ 6 w 40"/>
                <a:gd name="T33" fmla="*/ 6 h 74"/>
                <a:gd name="T34" fmla="*/ 13 w 40"/>
                <a:gd name="T35" fmla="*/ 4 h 74"/>
                <a:gd name="T36" fmla="*/ 21 w 40"/>
                <a:gd name="T37" fmla="*/ 11 h 74"/>
                <a:gd name="T38" fmla="*/ 23 w 40"/>
                <a:gd name="T39" fmla="*/ 15 h 74"/>
                <a:gd name="T40" fmla="*/ 28 w 40"/>
                <a:gd name="T41" fmla="*/ 19 h 74"/>
                <a:gd name="T42" fmla="*/ 36 w 40"/>
                <a:gd name="T43" fmla="*/ 43 h 74"/>
                <a:gd name="T44" fmla="*/ 40 w 40"/>
                <a:gd name="T45" fmla="*/ 53 h 74"/>
                <a:gd name="T46" fmla="*/ 38 w 40"/>
                <a:gd name="T47" fmla="*/ 57 h 74"/>
                <a:gd name="T48" fmla="*/ 40 w 40"/>
                <a:gd name="T49" fmla="*/ 68 h 74"/>
                <a:gd name="T50" fmla="*/ 40 w 40"/>
                <a:gd name="T51" fmla="*/ 74 h 74"/>
                <a:gd name="T52" fmla="*/ 36 w 40"/>
                <a:gd name="T53" fmla="*/ 70 h 74"/>
                <a:gd name="T54" fmla="*/ 32 w 40"/>
                <a:gd name="T55" fmla="*/ 66 h 74"/>
                <a:gd name="T56" fmla="*/ 28 w 40"/>
                <a:gd name="T57" fmla="*/ 62 h 74"/>
                <a:gd name="T58" fmla="*/ 26 w 40"/>
                <a:gd name="T59" fmla="*/ 55 h 74"/>
                <a:gd name="T60" fmla="*/ 26 w 40"/>
                <a:gd name="T61" fmla="*/ 49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3" y="51"/>
                  </a:lnTo>
                  <a:lnTo>
                    <a:pt x="23" y="47"/>
                  </a:lnTo>
                  <a:lnTo>
                    <a:pt x="19" y="49"/>
                  </a:lnTo>
                  <a:lnTo>
                    <a:pt x="21" y="45"/>
                  </a:lnTo>
                  <a:lnTo>
                    <a:pt x="15" y="45"/>
                  </a:lnTo>
                  <a:lnTo>
                    <a:pt x="13" y="34"/>
                  </a:lnTo>
                  <a:lnTo>
                    <a:pt x="17" y="30"/>
                  </a:lnTo>
                  <a:lnTo>
                    <a:pt x="13" y="28"/>
                  </a:lnTo>
                  <a:lnTo>
                    <a:pt x="9" y="23"/>
                  </a:lnTo>
                  <a:lnTo>
                    <a:pt x="11" y="17"/>
                  </a:lnTo>
                  <a:lnTo>
                    <a:pt x="4" y="19"/>
                  </a:lnTo>
                  <a:lnTo>
                    <a:pt x="0" y="15"/>
                  </a:lnTo>
                  <a:lnTo>
                    <a:pt x="2" y="11"/>
                  </a:lnTo>
                  <a:lnTo>
                    <a:pt x="6" y="0"/>
                  </a:lnTo>
                  <a:lnTo>
                    <a:pt x="11" y="2"/>
                  </a:lnTo>
                  <a:lnTo>
                    <a:pt x="6" y="6"/>
                  </a:lnTo>
                  <a:lnTo>
                    <a:pt x="13" y="4"/>
                  </a:lnTo>
                  <a:lnTo>
                    <a:pt x="21" y="11"/>
                  </a:lnTo>
                  <a:lnTo>
                    <a:pt x="23" y="15"/>
                  </a:lnTo>
                  <a:lnTo>
                    <a:pt x="28" y="19"/>
                  </a:lnTo>
                  <a:lnTo>
                    <a:pt x="36" y="43"/>
                  </a:lnTo>
                  <a:lnTo>
                    <a:pt x="40" y="53"/>
                  </a:lnTo>
                  <a:lnTo>
                    <a:pt x="38" y="57"/>
                  </a:lnTo>
                  <a:lnTo>
                    <a:pt x="40" y="68"/>
                  </a:lnTo>
                  <a:lnTo>
                    <a:pt x="40" y="74"/>
                  </a:lnTo>
                  <a:lnTo>
                    <a:pt x="36" y="70"/>
                  </a:lnTo>
                  <a:lnTo>
                    <a:pt x="32" y="66"/>
                  </a:lnTo>
                  <a:lnTo>
                    <a:pt x="28" y="62"/>
                  </a:lnTo>
                  <a:lnTo>
                    <a:pt x="26" y="55"/>
                  </a:lnTo>
                  <a:lnTo>
                    <a:pt x="26" y="49"/>
                  </a:lnTo>
                  <a:lnTo>
                    <a:pt x="23" y="55"/>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0" name="Freeform 1245"/>
            <p:cNvSpPr>
              <a:spLocks/>
            </p:cNvSpPr>
            <p:nvPr/>
          </p:nvSpPr>
          <p:spPr bwMode="auto">
            <a:xfrm>
              <a:off x="1422" y="3889"/>
              <a:ext cx="21" cy="51"/>
            </a:xfrm>
            <a:custGeom>
              <a:avLst/>
              <a:gdLst>
                <a:gd name="T0" fmla="*/ 15 w 21"/>
                <a:gd name="T1" fmla="*/ 51 h 51"/>
                <a:gd name="T2" fmla="*/ 10 w 21"/>
                <a:gd name="T3" fmla="*/ 45 h 51"/>
                <a:gd name="T4" fmla="*/ 8 w 21"/>
                <a:gd name="T5" fmla="*/ 34 h 51"/>
                <a:gd name="T6" fmla="*/ 8 w 21"/>
                <a:gd name="T7" fmla="*/ 30 h 51"/>
                <a:gd name="T8" fmla="*/ 15 w 21"/>
                <a:gd name="T9" fmla="*/ 28 h 51"/>
                <a:gd name="T10" fmla="*/ 6 w 21"/>
                <a:gd name="T11" fmla="*/ 19 h 51"/>
                <a:gd name="T12" fmla="*/ 8 w 21"/>
                <a:gd name="T13" fmla="*/ 15 h 51"/>
                <a:gd name="T14" fmla="*/ 4 w 21"/>
                <a:gd name="T15" fmla="*/ 15 h 51"/>
                <a:gd name="T16" fmla="*/ 0 w 21"/>
                <a:gd name="T17" fmla="*/ 11 h 51"/>
                <a:gd name="T18" fmla="*/ 4 w 21"/>
                <a:gd name="T19" fmla="*/ 6 h 51"/>
                <a:gd name="T20" fmla="*/ 2 w 21"/>
                <a:gd name="T21" fmla="*/ 2 h 51"/>
                <a:gd name="T22" fmla="*/ 8 w 21"/>
                <a:gd name="T23" fmla="*/ 2 h 51"/>
                <a:gd name="T24" fmla="*/ 4 w 21"/>
                <a:gd name="T25" fmla="*/ 0 h 51"/>
                <a:gd name="T26" fmla="*/ 8 w 21"/>
                <a:gd name="T27" fmla="*/ 0 h 51"/>
                <a:gd name="T28" fmla="*/ 13 w 21"/>
                <a:gd name="T29" fmla="*/ 4 h 51"/>
                <a:gd name="T30" fmla="*/ 15 w 21"/>
                <a:gd name="T31" fmla="*/ 8 h 51"/>
                <a:gd name="T32" fmla="*/ 15 w 21"/>
                <a:gd name="T33" fmla="*/ 15 h 51"/>
                <a:gd name="T34" fmla="*/ 17 w 21"/>
                <a:gd name="T35" fmla="*/ 11 h 51"/>
                <a:gd name="T36" fmla="*/ 15 w 21"/>
                <a:gd name="T37" fmla="*/ 4 h 51"/>
                <a:gd name="T38" fmla="*/ 21 w 21"/>
                <a:gd name="T39" fmla="*/ 8 h 51"/>
                <a:gd name="T40" fmla="*/ 21 w 21"/>
                <a:gd name="T41" fmla="*/ 13 h 51"/>
                <a:gd name="T42" fmla="*/ 19 w 21"/>
                <a:gd name="T43" fmla="*/ 17 h 51"/>
                <a:gd name="T44" fmla="*/ 19 w 21"/>
                <a:gd name="T45" fmla="*/ 28 h 51"/>
                <a:gd name="T46" fmla="*/ 17 w 21"/>
                <a:gd name="T47" fmla="*/ 32 h 51"/>
                <a:gd name="T48" fmla="*/ 19 w 21"/>
                <a:gd name="T49" fmla="*/ 38 h 51"/>
                <a:gd name="T50" fmla="*/ 17 w 21"/>
                <a:gd name="T51" fmla="*/ 42 h 51"/>
                <a:gd name="T52" fmla="*/ 15 w 21"/>
                <a:gd name="T53" fmla="*/ 38 h 51"/>
                <a:gd name="T54" fmla="*/ 10 w 21"/>
                <a:gd name="T55" fmla="*/ 42 h 51"/>
                <a:gd name="T56" fmla="*/ 15 w 21"/>
                <a:gd name="T57" fmla="*/ 47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0" y="45"/>
                  </a:lnTo>
                  <a:lnTo>
                    <a:pt x="8" y="34"/>
                  </a:lnTo>
                  <a:lnTo>
                    <a:pt x="8" y="30"/>
                  </a:lnTo>
                  <a:lnTo>
                    <a:pt x="15" y="28"/>
                  </a:lnTo>
                  <a:lnTo>
                    <a:pt x="6" y="19"/>
                  </a:lnTo>
                  <a:lnTo>
                    <a:pt x="8" y="15"/>
                  </a:lnTo>
                  <a:lnTo>
                    <a:pt x="4" y="15"/>
                  </a:lnTo>
                  <a:lnTo>
                    <a:pt x="0" y="11"/>
                  </a:lnTo>
                  <a:lnTo>
                    <a:pt x="4" y="6"/>
                  </a:lnTo>
                  <a:lnTo>
                    <a:pt x="2" y="2"/>
                  </a:lnTo>
                  <a:lnTo>
                    <a:pt x="8" y="2"/>
                  </a:lnTo>
                  <a:lnTo>
                    <a:pt x="4" y="0"/>
                  </a:lnTo>
                  <a:lnTo>
                    <a:pt x="8" y="0"/>
                  </a:lnTo>
                  <a:lnTo>
                    <a:pt x="13" y="4"/>
                  </a:lnTo>
                  <a:lnTo>
                    <a:pt x="15" y="8"/>
                  </a:lnTo>
                  <a:lnTo>
                    <a:pt x="15" y="15"/>
                  </a:lnTo>
                  <a:lnTo>
                    <a:pt x="17" y="11"/>
                  </a:lnTo>
                  <a:lnTo>
                    <a:pt x="15" y="4"/>
                  </a:lnTo>
                  <a:lnTo>
                    <a:pt x="21" y="8"/>
                  </a:lnTo>
                  <a:lnTo>
                    <a:pt x="21" y="13"/>
                  </a:lnTo>
                  <a:lnTo>
                    <a:pt x="19" y="17"/>
                  </a:lnTo>
                  <a:lnTo>
                    <a:pt x="19" y="28"/>
                  </a:lnTo>
                  <a:lnTo>
                    <a:pt x="17" y="32"/>
                  </a:lnTo>
                  <a:lnTo>
                    <a:pt x="19" y="38"/>
                  </a:lnTo>
                  <a:lnTo>
                    <a:pt x="17" y="42"/>
                  </a:lnTo>
                  <a:lnTo>
                    <a:pt x="15" y="38"/>
                  </a:lnTo>
                  <a:lnTo>
                    <a:pt x="10" y="42"/>
                  </a:lnTo>
                  <a:lnTo>
                    <a:pt x="15" y="47"/>
                  </a:lnTo>
                  <a:lnTo>
                    <a:pt x="15" y="51"/>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1" name="Freeform 1246"/>
            <p:cNvSpPr>
              <a:spLocks/>
            </p:cNvSpPr>
            <p:nvPr/>
          </p:nvSpPr>
          <p:spPr bwMode="auto">
            <a:xfrm>
              <a:off x="1422" y="3889"/>
              <a:ext cx="21" cy="51"/>
            </a:xfrm>
            <a:custGeom>
              <a:avLst/>
              <a:gdLst>
                <a:gd name="T0" fmla="*/ 15 w 21"/>
                <a:gd name="T1" fmla="*/ 51 h 51"/>
                <a:gd name="T2" fmla="*/ 10 w 21"/>
                <a:gd name="T3" fmla="*/ 45 h 51"/>
                <a:gd name="T4" fmla="*/ 8 w 21"/>
                <a:gd name="T5" fmla="*/ 34 h 51"/>
                <a:gd name="T6" fmla="*/ 8 w 21"/>
                <a:gd name="T7" fmla="*/ 30 h 51"/>
                <a:gd name="T8" fmla="*/ 15 w 21"/>
                <a:gd name="T9" fmla="*/ 28 h 51"/>
                <a:gd name="T10" fmla="*/ 6 w 21"/>
                <a:gd name="T11" fmla="*/ 19 h 51"/>
                <a:gd name="T12" fmla="*/ 8 w 21"/>
                <a:gd name="T13" fmla="*/ 15 h 51"/>
                <a:gd name="T14" fmla="*/ 4 w 21"/>
                <a:gd name="T15" fmla="*/ 15 h 51"/>
                <a:gd name="T16" fmla="*/ 0 w 21"/>
                <a:gd name="T17" fmla="*/ 11 h 51"/>
                <a:gd name="T18" fmla="*/ 4 w 21"/>
                <a:gd name="T19" fmla="*/ 6 h 51"/>
                <a:gd name="T20" fmla="*/ 2 w 21"/>
                <a:gd name="T21" fmla="*/ 2 h 51"/>
                <a:gd name="T22" fmla="*/ 8 w 21"/>
                <a:gd name="T23" fmla="*/ 2 h 51"/>
                <a:gd name="T24" fmla="*/ 4 w 21"/>
                <a:gd name="T25" fmla="*/ 0 h 51"/>
                <a:gd name="T26" fmla="*/ 8 w 21"/>
                <a:gd name="T27" fmla="*/ 0 h 51"/>
                <a:gd name="T28" fmla="*/ 13 w 21"/>
                <a:gd name="T29" fmla="*/ 4 h 51"/>
                <a:gd name="T30" fmla="*/ 15 w 21"/>
                <a:gd name="T31" fmla="*/ 8 h 51"/>
                <a:gd name="T32" fmla="*/ 15 w 21"/>
                <a:gd name="T33" fmla="*/ 15 h 51"/>
                <a:gd name="T34" fmla="*/ 17 w 21"/>
                <a:gd name="T35" fmla="*/ 11 h 51"/>
                <a:gd name="T36" fmla="*/ 15 w 21"/>
                <a:gd name="T37" fmla="*/ 4 h 51"/>
                <a:gd name="T38" fmla="*/ 21 w 21"/>
                <a:gd name="T39" fmla="*/ 8 h 51"/>
                <a:gd name="T40" fmla="*/ 21 w 21"/>
                <a:gd name="T41" fmla="*/ 13 h 51"/>
                <a:gd name="T42" fmla="*/ 19 w 21"/>
                <a:gd name="T43" fmla="*/ 17 h 51"/>
                <a:gd name="T44" fmla="*/ 19 w 21"/>
                <a:gd name="T45" fmla="*/ 28 h 51"/>
                <a:gd name="T46" fmla="*/ 17 w 21"/>
                <a:gd name="T47" fmla="*/ 32 h 51"/>
                <a:gd name="T48" fmla="*/ 19 w 21"/>
                <a:gd name="T49" fmla="*/ 38 h 51"/>
                <a:gd name="T50" fmla="*/ 17 w 21"/>
                <a:gd name="T51" fmla="*/ 42 h 51"/>
                <a:gd name="T52" fmla="*/ 15 w 21"/>
                <a:gd name="T53" fmla="*/ 38 h 51"/>
                <a:gd name="T54" fmla="*/ 10 w 21"/>
                <a:gd name="T55" fmla="*/ 42 h 51"/>
                <a:gd name="T56" fmla="*/ 15 w 21"/>
                <a:gd name="T57" fmla="*/ 47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0" y="45"/>
                  </a:lnTo>
                  <a:lnTo>
                    <a:pt x="8" y="34"/>
                  </a:lnTo>
                  <a:lnTo>
                    <a:pt x="8" y="30"/>
                  </a:lnTo>
                  <a:lnTo>
                    <a:pt x="15" y="28"/>
                  </a:lnTo>
                  <a:lnTo>
                    <a:pt x="6" y="19"/>
                  </a:lnTo>
                  <a:lnTo>
                    <a:pt x="8" y="15"/>
                  </a:lnTo>
                  <a:lnTo>
                    <a:pt x="4" y="15"/>
                  </a:lnTo>
                  <a:lnTo>
                    <a:pt x="0" y="11"/>
                  </a:lnTo>
                  <a:lnTo>
                    <a:pt x="4" y="6"/>
                  </a:lnTo>
                  <a:lnTo>
                    <a:pt x="2" y="2"/>
                  </a:lnTo>
                  <a:lnTo>
                    <a:pt x="8" y="2"/>
                  </a:lnTo>
                  <a:lnTo>
                    <a:pt x="4" y="0"/>
                  </a:lnTo>
                  <a:lnTo>
                    <a:pt x="8" y="0"/>
                  </a:lnTo>
                  <a:lnTo>
                    <a:pt x="13" y="4"/>
                  </a:lnTo>
                  <a:lnTo>
                    <a:pt x="15" y="8"/>
                  </a:lnTo>
                  <a:lnTo>
                    <a:pt x="15" y="15"/>
                  </a:lnTo>
                  <a:lnTo>
                    <a:pt x="17" y="11"/>
                  </a:lnTo>
                  <a:lnTo>
                    <a:pt x="15" y="4"/>
                  </a:lnTo>
                  <a:lnTo>
                    <a:pt x="21" y="8"/>
                  </a:lnTo>
                  <a:lnTo>
                    <a:pt x="21" y="13"/>
                  </a:lnTo>
                  <a:lnTo>
                    <a:pt x="19" y="17"/>
                  </a:lnTo>
                  <a:lnTo>
                    <a:pt x="19" y="28"/>
                  </a:lnTo>
                  <a:lnTo>
                    <a:pt x="17" y="32"/>
                  </a:lnTo>
                  <a:lnTo>
                    <a:pt x="19" y="38"/>
                  </a:lnTo>
                  <a:lnTo>
                    <a:pt x="17" y="42"/>
                  </a:lnTo>
                  <a:lnTo>
                    <a:pt x="15" y="38"/>
                  </a:lnTo>
                  <a:lnTo>
                    <a:pt x="10" y="42"/>
                  </a:lnTo>
                  <a:lnTo>
                    <a:pt x="15" y="47"/>
                  </a:lnTo>
                  <a:lnTo>
                    <a:pt x="15" y="51"/>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2" name="Freeform 1247"/>
            <p:cNvSpPr>
              <a:spLocks/>
            </p:cNvSpPr>
            <p:nvPr/>
          </p:nvSpPr>
          <p:spPr bwMode="auto">
            <a:xfrm>
              <a:off x="1430" y="3946"/>
              <a:ext cx="9" cy="5"/>
            </a:xfrm>
            <a:custGeom>
              <a:avLst/>
              <a:gdLst>
                <a:gd name="T0" fmla="*/ 9 w 9"/>
                <a:gd name="T1" fmla="*/ 0 h 5"/>
                <a:gd name="T2" fmla="*/ 5 w 9"/>
                <a:gd name="T3" fmla="*/ 5 h 5"/>
                <a:gd name="T4" fmla="*/ 0 w 9"/>
                <a:gd name="T5" fmla="*/ 0 h 5"/>
                <a:gd name="T6" fmla="*/ 9 w 9"/>
                <a:gd name="T7" fmla="*/ 0 h 5"/>
              </a:gdLst>
              <a:ahLst/>
              <a:cxnLst>
                <a:cxn ang="0">
                  <a:pos x="T0" y="T1"/>
                </a:cxn>
                <a:cxn ang="0">
                  <a:pos x="T2" y="T3"/>
                </a:cxn>
                <a:cxn ang="0">
                  <a:pos x="T4" y="T5"/>
                </a:cxn>
                <a:cxn ang="0">
                  <a:pos x="T6" y="T7"/>
                </a:cxn>
              </a:cxnLst>
              <a:rect l="0" t="0" r="r" b="b"/>
              <a:pathLst>
                <a:path w="9" h="5">
                  <a:moveTo>
                    <a:pt x="9" y="0"/>
                  </a:moveTo>
                  <a:lnTo>
                    <a:pt x="5" y="5"/>
                  </a:lnTo>
                  <a:lnTo>
                    <a:pt x="0" y="0"/>
                  </a:lnTo>
                  <a:lnTo>
                    <a:pt x="9"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3" name="Freeform 1248"/>
            <p:cNvSpPr>
              <a:spLocks/>
            </p:cNvSpPr>
            <p:nvPr/>
          </p:nvSpPr>
          <p:spPr bwMode="auto">
            <a:xfrm>
              <a:off x="1430" y="3946"/>
              <a:ext cx="9" cy="5"/>
            </a:xfrm>
            <a:custGeom>
              <a:avLst/>
              <a:gdLst>
                <a:gd name="T0" fmla="*/ 9 w 9"/>
                <a:gd name="T1" fmla="*/ 0 h 5"/>
                <a:gd name="T2" fmla="*/ 5 w 9"/>
                <a:gd name="T3" fmla="*/ 5 h 5"/>
                <a:gd name="T4" fmla="*/ 0 w 9"/>
                <a:gd name="T5" fmla="*/ 0 h 5"/>
                <a:gd name="T6" fmla="*/ 9 w 9"/>
                <a:gd name="T7" fmla="*/ 0 h 5"/>
              </a:gdLst>
              <a:ahLst/>
              <a:cxnLst>
                <a:cxn ang="0">
                  <a:pos x="T0" y="T1"/>
                </a:cxn>
                <a:cxn ang="0">
                  <a:pos x="T2" y="T3"/>
                </a:cxn>
                <a:cxn ang="0">
                  <a:pos x="T4" y="T5"/>
                </a:cxn>
                <a:cxn ang="0">
                  <a:pos x="T6" y="T7"/>
                </a:cxn>
              </a:cxnLst>
              <a:rect l="0" t="0" r="r" b="b"/>
              <a:pathLst>
                <a:path w="9" h="5">
                  <a:moveTo>
                    <a:pt x="9" y="0"/>
                  </a:moveTo>
                  <a:lnTo>
                    <a:pt x="5" y="5"/>
                  </a:lnTo>
                  <a:lnTo>
                    <a:pt x="0" y="0"/>
                  </a:lnTo>
                  <a:lnTo>
                    <a:pt x="9"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4" name="Freeform 1249"/>
            <p:cNvSpPr>
              <a:spLocks/>
            </p:cNvSpPr>
            <p:nvPr/>
          </p:nvSpPr>
          <p:spPr bwMode="auto">
            <a:xfrm>
              <a:off x="1430" y="3878"/>
              <a:ext cx="39" cy="34"/>
            </a:xfrm>
            <a:custGeom>
              <a:avLst/>
              <a:gdLst>
                <a:gd name="T0" fmla="*/ 22 w 39"/>
                <a:gd name="T1" fmla="*/ 34 h 34"/>
                <a:gd name="T2" fmla="*/ 17 w 39"/>
                <a:gd name="T3" fmla="*/ 32 h 34"/>
                <a:gd name="T4" fmla="*/ 17 w 39"/>
                <a:gd name="T5" fmla="*/ 26 h 34"/>
                <a:gd name="T6" fmla="*/ 11 w 39"/>
                <a:gd name="T7" fmla="*/ 15 h 34"/>
                <a:gd name="T8" fmla="*/ 9 w 39"/>
                <a:gd name="T9" fmla="*/ 9 h 34"/>
                <a:gd name="T10" fmla="*/ 5 w 39"/>
                <a:gd name="T11" fmla="*/ 7 h 34"/>
                <a:gd name="T12" fmla="*/ 0 w 39"/>
                <a:gd name="T13" fmla="*/ 2 h 34"/>
                <a:gd name="T14" fmla="*/ 7 w 39"/>
                <a:gd name="T15" fmla="*/ 0 h 34"/>
                <a:gd name="T16" fmla="*/ 17 w 39"/>
                <a:gd name="T17" fmla="*/ 0 h 34"/>
                <a:gd name="T18" fmla="*/ 22 w 39"/>
                <a:gd name="T19" fmla="*/ 2 h 34"/>
                <a:gd name="T20" fmla="*/ 26 w 39"/>
                <a:gd name="T21" fmla="*/ 4 h 34"/>
                <a:gd name="T22" fmla="*/ 28 w 39"/>
                <a:gd name="T23" fmla="*/ 0 h 34"/>
                <a:gd name="T24" fmla="*/ 32 w 39"/>
                <a:gd name="T25" fmla="*/ 2 h 34"/>
                <a:gd name="T26" fmla="*/ 36 w 39"/>
                <a:gd name="T27" fmla="*/ 7 h 34"/>
                <a:gd name="T28" fmla="*/ 34 w 39"/>
                <a:gd name="T29" fmla="*/ 11 h 34"/>
                <a:gd name="T30" fmla="*/ 36 w 39"/>
                <a:gd name="T31" fmla="*/ 17 h 34"/>
                <a:gd name="T32" fmla="*/ 39 w 39"/>
                <a:gd name="T33" fmla="*/ 22 h 34"/>
                <a:gd name="T34" fmla="*/ 32 w 39"/>
                <a:gd name="T35" fmla="*/ 19 h 34"/>
                <a:gd name="T36" fmla="*/ 28 w 39"/>
                <a:gd name="T37" fmla="*/ 15 h 34"/>
                <a:gd name="T38" fmla="*/ 24 w 39"/>
                <a:gd name="T39" fmla="*/ 13 h 34"/>
                <a:gd name="T40" fmla="*/ 28 w 39"/>
                <a:gd name="T41" fmla="*/ 15 h 34"/>
                <a:gd name="T42" fmla="*/ 34 w 39"/>
                <a:gd name="T43" fmla="*/ 28 h 34"/>
                <a:gd name="T44" fmla="*/ 30 w 39"/>
                <a:gd name="T45" fmla="*/ 30 h 34"/>
                <a:gd name="T46" fmla="*/ 24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17" y="32"/>
                  </a:lnTo>
                  <a:lnTo>
                    <a:pt x="17" y="26"/>
                  </a:lnTo>
                  <a:lnTo>
                    <a:pt x="11" y="15"/>
                  </a:lnTo>
                  <a:lnTo>
                    <a:pt x="9" y="9"/>
                  </a:lnTo>
                  <a:lnTo>
                    <a:pt x="5" y="7"/>
                  </a:lnTo>
                  <a:lnTo>
                    <a:pt x="0" y="2"/>
                  </a:lnTo>
                  <a:lnTo>
                    <a:pt x="7" y="0"/>
                  </a:lnTo>
                  <a:lnTo>
                    <a:pt x="17" y="0"/>
                  </a:lnTo>
                  <a:lnTo>
                    <a:pt x="22" y="2"/>
                  </a:lnTo>
                  <a:lnTo>
                    <a:pt x="26" y="4"/>
                  </a:lnTo>
                  <a:lnTo>
                    <a:pt x="28" y="0"/>
                  </a:lnTo>
                  <a:lnTo>
                    <a:pt x="32" y="2"/>
                  </a:lnTo>
                  <a:lnTo>
                    <a:pt x="36" y="7"/>
                  </a:lnTo>
                  <a:lnTo>
                    <a:pt x="34" y="11"/>
                  </a:lnTo>
                  <a:lnTo>
                    <a:pt x="36" y="17"/>
                  </a:lnTo>
                  <a:lnTo>
                    <a:pt x="39" y="22"/>
                  </a:lnTo>
                  <a:lnTo>
                    <a:pt x="32" y="19"/>
                  </a:lnTo>
                  <a:lnTo>
                    <a:pt x="28" y="15"/>
                  </a:lnTo>
                  <a:lnTo>
                    <a:pt x="24" y="13"/>
                  </a:lnTo>
                  <a:lnTo>
                    <a:pt x="28" y="15"/>
                  </a:lnTo>
                  <a:lnTo>
                    <a:pt x="34" y="28"/>
                  </a:lnTo>
                  <a:lnTo>
                    <a:pt x="30" y="30"/>
                  </a:lnTo>
                  <a:lnTo>
                    <a:pt x="24" y="32"/>
                  </a:lnTo>
                  <a:lnTo>
                    <a:pt x="22" y="3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5" name="Freeform 1250"/>
            <p:cNvSpPr>
              <a:spLocks/>
            </p:cNvSpPr>
            <p:nvPr/>
          </p:nvSpPr>
          <p:spPr bwMode="auto">
            <a:xfrm>
              <a:off x="1430" y="3878"/>
              <a:ext cx="39" cy="34"/>
            </a:xfrm>
            <a:custGeom>
              <a:avLst/>
              <a:gdLst>
                <a:gd name="T0" fmla="*/ 22 w 39"/>
                <a:gd name="T1" fmla="*/ 34 h 34"/>
                <a:gd name="T2" fmla="*/ 17 w 39"/>
                <a:gd name="T3" fmla="*/ 32 h 34"/>
                <a:gd name="T4" fmla="*/ 17 w 39"/>
                <a:gd name="T5" fmla="*/ 26 h 34"/>
                <a:gd name="T6" fmla="*/ 11 w 39"/>
                <a:gd name="T7" fmla="*/ 15 h 34"/>
                <a:gd name="T8" fmla="*/ 9 w 39"/>
                <a:gd name="T9" fmla="*/ 9 h 34"/>
                <a:gd name="T10" fmla="*/ 5 w 39"/>
                <a:gd name="T11" fmla="*/ 7 h 34"/>
                <a:gd name="T12" fmla="*/ 0 w 39"/>
                <a:gd name="T13" fmla="*/ 2 h 34"/>
                <a:gd name="T14" fmla="*/ 7 w 39"/>
                <a:gd name="T15" fmla="*/ 0 h 34"/>
                <a:gd name="T16" fmla="*/ 17 w 39"/>
                <a:gd name="T17" fmla="*/ 0 h 34"/>
                <a:gd name="T18" fmla="*/ 22 w 39"/>
                <a:gd name="T19" fmla="*/ 2 h 34"/>
                <a:gd name="T20" fmla="*/ 26 w 39"/>
                <a:gd name="T21" fmla="*/ 4 h 34"/>
                <a:gd name="T22" fmla="*/ 28 w 39"/>
                <a:gd name="T23" fmla="*/ 0 h 34"/>
                <a:gd name="T24" fmla="*/ 32 w 39"/>
                <a:gd name="T25" fmla="*/ 2 h 34"/>
                <a:gd name="T26" fmla="*/ 36 w 39"/>
                <a:gd name="T27" fmla="*/ 7 h 34"/>
                <a:gd name="T28" fmla="*/ 34 w 39"/>
                <a:gd name="T29" fmla="*/ 11 h 34"/>
                <a:gd name="T30" fmla="*/ 36 w 39"/>
                <a:gd name="T31" fmla="*/ 17 h 34"/>
                <a:gd name="T32" fmla="*/ 39 w 39"/>
                <a:gd name="T33" fmla="*/ 22 h 34"/>
                <a:gd name="T34" fmla="*/ 32 w 39"/>
                <a:gd name="T35" fmla="*/ 19 h 34"/>
                <a:gd name="T36" fmla="*/ 28 w 39"/>
                <a:gd name="T37" fmla="*/ 15 h 34"/>
                <a:gd name="T38" fmla="*/ 24 w 39"/>
                <a:gd name="T39" fmla="*/ 13 h 34"/>
                <a:gd name="T40" fmla="*/ 28 w 39"/>
                <a:gd name="T41" fmla="*/ 15 h 34"/>
                <a:gd name="T42" fmla="*/ 34 w 39"/>
                <a:gd name="T43" fmla="*/ 28 h 34"/>
                <a:gd name="T44" fmla="*/ 30 w 39"/>
                <a:gd name="T45" fmla="*/ 30 h 34"/>
                <a:gd name="T46" fmla="*/ 24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17" y="32"/>
                  </a:lnTo>
                  <a:lnTo>
                    <a:pt x="17" y="26"/>
                  </a:lnTo>
                  <a:lnTo>
                    <a:pt x="11" y="15"/>
                  </a:lnTo>
                  <a:lnTo>
                    <a:pt x="9" y="9"/>
                  </a:lnTo>
                  <a:lnTo>
                    <a:pt x="5" y="7"/>
                  </a:lnTo>
                  <a:lnTo>
                    <a:pt x="0" y="2"/>
                  </a:lnTo>
                  <a:lnTo>
                    <a:pt x="7" y="0"/>
                  </a:lnTo>
                  <a:lnTo>
                    <a:pt x="17" y="0"/>
                  </a:lnTo>
                  <a:lnTo>
                    <a:pt x="22" y="2"/>
                  </a:lnTo>
                  <a:lnTo>
                    <a:pt x="26" y="4"/>
                  </a:lnTo>
                  <a:lnTo>
                    <a:pt x="28" y="0"/>
                  </a:lnTo>
                  <a:lnTo>
                    <a:pt x="32" y="2"/>
                  </a:lnTo>
                  <a:lnTo>
                    <a:pt x="36" y="7"/>
                  </a:lnTo>
                  <a:lnTo>
                    <a:pt x="34" y="11"/>
                  </a:lnTo>
                  <a:lnTo>
                    <a:pt x="36" y="17"/>
                  </a:lnTo>
                  <a:lnTo>
                    <a:pt x="39" y="22"/>
                  </a:lnTo>
                  <a:lnTo>
                    <a:pt x="32" y="19"/>
                  </a:lnTo>
                  <a:lnTo>
                    <a:pt x="28" y="15"/>
                  </a:lnTo>
                  <a:lnTo>
                    <a:pt x="24" y="13"/>
                  </a:lnTo>
                  <a:lnTo>
                    <a:pt x="28" y="15"/>
                  </a:lnTo>
                  <a:lnTo>
                    <a:pt x="34" y="28"/>
                  </a:lnTo>
                  <a:lnTo>
                    <a:pt x="30" y="30"/>
                  </a:lnTo>
                  <a:lnTo>
                    <a:pt x="24" y="32"/>
                  </a:lnTo>
                  <a:lnTo>
                    <a:pt x="22" y="3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6" name="Freeform 1251"/>
            <p:cNvSpPr>
              <a:spLocks/>
            </p:cNvSpPr>
            <p:nvPr/>
          </p:nvSpPr>
          <p:spPr bwMode="auto">
            <a:xfrm>
              <a:off x="1445"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7" name="Freeform 1252"/>
            <p:cNvSpPr>
              <a:spLocks/>
            </p:cNvSpPr>
            <p:nvPr/>
          </p:nvSpPr>
          <p:spPr bwMode="auto">
            <a:xfrm>
              <a:off x="1445"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8" name="Freeform 1253"/>
            <p:cNvSpPr>
              <a:spLocks/>
            </p:cNvSpPr>
            <p:nvPr/>
          </p:nvSpPr>
          <p:spPr bwMode="auto">
            <a:xfrm>
              <a:off x="1449" y="3919"/>
              <a:ext cx="71" cy="85"/>
            </a:xfrm>
            <a:custGeom>
              <a:avLst/>
              <a:gdLst>
                <a:gd name="T0" fmla="*/ 11 w 71"/>
                <a:gd name="T1" fmla="*/ 10 h 85"/>
                <a:gd name="T2" fmla="*/ 11 w 71"/>
                <a:gd name="T3" fmla="*/ 8 h 85"/>
                <a:gd name="T4" fmla="*/ 7 w 71"/>
                <a:gd name="T5" fmla="*/ 8 h 85"/>
                <a:gd name="T6" fmla="*/ 3 w 71"/>
                <a:gd name="T7" fmla="*/ 4 h 85"/>
                <a:gd name="T8" fmla="*/ 0 w 71"/>
                <a:gd name="T9" fmla="*/ 0 h 85"/>
                <a:gd name="T10" fmla="*/ 17 w 71"/>
                <a:gd name="T11" fmla="*/ 0 h 85"/>
                <a:gd name="T12" fmla="*/ 20 w 71"/>
                <a:gd name="T13" fmla="*/ 6 h 85"/>
                <a:gd name="T14" fmla="*/ 17 w 71"/>
                <a:gd name="T15" fmla="*/ 10 h 85"/>
                <a:gd name="T16" fmla="*/ 24 w 71"/>
                <a:gd name="T17" fmla="*/ 12 h 85"/>
                <a:gd name="T18" fmla="*/ 32 w 71"/>
                <a:gd name="T19" fmla="*/ 15 h 85"/>
                <a:gd name="T20" fmla="*/ 37 w 71"/>
                <a:gd name="T21" fmla="*/ 19 h 85"/>
                <a:gd name="T22" fmla="*/ 41 w 71"/>
                <a:gd name="T23" fmla="*/ 23 h 85"/>
                <a:gd name="T24" fmla="*/ 45 w 71"/>
                <a:gd name="T25" fmla="*/ 27 h 85"/>
                <a:gd name="T26" fmla="*/ 45 w 71"/>
                <a:gd name="T27" fmla="*/ 34 h 85"/>
                <a:gd name="T28" fmla="*/ 52 w 71"/>
                <a:gd name="T29" fmla="*/ 36 h 85"/>
                <a:gd name="T30" fmla="*/ 54 w 71"/>
                <a:gd name="T31" fmla="*/ 40 h 85"/>
                <a:gd name="T32" fmla="*/ 49 w 71"/>
                <a:gd name="T33" fmla="*/ 40 h 85"/>
                <a:gd name="T34" fmla="*/ 45 w 71"/>
                <a:gd name="T35" fmla="*/ 40 h 85"/>
                <a:gd name="T36" fmla="*/ 43 w 71"/>
                <a:gd name="T37" fmla="*/ 44 h 85"/>
                <a:gd name="T38" fmla="*/ 49 w 71"/>
                <a:gd name="T39" fmla="*/ 40 h 85"/>
                <a:gd name="T40" fmla="*/ 52 w 71"/>
                <a:gd name="T41" fmla="*/ 47 h 85"/>
                <a:gd name="T42" fmla="*/ 56 w 71"/>
                <a:gd name="T43" fmla="*/ 47 h 85"/>
                <a:gd name="T44" fmla="*/ 60 w 71"/>
                <a:gd name="T45" fmla="*/ 51 h 85"/>
                <a:gd name="T46" fmla="*/ 60 w 71"/>
                <a:gd name="T47" fmla="*/ 55 h 85"/>
                <a:gd name="T48" fmla="*/ 66 w 71"/>
                <a:gd name="T49" fmla="*/ 55 h 85"/>
                <a:gd name="T50" fmla="*/ 64 w 71"/>
                <a:gd name="T51" fmla="*/ 59 h 85"/>
                <a:gd name="T52" fmla="*/ 62 w 71"/>
                <a:gd name="T53" fmla="*/ 64 h 85"/>
                <a:gd name="T54" fmla="*/ 64 w 71"/>
                <a:gd name="T55" fmla="*/ 70 h 85"/>
                <a:gd name="T56" fmla="*/ 69 w 71"/>
                <a:gd name="T57" fmla="*/ 66 h 85"/>
                <a:gd name="T58" fmla="*/ 71 w 71"/>
                <a:gd name="T59" fmla="*/ 76 h 85"/>
                <a:gd name="T60" fmla="*/ 71 w 71"/>
                <a:gd name="T61" fmla="*/ 81 h 85"/>
                <a:gd name="T62" fmla="*/ 64 w 71"/>
                <a:gd name="T63" fmla="*/ 85 h 85"/>
                <a:gd name="T64" fmla="*/ 60 w 71"/>
                <a:gd name="T65" fmla="*/ 85 h 85"/>
                <a:gd name="T66" fmla="*/ 62 w 71"/>
                <a:gd name="T67" fmla="*/ 78 h 85"/>
                <a:gd name="T68" fmla="*/ 54 w 71"/>
                <a:gd name="T69" fmla="*/ 72 h 85"/>
                <a:gd name="T70" fmla="*/ 47 w 71"/>
                <a:gd name="T71" fmla="*/ 72 h 85"/>
                <a:gd name="T72" fmla="*/ 52 w 71"/>
                <a:gd name="T73" fmla="*/ 68 h 85"/>
                <a:gd name="T74" fmla="*/ 45 w 71"/>
                <a:gd name="T75" fmla="*/ 64 h 85"/>
                <a:gd name="T76" fmla="*/ 43 w 71"/>
                <a:gd name="T77" fmla="*/ 57 h 85"/>
                <a:gd name="T78" fmla="*/ 41 w 71"/>
                <a:gd name="T79" fmla="*/ 61 h 85"/>
                <a:gd name="T80" fmla="*/ 37 w 71"/>
                <a:gd name="T81" fmla="*/ 57 h 85"/>
                <a:gd name="T82" fmla="*/ 30 w 71"/>
                <a:gd name="T83" fmla="*/ 61 h 85"/>
                <a:gd name="T84" fmla="*/ 34 w 71"/>
                <a:gd name="T85" fmla="*/ 57 h 85"/>
                <a:gd name="T86" fmla="*/ 30 w 71"/>
                <a:gd name="T87" fmla="*/ 57 h 85"/>
                <a:gd name="T88" fmla="*/ 24 w 71"/>
                <a:gd name="T89" fmla="*/ 57 h 85"/>
                <a:gd name="T90" fmla="*/ 24 w 71"/>
                <a:gd name="T91" fmla="*/ 53 h 85"/>
                <a:gd name="T92" fmla="*/ 28 w 71"/>
                <a:gd name="T93" fmla="*/ 53 h 85"/>
                <a:gd name="T94" fmla="*/ 34 w 71"/>
                <a:gd name="T95" fmla="*/ 53 h 85"/>
                <a:gd name="T96" fmla="*/ 26 w 71"/>
                <a:gd name="T97" fmla="*/ 42 h 85"/>
                <a:gd name="T98" fmla="*/ 26 w 71"/>
                <a:gd name="T99" fmla="*/ 38 h 85"/>
                <a:gd name="T100" fmla="*/ 22 w 71"/>
                <a:gd name="T101" fmla="*/ 42 h 85"/>
                <a:gd name="T102" fmla="*/ 15 w 71"/>
                <a:gd name="T103" fmla="*/ 40 h 85"/>
                <a:gd name="T104" fmla="*/ 17 w 71"/>
                <a:gd name="T105" fmla="*/ 34 h 85"/>
                <a:gd name="T106" fmla="*/ 20 w 71"/>
                <a:gd name="T107" fmla="*/ 30 h 85"/>
                <a:gd name="T108" fmla="*/ 20 w 71"/>
                <a:gd name="T109" fmla="*/ 25 h 85"/>
                <a:gd name="T110" fmla="*/ 17 w 71"/>
                <a:gd name="T111" fmla="*/ 19 h 85"/>
                <a:gd name="T112" fmla="*/ 15 w 71"/>
                <a:gd name="T113" fmla="*/ 15 h 85"/>
                <a:gd name="T114" fmla="*/ 13 w 71"/>
                <a:gd name="T115" fmla="*/ 12 h 85"/>
                <a:gd name="T116" fmla="*/ 13 w 71"/>
                <a:gd name="T117" fmla="*/ 10 h 85"/>
                <a:gd name="T118" fmla="*/ 13 w 71"/>
                <a:gd name="T119" fmla="*/ 8 h 85"/>
                <a:gd name="T120" fmla="*/ 11 w 71"/>
                <a:gd name="T121"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85">
                  <a:moveTo>
                    <a:pt x="11" y="10"/>
                  </a:moveTo>
                  <a:lnTo>
                    <a:pt x="11" y="8"/>
                  </a:lnTo>
                  <a:lnTo>
                    <a:pt x="7" y="8"/>
                  </a:lnTo>
                  <a:lnTo>
                    <a:pt x="3" y="4"/>
                  </a:lnTo>
                  <a:lnTo>
                    <a:pt x="0" y="0"/>
                  </a:lnTo>
                  <a:lnTo>
                    <a:pt x="17" y="0"/>
                  </a:lnTo>
                  <a:lnTo>
                    <a:pt x="20" y="6"/>
                  </a:lnTo>
                  <a:lnTo>
                    <a:pt x="17" y="10"/>
                  </a:lnTo>
                  <a:lnTo>
                    <a:pt x="24" y="12"/>
                  </a:lnTo>
                  <a:lnTo>
                    <a:pt x="32" y="15"/>
                  </a:lnTo>
                  <a:lnTo>
                    <a:pt x="37" y="19"/>
                  </a:lnTo>
                  <a:lnTo>
                    <a:pt x="41" y="23"/>
                  </a:lnTo>
                  <a:lnTo>
                    <a:pt x="45" y="27"/>
                  </a:lnTo>
                  <a:lnTo>
                    <a:pt x="45" y="34"/>
                  </a:lnTo>
                  <a:lnTo>
                    <a:pt x="52" y="36"/>
                  </a:lnTo>
                  <a:lnTo>
                    <a:pt x="54" y="40"/>
                  </a:lnTo>
                  <a:lnTo>
                    <a:pt x="49" y="40"/>
                  </a:lnTo>
                  <a:lnTo>
                    <a:pt x="45" y="40"/>
                  </a:lnTo>
                  <a:lnTo>
                    <a:pt x="43" y="44"/>
                  </a:lnTo>
                  <a:lnTo>
                    <a:pt x="49" y="40"/>
                  </a:lnTo>
                  <a:lnTo>
                    <a:pt x="52" y="47"/>
                  </a:lnTo>
                  <a:lnTo>
                    <a:pt x="56" y="47"/>
                  </a:lnTo>
                  <a:lnTo>
                    <a:pt x="60" y="51"/>
                  </a:lnTo>
                  <a:lnTo>
                    <a:pt x="60" y="55"/>
                  </a:lnTo>
                  <a:lnTo>
                    <a:pt x="66" y="55"/>
                  </a:lnTo>
                  <a:lnTo>
                    <a:pt x="64" y="59"/>
                  </a:lnTo>
                  <a:lnTo>
                    <a:pt x="62" y="64"/>
                  </a:lnTo>
                  <a:lnTo>
                    <a:pt x="64" y="70"/>
                  </a:lnTo>
                  <a:lnTo>
                    <a:pt x="69" y="66"/>
                  </a:lnTo>
                  <a:lnTo>
                    <a:pt x="71" y="76"/>
                  </a:lnTo>
                  <a:lnTo>
                    <a:pt x="71" y="81"/>
                  </a:lnTo>
                  <a:lnTo>
                    <a:pt x="64" y="85"/>
                  </a:lnTo>
                  <a:lnTo>
                    <a:pt x="60" y="85"/>
                  </a:lnTo>
                  <a:lnTo>
                    <a:pt x="62" y="78"/>
                  </a:lnTo>
                  <a:lnTo>
                    <a:pt x="54" y="72"/>
                  </a:lnTo>
                  <a:lnTo>
                    <a:pt x="47" y="72"/>
                  </a:lnTo>
                  <a:lnTo>
                    <a:pt x="52" y="68"/>
                  </a:lnTo>
                  <a:lnTo>
                    <a:pt x="45" y="64"/>
                  </a:lnTo>
                  <a:lnTo>
                    <a:pt x="43" y="57"/>
                  </a:lnTo>
                  <a:lnTo>
                    <a:pt x="41" y="61"/>
                  </a:lnTo>
                  <a:lnTo>
                    <a:pt x="37" y="57"/>
                  </a:lnTo>
                  <a:lnTo>
                    <a:pt x="30" y="61"/>
                  </a:lnTo>
                  <a:lnTo>
                    <a:pt x="34" y="57"/>
                  </a:lnTo>
                  <a:lnTo>
                    <a:pt x="30" y="57"/>
                  </a:lnTo>
                  <a:lnTo>
                    <a:pt x="24" y="57"/>
                  </a:lnTo>
                  <a:lnTo>
                    <a:pt x="24" y="53"/>
                  </a:lnTo>
                  <a:lnTo>
                    <a:pt x="28" y="53"/>
                  </a:lnTo>
                  <a:lnTo>
                    <a:pt x="34" y="53"/>
                  </a:lnTo>
                  <a:lnTo>
                    <a:pt x="26" y="42"/>
                  </a:lnTo>
                  <a:lnTo>
                    <a:pt x="26" y="38"/>
                  </a:lnTo>
                  <a:lnTo>
                    <a:pt x="22" y="42"/>
                  </a:lnTo>
                  <a:lnTo>
                    <a:pt x="15" y="40"/>
                  </a:lnTo>
                  <a:lnTo>
                    <a:pt x="17" y="34"/>
                  </a:lnTo>
                  <a:lnTo>
                    <a:pt x="20" y="30"/>
                  </a:lnTo>
                  <a:lnTo>
                    <a:pt x="20" y="25"/>
                  </a:lnTo>
                  <a:lnTo>
                    <a:pt x="17" y="19"/>
                  </a:lnTo>
                  <a:lnTo>
                    <a:pt x="15" y="15"/>
                  </a:lnTo>
                  <a:lnTo>
                    <a:pt x="13" y="12"/>
                  </a:lnTo>
                  <a:lnTo>
                    <a:pt x="13" y="10"/>
                  </a:lnTo>
                  <a:lnTo>
                    <a:pt x="13" y="8"/>
                  </a:lnTo>
                  <a:lnTo>
                    <a:pt x="11" y="1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69" name="Freeform 1254"/>
            <p:cNvSpPr>
              <a:spLocks/>
            </p:cNvSpPr>
            <p:nvPr/>
          </p:nvSpPr>
          <p:spPr bwMode="auto">
            <a:xfrm>
              <a:off x="1449" y="3919"/>
              <a:ext cx="71" cy="85"/>
            </a:xfrm>
            <a:custGeom>
              <a:avLst/>
              <a:gdLst>
                <a:gd name="T0" fmla="*/ 11 w 71"/>
                <a:gd name="T1" fmla="*/ 10 h 85"/>
                <a:gd name="T2" fmla="*/ 11 w 71"/>
                <a:gd name="T3" fmla="*/ 8 h 85"/>
                <a:gd name="T4" fmla="*/ 7 w 71"/>
                <a:gd name="T5" fmla="*/ 8 h 85"/>
                <a:gd name="T6" fmla="*/ 3 w 71"/>
                <a:gd name="T7" fmla="*/ 4 h 85"/>
                <a:gd name="T8" fmla="*/ 0 w 71"/>
                <a:gd name="T9" fmla="*/ 0 h 85"/>
                <a:gd name="T10" fmla="*/ 17 w 71"/>
                <a:gd name="T11" fmla="*/ 0 h 85"/>
                <a:gd name="T12" fmla="*/ 20 w 71"/>
                <a:gd name="T13" fmla="*/ 6 h 85"/>
                <a:gd name="T14" fmla="*/ 17 w 71"/>
                <a:gd name="T15" fmla="*/ 10 h 85"/>
                <a:gd name="T16" fmla="*/ 24 w 71"/>
                <a:gd name="T17" fmla="*/ 12 h 85"/>
                <a:gd name="T18" fmla="*/ 32 w 71"/>
                <a:gd name="T19" fmla="*/ 15 h 85"/>
                <a:gd name="T20" fmla="*/ 37 w 71"/>
                <a:gd name="T21" fmla="*/ 19 h 85"/>
                <a:gd name="T22" fmla="*/ 41 w 71"/>
                <a:gd name="T23" fmla="*/ 23 h 85"/>
                <a:gd name="T24" fmla="*/ 45 w 71"/>
                <a:gd name="T25" fmla="*/ 27 h 85"/>
                <a:gd name="T26" fmla="*/ 45 w 71"/>
                <a:gd name="T27" fmla="*/ 34 h 85"/>
                <a:gd name="T28" fmla="*/ 52 w 71"/>
                <a:gd name="T29" fmla="*/ 36 h 85"/>
                <a:gd name="T30" fmla="*/ 54 w 71"/>
                <a:gd name="T31" fmla="*/ 40 h 85"/>
                <a:gd name="T32" fmla="*/ 49 w 71"/>
                <a:gd name="T33" fmla="*/ 40 h 85"/>
                <a:gd name="T34" fmla="*/ 45 w 71"/>
                <a:gd name="T35" fmla="*/ 40 h 85"/>
                <a:gd name="T36" fmla="*/ 43 w 71"/>
                <a:gd name="T37" fmla="*/ 44 h 85"/>
                <a:gd name="T38" fmla="*/ 49 w 71"/>
                <a:gd name="T39" fmla="*/ 40 h 85"/>
                <a:gd name="T40" fmla="*/ 52 w 71"/>
                <a:gd name="T41" fmla="*/ 47 h 85"/>
                <a:gd name="T42" fmla="*/ 56 w 71"/>
                <a:gd name="T43" fmla="*/ 47 h 85"/>
                <a:gd name="T44" fmla="*/ 60 w 71"/>
                <a:gd name="T45" fmla="*/ 51 h 85"/>
                <a:gd name="T46" fmla="*/ 60 w 71"/>
                <a:gd name="T47" fmla="*/ 55 h 85"/>
                <a:gd name="T48" fmla="*/ 66 w 71"/>
                <a:gd name="T49" fmla="*/ 55 h 85"/>
                <a:gd name="T50" fmla="*/ 64 w 71"/>
                <a:gd name="T51" fmla="*/ 59 h 85"/>
                <a:gd name="T52" fmla="*/ 62 w 71"/>
                <a:gd name="T53" fmla="*/ 64 h 85"/>
                <a:gd name="T54" fmla="*/ 64 w 71"/>
                <a:gd name="T55" fmla="*/ 70 h 85"/>
                <a:gd name="T56" fmla="*/ 69 w 71"/>
                <a:gd name="T57" fmla="*/ 66 h 85"/>
                <a:gd name="T58" fmla="*/ 71 w 71"/>
                <a:gd name="T59" fmla="*/ 76 h 85"/>
                <a:gd name="T60" fmla="*/ 71 w 71"/>
                <a:gd name="T61" fmla="*/ 81 h 85"/>
                <a:gd name="T62" fmla="*/ 64 w 71"/>
                <a:gd name="T63" fmla="*/ 85 h 85"/>
                <a:gd name="T64" fmla="*/ 60 w 71"/>
                <a:gd name="T65" fmla="*/ 85 h 85"/>
                <a:gd name="T66" fmla="*/ 62 w 71"/>
                <a:gd name="T67" fmla="*/ 78 h 85"/>
                <a:gd name="T68" fmla="*/ 54 w 71"/>
                <a:gd name="T69" fmla="*/ 72 h 85"/>
                <a:gd name="T70" fmla="*/ 47 w 71"/>
                <a:gd name="T71" fmla="*/ 72 h 85"/>
                <a:gd name="T72" fmla="*/ 52 w 71"/>
                <a:gd name="T73" fmla="*/ 68 h 85"/>
                <a:gd name="T74" fmla="*/ 45 w 71"/>
                <a:gd name="T75" fmla="*/ 64 h 85"/>
                <a:gd name="T76" fmla="*/ 43 w 71"/>
                <a:gd name="T77" fmla="*/ 57 h 85"/>
                <a:gd name="T78" fmla="*/ 41 w 71"/>
                <a:gd name="T79" fmla="*/ 61 h 85"/>
                <a:gd name="T80" fmla="*/ 37 w 71"/>
                <a:gd name="T81" fmla="*/ 57 h 85"/>
                <a:gd name="T82" fmla="*/ 30 w 71"/>
                <a:gd name="T83" fmla="*/ 61 h 85"/>
                <a:gd name="T84" fmla="*/ 34 w 71"/>
                <a:gd name="T85" fmla="*/ 57 h 85"/>
                <a:gd name="T86" fmla="*/ 30 w 71"/>
                <a:gd name="T87" fmla="*/ 57 h 85"/>
                <a:gd name="T88" fmla="*/ 24 w 71"/>
                <a:gd name="T89" fmla="*/ 57 h 85"/>
                <a:gd name="T90" fmla="*/ 24 w 71"/>
                <a:gd name="T91" fmla="*/ 53 h 85"/>
                <a:gd name="T92" fmla="*/ 28 w 71"/>
                <a:gd name="T93" fmla="*/ 53 h 85"/>
                <a:gd name="T94" fmla="*/ 34 w 71"/>
                <a:gd name="T95" fmla="*/ 53 h 85"/>
                <a:gd name="T96" fmla="*/ 26 w 71"/>
                <a:gd name="T97" fmla="*/ 42 h 85"/>
                <a:gd name="T98" fmla="*/ 26 w 71"/>
                <a:gd name="T99" fmla="*/ 38 h 85"/>
                <a:gd name="T100" fmla="*/ 22 w 71"/>
                <a:gd name="T101" fmla="*/ 42 h 85"/>
                <a:gd name="T102" fmla="*/ 15 w 71"/>
                <a:gd name="T103" fmla="*/ 40 h 85"/>
                <a:gd name="T104" fmla="*/ 17 w 71"/>
                <a:gd name="T105" fmla="*/ 34 h 85"/>
                <a:gd name="T106" fmla="*/ 20 w 71"/>
                <a:gd name="T107" fmla="*/ 30 h 85"/>
                <a:gd name="T108" fmla="*/ 20 w 71"/>
                <a:gd name="T109" fmla="*/ 25 h 85"/>
                <a:gd name="T110" fmla="*/ 17 w 71"/>
                <a:gd name="T111" fmla="*/ 19 h 85"/>
                <a:gd name="T112" fmla="*/ 15 w 71"/>
                <a:gd name="T113" fmla="*/ 15 h 85"/>
                <a:gd name="T114" fmla="*/ 13 w 71"/>
                <a:gd name="T115" fmla="*/ 12 h 85"/>
                <a:gd name="T116" fmla="*/ 13 w 71"/>
                <a:gd name="T117" fmla="*/ 10 h 85"/>
                <a:gd name="T118" fmla="*/ 13 w 71"/>
                <a:gd name="T119" fmla="*/ 8 h 85"/>
                <a:gd name="T120" fmla="*/ 11 w 71"/>
                <a:gd name="T121"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85">
                  <a:moveTo>
                    <a:pt x="11" y="10"/>
                  </a:moveTo>
                  <a:lnTo>
                    <a:pt x="11" y="8"/>
                  </a:lnTo>
                  <a:lnTo>
                    <a:pt x="7" y="8"/>
                  </a:lnTo>
                  <a:lnTo>
                    <a:pt x="3" y="4"/>
                  </a:lnTo>
                  <a:lnTo>
                    <a:pt x="0" y="0"/>
                  </a:lnTo>
                  <a:lnTo>
                    <a:pt x="17" y="0"/>
                  </a:lnTo>
                  <a:lnTo>
                    <a:pt x="20" y="6"/>
                  </a:lnTo>
                  <a:lnTo>
                    <a:pt x="17" y="10"/>
                  </a:lnTo>
                  <a:lnTo>
                    <a:pt x="24" y="12"/>
                  </a:lnTo>
                  <a:lnTo>
                    <a:pt x="32" y="15"/>
                  </a:lnTo>
                  <a:lnTo>
                    <a:pt x="37" y="19"/>
                  </a:lnTo>
                  <a:lnTo>
                    <a:pt x="41" y="23"/>
                  </a:lnTo>
                  <a:lnTo>
                    <a:pt x="45" y="27"/>
                  </a:lnTo>
                  <a:lnTo>
                    <a:pt x="45" y="34"/>
                  </a:lnTo>
                  <a:lnTo>
                    <a:pt x="52" y="36"/>
                  </a:lnTo>
                  <a:lnTo>
                    <a:pt x="54" y="40"/>
                  </a:lnTo>
                  <a:lnTo>
                    <a:pt x="49" y="40"/>
                  </a:lnTo>
                  <a:lnTo>
                    <a:pt x="45" y="40"/>
                  </a:lnTo>
                  <a:lnTo>
                    <a:pt x="43" y="44"/>
                  </a:lnTo>
                  <a:lnTo>
                    <a:pt x="49" y="40"/>
                  </a:lnTo>
                  <a:lnTo>
                    <a:pt x="52" y="47"/>
                  </a:lnTo>
                  <a:lnTo>
                    <a:pt x="56" y="47"/>
                  </a:lnTo>
                  <a:lnTo>
                    <a:pt x="60" y="51"/>
                  </a:lnTo>
                  <a:lnTo>
                    <a:pt x="60" y="55"/>
                  </a:lnTo>
                  <a:lnTo>
                    <a:pt x="66" y="55"/>
                  </a:lnTo>
                  <a:lnTo>
                    <a:pt x="64" y="59"/>
                  </a:lnTo>
                  <a:lnTo>
                    <a:pt x="62" y="64"/>
                  </a:lnTo>
                  <a:lnTo>
                    <a:pt x="64" y="70"/>
                  </a:lnTo>
                  <a:lnTo>
                    <a:pt x="69" y="66"/>
                  </a:lnTo>
                  <a:lnTo>
                    <a:pt x="71" y="76"/>
                  </a:lnTo>
                  <a:lnTo>
                    <a:pt x="71" y="81"/>
                  </a:lnTo>
                  <a:lnTo>
                    <a:pt x="64" y="85"/>
                  </a:lnTo>
                  <a:lnTo>
                    <a:pt x="60" y="85"/>
                  </a:lnTo>
                  <a:lnTo>
                    <a:pt x="62" y="78"/>
                  </a:lnTo>
                  <a:lnTo>
                    <a:pt x="54" y="72"/>
                  </a:lnTo>
                  <a:lnTo>
                    <a:pt x="47" y="72"/>
                  </a:lnTo>
                  <a:lnTo>
                    <a:pt x="52" y="68"/>
                  </a:lnTo>
                  <a:lnTo>
                    <a:pt x="45" y="64"/>
                  </a:lnTo>
                  <a:lnTo>
                    <a:pt x="43" y="57"/>
                  </a:lnTo>
                  <a:lnTo>
                    <a:pt x="41" y="61"/>
                  </a:lnTo>
                  <a:lnTo>
                    <a:pt x="37" y="57"/>
                  </a:lnTo>
                  <a:lnTo>
                    <a:pt x="30" y="61"/>
                  </a:lnTo>
                  <a:lnTo>
                    <a:pt x="34" y="57"/>
                  </a:lnTo>
                  <a:lnTo>
                    <a:pt x="30" y="57"/>
                  </a:lnTo>
                  <a:lnTo>
                    <a:pt x="24" y="57"/>
                  </a:lnTo>
                  <a:lnTo>
                    <a:pt x="24" y="53"/>
                  </a:lnTo>
                  <a:lnTo>
                    <a:pt x="28" y="53"/>
                  </a:lnTo>
                  <a:lnTo>
                    <a:pt x="34" y="53"/>
                  </a:lnTo>
                  <a:lnTo>
                    <a:pt x="26" y="42"/>
                  </a:lnTo>
                  <a:lnTo>
                    <a:pt x="26" y="38"/>
                  </a:lnTo>
                  <a:lnTo>
                    <a:pt x="22" y="42"/>
                  </a:lnTo>
                  <a:lnTo>
                    <a:pt x="15" y="40"/>
                  </a:lnTo>
                  <a:lnTo>
                    <a:pt x="17" y="34"/>
                  </a:lnTo>
                  <a:lnTo>
                    <a:pt x="20" y="30"/>
                  </a:lnTo>
                  <a:lnTo>
                    <a:pt x="20" y="25"/>
                  </a:lnTo>
                  <a:lnTo>
                    <a:pt x="17" y="19"/>
                  </a:lnTo>
                  <a:lnTo>
                    <a:pt x="15" y="15"/>
                  </a:lnTo>
                  <a:lnTo>
                    <a:pt x="13" y="12"/>
                  </a:lnTo>
                  <a:lnTo>
                    <a:pt x="13" y="10"/>
                  </a:lnTo>
                  <a:lnTo>
                    <a:pt x="13" y="8"/>
                  </a:lnTo>
                  <a:lnTo>
                    <a:pt x="11" y="1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0" name="Freeform 1255"/>
            <p:cNvSpPr>
              <a:spLocks/>
            </p:cNvSpPr>
            <p:nvPr/>
          </p:nvSpPr>
          <p:spPr bwMode="auto">
            <a:xfrm>
              <a:off x="1454" y="3966"/>
              <a:ext cx="6" cy="4"/>
            </a:xfrm>
            <a:custGeom>
              <a:avLst/>
              <a:gdLst>
                <a:gd name="T0" fmla="*/ 4 w 6"/>
                <a:gd name="T1" fmla="*/ 4 h 4"/>
                <a:gd name="T2" fmla="*/ 0 w 6"/>
                <a:gd name="T3" fmla="*/ 0 h 4"/>
                <a:gd name="T4" fmla="*/ 6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0" y="0"/>
                  </a:lnTo>
                  <a:lnTo>
                    <a:pt x="6" y="0"/>
                  </a:lnTo>
                  <a:lnTo>
                    <a:pt x="4" y="4"/>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1" name="Freeform 1256"/>
            <p:cNvSpPr>
              <a:spLocks/>
            </p:cNvSpPr>
            <p:nvPr/>
          </p:nvSpPr>
          <p:spPr bwMode="auto">
            <a:xfrm>
              <a:off x="1454" y="3966"/>
              <a:ext cx="6" cy="4"/>
            </a:xfrm>
            <a:custGeom>
              <a:avLst/>
              <a:gdLst>
                <a:gd name="T0" fmla="*/ 4 w 6"/>
                <a:gd name="T1" fmla="*/ 4 h 4"/>
                <a:gd name="T2" fmla="*/ 0 w 6"/>
                <a:gd name="T3" fmla="*/ 0 h 4"/>
                <a:gd name="T4" fmla="*/ 6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0" y="0"/>
                  </a:lnTo>
                  <a:lnTo>
                    <a:pt x="6" y="0"/>
                  </a:lnTo>
                  <a:lnTo>
                    <a:pt x="4" y="4"/>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2" name="Freeform 1257"/>
            <p:cNvSpPr>
              <a:spLocks/>
            </p:cNvSpPr>
            <p:nvPr/>
          </p:nvSpPr>
          <p:spPr bwMode="auto">
            <a:xfrm>
              <a:off x="1456" y="3949"/>
              <a:ext cx="10" cy="6"/>
            </a:xfrm>
            <a:custGeom>
              <a:avLst/>
              <a:gdLst>
                <a:gd name="T0" fmla="*/ 10 w 10"/>
                <a:gd name="T1" fmla="*/ 0 h 6"/>
                <a:gd name="T2" fmla="*/ 4 w 10"/>
                <a:gd name="T3" fmla="*/ 2 h 6"/>
                <a:gd name="T4" fmla="*/ 4 w 10"/>
                <a:gd name="T5" fmla="*/ 6 h 6"/>
                <a:gd name="T6" fmla="*/ 0 w 10"/>
                <a:gd name="T7" fmla="*/ 4 h 6"/>
                <a:gd name="T8" fmla="*/ 0 w 10"/>
                <a:gd name="T9" fmla="*/ 0 h 6"/>
                <a:gd name="T10" fmla="*/ 6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4" y="2"/>
                  </a:lnTo>
                  <a:lnTo>
                    <a:pt x="4" y="6"/>
                  </a:lnTo>
                  <a:lnTo>
                    <a:pt x="0" y="4"/>
                  </a:lnTo>
                  <a:lnTo>
                    <a:pt x="0" y="0"/>
                  </a:lnTo>
                  <a:lnTo>
                    <a:pt x="6" y="2"/>
                  </a:lnTo>
                  <a:lnTo>
                    <a:pt x="1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3" name="Freeform 1258"/>
            <p:cNvSpPr>
              <a:spLocks/>
            </p:cNvSpPr>
            <p:nvPr/>
          </p:nvSpPr>
          <p:spPr bwMode="auto">
            <a:xfrm>
              <a:off x="1456" y="3949"/>
              <a:ext cx="10" cy="6"/>
            </a:xfrm>
            <a:custGeom>
              <a:avLst/>
              <a:gdLst>
                <a:gd name="T0" fmla="*/ 10 w 10"/>
                <a:gd name="T1" fmla="*/ 0 h 6"/>
                <a:gd name="T2" fmla="*/ 4 w 10"/>
                <a:gd name="T3" fmla="*/ 2 h 6"/>
                <a:gd name="T4" fmla="*/ 4 w 10"/>
                <a:gd name="T5" fmla="*/ 6 h 6"/>
                <a:gd name="T6" fmla="*/ 0 w 10"/>
                <a:gd name="T7" fmla="*/ 4 h 6"/>
                <a:gd name="T8" fmla="*/ 0 w 10"/>
                <a:gd name="T9" fmla="*/ 0 h 6"/>
                <a:gd name="T10" fmla="*/ 6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4" y="2"/>
                  </a:lnTo>
                  <a:lnTo>
                    <a:pt x="4" y="6"/>
                  </a:lnTo>
                  <a:lnTo>
                    <a:pt x="0" y="4"/>
                  </a:lnTo>
                  <a:lnTo>
                    <a:pt x="0" y="0"/>
                  </a:lnTo>
                  <a:lnTo>
                    <a:pt x="6" y="2"/>
                  </a:lnTo>
                  <a:lnTo>
                    <a:pt x="1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4" name="Freeform 1259"/>
            <p:cNvSpPr>
              <a:spLocks/>
            </p:cNvSpPr>
            <p:nvPr/>
          </p:nvSpPr>
          <p:spPr bwMode="auto">
            <a:xfrm>
              <a:off x="1462" y="3966"/>
              <a:ext cx="0" cy="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lnTo>
                    <a:pt x="0" y="4"/>
                  </a:lnTo>
                  <a:lnTo>
                    <a:pt x="0" y="0"/>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5" name="Freeform 1260"/>
            <p:cNvSpPr>
              <a:spLocks/>
            </p:cNvSpPr>
            <p:nvPr/>
          </p:nvSpPr>
          <p:spPr bwMode="auto">
            <a:xfrm>
              <a:off x="1462" y="3966"/>
              <a:ext cx="0" cy="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lnTo>
                    <a:pt x="0" y="4"/>
                  </a:lnTo>
                  <a:lnTo>
                    <a:pt x="0" y="0"/>
                  </a:lnTo>
                  <a:lnTo>
                    <a:pt x="0"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6" name="Freeform 1261"/>
            <p:cNvSpPr>
              <a:spLocks/>
            </p:cNvSpPr>
            <p:nvPr/>
          </p:nvSpPr>
          <p:spPr bwMode="auto">
            <a:xfrm>
              <a:off x="1464"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7" name="Freeform 1262"/>
            <p:cNvSpPr>
              <a:spLocks/>
            </p:cNvSpPr>
            <p:nvPr/>
          </p:nvSpPr>
          <p:spPr bwMode="auto">
            <a:xfrm>
              <a:off x="1464"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8" name="Freeform 1263"/>
            <p:cNvSpPr>
              <a:spLocks/>
            </p:cNvSpPr>
            <p:nvPr/>
          </p:nvSpPr>
          <p:spPr bwMode="auto">
            <a:xfrm>
              <a:off x="1469" y="3908"/>
              <a:ext cx="12" cy="13"/>
            </a:xfrm>
            <a:custGeom>
              <a:avLst/>
              <a:gdLst>
                <a:gd name="T0" fmla="*/ 8 w 12"/>
                <a:gd name="T1" fmla="*/ 0 h 13"/>
                <a:gd name="T2" fmla="*/ 12 w 12"/>
                <a:gd name="T3" fmla="*/ 4 h 13"/>
                <a:gd name="T4" fmla="*/ 10 w 12"/>
                <a:gd name="T5" fmla="*/ 11 h 13"/>
                <a:gd name="T6" fmla="*/ 6 w 12"/>
                <a:gd name="T7" fmla="*/ 13 h 13"/>
                <a:gd name="T8" fmla="*/ 2 w 12"/>
                <a:gd name="T9" fmla="*/ 9 h 13"/>
                <a:gd name="T10" fmla="*/ 0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12" y="4"/>
                  </a:lnTo>
                  <a:lnTo>
                    <a:pt x="10" y="11"/>
                  </a:lnTo>
                  <a:lnTo>
                    <a:pt x="6" y="13"/>
                  </a:lnTo>
                  <a:lnTo>
                    <a:pt x="2" y="9"/>
                  </a:lnTo>
                  <a:lnTo>
                    <a:pt x="0" y="4"/>
                  </a:lnTo>
                  <a:lnTo>
                    <a:pt x="8"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79" name="Freeform 1264"/>
            <p:cNvSpPr>
              <a:spLocks/>
            </p:cNvSpPr>
            <p:nvPr/>
          </p:nvSpPr>
          <p:spPr bwMode="auto">
            <a:xfrm>
              <a:off x="1469" y="3908"/>
              <a:ext cx="12" cy="13"/>
            </a:xfrm>
            <a:custGeom>
              <a:avLst/>
              <a:gdLst>
                <a:gd name="T0" fmla="*/ 8 w 12"/>
                <a:gd name="T1" fmla="*/ 0 h 13"/>
                <a:gd name="T2" fmla="*/ 12 w 12"/>
                <a:gd name="T3" fmla="*/ 4 h 13"/>
                <a:gd name="T4" fmla="*/ 10 w 12"/>
                <a:gd name="T5" fmla="*/ 11 h 13"/>
                <a:gd name="T6" fmla="*/ 6 w 12"/>
                <a:gd name="T7" fmla="*/ 13 h 13"/>
                <a:gd name="T8" fmla="*/ 2 w 12"/>
                <a:gd name="T9" fmla="*/ 9 h 13"/>
                <a:gd name="T10" fmla="*/ 0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12" y="4"/>
                  </a:lnTo>
                  <a:lnTo>
                    <a:pt x="10" y="11"/>
                  </a:lnTo>
                  <a:lnTo>
                    <a:pt x="6" y="13"/>
                  </a:lnTo>
                  <a:lnTo>
                    <a:pt x="2" y="9"/>
                  </a:lnTo>
                  <a:lnTo>
                    <a:pt x="0" y="4"/>
                  </a:lnTo>
                  <a:lnTo>
                    <a:pt x="8"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0" name="Freeform 1265"/>
            <p:cNvSpPr>
              <a:spLocks/>
            </p:cNvSpPr>
            <p:nvPr/>
          </p:nvSpPr>
          <p:spPr bwMode="auto">
            <a:xfrm>
              <a:off x="1460" y="3972"/>
              <a:ext cx="4" cy="8"/>
            </a:xfrm>
            <a:custGeom>
              <a:avLst/>
              <a:gdLst>
                <a:gd name="T0" fmla="*/ 4 w 4"/>
                <a:gd name="T1" fmla="*/ 0 h 8"/>
                <a:gd name="T2" fmla="*/ 0 w 4"/>
                <a:gd name="T3" fmla="*/ 4 h 8"/>
                <a:gd name="T4" fmla="*/ 2 w 4"/>
                <a:gd name="T5" fmla="*/ 8 h 8"/>
                <a:gd name="T6" fmla="*/ 0 w 4"/>
                <a:gd name="T7" fmla="*/ 4 h 8"/>
                <a:gd name="T8" fmla="*/ 2 w 4"/>
                <a:gd name="T9" fmla="*/ 0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0" y="4"/>
                  </a:lnTo>
                  <a:lnTo>
                    <a:pt x="2" y="8"/>
                  </a:lnTo>
                  <a:lnTo>
                    <a:pt x="0" y="4"/>
                  </a:lnTo>
                  <a:lnTo>
                    <a:pt x="2" y="0"/>
                  </a:lnTo>
                  <a:lnTo>
                    <a:pt x="4"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1" name="Freeform 1266"/>
            <p:cNvSpPr>
              <a:spLocks/>
            </p:cNvSpPr>
            <p:nvPr/>
          </p:nvSpPr>
          <p:spPr bwMode="auto">
            <a:xfrm>
              <a:off x="1460" y="3972"/>
              <a:ext cx="4" cy="8"/>
            </a:xfrm>
            <a:custGeom>
              <a:avLst/>
              <a:gdLst>
                <a:gd name="T0" fmla="*/ 4 w 4"/>
                <a:gd name="T1" fmla="*/ 0 h 8"/>
                <a:gd name="T2" fmla="*/ 0 w 4"/>
                <a:gd name="T3" fmla="*/ 4 h 8"/>
                <a:gd name="T4" fmla="*/ 2 w 4"/>
                <a:gd name="T5" fmla="*/ 8 h 8"/>
                <a:gd name="T6" fmla="*/ 0 w 4"/>
                <a:gd name="T7" fmla="*/ 4 h 8"/>
                <a:gd name="T8" fmla="*/ 2 w 4"/>
                <a:gd name="T9" fmla="*/ 0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0" y="4"/>
                  </a:lnTo>
                  <a:lnTo>
                    <a:pt x="2" y="8"/>
                  </a:lnTo>
                  <a:lnTo>
                    <a:pt x="0" y="4"/>
                  </a:lnTo>
                  <a:lnTo>
                    <a:pt x="2" y="0"/>
                  </a:lnTo>
                  <a:lnTo>
                    <a:pt x="4"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2" name="Freeform 1267"/>
            <p:cNvSpPr>
              <a:spLocks/>
            </p:cNvSpPr>
            <p:nvPr/>
          </p:nvSpPr>
          <p:spPr bwMode="auto">
            <a:xfrm>
              <a:off x="1464" y="3963"/>
              <a:ext cx="5" cy="5"/>
            </a:xfrm>
            <a:custGeom>
              <a:avLst/>
              <a:gdLst>
                <a:gd name="T0" fmla="*/ 5 w 5"/>
                <a:gd name="T1" fmla="*/ 0 h 5"/>
                <a:gd name="T2" fmla="*/ 5 w 5"/>
                <a:gd name="T3" fmla="*/ 5 h 5"/>
                <a:gd name="T4" fmla="*/ 0 w 5"/>
                <a:gd name="T5" fmla="*/ 0 h 5"/>
                <a:gd name="T6" fmla="*/ 5 w 5"/>
                <a:gd name="T7" fmla="*/ 0 h 5"/>
              </a:gdLst>
              <a:ahLst/>
              <a:cxnLst>
                <a:cxn ang="0">
                  <a:pos x="T0" y="T1"/>
                </a:cxn>
                <a:cxn ang="0">
                  <a:pos x="T2" y="T3"/>
                </a:cxn>
                <a:cxn ang="0">
                  <a:pos x="T4" y="T5"/>
                </a:cxn>
                <a:cxn ang="0">
                  <a:pos x="T6" y="T7"/>
                </a:cxn>
              </a:cxnLst>
              <a:rect l="0" t="0" r="r" b="b"/>
              <a:pathLst>
                <a:path w="5" h="5">
                  <a:moveTo>
                    <a:pt x="5" y="0"/>
                  </a:moveTo>
                  <a:lnTo>
                    <a:pt x="5" y="5"/>
                  </a:lnTo>
                  <a:lnTo>
                    <a:pt x="0" y="0"/>
                  </a:lnTo>
                  <a:lnTo>
                    <a:pt x="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3" name="Freeform 1268"/>
            <p:cNvSpPr>
              <a:spLocks/>
            </p:cNvSpPr>
            <p:nvPr/>
          </p:nvSpPr>
          <p:spPr bwMode="auto">
            <a:xfrm>
              <a:off x="1464" y="3963"/>
              <a:ext cx="5" cy="5"/>
            </a:xfrm>
            <a:custGeom>
              <a:avLst/>
              <a:gdLst>
                <a:gd name="T0" fmla="*/ 5 w 5"/>
                <a:gd name="T1" fmla="*/ 0 h 5"/>
                <a:gd name="T2" fmla="*/ 5 w 5"/>
                <a:gd name="T3" fmla="*/ 5 h 5"/>
                <a:gd name="T4" fmla="*/ 0 w 5"/>
                <a:gd name="T5" fmla="*/ 0 h 5"/>
                <a:gd name="T6" fmla="*/ 5 w 5"/>
                <a:gd name="T7" fmla="*/ 0 h 5"/>
              </a:gdLst>
              <a:ahLst/>
              <a:cxnLst>
                <a:cxn ang="0">
                  <a:pos x="T0" y="T1"/>
                </a:cxn>
                <a:cxn ang="0">
                  <a:pos x="T2" y="T3"/>
                </a:cxn>
                <a:cxn ang="0">
                  <a:pos x="T4" y="T5"/>
                </a:cxn>
                <a:cxn ang="0">
                  <a:pos x="T6" y="T7"/>
                </a:cxn>
              </a:cxnLst>
              <a:rect l="0" t="0" r="r" b="b"/>
              <a:pathLst>
                <a:path w="5" h="5">
                  <a:moveTo>
                    <a:pt x="5" y="0"/>
                  </a:moveTo>
                  <a:lnTo>
                    <a:pt x="5" y="5"/>
                  </a:lnTo>
                  <a:lnTo>
                    <a:pt x="0" y="0"/>
                  </a:lnTo>
                  <a:lnTo>
                    <a:pt x="5"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4" name="Freeform 1269"/>
            <p:cNvSpPr>
              <a:spLocks/>
            </p:cNvSpPr>
            <p:nvPr/>
          </p:nvSpPr>
          <p:spPr bwMode="auto">
            <a:xfrm>
              <a:off x="1466" y="3974"/>
              <a:ext cx="7" cy="9"/>
            </a:xfrm>
            <a:custGeom>
              <a:avLst/>
              <a:gdLst>
                <a:gd name="T0" fmla="*/ 5 w 7"/>
                <a:gd name="T1" fmla="*/ 0 h 9"/>
                <a:gd name="T2" fmla="*/ 7 w 7"/>
                <a:gd name="T3" fmla="*/ 6 h 9"/>
                <a:gd name="T4" fmla="*/ 0 w 7"/>
                <a:gd name="T5" fmla="*/ 9 h 9"/>
                <a:gd name="T6" fmla="*/ 0 w 7"/>
                <a:gd name="T7" fmla="*/ 4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7" y="6"/>
                  </a:lnTo>
                  <a:lnTo>
                    <a:pt x="0" y="9"/>
                  </a:lnTo>
                  <a:lnTo>
                    <a:pt x="0" y="4"/>
                  </a:lnTo>
                  <a:lnTo>
                    <a:pt x="5"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5" name="Freeform 1270"/>
            <p:cNvSpPr>
              <a:spLocks/>
            </p:cNvSpPr>
            <p:nvPr/>
          </p:nvSpPr>
          <p:spPr bwMode="auto">
            <a:xfrm>
              <a:off x="1466" y="3974"/>
              <a:ext cx="7" cy="9"/>
            </a:xfrm>
            <a:custGeom>
              <a:avLst/>
              <a:gdLst>
                <a:gd name="T0" fmla="*/ 5 w 7"/>
                <a:gd name="T1" fmla="*/ 0 h 9"/>
                <a:gd name="T2" fmla="*/ 7 w 7"/>
                <a:gd name="T3" fmla="*/ 6 h 9"/>
                <a:gd name="T4" fmla="*/ 0 w 7"/>
                <a:gd name="T5" fmla="*/ 9 h 9"/>
                <a:gd name="T6" fmla="*/ 0 w 7"/>
                <a:gd name="T7" fmla="*/ 4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7" y="6"/>
                  </a:lnTo>
                  <a:lnTo>
                    <a:pt x="0" y="9"/>
                  </a:lnTo>
                  <a:lnTo>
                    <a:pt x="0" y="4"/>
                  </a:lnTo>
                  <a:lnTo>
                    <a:pt x="5" y="0"/>
                  </a:lnTo>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6" name="Freeform 1271"/>
            <p:cNvSpPr>
              <a:spLocks/>
            </p:cNvSpPr>
            <p:nvPr/>
          </p:nvSpPr>
          <p:spPr bwMode="auto">
            <a:xfrm>
              <a:off x="1490" y="3904"/>
              <a:ext cx="13" cy="19"/>
            </a:xfrm>
            <a:custGeom>
              <a:avLst/>
              <a:gdLst>
                <a:gd name="T0" fmla="*/ 0 w 13"/>
                <a:gd name="T1" fmla="*/ 0 h 19"/>
                <a:gd name="T2" fmla="*/ 13 w 13"/>
                <a:gd name="T3" fmla="*/ 8 h 19"/>
                <a:gd name="T4" fmla="*/ 13 w 13"/>
                <a:gd name="T5" fmla="*/ 15 h 19"/>
                <a:gd name="T6" fmla="*/ 13 w 13"/>
                <a:gd name="T7" fmla="*/ 19 h 19"/>
                <a:gd name="T8" fmla="*/ 8 w 13"/>
                <a:gd name="T9" fmla="*/ 15 h 19"/>
                <a:gd name="T10" fmla="*/ 2 w 13"/>
                <a:gd name="T11" fmla="*/ 15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13" y="8"/>
                  </a:lnTo>
                  <a:lnTo>
                    <a:pt x="13" y="15"/>
                  </a:lnTo>
                  <a:lnTo>
                    <a:pt x="13" y="19"/>
                  </a:lnTo>
                  <a:lnTo>
                    <a:pt x="8" y="15"/>
                  </a:lnTo>
                  <a:lnTo>
                    <a:pt x="2" y="15"/>
                  </a:lnTo>
                  <a:lnTo>
                    <a:pt x="0" y="0"/>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grpSp>
      <p:sp>
        <p:nvSpPr>
          <p:cNvPr id="587" name="Freeform 1296"/>
          <p:cNvSpPr>
            <a:spLocks noChangeAspect="1"/>
          </p:cNvSpPr>
          <p:nvPr/>
        </p:nvSpPr>
        <p:spPr bwMode="auto">
          <a:xfrm>
            <a:off x="8157484" y="2901896"/>
            <a:ext cx="171450" cy="0"/>
          </a:xfrm>
          <a:custGeom>
            <a:avLst/>
            <a:gdLst>
              <a:gd name="T0" fmla="*/ 120 w 120"/>
              <a:gd name="T1" fmla="*/ 0 w 120"/>
              <a:gd name="T2" fmla="*/ 120 w 120"/>
            </a:gdLst>
            <a:ahLst/>
            <a:cxnLst>
              <a:cxn ang="0">
                <a:pos x="T0" y="0"/>
              </a:cxn>
              <a:cxn ang="0">
                <a:pos x="T1" y="0"/>
              </a:cxn>
              <a:cxn ang="0">
                <a:pos x="T2" y="0"/>
              </a:cxn>
            </a:cxnLst>
            <a:rect l="0" t="0" r="r" b="b"/>
            <a:pathLst>
              <a:path w="120">
                <a:moveTo>
                  <a:pt x="120" y="0"/>
                </a:moveTo>
                <a:lnTo>
                  <a:pt x="0" y="0"/>
                </a:lnTo>
                <a:lnTo>
                  <a:pt x="12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8" name="Freeform 1298"/>
          <p:cNvSpPr>
            <a:spLocks noChangeAspect="1"/>
          </p:cNvSpPr>
          <p:nvPr/>
        </p:nvSpPr>
        <p:spPr bwMode="auto">
          <a:xfrm>
            <a:off x="8103509" y="2725684"/>
            <a:ext cx="220027" cy="0"/>
          </a:xfrm>
          <a:custGeom>
            <a:avLst/>
            <a:gdLst>
              <a:gd name="T0" fmla="*/ 154 w 154"/>
              <a:gd name="T1" fmla="*/ 0 w 154"/>
              <a:gd name="T2" fmla="*/ 154 w 154"/>
            </a:gdLst>
            <a:ahLst/>
            <a:cxnLst>
              <a:cxn ang="0">
                <a:pos x="T0" y="0"/>
              </a:cxn>
              <a:cxn ang="0">
                <a:pos x="T1" y="0"/>
              </a:cxn>
              <a:cxn ang="0">
                <a:pos x="T2" y="0"/>
              </a:cxn>
            </a:cxnLst>
            <a:rect l="0" t="0" r="r" b="b"/>
            <a:pathLst>
              <a:path w="154">
                <a:moveTo>
                  <a:pt x="154" y="0"/>
                </a:moveTo>
                <a:lnTo>
                  <a:pt x="0" y="0"/>
                </a:lnTo>
                <a:lnTo>
                  <a:pt x="154"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89" name="Freeform 1302"/>
          <p:cNvSpPr>
            <a:spLocks noChangeAspect="1"/>
          </p:cNvSpPr>
          <p:nvPr/>
        </p:nvSpPr>
        <p:spPr bwMode="auto">
          <a:xfrm>
            <a:off x="7873322" y="3455934"/>
            <a:ext cx="98586" cy="0"/>
          </a:xfrm>
          <a:custGeom>
            <a:avLst/>
            <a:gdLst>
              <a:gd name="T0" fmla="*/ 69 w 69"/>
              <a:gd name="T1" fmla="*/ 0 w 69"/>
              <a:gd name="T2" fmla="*/ 69 w 69"/>
            </a:gdLst>
            <a:ahLst/>
            <a:cxnLst>
              <a:cxn ang="0">
                <a:pos x="T0" y="0"/>
              </a:cxn>
              <a:cxn ang="0">
                <a:pos x="T1" y="0"/>
              </a:cxn>
              <a:cxn ang="0">
                <a:pos x="T2" y="0"/>
              </a:cxn>
            </a:cxnLst>
            <a:rect l="0" t="0" r="r" b="b"/>
            <a:pathLst>
              <a:path w="69">
                <a:moveTo>
                  <a:pt x="69" y="0"/>
                </a:moveTo>
                <a:lnTo>
                  <a:pt x="0" y="0"/>
                </a:lnTo>
                <a:lnTo>
                  <a:pt x="69"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90" name="Freeform 1304"/>
          <p:cNvSpPr>
            <a:spLocks noChangeAspect="1"/>
          </p:cNvSpPr>
          <p:nvPr/>
        </p:nvSpPr>
        <p:spPr bwMode="auto">
          <a:xfrm>
            <a:off x="7792359" y="3686121"/>
            <a:ext cx="171450" cy="0"/>
          </a:xfrm>
          <a:custGeom>
            <a:avLst/>
            <a:gdLst>
              <a:gd name="T0" fmla="*/ 120 w 120"/>
              <a:gd name="T1" fmla="*/ 0 w 120"/>
              <a:gd name="T2" fmla="*/ 120 w 120"/>
            </a:gdLst>
            <a:ahLst/>
            <a:cxnLst>
              <a:cxn ang="0">
                <a:pos x="T0" y="0"/>
              </a:cxn>
              <a:cxn ang="0">
                <a:pos x="T1" y="0"/>
              </a:cxn>
              <a:cxn ang="0">
                <a:pos x="T2" y="0"/>
              </a:cxn>
            </a:cxnLst>
            <a:rect l="0" t="0" r="r" b="b"/>
            <a:pathLst>
              <a:path w="120">
                <a:moveTo>
                  <a:pt x="120" y="0"/>
                </a:moveTo>
                <a:lnTo>
                  <a:pt x="0" y="0"/>
                </a:lnTo>
                <a:lnTo>
                  <a:pt x="120" y="0"/>
                </a:lnTo>
                <a:close/>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dirty="0">
              <a:solidFill>
                <a:schemeClr val="tx2"/>
              </a:solidFill>
            </a:endParaRPr>
          </a:p>
        </p:txBody>
      </p:sp>
      <p:sp>
        <p:nvSpPr>
          <p:cNvPr id="591" name="Rectangle 1344"/>
          <p:cNvSpPr>
            <a:spLocks noChangeAspect="1" noChangeArrowheads="1"/>
          </p:cNvSpPr>
          <p:nvPr/>
        </p:nvSpPr>
        <p:spPr bwMode="auto">
          <a:xfrm>
            <a:off x="7362144" y="3845718"/>
            <a:ext cx="171681" cy="138498"/>
          </a:xfrm>
          <a:prstGeom prst="rect">
            <a:avLst/>
          </a:prstGeom>
          <a:no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bg1"/>
                </a:solidFill>
              </a:rPr>
              <a:t>Va.</a:t>
            </a:r>
            <a:endParaRPr lang="en-US" altLang="en-US" dirty="0">
              <a:solidFill>
                <a:schemeClr val="bg1"/>
              </a:solidFill>
            </a:endParaRPr>
          </a:p>
        </p:txBody>
      </p:sp>
      <p:sp>
        <p:nvSpPr>
          <p:cNvPr id="592" name="Rectangle 1371"/>
          <p:cNvSpPr>
            <a:spLocks noChangeAspect="1" noChangeArrowheads="1"/>
          </p:cNvSpPr>
          <p:nvPr/>
        </p:nvSpPr>
        <p:spPr bwMode="auto">
          <a:xfrm>
            <a:off x="7432677" y="3413666"/>
            <a:ext cx="199092" cy="138498"/>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Md.</a:t>
            </a:r>
            <a:endParaRPr lang="en-US" altLang="en-US" dirty="0">
              <a:solidFill>
                <a:schemeClr val="tx2"/>
              </a:solidFill>
            </a:endParaRPr>
          </a:p>
        </p:txBody>
      </p:sp>
      <p:sp>
        <p:nvSpPr>
          <p:cNvPr id="593" name="Rectangle 1373"/>
          <p:cNvSpPr>
            <a:spLocks noChangeAspect="1" noChangeArrowheads="1"/>
          </p:cNvSpPr>
          <p:nvPr/>
        </p:nvSpPr>
        <p:spPr bwMode="auto">
          <a:xfrm>
            <a:off x="7432677" y="3213290"/>
            <a:ext cx="210636" cy="138498"/>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N.J.</a:t>
            </a:r>
            <a:endParaRPr lang="en-US" altLang="en-US" dirty="0">
              <a:solidFill>
                <a:schemeClr val="tx2"/>
              </a:solidFill>
            </a:endParaRPr>
          </a:p>
        </p:txBody>
      </p:sp>
      <p:sp>
        <p:nvSpPr>
          <p:cNvPr id="594" name="Rectangle 1375"/>
          <p:cNvSpPr>
            <a:spLocks noChangeAspect="1" noChangeArrowheads="1"/>
          </p:cNvSpPr>
          <p:nvPr/>
        </p:nvSpPr>
        <p:spPr bwMode="auto">
          <a:xfrm>
            <a:off x="7792359" y="2788092"/>
            <a:ext cx="318836" cy="138498"/>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Mass.</a:t>
            </a:r>
            <a:endParaRPr lang="en-US" altLang="en-US" dirty="0">
              <a:solidFill>
                <a:schemeClr val="tx2"/>
              </a:solidFill>
            </a:endParaRPr>
          </a:p>
        </p:txBody>
      </p:sp>
      <p:sp>
        <p:nvSpPr>
          <p:cNvPr id="595" name="Rectangle 1387"/>
          <p:cNvSpPr>
            <a:spLocks noChangeAspect="1" noChangeArrowheads="1"/>
          </p:cNvSpPr>
          <p:nvPr/>
        </p:nvSpPr>
        <p:spPr bwMode="auto">
          <a:xfrm>
            <a:off x="7792359" y="2967193"/>
            <a:ext cx="178894" cy="138498"/>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R.I.</a:t>
            </a:r>
            <a:endParaRPr lang="en-US" altLang="en-US" dirty="0">
              <a:solidFill>
                <a:schemeClr val="tx2"/>
              </a:solidFill>
            </a:endParaRPr>
          </a:p>
        </p:txBody>
      </p:sp>
      <p:sp>
        <p:nvSpPr>
          <p:cNvPr id="596" name="Rectangle 1408"/>
          <p:cNvSpPr>
            <a:spLocks noChangeAspect="1" noChangeArrowheads="1"/>
          </p:cNvSpPr>
          <p:nvPr/>
        </p:nvSpPr>
        <p:spPr bwMode="auto">
          <a:xfrm>
            <a:off x="7792359" y="2608991"/>
            <a:ext cx="230831" cy="138498"/>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N.H.</a:t>
            </a:r>
            <a:endParaRPr lang="en-US" altLang="en-US" dirty="0">
              <a:solidFill>
                <a:schemeClr val="tx2"/>
              </a:solidFill>
            </a:endParaRPr>
          </a:p>
        </p:txBody>
      </p:sp>
      <p:sp>
        <p:nvSpPr>
          <p:cNvPr id="597" name="Rectangle 1410"/>
          <p:cNvSpPr>
            <a:spLocks noChangeAspect="1" noChangeArrowheads="1"/>
          </p:cNvSpPr>
          <p:nvPr/>
        </p:nvSpPr>
        <p:spPr bwMode="auto">
          <a:xfrm>
            <a:off x="1323169" y="5061182"/>
            <a:ext cx="410369" cy="153888"/>
          </a:xfrm>
          <a:prstGeom prst="rect">
            <a:avLst/>
          </a:prstGeom>
          <a:no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bg1"/>
                </a:solidFill>
              </a:rPr>
              <a:t>Alaska</a:t>
            </a:r>
            <a:endParaRPr lang="en-US" altLang="en-US" dirty="0">
              <a:solidFill>
                <a:schemeClr val="bg1"/>
              </a:solidFill>
            </a:endParaRPr>
          </a:p>
        </p:txBody>
      </p:sp>
      <p:sp>
        <p:nvSpPr>
          <p:cNvPr id="598" name="Rectangle 1412"/>
          <p:cNvSpPr>
            <a:spLocks noChangeAspect="1" noChangeArrowheads="1"/>
          </p:cNvSpPr>
          <p:nvPr/>
        </p:nvSpPr>
        <p:spPr bwMode="auto">
          <a:xfrm>
            <a:off x="2823764" y="5694120"/>
            <a:ext cx="363559" cy="138498"/>
          </a:xfrm>
          <a:prstGeom prst="rect">
            <a:avLst/>
          </a:prstGeom>
          <a:solidFill>
            <a:schemeClr val="bg1"/>
          </a:solid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Hawaii</a:t>
            </a:r>
            <a:endParaRPr lang="en-US" altLang="en-US" dirty="0">
              <a:solidFill>
                <a:schemeClr val="tx2"/>
              </a:solidFill>
            </a:endParaRPr>
          </a:p>
        </p:txBody>
      </p:sp>
      <p:sp>
        <p:nvSpPr>
          <p:cNvPr id="599" name="Rectangle 1418"/>
          <p:cNvSpPr>
            <a:spLocks noChangeAspect="1" noChangeArrowheads="1"/>
          </p:cNvSpPr>
          <p:nvPr/>
        </p:nvSpPr>
        <p:spPr bwMode="auto">
          <a:xfrm>
            <a:off x="5013050" y="3830678"/>
            <a:ext cx="221214" cy="153888"/>
          </a:xfrm>
          <a:prstGeom prst="rect">
            <a:avLst/>
          </a:prstGeom>
          <a:no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rgbClr val="5A5A5A"/>
                </a:solidFill>
              </a:rPr>
              <a:t>Mo.</a:t>
            </a:r>
            <a:endParaRPr lang="en-US" altLang="en-US" dirty="0">
              <a:solidFill>
                <a:srgbClr val="5A5A5A"/>
              </a:solidFill>
            </a:endParaRPr>
          </a:p>
        </p:txBody>
      </p:sp>
      <p:sp>
        <p:nvSpPr>
          <p:cNvPr id="600" name="Rectangle 1428"/>
          <p:cNvSpPr>
            <a:spLocks noChangeAspect="1" noChangeArrowheads="1"/>
          </p:cNvSpPr>
          <p:nvPr/>
        </p:nvSpPr>
        <p:spPr bwMode="auto">
          <a:xfrm>
            <a:off x="6663869" y="5318718"/>
            <a:ext cx="219612" cy="153888"/>
          </a:xfrm>
          <a:prstGeom prst="rect">
            <a:avLst/>
          </a:prstGeom>
          <a:no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rgbClr val="5A5A5A"/>
                </a:solidFill>
              </a:rPr>
              <a:t>Fla.</a:t>
            </a:r>
            <a:endParaRPr lang="en-US" altLang="en-US" dirty="0">
              <a:solidFill>
                <a:srgbClr val="5A5A5A"/>
              </a:solidFill>
            </a:endParaRPr>
          </a:p>
        </p:txBody>
      </p:sp>
      <p:sp>
        <p:nvSpPr>
          <p:cNvPr id="601" name="Rectangle 1434"/>
          <p:cNvSpPr>
            <a:spLocks noChangeAspect="1" noChangeArrowheads="1"/>
          </p:cNvSpPr>
          <p:nvPr/>
        </p:nvSpPr>
        <p:spPr bwMode="auto">
          <a:xfrm>
            <a:off x="7432677" y="3614042"/>
            <a:ext cx="210636" cy="138498"/>
          </a:xfrm>
          <a:prstGeom prst="rect">
            <a:avLst/>
          </a:prstGeom>
          <a:no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Del.</a:t>
            </a:r>
            <a:endParaRPr lang="en-US" altLang="en-US" dirty="0">
              <a:solidFill>
                <a:schemeClr val="tx2"/>
              </a:solidFill>
            </a:endParaRPr>
          </a:p>
        </p:txBody>
      </p:sp>
      <p:sp>
        <p:nvSpPr>
          <p:cNvPr id="602" name="Rectangle 1443"/>
          <p:cNvSpPr>
            <a:spLocks noChangeAspect="1" noChangeArrowheads="1"/>
          </p:cNvSpPr>
          <p:nvPr/>
        </p:nvSpPr>
        <p:spPr bwMode="auto">
          <a:xfrm>
            <a:off x="7792359" y="3146294"/>
            <a:ext cx="327493" cy="138498"/>
          </a:xfrm>
          <a:prstGeom prst="rect">
            <a:avLst/>
          </a:prstGeom>
          <a:noFill/>
          <a:ln>
            <a:noFill/>
          </a:ln>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r>
              <a:rPr lang="en-US" altLang="en-US" sz="1000" b="1" dirty="0">
                <a:solidFill>
                  <a:schemeClr val="tx2"/>
                </a:solidFill>
              </a:rPr>
              <a:t>Conn.</a:t>
            </a:r>
            <a:endParaRPr lang="en-US" altLang="en-US" dirty="0">
              <a:solidFill>
                <a:schemeClr val="tx2"/>
              </a:solidFill>
            </a:endParaRPr>
          </a:p>
        </p:txBody>
      </p:sp>
      <p:sp>
        <p:nvSpPr>
          <p:cNvPr id="603" name="Rectangle 602"/>
          <p:cNvSpPr/>
          <p:nvPr/>
        </p:nvSpPr>
        <p:spPr>
          <a:xfrm>
            <a:off x="483976" y="1251566"/>
            <a:ext cx="182880" cy="88710"/>
          </a:xfrm>
          <a:prstGeom prst="rect">
            <a:avLst/>
          </a:prstGeom>
          <a:solidFill>
            <a:srgbClr val="1941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604" name="Rectangle 603"/>
          <p:cNvSpPr/>
          <p:nvPr/>
        </p:nvSpPr>
        <p:spPr>
          <a:xfrm>
            <a:off x="483976" y="1415339"/>
            <a:ext cx="182880" cy="88710"/>
          </a:xfrm>
          <a:prstGeom prst="rect">
            <a:avLst/>
          </a:prstGeom>
          <a:solidFill>
            <a:srgbClr val="3296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606" name="Rectangle 605"/>
          <p:cNvSpPr/>
          <p:nvPr/>
        </p:nvSpPr>
        <p:spPr>
          <a:xfrm>
            <a:off x="4842334" y="1240680"/>
            <a:ext cx="182880" cy="8871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sp>
        <p:nvSpPr>
          <p:cNvPr id="607" name="Rectangle 606"/>
          <p:cNvSpPr/>
          <p:nvPr/>
        </p:nvSpPr>
        <p:spPr>
          <a:xfrm>
            <a:off x="4842334" y="1404453"/>
            <a:ext cx="182880" cy="88710"/>
          </a:xfrm>
          <a:prstGeom prst="rect">
            <a:avLst/>
          </a:prstGeom>
          <a:solidFill>
            <a:srgbClr val="E6969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cxnSp>
        <p:nvCxnSpPr>
          <p:cNvPr id="608" name="Straight Connector 607"/>
          <p:cNvCxnSpPr/>
          <p:nvPr/>
        </p:nvCxnSpPr>
        <p:spPr>
          <a:xfrm>
            <a:off x="7484425" y="2682481"/>
            <a:ext cx="294688" cy="360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09" name="Straight Connector 608"/>
          <p:cNvCxnSpPr/>
          <p:nvPr/>
        </p:nvCxnSpPr>
        <p:spPr>
          <a:xfrm>
            <a:off x="7475451" y="2857341"/>
            <a:ext cx="294688" cy="360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0" name="Straight Connector 609"/>
          <p:cNvCxnSpPr/>
          <p:nvPr/>
        </p:nvCxnSpPr>
        <p:spPr>
          <a:xfrm>
            <a:off x="7558515" y="2941096"/>
            <a:ext cx="211624" cy="95346"/>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1" name="Straight Connector 610"/>
          <p:cNvCxnSpPr/>
          <p:nvPr/>
        </p:nvCxnSpPr>
        <p:spPr>
          <a:xfrm>
            <a:off x="7385628" y="2976712"/>
            <a:ext cx="364481" cy="233651"/>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2" name="Straight Connector 611"/>
          <p:cNvCxnSpPr/>
          <p:nvPr/>
        </p:nvCxnSpPr>
        <p:spPr>
          <a:xfrm>
            <a:off x="7242537" y="3286382"/>
            <a:ext cx="147344" cy="1803"/>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3" name="Straight Connector 612"/>
          <p:cNvCxnSpPr/>
          <p:nvPr/>
        </p:nvCxnSpPr>
        <p:spPr>
          <a:xfrm>
            <a:off x="7194608" y="3520867"/>
            <a:ext cx="186260" cy="162424"/>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614" name="Straight Connector 613"/>
          <p:cNvCxnSpPr/>
          <p:nvPr/>
        </p:nvCxnSpPr>
        <p:spPr>
          <a:xfrm>
            <a:off x="7008348" y="3446860"/>
            <a:ext cx="372520" cy="40367"/>
          </a:xfrm>
          <a:prstGeom prst="line">
            <a:avLst/>
          </a:prstGeom>
          <a:ln w="1270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339207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32694"/>
            <a:ext cx="7839456" cy="487362"/>
          </a:xfrm>
        </p:spPr>
        <p:txBody>
          <a:bodyPr/>
          <a:lstStyle/>
          <a:p>
            <a:r>
              <a:rPr lang="en-US" sz="2800" dirty="0"/>
              <a:t>Governors’ Races: 2020</a:t>
            </a:r>
          </a:p>
        </p:txBody>
      </p:sp>
      <p:sp>
        <p:nvSpPr>
          <p:cNvPr id="4" name="TextBox 3"/>
          <p:cNvSpPr txBox="1"/>
          <p:nvPr/>
        </p:nvSpPr>
        <p:spPr>
          <a:xfrm>
            <a:off x="369886" y="6324600"/>
            <a:ext cx="3948113" cy="228600"/>
          </a:xfrm>
          <a:prstGeom prst="rect">
            <a:avLst/>
          </a:prstGeom>
          <a:noFill/>
        </p:spPr>
        <p:txBody>
          <a:bodyPr wrap="square" lIns="0" tIns="45720" rIns="0" bIns="45720" rtlCol="0">
            <a:noAutofit/>
          </a:bodyPr>
          <a:lstStyle/>
          <a:p>
            <a:pPr>
              <a:buClr>
                <a:srgbClr val="FFFFFF"/>
              </a:buClr>
            </a:pPr>
            <a:r>
              <a:rPr lang="en-US" sz="1000" dirty="0">
                <a:solidFill>
                  <a:srgbClr val="000000"/>
                </a:solidFill>
                <a:latin typeface="Arial" pitchFamily="34" charset="0"/>
                <a:cs typeface="Arial" pitchFamily="34" charset="0"/>
              </a:rPr>
              <a:t>Source: Race ratings from </a:t>
            </a:r>
            <a:r>
              <a:rPr lang="en-US" sz="1000" dirty="0">
                <a:solidFill>
                  <a:srgbClr val="000000"/>
                </a:solidFill>
                <a:latin typeface="Arial" pitchFamily="34" charset="0"/>
                <a:cs typeface="Arial" pitchFamily="34" charset="0"/>
                <a:hlinkClick r:id="rId2"/>
              </a:rPr>
              <a:t>Cook Political Report</a:t>
            </a:r>
            <a:r>
              <a:rPr lang="en-US" sz="1000" dirty="0">
                <a:solidFill>
                  <a:srgbClr val="000000"/>
                </a:solidFill>
                <a:latin typeface="Arial" pitchFamily="34" charset="0"/>
                <a:cs typeface="Arial" pitchFamily="34" charset="0"/>
              </a:rPr>
              <a:t>; last updated Dec. 13</a:t>
            </a:r>
          </a:p>
          <a:p>
            <a:pPr>
              <a:buClr>
                <a:srgbClr val="FFFFFF"/>
              </a:buClr>
            </a:pPr>
            <a:endParaRPr lang="en-US" sz="1000" dirty="0">
              <a:solidFill>
                <a:srgbClr val="000000"/>
              </a:solidFill>
              <a:latin typeface="Arial" pitchFamily="34" charset="0"/>
              <a:cs typeface="Arial" pitchFamily="34" charset="0"/>
            </a:endParaRPr>
          </a:p>
        </p:txBody>
      </p:sp>
      <p:sp>
        <p:nvSpPr>
          <p:cNvPr id="1264" name="Freeform 670"/>
          <p:cNvSpPr>
            <a:spLocks/>
          </p:cNvSpPr>
          <p:nvPr/>
        </p:nvSpPr>
        <p:spPr bwMode="auto">
          <a:xfrm>
            <a:off x="696912" y="1806575"/>
            <a:ext cx="1131888" cy="944563"/>
          </a:xfrm>
          <a:custGeom>
            <a:avLst/>
            <a:gdLst>
              <a:gd name="T0" fmla="*/ 0 w 713"/>
              <a:gd name="T1" fmla="*/ 409 h 595"/>
              <a:gd name="T2" fmla="*/ 11 w 713"/>
              <a:gd name="T3" fmla="*/ 384 h 595"/>
              <a:gd name="T4" fmla="*/ 9 w 713"/>
              <a:gd name="T5" fmla="*/ 347 h 595"/>
              <a:gd name="T6" fmla="*/ 38 w 713"/>
              <a:gd name="T7" fmla="*/ 307 h 595"/>
              <a:gd name="T8" fmla="*/ 49 w 713"/>
              <a:gd name="T9" fmla="*/ 296 h 595"/>
              <a:gd name="T10" fmla="*/ 49 w 713"/>
              <a:gd name="T11" fmla="*/ 296 h 595"/>
              <a:gd name="T12" fmla="*/ 47 w 713"/>
              <a:gd name="T13" fmla="*/ 294 h 595"/>
              <a:gd name="T14" fmla="*/ 64 w 713"/>
              <a:gd name="T15" fmla="*/ 267 h 595"/>
              <a:gd name="T16" fmla="*/ 64 w 713"/>
              <a:gd name="T17" fmla="*/ 267 h 595"/>
              <a:gd name="T18" fmla="*/ 83 w 713"/>
              <a:gd name="T19" fmla="*/ 215 h 595"/>
              <a:gd name="T20" fmla="*/ 96 w 713"/>
              <a:gd name="T21" fmla="*/ 190 h 595"/>
              <a:gd name="T22" fmla="*/ 102 w 713"/>
              <a:gd name="T23" fmla="*/ 166 h 595"/>
              <a:gd name="T24" fmla="*/ 119 w 713"/>
              <a:gd name="T25" fmla="*/ 124 h 595"/>
              <a:gd name="T26" fmla="*/ 130 w 713"/>
              <a:gd name="T27" fmla="*/ 96 h 595"/>
              <a:gd name="T28" fmla="*/ 136 w 713"/>
              <a:gd name="T29" fmla="*/ 77 h 595"/>
              <a:gd name="T30" fmla="*/ 141 w 713"/>
              <a:gd name="T31" fmla="*/ 64 h 595"/>
              <a:gd name="T32" fmla="*/ 145 w 713"/>
              <a:gd name="T33" fmla="*/ 45 h 595"/>
              <a:gd name="T34" fmla="*/ 149 w 713"/>
              <a:gd name="T35" fmla="*/ 30 h 595"/>
              <a:gd name="T36" fmla="*/ 160 w 713"/>
              <a:gd name="T37" fmla="*/ 0 h 595"/>
              <a:gd name="T38" fmla="*/ 170 w 713"/>
              <a:gd name="T39" fmla="*/ 9 h 595"/>
              <a:gd name="T40" fmla="*/ 173 w 713"/>
              <a:gd name="T41" fmla="*/ 5 h 595"/>
              <a:gd name="T42" fmla="*/ 190 w 713"/>
              <a:gd name="T43" fmla="*/ 7 h 595"/>
              <a:gd name="T44" fmla="*/ 202 w 713"/>
              <a:gd name="T45" fmla="*/ 19 h 595"/>
              <a:gd name="T46" fmla="*/ 221 w 713"/>
              <a:gd name="T47" fmla="*/ 22 h 595"/>
              <a:gd name="T48" fmla="*/ 236 w 713"/>
              <a:gd name="T49" fmla="*/ 49 h 595"/>
              <a:gd name="T50" fmla="*/ 247 w 713"/>
              <a:gd name="T51" fmla="*/ 94 h 595"/>
              <a:gd name="T52" fmla="*/ 266 w 713"/>
              <a:gd name="T53" fmla="*/ 105 h 595"/>
              <a:gd name="T54" fmla="*/ 294 w 713"/>
              <a:gd name="T55" fmla="*/ 103 h 595"/>
              <a:gd name="T56" fmla="*/ 315 w 713"/>
              <a:gd name="T57" fmla="*/ 103 h 595"/>
              <a:gd name="T58" fmla="*/ 343 w 713"/>
              <a:gd name="T59" fmla="*/ 109 h 595"/>
              <a:gd name="T60" fmla="*/ 366 w 713"/>
              <a:gd name="T61" fmla="*/ 120 h 595"/>
              <a:gd name="T62" fmla="*/ 402 w 713"/>
              <a:gd name="T63" fmla="*/ 120 h 595"/>
              <a:gd name="T64" fmla="*/ 424 w 713"/>
              <a:gd name="T65" fmla="*/ 126 h 595"/>
              <a:gd name="T66" fmla="*/ 475 w 713"/>
              <a:gd name="T67" fmla="*/ 122 h 595"/>
              <a:gd name="T68" fmla="*/ 505 w 713"/>
              <a:gd name="T69" fmla="*/ 122 h 595"/>
              <a:gd name="T70" fmla="*/ 528 w 713"/>
              <a:gd name="T71" fmla="*/ 120 h 595"/>
              <a:gd name="T72" fmla="*/ 690 w 713"/>
              <a:gd name="T73" fmla="*/ 166 h 595"/>
              <a:gd name="T74" fmla="*/ 711 w 713"/>
              <a:gd name="T75" fmla="*/ 190 h 595"/>
              <a:gd name="T76" fmla="*/ 692 w 713"/>
              <a:gd name="T77" fmla="*/ 230 h 595"/>
              <a:gd name="T78" fmla="*/ 669 w 713"/>
              <a:gd name="T79" fmla="*/ 273 h 595"/>
              <a:gd name="T80" fmla="*/ 645 w 713"/>
              <a:gd name="T81" fmla="*/ 294 h 595"/>
              <a:gd name="T82" fmla="*/ 626 w 713"/>
              <a:gd name="T83" fmla="*/ 339 h 595"/>
              <a:gd name="T84" fmla="*/ 641 w 713"/>
              <a:gd name="T85" fmla="*/ 350 h 595"/>
              <a:gd name="T86" fmla="*/ 639 w 713"/>
              <a:gd name="T87" fmla="*/ 373 h 595"/>
              <a:gd name="T88" fmla="*/ 628 w 713"/>
              <a:gd name="T89" fmla="*/ 396 h 595"/>
              <a:gd name="T90" fmla="*/ 343 w 713"/>
              <a:gd name="T91" fmla="*/ 541 h 595"/>
              <a:gd name="T92" fmla="*/ 6 w 713"/>
              <a:gd name="T93" fmla="*/ 45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3" h="595">
                <a:moveTo>
                  <a:pt x="6" y="452"/>
                </a:moveTo>
                <a:lnTo>
                  <a:pt x="0" y="437"/>
                </a:lnTo>
                <a:lnTo>
                  <a:pt x="0" y="409"/>
                </a:lnTo>
                <a:lnTo>
                  <a:pt x="4" y="399"/>
                </a:lnTo>
                <a:lnTo>
                  <a:pt x="4" y="392"/>
                </a:lnTo>
                <a:lnTo>
                  <a:pt x="11" y="384"/>
                </a:lnTo>
                <a:lnTo>
                  <a:pt x="13" y="377"/>
                </a:lnTo>
                <a:lnTo>
                  <a:pt x="9" y="362"/>
                </a:lnTo>
                <a:lnTo>
                  <a:pt x="9" y="347"/>
                </a:lnTo>
                <a:lnTo>
                  <a:pt x="23" y="330"/>
                </a:lnTo>
                <a:lnTo>
                  <a:pt x="36" y="301"/>
                </a:lnTo>
                <a:lnTo>
                  <a:pt x="38" y="307"/>
                </a:lnTo>
                <a:lnTo>
                  <a:pt x="43" y="301"/>
                </a:lnTo>
                <a:lnTo>
                  <a:pt x="49" y="296"/>
                </a:lnTo>
                <a:lnTo>
                  <a:pt x="49" y="296"/>
                </a:lnTo>
                <a:lnTo>
                  <a:pt x="51" y="301"/>
                </a:lnTo>
                <a:lnTo>
                  <a:pt x="53" y="296"/>
                </a:lnTo>
                <a:lnTo>
                  <a:pt x="49" y="296"/>
                </a:lnTo>
                <a:lnTo>
                  <a:pt x="49" y="294"/>
                </a:lnTo>
                <a:lnTo>
                  <a:pt x="49" y="296"/>
                </a:lnTo>
                <a:lnTo>
                  <a:pt x="47" y="294"/>
                </a:lnTo>
                <a:lnTo>
                  <a:pt x="49" y="288"/>
                </a:lnTo>
                <a:lnTo>
                  <a:pt x="58" y="273"/>
                </a:lnTo>
                <a:lnTo>
                  <a:pt x="64" y="267"/>
                </a:lnTo>
                <a:lnTo>
                  <a:pt x="70" y="267"/>
                </a:lnTo>
                <a:lnTo>
                  <a:pt x="70" y="264"/>
                </a:lnTo>
                <a:lnTo>
                  <a:pt x="64" y="267"/>
                </a:lnTo>
                <a:lnTo>
                  <a:pt x="66" y="260"/>
                </a:lnTo>
                <a:lnTo>
                  <a:pt x="68" y="252"/>
                </a:lnTo>
                <a:lnTo>
                  <a:pt x="83" y="215"/>
                </a:lnTo>
                <a:lnTo>
                  <a:pt x="87" y="201"/>
                </a:lnTo>
                <a:lnTo>
                  <a:pt x="92" y="194"/>
                </a:lnTo>
                <a:lnTo>
                  <a:pt x="96" y="190"/>
                </a:lnTo>
                <a:lnTo>
                  <a:pt x="98" y="188"/>
                </a:lnTo>
                <a:lnTo>
                  <a:pt x="96" y="179"/>
                </a:lnTo>
                <a:lnTo>
                  <a:pt x="102" y="166"/>
                </a:lnTo>
                <a:lnTo>
                  <a:pt x="104" y="152"/>
                </a:lnTo>
                <a:lnTo>
                  <a:pt x="117" y="130"/>
                </a:lnTo>
                <a:lnTo>
                  <a:pt x="119" y="124"/>
                </a:lnTo>
                <a:lnTo>
                  <a:pt x="126" y="111"/>
                </a:lnTo>
                <a:lnTo>
                  <a:pt x="128" y="105"/>
                </a:lnTo>
                <a:lnTo>
                  <a:pt x="130" y="96"/>
                </a:lnTo>
                <a:lnTo>
                  <a:pt x="132" y="90"/>
                </a:lnTo>
                <a:lnTo>
                  <a:pt x="134" y="81"/>
                </a:lnTo>
                <a:lnTo>
                  <a:pt x="136" y="77"/>
                </a:lnTo>
                <a:lnTo>
                  <a:pt x="143" y="79"/>
                </a:lnTo>
                <a:lnTo>
                  <a:pt x="138" y="73"/>
                </a:lnTo>
                <a:lnTo>
                  <a:pt x="141" y="64"/>
                </a:lnTo>
                <a:lnTo>
                  <a:pt x="147" y="58"/>
                </a:lnTo>
                <a:lnTo>
                  <a:pt x="145" y="51"/>
                </a:lnTo>
                <a:lnTo>
                  <a:pt x="145" y="45"/>
                </a:lnTo>
                <a:lnTo>
                  <a:pt x="147" y="39"/>
                </a:lnTo>
                <a:lnTo>
                  <a:pt x="149" y="30"/>
                </a:lnTo>
                <a:lnTo>
                  <a:pt x="149" y="30"/>
                </a:lnTo>
                <a:lnTo>
                  <a:pt x="155" y="22"/>
                </a:lnTo>
                <a:lnTo>
                  <a:pt x="158" y="9"/>
                </a:lnTo>
                <a:lnTo>
                  <a:pt x="160" y="0"/>
                </a:lnTo>
                <a:lnTo>
                  <a:pt x="166" y="7"/>
                </a:lnTo>
                <a:lnTo>
                  <a:pt x="168" y="9"/>
                </a:lnTo>
                <a:lnTo>
                  <a:pt x="170" y="9"/>
                </a:lnTo>
                <a:lnTo>
                  <a:pt x="166" y="5"/>
                </a:lnTo>
                <a:lnTo>
                  <a:pt x="168" y="2"/>
                </a:lnTo>
                <a:lnTo>
                  <a:pt x="173" y="5"/>
                </a:lnTo>
                <a:lnTo>
                  <a:pt x="175" y="7"/>
                </a:lnTo>
                <a:lnTo>
                  <a:pt x="183" y="9"/>
                </a:lnTo>
                <a:lnTo>
                  <a:pt x="190" y="7"/>
                </a:lnTo>
                <a:lnTo>
                  <a:pt x="196" y="11"/>
                </a:lnTo>
                <a:lnTo>
                  <a:pt x="200" y="17"/>
                </a:lnTo>
                <a:lnTo>
                  <a:pt x="202" y="19"/>
                </a:lnTo>
                <a:lnTo>
                  <a:pt x="209" y="22"/>
                </a:lnTo>
                <a:lnTo>
                  <a:pt x="215" y="19"/>
                </a:lnTo>
                <a:lnTo>
                  <a:pt x="221" y="22"/>
                </a:lnTo>
                <a:lnTo>
                  <a:pt x="226" y="28"/>
                </a:lnTo>
                <a:lnTo>
                  <a:pt x="234" y="34"/>
                </a:lnTo>
                <a:lnTo>
                  <a:pt x="236" y="49"/>
                </a:lnTo>
                <a:lnTo>
                  <a:pt x="232" y="85"/>
                </a:lnTo>
                <a:lnTo>
                  <a:pt x="236" y="90"/>
                </a:lnTo>
                <a:lnTo>
                  <a:pt x="247" y="94"/>
                </a:lnTo>
                <a:lnTo>
                  <a:pt x="253" y="100"/>
                </a:lnTo>
                <a:lnTo>
                  <a:pt x="258" y="100"/>
                </a:lnTo>
                <a:lnTo>
                  <a:pt x="266" y="105"/>
                </a:lnTo>
                <a:lnTo>
                  <a:pt x="273" y="107"/>
                </a:lnTo>
                <a:lnTo>
                  <a:pt x="287" y="105"/>
                </a:lnTo>
                <a:lnTo>
                  <a:pt x="294" y="103"/>
                </a:lnTo>
                <a:lnTo>
                  <a:pt x="302" y="98"/>
                </a:lnTo>
                <a:lnTo>
                  <a:pt x="309" y="98"/>
                </a:lnTo>
                <a:lnTo>
                  <a:pt x="315" y="103"/>
                </a:lnTo>
                <a:lnTo>
                  <a:pt x="328" y="103"/>
                </a:lnTo>
                <a:lnTo>
                  <a:pt x="334" y="107"/>
                </a:lnTo>
                <a:lnTo>
                  <a:pt x="343" y="109"/>
                </a:lnTo>
                <a:lnTo>
                  <a:pt x="349" y="113"/>
                </a:lnTo>
                <a:lnTo>
                  <a:pt x="351" y="120"/>
                </a:lnTo>
                <a:lnTo>
                  <a:pt x="366" y="120"/>
                </a:lnTo>
                <a:lnTo>
                  <a:pt x="373" y="122"/>
                </a:lnTo>
                <a:lnTo>
                  <a:pt x="394" y="117"/>
                </a:lnTo>
                <a:lnTo>
                  <a:pt x="402" y="120"/>
                </a:lnTo>
                <a:lnTo>
                  <a:pt x="409" y="126"/>
                </a:lnTo>
                <a:lnTo>
                  <a:pt x="417" y="128"/>
                </a:lnTo>
                <a:lnTo>
                  <a:pt x="424" y="126"/>
                </a:lnTo>
                <a:lnTo>
                  <a:pt x="439" y="124"/>
                </a:lnTo>
                <a:lnTo>
                  <a:pt x="454" y="122"/>
                </a:lnTo>
                <a:lnTo>
                  <a:pt x="475" y="122"/>
                </a:lnTo>
                <a:lnTo>
                  <a:pt x="483" y="117"/>
                </a:lnTo>
                <a:lnTo>
                  <a:pt x="488" y="120"/>
                </a:lnTo>
                <a:lnTo>
                  <a:pt x="505" y="122"/>
                </a:lnTo>
                <a:lnTo>
                  <a:pt x="513" y="124"/>
                </a:lnTo>
                <a:lnTo>
                  <a:pt x="520" y="124"/>
                </a:lnTo>
                <a:lnTo>
                  <a:pt x="528" y="120"/>
                </a:lnTo>
                <a:lnTo>
                  <a:pt x="598" y="137"/>
                </a:lnTo>
                <a:lnTo>
                  <a:pt x="690" y="156"/>
                </a:lnTo>
                <a:lnTo>
                  <a:pt x="690" y="166"/>
                </a:lnTo>
                <a:lnTo>
                  <a:pt x="694" y="173"/>
                </a:lnTo>
                <a:lnTo>
                  <a:pt x="696" y="177"/>
                </a:lnTo>
                <a:lnTo>
                  <a:pt x="711" y="190"/>
                </a:lnTo>
                <a:lnTo>
                  <a:pt x="713" y="205"/>
                </a:lnTo>
                <a:lnTo>
                  <a:pt x="709" y="211"/>
                </a:lnTo>
                <a:lnTo>
                  <a:pt x="692" y="230"/>
                </a:lnTo>
                <a:lnTo>
                  <a:pt x="681" y="254"/>
                </a:lnTo>
                <a:lnTo>
                  <a:pt x="669" y="267"/>
                </a:lnTo>
                <a:lnTo>
                  <a:pt x="669" y="273"/>
                </a:lnTo>
                <a:lnTo>
                  <a:pt x="664" y="281"/>
                </a:lnTo>
                <a:lnTo>
                  <a:pt x="658" y="288"/>
                </a:lnTo>
                <a:lnTo>
                  <a:pt x="645" y="294"/>
                </a:lnTo>
                <a:lnTo>
                  <a:pt x="637" y="309"/>
                </a:lnTo>
                <a:lnTo>
                  <a:pt x="630" y="316"/>
                </a:lnTo>
                <a:lnTo>
                  <a:pt x="626" y="339"/>
                </a:lnTo>
                <a:lnTo>
                  <a:pt x="628" y="343"/>
                </a:lnTo>
                <a:lnTo>
                  <a:pt x="635" y="345"/>
                </a:lnTo>
                <a:lnTo>
                  <a:pt x="641" y="350"/>
                </a:lnTo>
                <a:lnTo>
                  <a:pt x="645" y="356"/>
                </a:lnTo>
                <a:lnTo>
                  <a:pt x="641" y="365"/>
                </a:lnTo>
                <a:lnTo>
                  <a:pt x="639" y="373"/>
                </a:lnTo>
                <a:lnTo>
                  <a:pt x="632" y="388"/>
                </a:lnTo>
                <a:lnTo>
                  <a:pt x="630" y="390"/>
                </a:lnTo>
                <a:lnTo>
                  <a:pt x="628" y="396"/>
                </a:lnTo>
                <a:lnTo>
                  <a:pt x="586" y="595"/>
                </a:lnTo>
                <a:lnTo>
                  <a:pt x="486" y="573"/>
                </a:lnTo>
                <a:lnTo>
                  <a:pt x="343" y="541"/>
                </a:lnTo>
                <a:lnTo>
                  <a:pt x="192" y="501"/>
                </a:lnTo>
                <a:lnTo>
                  <a:pt x="11" y="452"/>
                </a:lnTo>
                <a:lnTo>
                  <a:pt x="6" y="452"/>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65" name="Freeform 671"/>
          <p:cNvSpPr>
            <a:spLocks/>
          </p:cNvSpPr>
          <p:nvPr/>
        </p:nvSpPr>
        <p:spPr bwMode="auto">
          <a:xfrm>
            <a:off x="696912" y="1806575"/>
            <a:ext cx="1131888" cy="944563"/>
          </a:xfrm>
          <a:custGeom>
            <a:avLst/>
            <a:gdLst>
              <a:gd name="T0" fmla="*/ 0 w 713"/>
              <a:gd name="T1" fmla="*/ 409 h 595"/>
              <a:gd name="T2" fmla="*/ 11 w 713"/>
              <a:gd name="T3" fmla="*/ 384 h 595"/>
              <a:gd name="T4" fmla="*/ 9 w 713"/>
              <a:gd name="T5" fmla="*/ 347 h 595"/>
              <a:gd name="T6" fmla="*/ 38 w 713"/>
              <a:gd name="T7" fmla="*/ 307 h 595"/>
              <a:gd name="T8" fmla="*/ 49 w 713"/>
              <a:gd name="T9" fmla="*/ 296 h 595"/>
              <a:gd name="T10" fmla="*/ 49 w 713"/>
              <a:gd name="T11" fmla="*/ 296 h 595"/>
              <a:gd name="T12" fmla="*/ 47 w 713"/>
              <a:gd name="T13" fmla="*/ 294 h 595"/>
              <a:gd name="T14" fmla="*/ 64 w 713"/>
              <a:gd name="T15" fmla="*/ 267 h 595"/>
              <a:gd name="T16" fmla="*/ 64 w 713"/>
              <a:gd name="T17" fmla="*/ 267 h 595"/>
              <a:gd name="T18" fmla="*/ 83 w 713"/>
              <a:gd name="T19" fmla="*/ 215 h 595"/>
              <a:gd name="T20" fmla="*/ 96 w 713"/>
              <a:gd name="T21" fmla="*/ 190 h 595"/>
              <a:gd name="T22" fmla="*/ 102 w 713"/>
              <a:gd name="T23" fmla="*/ 166 h 595"/>
              <a:gd name="T24" fmla="*/ 119 w 713"/>
              <a:gd name="T25" fmla="*/ 124 h 595"/>
              <a:gd name="T26" fmla="*/ 130 w 713"/>
              <a:gd name="T27" fmla="*/ 96 h 595"/>
              <a:gd name="T28" fmla="*/ 136 w 713"/>
              <a:gd name="T29" fmla="*/ 77 h 595"/>
              <a:gd name="T30" fmla="*/ 141 w 713"/>
              <a:gd name="T31" fmla="*/ 64 h 595"/>
              <a:gd name="T32" fmla="*/ 145 w 713"/>
              <a:gd name="T33" fmla="*/ 45 h 595"/>
              <a:gd name="T34" fmla="*/ 149 w 713"/>
              <a:gd name="T35" fmla="*/ 30 h 595"/>
              <a:gd name="T36" fmla="*/ 160 w 713"/>
              <a:gd name="T37" fmla="*/ 0 h 595"/>
              <a:gd name="T38" fmla="*/ 170 w 713"/>
              <a:gd name="T39" fmla="*/ 9 h 595"/>
              <a:gd name="T40" fmla="*/ 173 w 713"/>
              <a:gd name="T41" fmla="*/ 5 h 595"/>
              <a:gd name="T42" fmla="*/ 190 w 713"/>
              <a:gd name="T43" fmla="*/ 7 h 595"/>
              <a:gd name="T44" fmla="*/ 202 w 713"/>
              <a:gd name="T45" fmla="*/ 19 h 595"/>
              <a:gd name="T46" fmla="*/ 221 w 713"/>
              <a:gd name="T47" fmla="*/ 22 h 595"/>
              <a:gd name="T48" fmla="*/ 236 w 713"/>
              <a:gd name="T49" fmla="*/ 49 h 595"/>
              <a:gd name="T50" fmla="*/ 247 w 713"/>
              <a:gd name="T51" fmla="*/ 94 h 595"/>
              <a:gd name="T52" fmla="*/ 266 w 713"/>
              <a:gd name="T53" fmla="*/ 105 h 595"/>
              <a:gd name="T54" fmla="*/ 294 w 713"/>
              <a:gd name="T55" fmla="*/ 103 h 595"/>
              <a:gd name="T56" fmla="*/ 315 w 713"/>
              <a:gd name="T57" fmla="*/ 103 h 595"/>
              <a:gd name="T58" fmla="*/ 343 w 713"/>
              <a:gd name="T59" fmla="*/ 109 h 595"/>
              <a:gd name="T60" fmla="*/ 366 w 713"/>
              <a:gd name="T61" fmla="*/ 120 h 595"/>
              <a:gd name="T62" fmla="*/ 402 w 713"/>
              <a:gd name="T63" fmla="*/ 120 h 595"/>
              <a:gd name="T64" fmla="*/ 424 w 713"/>
              <a:gd name="T65" fmla="*/ 126 h 595"/>
              <a:gd name="T66" fmla="*/ 475 w 713"/>
              <a:gd name="T67" fmla="*/ 122 h 595"/>
              <a:gd name="T68" fmla="*/ 505 w 713"/>
              <a:gd name="T69" fmla="*/ 122 h 595"/>
              <a:gd name="T70" fmla="*/ 528 w 713"/>
              <a:gd name="T71" fmla="*/ 120 h 595"/>
              <a:gd name="T72" fmla="*/ 690 w 713"/>
              <a:gd name="T73" fmla="*/ 166 h 595"/>
              <a:gd name="T74" fmla="*/ 711 w 713"/>
              <a:gd name="T75" fmla="*/ 190 h 595"/>
              <a:gd name="T76" fmla="*/ 692 w 713"/>
              <a:gd name="T77" fmla="*/ 230 h 595"/>
              <a:gd name="T78" fmla="*/ 669 w 713"/>
              <a:gd name="T79" fmla="*/ 273 h 595"/>
              <a:gd name="T80" fmla="*/ 645 w 713"/>
              <a:gd name="T81" fmla="*/ 294 h 595"/>
              <a:gd name="T82" fmla="*/ 626 w 713"/>
              <a:gd name="T83" fmla="*/ 339 h 595"/>
              <a:gd name="T84" fmla="*/ 641 w 713"/>
              <a:gd name="T85" fmla="*/ 350 h 595"/>
              <a:gd name="T86" fmla="*/ 639 w 713"/>
              <a:gd name="T87" fmla="*/ 373 h 595"/>
              <a:gd name="T88" fmla="*/ 628 w 713"/>
              <a:gd name="T89" fmla="*/ 396 h 595"/>
              <a:gd name="T90" fmla="*/ 343 w 713"/>
              <a:gd name="T91" fmla="*/ 541 h 595"/>
              <a:gd name="T92" fmla="*/ 6 w 713"/>
              <a:gd name="T93" fmla="*/ 45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3" h="595">
                <a:moveTo>
                  <a:pt x="6" y="452"/>
                </a:moveTo>
                <a:lnTo>
                  <a:pt x="0" y="437"/>
                </a:lnTo>
                <a:lnTo>
                  <a:pt x="0" y="409"/>
                </a:lnTo>
                <a:lnTo>
                  <a:pt x="4" y="399"/>
                </a:lnTo>
                <a:lnTo>
                  <a:pt x="4" y="392"/>
                </a:lnTo>
                <a:lnTo>
                  <a:pt x="11" y="384"/>
                </a:lnTo>
                <a:lnTo>
                  <a:pt x="13" y="377"/>
                </a:lnTo>
                <a:lnTo>
                  <a:pt x="9" y="362"/>
                </a:lnTo>
                <a:lnTo>
                  <a:pt x="9" y="347"/>
                </a:lnTo>
                <a:lnTo>
                  <a:pt x="23" y="330"/>
                </a:lnTo>
                <a:lnTo>
                  <a:pt x="36" y="301"/>
                </a:lnTo>
                <a:lnTo>
                  <a:pt x="38" y="307"/>
                </a:lnTo>
                <a:lnTo>
                  <a:pt x="43" y="301"/>
                </a:lnTo>
                <a:lnTo>
                  <a:pt x="49" y="296"/>
                </a:lnTo>
                <a:lnTo>
                  <a:pt x="49" y="296"/>
                </a:lnTo>
                <a:lnTo>
                  <a:pt x="51" y="301"/>
                </a:lnTo>
                <a:lnTo>
                  <a:pt x="53" y="296"/>
                </a:lnTo>
                <a:lnTo>
                  <a:pt x="49" y="296"/>
                </a:lnTo>
                <a:lnTo>
                  <a:pt x="49" y="294"/>
                </a:lnTo>
                <a:lnTo>
                  <a:pt x="49" y="296"/>
                </a:lnTo>
                <a:lnTo>
                  <a:pt x="47" y="294"/>
                </a:lnTo>
                <a:lnTo>
                  <a:pt x="49" y="288"/>
                </a:lnTo>
                <a:lnTo>
                  <a:pt x="58" y="273"/>
                </a:lnTo>
                <a:lnTo>
                  <a:pt x="64" y="267"/>
                </a:lnTo>
                <a:lnTo>
                  <a:pt x="70" y="267"/>
                </a:lnTo>
                <a:lnTo>
                  <a:pt x="70" y="264"/>
                </a:lnTo>
                <a:lnTo>
                  <a:pt x="64" y="267"/>
                </a:lnTo>
                <a:lnTo>
                  <a:pt x="66" y="260"/>
                </a:lnTo>
                <a:lnTo>
                  <a:pt x="68" y="252"/>
                </a:lnTo>
                <a:lnTo>
                  <a:pt x="83" y="215"/>
                </a:lnTo>
                <a:lnTo>
                  <a:pt x="87" y="201"/>
                </a:lnTo>
                <a:lnTo>
                  <a:pt x="92" y="194"/>
                </a:lnTo>
                <a:lnTo>
                  <a:pt x="96" y="190"/>
                </a:lnTo>
                <a:lnTo>
                  <a:pt x="98" y="188"/>
                </a:lnTo>
                <a:lnTo>
                  <a:pt x="96" y="179"/>
                </a:lnTo>
                <a:lnTo>
                  <a:pt x="102" y="166"/>
                </a:lnTo>
                <a:lnTo>
                  <a:pt x="104" y="152"/>
                </a:lnTo>
                <a:lnTo>
                  <a:pt x="117" y="130"/>
                </a:lnTo>
                <a:lnTo>
                  <a:pt x="119" y="124"/>
                </a:lnTo>
                <a:lnTo>
                  <a:pt x="126" y="111"/>
                </a:lnTo>
                <a:lnTo>
                  <a:pt x="128" y="105"/>
                </a:lnTo>
                <a:lnTo>
                  <a:pt x="130" y="96"/>
                </a:lnTo>
                <a:lnTo>
                  <a:pt x="132" y="90"/>
                </a:lnTo>
                <a:lnTo>
                  <a:pt x="134" y="81"/>
                </a:lnTo>
                <a:lnTo>
                  <a:pt x="136" y="77"/>
                </a:lnTo>
                <a:lnTo>
                  <a:pt x="143" y="79"/>
                </a:lnTo>
                <a:lnTo>
                  <a:pt x="138" y="73"/>
                </a:lnTo>
                <a:lnTo>
                  <a:pt x="141" y="64"/>
                </a:lnTo>
                <a:lnTo>
                  <a:pt x="147" y="58"/>
                </a:lnTo>
                <a:lnTo>
                  <a:pt x="145" y="51"/>
                </a:lnTo>
                <a:lnTo>
                  <a:pt x="145" y="45"/>
                </a:lnTo>
                <a:lnTo>
                  <a:pt x="147" y="39"/>
                </a:lnTo>
                <a:lnTo>
                  <a:pt x="149" y="30"/>
                </a:lnTo>
                <a:lnTo>
                  <a:pt x="149" y="30"/>
                </a:lnTo>
                <a:lnTo>
                  <a:pt x="155" y="22"/>
                </a:lnTo>
                <a:lnTo>
                  <a:pt x="158" y="9"/>
                </a:lnTo>
                <a:lnTo>
                  <a:pt x="160" y="0"/>
                </a:lnTo>
                <a:lnTo>
                  <a:pt x="166" y="7"/>
                </a:lnTo>
                <a:lnTo>
                  <a:pt x="168" y="9"/>
                </a:lnTo>
                <a:lnTo>
                  <a:pt x="170" y="9"/>
                </a:lnTo>
                <a:lnTo>
                  <a:pt x="166" y="5"/>
                </a:lnTo>
                <a:lnTo>
                  <a:pt x="168" y="2"/>
                </a:lnTo>
                <a:lnTo>
                  <a:pt x="173" y="5"/>
                </a:lnTo>
                <a:lnTo>
                  <a:pt x="175" y="7"/>
                </a:lnTo>
                <a:lnTo>
                  <a:pt x="183" y="9"/>
                </a:lnTo>
                <a:lnTo>
                  <a:pt x="190" y="7"/>
                </a:lnTo>
                <a:lnTo>
                  <a:pt x="196" y="11"/>
                </a:lnTo>
                <a:lnTo>
                  <a:pt x="200" y="17"/>
                </a:lnTo>
                <a:lnTo>
                  <a:pt x="202" y="19"/>
                </a:lnTo>
                <a:lnTo>
                  <a:pt x="209" y="22"/>
                </a:lnTo>
                <a:lnTo>
                  <a:pt x="215" y="19"/>
                </a:lnTo>
                <a:lnTo>
                  <a:pt x="221" y="22"/>
                </a:lnTo>
                <a:lnTo>
                  <a:pt x="226" y="28"/>
                </a:lnTo>
                <a:lnTo>
                  <a:pt x="234" y="34"/>
                </a:lnTo>
                <a:lnTo>
                  <a:pt x="236" y="49"/>
                </a:lnTo>
                <a:lnTo>
                  <a:pt x="232" y="85"/>
                </a:lnTo>
                <a:lnTo>
                  <a:pt x="236" y="90"/>
                </a:lnTo>
                <a:lnTo>
                  <a:pt x="247" y="94"/>
                </a:lnTo>
                <a:lnTo>
                  <a:pt x="253" y="100"/>
                </a:lnTo>
                <a:lnTo>
                  <a:pt x="258" y="100"/>
                </a:lnTo>
                <a:lnTo>
                  <a:pt x="266" y="105"/>
                </a:lnTo>
                <a:lnTo>
                  <a:pt x="273" y="107"/>
                </a:lnTo>
                <a:lnTo>
                  <a:pt x="287" y="105"/>
                </a:lnTo>
                <a:lnTo>
                  <a:pt x="294" y="103"/>
                </a:lnTo>
                <a:lnTo>
                  <a:pt x="302" y="98"/>
                </a:lnTo>
                <a:lnTo>
                  <a:pt x="309" y="98"/>
                </a:lnTo>
                <a:lnTo>
                  <a:pt x="315" y="103"/>
                </a:lnTo>
                <a:lnTo>
                  <a:pt x="328" y="103"/>
                </a:lnTo>
                <a:lnTo>
                  <a:pt x="334" y="107"/>
                </a:lnTo>
                <a:lnTo>
                  <a:pt x="343" y="109"/>
                </a:lnTo>
                <a:lnTo>
                  <a:pt x="349" y="113"/>
                </a:lnTo>
                <a:lnTo>
                  <a:pt x="351" y="120"/>
                </a:lnTo>
                <a:lnTo>
                  <a:pt x="366" y="120"/>
                </a:lnTo>
                <a:lnTo>
                  <a:pt x="373" y="122"/>
                </a:lnTo>
                <a:lnTo>
                  <a:pt x="394" y="117"/>
                </a:lnTo>
                <a:lnTo>
                  <a:pt x="402" y="120"/>
                </a:lnTo>
                <a:lnTo>
                  <a:pt x="409" y="126"/>
                </a:lnTo>
                <a:lnTo>
                  <a:pt x="417" y="128"/>
                </a:lnTo>
                <a:lnTo>
                  <a:pt x="424" y="126"/>
                </a:lnTo>
                <a:lnTo>
                  <a:pt x="439" y="124"/>
                </a:lnTo>
                <a:lnTo>
                  <a:pt x="454" y="122"/>
                </a:lnTo>
                <a:lnTo>
                  <a:pt x="475" y="122"/>
                </a:lnTo>
                <a:lnTo>
                  <a:pt x="483" y="117"/>
                </a:lnTo>
                <a:lnTo>
                  <a:pt x="488" y="120"/>
                </a:lnTo>
                <a:lnTo>
                  <a:pt x="505" y="122"/>
                </a:lnTo>
                <a:lnTo>
                  <a:pt x="513" y="124"/>
                </a:lnTo>
                <a:lnTo>
                  <a:pt x="520" y="124"/>
                </a:lnTo>
                <a:lnTo>
                  <a:pt x="528" y="120"/>
                </a:lnTo>
                <a:lnTo>
                  <a:pt x="598" y="137"/>
                </a:lnTo>
                <a:lnTo>
                  <a:pt x="690" y="156"/>
                </a:lnTo>
                <a:lnTo>
                  <a:pt x="690" y="166"/>
                </a:lnTo>
                <a:lnTo>
                  <a:pt x="694" y="173"/>
                </a:lnTo>
                <a:lnTo>
                  <a:pt x="696" y="177"/>
                </a:lnTo>
                <a:lnTo>
                  <a:pt x="711" y="190"/>
                </a:lnTo>
                <a:lnTo>
                  <a:pt x="713" y="205"/>
                </a:lnTo>
                <a:lnTo>
                  <a:pt x="709" y="211"/>
                </a:lnTo>
                <a:lnTo>
                  <a:pt x="692" y="230"/>
                </a:lnTo>
                <a:lnTo>
                  <a:pt x="681" y="254"/>
                </a:lnTo>
                <a:lnTo>
                  <a:pt x="669" y="267"/>
                </a:lnTo>
                <a:lnTo>
                  <a:pt x="669" y="273"/>
                </a:lnTo>
                <a:lnTo>
                  <a:pt x="664" y="281"/>
                </a:lnTo>
                <a:lnTo>
                  <a:pt x="658" y="288"/>
                </a:lnTo>
                <a:lnTo>
                  <a:pt x="645" y="294"/>
                </a:lnTo>
                <a:lnTo>
                  <a:pt x="637" y="309"/>
                </a:lnTo>
                <a:lnTo>
                  <a:pt x="630" y="316"/>
                </a:lnTo>
                <a:lnTo>
                  <a:pt x="626" y="339"/>
                </a:lnTo>
                <a:lnTo>
                  <a:pt x="628" y="343"/>
                </a:lnTo>
                <a:lnTo>
                  <a:pt x="635" y="345"/>
                </a:lnTo>
                <a:lnTo>
                  <a:pt x="641" y="350"/>
                </a:lnTo>
                <a:lnTo>
                  <a:pt x="645" y="356"/>
                </a:lnTo>
                <a:lnTo>
                  <a:pt x="641" y="365"/>
                </a:lnTo>
                <a:lnTo>
                  <a:pt x="639" y="373"/>
                </a:lnTo>
                <a:lnTo>
                  <a:pt x="632" y="388"/>
                </a:lnTo>
                <a:lnTo>
                  <a:pt x="630" y="390"/>
                </a:lnTo>
                <a:lnTo>
                  <a:pt x="628" y="396"/>
                </a:lnTo>
                <a:lnTo>
                  <a:pt x="586" y="595"/>
                </a:lnTo>
                <a:lnTo>
                  <a:pt x="486" y="573"/>
                </a:lnTo>
                <a:lnTo>
                  <a:pt x="343" y="541"/>
                </a:lnTo>
                <a:lnTo>
                  <a:pt x="192" y="501"/>
                </a:lnTo>
                <a:lnTo>
                  <a:pt x="11" y="452"/>
                </a:lnTo>
                <a:lnTo>
                  <a:pt x="6" y="45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6" name="Freeform 672"/>
          <p:cNvSpPr>
            <a:spLocks/>
          </p:cNvSpPr>
          <p:nvPr/>
        </p:nvSpPr>
        <p:spPr bwMode="auto">
          <a:xfrm>
            <a:off x="774700" y="2273300"/>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673"/>
          <p:cNvSpPr>
            <a:spLocks/>
          </p:cNvSpPr>
          <p:nvPr/>
        </p:nvSpPr>
        <p:spPr bwMode="auto">
          <a:xfrm>
            <a:off x="774700" y="2273300"/>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8" name="Freeform 674"/>
          <p:cNvSpPr>
            <a:spLocks/>
          </p:cNvSpPr>
          <p:nvPr/>
        </p:nvSpPr>
        <p:spPr bwMode="auto">
          <a:xfrm>
            <a:off x="774700" y="2276475"/>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675"/>
          <p:cNvSpPr>
            <a:spLocks/>
          </p:cNvSpPr>
          <p:nvPr/>
        </p:nvSpPr>
        <p:spPr bwMode="auto">
          <a:xfrm>
            <a:off x="774700" y="2276475"/>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0" name="Freeform 676"/>
          <p:cNvSpPr>
            <a:spLocks/>
          </p:cNvSpPr>
          <p:nvPr/>
        </p:nvSpPr>
        <p:spPr bwMode="auto">
          <a:xfrm>
            <a:off x="1116012" y="2665413"/>
            <a:ext cx="895350" cy="1390650"/>
          </a:xfrm>
          <a:custGeom>
            <a:avLst/>
            <a:gdLst>
              <a:gd name="T0" fmla="*/ 17 w 564"/>
              <a:gd name="T1" fmla="*/ 254 h 876"/>
              <a:gd name="T2" fmla="*/ 79 w 564"/>
              <a:gd name="T3" fmla="*/ 0 h 876"/>
              <a:gd name="T4" fmla="*/ 222 w 564"/>
              <a:gd name="T5" fmla="*/ 32 h 876"/>
              <a:gd name="T6" fmla="*/ 322 w 564"/>
              <a:gd name="T7" fmla="*/ 54 h 876"/>
              <a:gd name="T8" fmla="*/ 454 w 564"/>
              <a:gd name="T9" fmla="*/ 81 h 876"/>
              <a:gd name="T10" fmla="*/ 564 w 564"/>
              <a:gd name="T11" fmla="*/ 103 h 876"/>
              <a:gd name="T12" fmla="*/ 464 w 564"/>
              <a:gd name="T13" fmla="*/ 661 h 876"/>
              <a:gd name="T14" fmla="*/ 449 w 564"/>
              <a:gd name="T15" fmla="*/ 748 h 876"/>
              <a:gd name="T16" fmla="*/ 441 w 564"/>
              <a:gd name="T17" fmla="*/ 759 h 876"/>
              <a:gd name="T18" fmla="*/ 432 w 564"/>
              <a:gd name="T19" fmla="*/ 767 h 876"/>
              <a:gd name="T20" fmla="*/ 426 w 564"/>
              <a:gd name="T21" fmla="*/ 765 h 876"/>
              <a:gd name="T22" fmla="*/ 424 w 564"/>
              <a:gd name="T23" fmla="*/ 756 h 876"/>
              <a:gd name="T24" fmla="*/ 417 w 564"/>
              <a:gd name="T25" fmla="*/ 750 h 876"/>
              <a:gd name="T26" fmla="*/ 409 w 564"/>
              <a:gd name="T27" fmla="*/ 750 h 876"/>
              <a:gd name="T28" fmla="*/ 403 w 564"/>
              <a:gd name="T29" fmla="*/ 746 h 876"/>
              <a:gd name="T30" fmla="*/ 394 w 564"/>
              <a:gd name="T31" fmla="*/ 746 h 876"/>
              <a:gd name="T32" fmla="*/ 385 w 564"/>
              <a:gd name="T33" fmla="*/ 752 h 876"/>
              <a:gd name="T34" fmla="*/ 381 w 564"/>
              <a:gd name="T35" fmla="*/ 761 h 876"/>
              <a:gd name="T36" fmla="*/ 388 w 564"/>
              <a:gd name="T37" fmla="*/ 776 h 876"/>
              <a:gd name="T38" fmla="*/ 383 w 564"/>
              <a:gd name="T39" fmla="*/ 782 h 876"/>
              <a:gd name="T40" fmla="*/ 381 w 564"/>
              <a:gd name="T41" fmla="*/ 790 h 876"/>
              <a:gd name="T42" fmla="*/ 383 w 564"/>
              <a:gd name="T43" fmla="*/ 803 h 876"/>
              <a:gd name="T44" fmla="*/ 381 w 564"/>
              <a:gd name="T45" fmla="*/ 814 h 876"/>
              <a:gd name="T46" fmla="*/ 379 w 564"/>
              <a:gd name="T47" fmla="*/ 822 h 876"/>
              <a:gd name="T48" fmla="*/ 383 w 564"/>
              <a:gd name="T49" fmla="*/ 835 h 876"/>
              <a:gd name="T50" fmla="*/ 381 w 564"/>
              <a:gd name="T51" fmla="*/ 852 h 876"/>
              <a:gd name="T52" fmla="*/ 373 w 564"/>
              <a:gd name="T53" fmla="*/ 859 h 876"/>
              <a:gd name="T54" fmla="*/ 373 w 564"/>
              <a:gd name="T55" fmla="*/ 876 h 876"/>
              <a:gd name="T56" fmla="*/ 262 w 564"/>
              <a:gd name="T57" fmla="*/ 712 h 876"/>
              <a:gd name="T58" fmla="*/ 0 w 564"/>
              <a:gd name="T59" fmla="*/ 328 h 876"/>
              <a:gd name="T60" fmla="*/ 17 w 564"/>
              <a:gd name="T61" fmla="*/ 25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4" h="876">
                <a:moveTo>
                  <a:pt x="17" y="254"/>
                </a:moveTo>
                <a:lnTo>
                  <a:pt x="79" y="0"/>
                </a:lnTo>
                <a:lnTo>
                  <a:pt x="222" y="32"/>
                </a:lnTo>
                <a:lnTo>
                  <a:pt x="322" y="54"/>
                </a:lnTo>
                <a:lnTo>
                  <a:pt x="454" y="81"/>
                </a:lnTo>
                <a:lnTo>
                  <a:pt x="564" y="103"/>
                </a:lnTo>
                <a:lnTo>
                  <a:pt x="464" y="661"/>
                </a:lnTo>
                <a:lnTo>
                  <a:pt x="449" y="748"/>
                </a:lnTo>
                <a:lnTo>
                  <a:pt x="441" y="759"/>
                </a:lnTo>
                <a:lnTo>
                  <a:pt x="432" y="767"/>
                </a:lnTo>
                <a:lnTo>
                  <a:pt x="426" y="765"/>
                </a:lnTo>
                <a:lnTo>
                  <a:pt x="424" y="756"/>
                </a:lnTo>
                <a:lnTo>
                  <a:pt x="417" y="750"/>
                </a:lnTo>
                <a:lnTo>
                  <a:pt x="409" y="750"/>
                </a:lnTo>
                <a:lnTo>
                  <a:pt x="403" y="746"/>
                </a:lnTo>
                <a:lnTo>
                  <a:pt x="394" y="746"/>
                </a:lnTo>
                <a:lnTo>
                  <a:pt x="385" y="752"/>
                </a:lnTo>
                <a:lnTo>
                  <a:pt x="381" y="761"/>
                </a:lnTo>
                <a:lnTo>
                  <a:pt x="388" y="776"/>
                </a:lnTo>
                <a:lnTo>
                  <a:pt x="383" y="782"/>
                </a:lnTo>
                <a:lnTo>
                  <a:pt x="381" y="790"/>
                </a:lnTo>
                <a:lnTo>
                  <a:pt x="383" y="803"/>
                </a:lnTo>
                <a:lnTo>
                  <a:pt x="381" y="814"/>
                </a:lnTo>
                <a:lnTo>
                  <a:pt x="379" y="822"/>
                </a:lnTo>
                <a:lnTo>
                  <a:pt x="383" y="835"/>
                </a:lnTo>
                <a:lnTo>
                  <a:pt x="381" y="852"/>
                </a:lnTo>
                <a:lnTo>
                  <a:pt x="373" y="859"/>
                </a:lnTo>
                <a:lnTo>
                  <a:pt x="373" y="876"/>
                </a:lnTo>
                <a:lnTo>
                  <a:pt x="262" y="712"/>
                </a:lnTo>
                <a:lnTo>
                  <a:pt x="0" y="328"/>
                </a:lnTo>
                <a:lnTo>
                  <a:pt x="17" y="25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677"/>
          <p:cNvSpPr>
            <a:spLocks/>
          </p:cNvSpPr>
          <p:nvPr/>
        </p:nvSpPr>
        <p:spPr bwMode="auto">
          <a:xfrm>
            <a:off x="1116012" y="2665413"/>
            <a:ext cx="895350" cy="1390650"/>
          </a:xfrm>
          <a:custGeom>
            <a:avLst/>
            <a:gdLst>
              <a:gd name="T0" fmla="*/ 17 w 564"/>
              <a:gd name="T1" fmla="*/ 254 h 876"/>
              <a:gd name="T2" fmla="*/ 79 w 564"/>
              <a:gd name="T3" fmla="*/ 0 h 876"/>
              <a:gd name="T4" fmla="*/ 222 w 564"/>
              <a:gd name="T5" fmla="*/ 32 h 876"/>
              <a:gd name="T6" fmla="*/ 322 w 564"/>
              <a:gd name="T7" fmla="*/ 54 h 876"/>
              <a:gd name="T8" fmla="*/ 454 w 564"/>
              <a:gd name="T9" fmla="*/ 81 h 876"/>
              <a:gd name="T10" fmla="*/ 564 w 564"/>
              <a:gd name="T11" fmla="*/ 103 h 876"/>
              <a:gd name="T12" fmla="*/ 464 w 564"/>
              <a:gd name="T13" fmla="*/ 661 h 876"/>
              <a:gd name="T14" fmla="*/ 449 w 564"/>
              <a:gd name="T15" fmla="*/ 748 h 876"/>
              <a:gd name="T16" fmla="*/ 441 w 564"/>
              <a:gd name="T17" fmla="*/ 759 h 876"/>
              <a:gd name="T18" fmla="*/ 432 w 564"/>
              <a:gd name="T19" fmla="*/ 767 h 876"/>
              <a:gd name="T20" fmla="*/ 426 w 564"/>
              <a:gd name="T21" fmla="*/ 765 h 876"/>
              <a:gd name="T22" fmla="*/ 424 w 564"/>
              <a:gd name="T23" fmla="*/ 756 h 876"/>
              <a:gd name="T24" fmla="*/ 417 w 564"/>
              <a:gd name="T25" fmla="*/ 750 h 876"/>
              <a:gd name="T26" fmla="*/ 409 w 564"/>
              <a:gd name="T27" fmla="*/ 750 h 876"/>
              <a:gd name="T28" fmla="*/ 403 w 564"/>
              <a:gd name="T29" fmla="*/ 746 h 876"/>
              <a:gd name="T30" fmla="*/ 394 w 564"/>
              <a:gd name="T31" fmla="*/ 746 h 876"/>
              <a:gd name="T32" fmla="*/ 385 w 564"/>
              <a:gd name="T33" fmla="*/ 752 h 876"/>
              <a:gd name="T34" fmla="*/ 381 w 564"/>
              <a:gd name="T35" fmla="*/ 761 h 876"/>
              <a:gd name="T36" fmla="*/ 388 w 564"/>
              <a:gd name="T37" fmla="*/ 776 h 876"/>
              <a:gd name="T38" fmla="*/ 383 w 564"/>
              <a:gd name="T39" fmla="*/ 782 h 876"/>
              <a:gd name="T40" fmla="*/ 381 w 564"/>
              <a:gd name="T41" fmla="*/ 790 h 876"/>
              <a:gd name="T42" fmla="*/ 383 w 564"/>
              <a:gd name="T43" fmla="*/ 803 h 876"/>
              <a:gd name="T44" fmla="*/ 381 w 564"/>
              <a:gd name="T45" fmla="*/ 814 h 876"/>
              <a:gd name="T46" fmla="*/ 379 w 564"/>
              <a:gd name="T47" fmla="*/ 822 h 876"/>
              <a:gd name="T48" fmla="*/ 383 w 564"/>
              <a:gd name="T49" fmla="*/ 835 h 876"/>
              <a:gd name="T50" fmla="*/ 381 w 564"/>
              <a:gd name="T51" fmla="*/ 852 h 876"/>
              <a:gd name="T52" fmla="*/ 373 w 564"/>
              <a:gd name="T53" fmla="*/ 859 h 876"/>
              <a:gd name="T54" fmla="*/ 373 w 564"/>
              <a:gd name="T55" fmla="*/ 876 h 876"/>
              <a:gd name="T56" fmla="*/ 262 w 564"/>
              <a:gd name="T57" fmla="*/ 712 h 876"/>
              <a:gd name="T58" fmla="*/ 0 w 564"/>
              <a:gd name="T59" fmla="*/ 328 h 876"/>
              <a:gd name="T60" fmla="*/ 17 w 564"/>
              <a:gd name="T61" fmla="*/ 25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4" h="876">
                <a:moveTo>
                  <a:pt x="17" y="254"/>
                </a:moveTo>
                <a:lnTo>
                  <a:pt x="79" y="0"/>
                </a:lnTo>
                <a:lnTo>
                  <a:pt x="222" y="32"/>
                </a:lnTo>
                <a:lnTo>
                  <a:pt x="322" y="54"/>
                </a:lnTo>
                <a:lnTo>
                  <a:pt x="454" y="81"/>
                </a:lnTo>
                <a:lnTo>
                  <a:pt x="564" y="103"/>
                </a:lnTo>
                <a:lnTo>
                  <a:pt x="464" y="661"/>
                </a:lnTo>
                <a:lnTo>
                  <a:pt x="449" y="748"/>
                </a:lnTo>
                <a:lnTo>
                  <a:pt x="441" y="759"/>
                </a:lnTo>
                <a:lnTo>
                  <a:pt x="432" y="767"/>
                </a:lnTo>
                <a:lnTo>
                  <a:pt x="426" y="765"/>
                </a:lnTo>
                <a:lnTo>
                  <a:pt x="424" y="756"/>
                </a:lnTo>
                <a:lnTo>
                  <a:pt x="417" y="750"/>
                </a:lnTo>
                <a:lnTo>
                  <a:pt x="409" y="750"/>
                </a:lnTo>
                <a:lnTo>
                  <a:pt x="403" y="746"/>
                </a:lnTo>
                <a:lnTo>
                  <a:pt x="394" y="746"/>
                </a:lnTo>
                <a:lnTo>
                  <a:pt x="385" y="752"/>
                </a:lnTo>
                <a:lnTo>
                  <a:pt x="381" y="761"/>
                </a:lnTo>
                <a:lnTo>
                  <a:pt x="388" y="776"/>
                </a:lnTo>
                <a:lnTo>
                  <a:pt x="383" y="782"/>
                </a:lnTo>
                <a:lnTo>
                  <a:pt x="381" y="790"/>
                </a:lnTo>
                <a:lnTo>
                  <a:pt x="383" y="803"/>
                </a:lnTo>
                <a:lnTo>
                  <a:pt x="381" y="814"/>
                </a:lnTo>
                <a:lnTo>
                  <a:pt x="379" y="822"/>
                </a:lnTo>
                <a:lnTo>
                  <a:pt x="383" y="835"/>
                </a:lnTo>
                <a:lnTo>
                  <a:pt x="381" y="852"/>
                </a:lnTo>
                <a:lnTo>
                  <a:pt x="373" y="859"/>
                </a:lnTo>
                <a:lnTo>
                  <a:pt x="373" y="876"/>
                </a:lnTo>
                <a:lnTo>
                  <a:pt x="262" y="712"/>
                </a:lnTo>
                <a:lnTo>
                  <a:pt x="0" y="328"/>
                </a:lnTo>
                <a:lnTo>
                  <a:pt x="17" y="25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2" name="Freeform 678"/>
          <p:cNvSpPr>
            <a:spLocks/>
          </p:cNvSpPr>
          <p:nvPr/>
        </p:nvSpPr>
        <p:spPr bwMode="auto">
          <a:xfrm>
            <a:off x="1600200" y="3714750"/>
            <a:ext cx="952500" cy="1114425"/>
          </a:xfrm>
          <a:custGeom>
            <a:avLst/>
            <a:gdLst>
              <a:gd name="T0" fmla="*/ 14 w 600"/>
              <a:gd name="T1" fmla="*/ 464 h 702"/>
              <a:gd name="T2" fmla="*/ 21 w 600"/>
              <a:gd name="T3" fmla="*/ 466 h 702"/>
              <a:gd name="T4" fmla="*/ 31 w 600"/>
              <a:gd name="T5" fmla="*/ 460 h 702"/>
              <a:gd name="T6" fmla="*/ 38 w 600"/>
              <a:gd name="T7" fmla="*/ 443 h 702"/>
              <a:gd name="T8" fmla="*/ 31 w 600"/>
              <a:gd name="T9" fmla="*/ 432 h 702"/>
              <a:gd name="T10" fmla="*/ 21 w 600"/>
              <a:gd name="T11" fmla="*/ 423 h 702"/>
              <a:gd name="T12" fmla="*/ 25 w 600"/>
              <a:gd name="T13" fmla="*/ 408 h 702"/>
              <a:gd name="T14" fmla="*/ 27 w 600"/>
              <a:gd name="T15" fmla="*/ 394 h 702"/>
              <a:gd name="T16" fmla="*/ 46 w 600"/>
              <a:gd name="T17" fmla="*/ 372 h 702"/>
              <a:gd name="T18" fmla="*/ 53 w 600"/>
              <a:gd name="T19" fmla="*/ 355 h 702"/>
              <a:gd name="T20" fmla="*/ 57 w 600"/>
              <a:gd name="T21" fmla="*/ 330 h 702"/>
              <a:gd name="T22" fmla="*/ 68 w 600"/>
              <a:gd name="T23" fmla="*/ 317 h 702"/>
              <a:gd name="T24" fmla="*/ 98 w 600"/>
              <a:gd name="T25" fmla="*/ 298 h 702"/>
              <a:gd name="T26" fmla="*/ 80 w 600"/>
              <a:gd name="T27" fmla="*/ 276 h 702"/>
              <a:gd name="T28" fmla="*/ 78 w 600"/>
              <a:gd name="T29" fmla="*/ 259 h 702"/>
              <a:gd name="T30" fmla="*/ 74 w 600"/>
              <a:gd name="T31" fmla="*/ 244 h 702"/>
              <a:gd name="T32" fmla="*/ 66 w 600"/>
              <a:gd name="T33" fmla="*/ 221 h 702"/>
              <a:gd name="T34" fmla="*/ 68 w 600"/>
              <a:gd name="T35" fmla="*/ 198 h 702"/>
              <a:gd name="T36" fmla="*/ 78 w 600"/>
              <a:gd name="T37" fmla="*/ 174 h 702"/>
              <a:gd name="T38" fmla="*/ 76 w 600"/>
              <a:gd name="T39" fmla="*/ 153 h 702"/>
              <a:gd name="T40" fmla="*/ 76 w 600"/>
              <a:gd name="T41" fmla="*/ 129 h 702"/>
              <a:gd name="T42" fmla="*/ 83 w 600"/>
              <a:gd name="T43" fmla="*/ 115 h 702"/>
              <a:gd name="T44" fmla="*/ 80 w 600"/>
              <a:gd name="T45" fmla="*/ 91 h 702"/>
              <a:gd name="T46" fmla="*/ 98 w 600"/>
              <a:gd name="T47" fmla="*/ 85 h 702"/>
              <a:gd name="T48" fmla="*/ 112 w 600"/>
              <a:gd name="T49" fmla="*/ 89 h 702"/>
              <a:gd name="T50" fmla="*/ 121 w 600"/>
              <a:gd name="T51" fmla="*/ 104 h 702"/>
              <a:gd name="T52" fmla="*/ 136 w 600"/>
              <a:gd name="T53" fmla="*/ 98 h 702"/>
              <a:gd name="T54" fmla="*/ 159 w 600"/>
              <a:gd name="T55" fmla="*/ 0 h 702"/>
              <a:gd name="T56" fmla="*/ 362 w 600"/>
              <a:gd name="T57" fmla="*/ 34 h 702"/>
              <a:gd name="T58" fmla="*/ 600 w 600"/>
              <a:gd name="T59" fmla="*/ 66 h 702"/>
              <a:gd name="T60" fmla="*/ 519 w 600"/>
              <a:gd name="T61" fmla="*/ 702 h 702"/>
              <a:gd name="T62" fmla="*/ 330 w 600"/>
              <a:gd name="T63" fmla="*/ 677 h 702"/>
              <a:gd name="T64" fmla="*/ 21 w 600"/>
              <a:gd name="T65" fmla="*/ 500 h 702"/>
              <a:gd name="T66" fmla="*/ 2 w 600"/>
              <a:gd name="T67" fmla="*/ 47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0" h="702">
                <a:moveTo>
                  <a:pt x="12" y="464"/>
                </a:moveTo>
                <a:lnTo>
                  <a:pt x="14" y="464"/>
                </a:lnTo>
                <a:lnTo>
                  <a:pt x="19" y="464"/>
                </a:lnTo>
                <a:lnTo>
                  <a:pt x="21" y="466"/>
                </a:lnTo>
                <a:lnTo>
                  <a:pt x="29" y="466"/>
                </a:lnTo>
                <a:lnTo>
                  <a:pt x="31" y="460"/>
                </a:lnTo>
                <a:lnTo>
                  <a:pt x="38" y="455"/>
                </a:lnTo>
                <a:lnTo>
                  <a:pt x="38" y="443"/>
                </a:lnTo>
                <a:lnTo>
                  <a:pt x="38" y="436"/>
                </a:lnTo>
                <a:lnTo>
                  <a:pt x="31" y="432"/>
                </a:lnTo>
                <a:lnTo>
                  <a:pt x="23" y="430"/>
                </a:lnTo>
                <a:lnTo>
                  <a:pt x="21" y="423"/>
                </a:lnTo>
                <a:lnTo>
                  <a:pt x="25" y="415"/>
                </a:lnTo>
                <a:lnTo>
                  <a:pt x="25" y="408"/>
                </a:lnTo>
                <a:lnTo>
                  <a:pt x="23" y="400"/>
                </a:lnTo>
                <a:lnTo>
                  <a:pt x="27" y="394"/>
                </a:lnTo>
                <a:lnTo>
                  <a:pt x="34" y="387"/>
                </a:lnTo>
                <a:lnTo>
                  <a:pt x="46" y="372"/>
                </a:lnTo>
                <a:lnTo>
                  <a:pt x="49" y="364"/>
                </a:lnTo>
                <a:lnTo>
                  <a:pt x="53" y="355"/>
                </a:lnTo>
                <a:lnTo>
                  <a:pt x="55" y="342"/>
                </a:lnTo>
                <a:lnTo>
                  <a:pt x="57" y="330"/>
                </a:lnTo>
                <a:lnTo>
                  <a:pt x="63" y="325"/>
                </a:lnTo>
                <a:lnTo>
                  <a:pt x="68" y="317"/>
                </a:lnTo>
                <a:lnTo>
                  <a:pt x="93" y="304"/>
                </a:lnTo>
                <a:lnTo>
                  <a:pt x="98" y="298"/>
                </a:lnTo>
                <a:lnTo>
                  <a:pt x="93" y="291"/>
                </a:lnTo>
                <a:lnTo>
                  <a:pt x="80" y="276"/>
                </a:lnTo>
                <a:lnTo>
                  <a:pt x="80" y="268"/>
                </a:lnTo>
                <a:lnTo>
                  <a:pt x="78" y="259"/>
                </a:lnTo>
                <a:lnTo>
                  <a:pt x="76" y="253"/>
                </a:lnTo>
                <a:lnTo>
                  <a:pt x="74" y="244"/>
                </a:lnTo>
                <a:lnTo>
                  <a:pt x="66" y="227"/>
                </a:lnTo>
                <a:lnTo>
                  <a:pt x="66" y="221"/>
                </a:lnTo>
                <a:lnTo>
                  <a:pt x="68" y="215"/>
                </a:lnTo>
                <a:lnTo>
                  <a:pt x="68" y="198"/>
                </a:lnTo>
                <a:lnTo>
                  <a:pt x="76" y="191"/>
                </a:lnTo>
                <a:lnTo>
                  <a:pt x="78" y="174"/>
                </a:lnTo>
                <a:lnTo>
                  <a:pt x="74" y="161"/>
                </a:lnTo>
                <a:lnTo>
                  <a:pt x="76" y="153"/>
                </a:lnTo>
                <a:lnTo>
                  <a:pt x="78" y="142"/>
                </a:lnTo>
                <a:lnTo>
                  <a:pt x="76" y="129"/>
                </a:lnTo>
                <a:lnTo>
                  <a:pt x="78" y="121"/>
                </a:lnTo>
                <a:lnTo>
                  <a:pt x="83" y="115"/>
                </a:lnTo>
                <a:lnTo>
                  <a:pt x="76" y="100"/>
                </a:lnTo>
                <a:lnTo>
                  <a:pt x="80" y="91"/>
                </a:lnTo>
                <a:lnTo>
                  <a:pt x="89" y="85"/>
                </a:lnTo>
                <a:lnTo>
                  <a:pt x="98" y="85"/>
                </a:lnTo>
                <a:lnTo>
                  <a:pt x="104" y="89"/>
                </a:lnTo>
                <a:lnTo>
                  <a:pt x="112" y="89"/>
                </a:lnTo>
                <a:lnTo>
                  <a:pt x="119" y="95"/>
                </a:lnTo>
                <a:lnTo>
                  <a:pt x="121" y="104"/>
                </a:lnTo>
                <a:lnTo>
                  <a:pt x="127" y="106"/>
                </a:lnTo>
                <a:lnTo>
                  <a:pt x="136" y="98"/>
                </a:lnTo>
                <a:lnTo>
                  <a:pt x="144" y="87"/>
                </a:lnTo>
                <a:lnTo>
                  <a:pt x="159" y="0"/>
                </a:lnTo>
                <a:lnTo>
                  <a:pt x="240" y="14"/>
                </a:lnTo>
                <a:lnTo>
                  <a:pt x="362" y="34"/>
                </a:lnTo>
                <a:lnTo>
                  <a:pt x="479" y="51"/>
                </a:lnTo>
                <a:lnTo>
                  <a:pt x="600" y="66"/>
                </a:lnTo>
                <a:lnTo>
                  <a:pt x="519" y="698"/>
                </a:lnTo>
                <a:lnTo>
                  <a:pt x="519" y="702"/>
                </a:lnTo>
                <a:lnTo>
                  <a:pt x="472" y="696"/>
                </a:lnTo>
                <a:lnTo>
                  <a:pt x="330" y="677"/>
                </a:lnTo>
                <a:lnTo>
                  <a:pt x="208" y="609"/>
                </a:lnTo>
                <a:lnTo>
                  <a:pt x="21" y="500"/>
                </a:lnTo>
                <a:lnTo>
                  <a:pt x="0" y="487"/>
                </a:lnTo>
                <a:lnTo>
                  <a:pt x="2" y="479"/>
                </a:lnTo>
                <a:lnTo>
                  <a:pt x="12" y="464"/>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73" name="Freeform 679"/>
          <p:cNvSpPr>
            <a:spLocks/>
          </p:cNvSpPr>
          <p:nvPr/>
        </p:nvSpPr>
        <p:spPr bwMode="auto">
          <a:xfrm>
            <a:off x="1600200" y="3714750"/>
            <a:ext cx="952500" cy="1114425"/>
          </a:xfrm>
          <a:custGeom>
            <a:avLst/>
            <a:gdLst>
              <a:gd name="T0" fmla="*/ 14 w 600"/>
              <a:gd name="T1" fmla="*/ 464 h 702"/>
              <a:gd name="T2" fmla="*/ 21 w 600"/>
              <a:gd name="T3" fmla="*/ 466 h 702"/>
              <a:gd name="T4" fmla="*/ 31 w 600"/>
              <a:gd name="T5" fmla="*/ 460 h 702"/>
              <a:gd name="T6" fmla="*/ 38 w 600"/>
              <a:gd name="T7" fmla="*/ 443 h 702"/>
              <a:gd name="T8" fmla="*/ 31 w 600"/>
              <a:gd name="T9" fmla="*/ 432 h 702"/>
              <a:gd name="T10" fmla="*/ 21 w 600"/>
              <a:gd name="T11" fmla="*/ 423 h 702"/>
              <a:gd name="T12" fmla="*/ 25 w 600"/>
              <a:gd name="T13" fmla="*/ 408 h 702"/>
              <a:gd name="T14" fmla="*/ 27 w 600"/>
              <a:gd name="T15" fmla="*/ 394 h 702"/>
              <a:gd name="T16" fmla="*/ 46 w 600"/>
              <a:gd name="T17" fmla="*/ 372 h 702"/>
              <a:gd name="T18" fmla="*/ 53 w 600"/>
              <a:gd name="T19" fmla="*/ 355 h 702"/>
              <a:gd name="T20" fmla="*/ 57 w 600"/>
              <a:gd name="T21" fmla="*/ 330 h 702"/>
              <a:gd name="T22" fmla="*/ 68 w 600"/>
              <a:gd name="T23" fmla="*/ 317 h 702"/>
              <a:gd name="T24" fmla="*/ 98 w 600"/>
              <a:gd name="T25" fmla="*/ 298 h 702"/>
              <a:gd name="T26" fmla="*/ 80 w 600"/>
              <a:gd name="T27" fmla="*/ 276 h 702"/>
              <a:gd name="T28" fmla="*/ 78 w 600"/>
              <a:gd name="T29" fmla="*/ 259 h 702"/>
              <a:gd name="T30" fmla="*/ 74 w 600"/>
              <a:gd name="T31" fmla="*/ 244 h 702"/>
              <a:gd name="T32" fmla="*/ 66 w 600"/>
              <a:gd name="T33" fmla="*/ 221 h 702"/>
              <a:gd name="T34" fmla="*/ 68 w 600"/>
              <a:gd name="T35" fmla="*/ 198 h 702"/>
              <a:gd name="T36" fmla="*/ 78 w 600"/>
              <a:gd name="T37" fmla="*/ 174 h 702"/>
              <a:gd name="T38" fmla="*/ 76 w 600"/>
              <a:gd name="T39" fmla="*/ 153 h 702"/>
              <a:gd name="T40" fmla="*/ 76 w 600"/>
              <a:gd name="T41" fmla="*/ 129 h 702"/>
              <a:gd name="T42" fmla="*/ 83 w 600"/>
              <a:gd name="T43" fmla="*/ 115 h 702"/>
              <a:gd name="T44" fmla="*/ 80 w 600"/>
              <a:gd name="T45" fmla="*/ 91 h 702"/>
              <a:gd name="T46" fmla="*/ 98 w 600"/>
              <a:gd name="T47" fmla="*/ 85 h 702"/>
              <a:gd name="T48" fmla="*/ 112 w 600"/>
              <a:gd name="T49" fmla="*/ 89 h 702"/>
              <a:gd name="T50" fmla="*/ 121 w 600"/>
              <a:gd name="T51" fmla="*/ 104 h 702"/>
              <a:gd name="T52" fmla="*/ 136 w 600"/>
              <a:gd name="T53" fmla="*/ 98 h 702"/>
              <a:gd name="T54" fmla="*/ 159 w 600"/>
              <a:gd name="T55" fmla="*/ 0 h 702"/>
              <a:gd name="T56" fmla="*/ 362 w 600"/>
              <a:gd name="T57" fmla="*/ 34 h 702"/>
              <a:gd name="T58" fmla="*/ 600 w 600"/>
              <a:gd name="T59" fmla="*/ 66 h 702"/>
              <a:gd name="T60" fmla="*/ 519 w 600"/>
              <a:gd name="T61" fmla="*/ 702 h 702"/>
              <a:gd name="T62" fmla="*/ 330 w 600"/>
              <a:gd name="T63" fmla="*/ 677 h 702"/>
              <a:gd name="T64" fmla="*/ 21 w 600"/>
              <a:gd name="T65" fmla="*/ 500 h 702"/>
              <a:gd name="T66" fmla="*/ 2 w 600"/>
              <a:gd name="T67" fmla="*/ 47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0" h="702">
                <a:moveTo>
                  <a:pt x="12" y="464"/>
                </a:moveTo>
                <a:lnTo>
                  <a:pt x="14" y="464"/>
                </a:lnTo>
                <a:lnTo>
                  <a:pt x="19" y="464"/>
                </a:lnTo>
                <a:lnTo>
                  <a:pt x="21" y="466"/>
                </a:lnTo>
                <a:lnTo>
                  <a:pt x="29" y="466"/>
                </a:lnTo>
                <a:lnTo>
                  <a:pt x="31" y="460"/>
                </a:lnTo>
                <a:lnTo>
                  <a:pt x="38" y="455"/>
                </a:lnTo>
                <a:lnTo>
                  <a:pt x="38" y="443"/>
                </a:lnTo>
                <a:lnTo>
                  <a:pt x="38" y="436"/>
                </a:lnTo>
                <a:lnTo>
                  <a:pt x="31" y="432"/>
                </a:lnTo>
                <a:lnTo>
                  <a:pt x="23" y="430"/>
                </a:lnTo>
                <a:lnTo>
                  <a:pt x="21" y="423"/>
                </a:lnTo>
                <a:lnTo>
                  <a:pt x="25" y="415"/>
                </a:lnTo>
                <a:lnTo>
                  <a:pt x="25" y="408"/>
                </a:lnTo>
                <a:lnTo>
                  <a:pt x="23" y="400"/>
                </a:lnTo>
                <a:lnTo>
                  <a:pt x="27" y="394"/>
                </a:lnTo>
                <a:lnTo>
                  <a:pt x="34" y="387"/>
                </a:lnTo>
                <a:lnTo>
                  <a:pt x="46" y="372"/>
                </a:lnTo>
                <a:lnTo>
                  <a:pt x="49" y="364"/>
                </a:lnTo>
                <a:lnTo>
                  <a:pt x="53" y="355"/>
                </a:lnTo>
                <a:lnTo>
                  <a:pt x="55" y="342"/>
                </a:lnTo>
                <a:lnTo>
                  <a:pt x="57" y="330"/>
                </a:lnTo>
                <a:lnTo>
                  <a:pt x="63" y="325"/>
                </a:lnTo>
                <a:lnTo>
                  <a:pt x="68" y="317"/>
                </a:lnTo>
                <a:lnTo>
                  <a:pt x="93" y="304"/>
                </a:lnTo>
                <a:lnTo>
                  <a:pt x="98" y="298"/>
                </a:lnTo>
                <a:lnTo>
                  <a:pt x="93" y="291"/>
                </a:lnTo>
                <a:lnTo>
                  <a:pt x="80" y="276"/>
                </a:lnTo>
                <a:lnTo>
                  <a:pt x="80" y="268"/>
                </a:lnTo>
                <a:lnTo>
                  <a:pt x="78" y="259"/>
                </a:lnTo>
                <a:lnTo>
                  <a:pt x="76" y="253"/>
                </a:lnTo>
                <a:lnTo>
                  <a:pt x="74" y="244"/>
                </a:lnTo>
                <a:lnTo>
                  <a:pt x="66" y="227"/>
                </a:lnTo>
                <a:lnTo>
                  <a:pt x="66" y="221"/>
                </a:lnTo>
                <a:lnTo>
                  <a:pt x="68" y="215"/>
                </a:lnTo>
                <a:lnTo>
                  <a:pt x="68" y="198"/>
                </a:lnTo>
                <a:lnTo>
                  <a:pt x="76" y="191"/>
                </a:lnTo>
                <a:lnTo>
                  <a:pt x="78" y="174"/>
                </a:lnTo>
                <a:lnTo>
                  <a:pt x="74" y="161"/>
                </a:lnTo>
                <a:lnTo>
                  <a:pt x="76" y="153"/>
                </a:lnTo>
                <a:lnTo>
                  <a:pt x="78" y="142"/>
                </a:lnTo>
                <a:lnTo>
                  <a:pt x="76" y="129"/>
                </a:lnTo>
                <a:lnTo>
                  <a:pt x="78" y="121"/>
                </a:lnTo>
                <a:lnTo>
                  <a:pt x="83" y="115"/>
                </a:lnTo>
                <a:lnTo>
                  <a:pt x="76" y="100"/>
                </a:lnTo>
                <a:lnTo>
                  <a:pt x="80" y="91"/>
                </a:lnTo>
                <a:lnTo>
                  <a:pt x="89" y="85"/>
                </a:lnTo>
                <a:lnTo>
                  <a:pt x="98" y="85"/>
                </a:lnTo>
                <a:lnTo>
                  <a:pt x="104" y="89"/>
                </a:lnTo>
                <a:lnTo>
                  <a:pt x="112" y="89"/>
                </a:lnTo>
                <a:lnTo>
                  <a:pt x="119" y="95"/>
                </a:lnTo>
                <a:lnTo>
                  <a:pt x="121" y="104"/>
                </a:lnTo>
                <a:lnTo>
                  <a:pt x="127" y="106"/>
                </a:lnTo>
                <a:lnTo>
                  <a:pt x="136" y="98"/>
                </a:lnTo>
                <a:lnTo>
                  <a:pt x="144" y="87"/>
                </a:lnTo>
                <a:lnTo>
                  <a:pt x="159" y="0"/>
                </a:lnTo>
                <a:lnTo>
                  <a:pt x="240" y="14"/>
                </a:lnTo>
                <a:lnTo>
                  <a:pt x="362" y="34"/>
                </a:lnTo>
                <a:lnTo>
                  <a:pt x="479" y="51"/>
                </a:lnTo>
                <a:lnTo>
                  <a:pt x="600" y="66"/>
                </a:lnTo>
                <a:lnTo>
                  <a:pt x="519" y="698"/>
                </a:lnTo>
                <a:lnTo>
                  <a:pt x="519" y="702"/>
                </a:lnTo>
                <a:lnTo>
                  <a:pt x="472" y="696"/>
                </a:lnTo>
                <a:lnTo>
                  <a:pt x="330" y="677"/>
                </a:lnTo>
                <a:lnTo>
                  <a:pt x="208" y="609"/>
                </a:lnTo>
                <a:lnTo>
                  <a:pt x="21" y="500"/>
                </a:lnTo>
                <a:lnTo>
                  <a:pt x="0" y="487"/>
                </a:lnTo>
                <a:lnTo>
                  <a:pt x="2" y="479"/>
                </a:lnTo>
                <a:lnTo>
                  <a:pt x="12" y="46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4" name="Freeform 680"/>
          <p:cNvSpPr>
            <a:spLocks/>
          </p:cNvSpPr>
          <p:nvPr/>
        </p:nvSpPr>
        <p:spPr bwMode="auto">
          <a:xfrm>
            <a:off x="1627187" y="1530350"/>
            <a:ext cx="838200" cy="1358900"/>
          </a:xfrm>
          <a:custGeom>
            <a:avLst/>
            <a:gdLst>
              <a:gd name="T0" fmla="*/ 42 w 528"/>
              <a:gd name="T1" fmla="*/ 570 h 856"/>
              <a:gd name="T2" fmla="*/ 46 w 528"/>
              <a:gd name="T3" fmla="*/ 562 h 856"/>
              <a:gd name="T4" fmla="*/ 55 w 528"/>
              <a:gd name="T5" fmla="*/ 539 h 856"/>
              <a:gd name="T6" fmla="*/ 55 w 528"/>
              <a:gd name="T7" fmla="*/ 524 h 856"/>
              <a:gd name="T8" fmla="*/ 42 w 528"/>
              <a:gd name="T9" fmla="*/ 517 h 856"/>
              <a:gd name="T10" fmla="*/ 44 w 528"/>
              <a:gd name="T11" fmla="*/ 490 h 856"/>
              <a:gd name="T12" fmla="*/ 59 w 528"/>
              <a:gd name="T13" fmla="*/ 468 h 856"/>
              <a:gd name="T14" fmla="*/ 78 w 528"/>
              <a:gd name="T15" fmla="*/ 455 h 856"/>
              <a:gd name="T16" fmla="*/ 83 w 528"/>
              <a:gd name="T17" fmla="*/ 441 h 856"/>
              <a:gd name="T18" fmla="*/ 106 w 528"/>
              <a:gd name="T19" fmla="*/ 404 h 856"/>
              <a:gd name="T20" fmla="*/ 127 w 528"/>
              <a:gd name="T21" fmla="*/ 379 h 856"/>
              <a:gd name="T22" fmla="*/ 110 w 528"/>
              <a:gd name="T23" fmla="*/ 351 h 856"/>
              <a:gd name="T24" fmla="*/ 104 w 528"/>
              <a:gd name="T25" fmla="*/ 340 h 856"/>
              <a:gd name="T26" fmla="*/ 102 w 528"/>
              <a:gd name="T27" fmla="*/ 323 h 856"/>
              <a:gd name="T28" fmla="*/ 100 w 528"/>
              <a:gd name="T29" fmla="*/ 285 h 856"/>
              <a:gd name="T30" fmla="*/ 106 w 528"/>
              <a:gd name="T31" fmla="*/ 255 h 856"/>
              <a:gd name="T32" fmla="*/ 161 w 528"/>
              <a:gd name="T33" fmla="*/ 0 h 856"/>
              <a:gd name="T34" fmla="*/ 234 w 528"/>
              <a:gd name="T35" fmla="*/ 15 h 856"/>
              <a:gd name="T36" fmla="*/ 210 w 528"/>
              <a:gd name="T37" fmla="*/ 125 h 856"/>
              <a:gd name="T38" fmla="*/ 223 w 528"/>
              <a:gd name="T39" fmla="*/ 151 h 856"/>
              <a:gd name="T40" fmla="*/ 230 w 528"/>
              <a:gd name="T41" fmla="*/ 172 h 856"/>
              <a:gd name="T42" fmla="*/ 232 w 528"/>
              <a:gd name="T43" fmla="*/ 187 h 856"/>
              <a:gd name="T44" fmla="*/ 236 w 528"/>
              <a:gd name="T45" fmla="*/ 202 h 856"/>
              <a:gd name="T46" fmla="*/ 249 w 528"/>
              <a:gd name="T47" fmla="*/ 215 h 856"/>
              <a:gd name="T48" fmla="*/ 255 w 528"/>
              <a:gd name="T49" fmla="*/ 230 h 856"/>
              <a:gd name="T50" fmla="*/ 268 w 528"/>
              <a:gd name="T51" fmla="*/ 251 h 856"/>
              <a:gd name="T52" fmla="*/ 272 w 528"/>
              <a:gd name="T53" fmla="*/ 262 h 856"/>
              <a:gd name="T54" fmla="*/ 281 w 528"/>
              <a:gd name="T55" fmla="*/ 277 h 856"/>
              <a:gd name="T56" fmla="*/ 291 w 528"/>
              <a:gd name="T57" fmla="*/ 283 h 856"/>
              <a:gd name="T58" fmla="*/ 296 w 528"/>
              <a:gd name="T59" fmla="*/ 294 h 856"/>
              <a:gd name="T60" fmla="*/ 313 w 528"/>
              <a:gd name="T61" fmla="*/ 296 h 856"/>
              <a:gd name="T62" fmla="*/ 298 w 528"/>
              <a:gd name="T63" fmla="*/ 332 h 856"/>
              <a:gd name="T64" fmla="*/ 289 w 528"/>
              <a:gd name="T65" fmla="*/ 347 h 856"/>
              <a:gd name="T66" fmla="*/ 289 w 528"/>
              <a:gd name="T67" fmla="*/ 362 h 856"/>
              <a:gd name="T68" fmla="*/ 289 w 528"/>
              <a:gd name="T69" fmla="*/ 383 h 856"/>
              <a:gd name="T70" fmla="*/ 279 w 528"/>
              <a:gd name="T71" fmla="*/ 392 h 856"/>
              <a:gd name="T72" fmla="*/ 276 w 528"/>
              <a:gd name="T73" fmla="*/ 406 h 856"/>
              <a:gd name="T74" fmla="*/ 283 w 528"/>
              <a:gd name="T75" fmla="*/ 417 h 856"/>
              <a:gd name="T76" fmla="*/ 296 w 528"/>
              <a:gd name="T77" fmla="*/ 426 h 856"/>
              <a:gd name="T78" fmla="*/ 325 w 528"/>
              <a:gd name="T79" fmla="*/ 415 h 856"/>
              <a:gd name="T80" fmla="*/ 334 w 528"/>
              <a:gd name="T81" fmla="*/ 436 h 856"/>
              <a:gd name="T82" fmla="*/ 342 w 528"/>
              <a:gd name="T83" fmla="*/ 470 h 856"/>
              <a:gd name="T84" fmla="*/ 349 w 528"/>
              <a:gd name="T85" fmla="*/ 485 h 856"/>
              <a:gd name="T86" fmla="*/ 347 w 528"/>
              <a:gd name="T87" fmla="*/ 502 h 856"/>
              <a:gd name="T88" fmla="*/ 353 w 528"/>
              <a:gd name="T89" fmla="*/ 517 h 856"/>
              <a:gd name="T90" fmla="*/ 370 w 528"/>
              <a:gd name="T91" fmla="*/ 521 h 856"/>
              <a:gd name="T92" fmla="*/ 372 w 528"/>
              <a:gd name="T93" fmla="*/ 541 h 856"/>
              <a:gd name="T94" fmla="*/ 374 w 528"/>
              <a:gd name="T95" fmla="*/ 556 h 856"/>
              <a:gd name="T96" fmla="*/ 385 w 528"/>
              <a:gd name="T97" fmla="*/ 570 h 856"/>
              <a:gd name="T98" fmla="*/ 389 w 528"/>
              <a:gd name="T99" fmla="*/ 560 h 856"/>
              <a:gd name="T100" fmla="*/ 411 w 528"/>
              <a:gd name="T101" fmla="*/ 560 h 856"/>
              <a:gd name="T102" fmla="*/ 425 w 528"/>
              <a:gd name="T103" fmla="*/ 562 h 856"/>
              <a:gd name="T104" fmla="*/ 436 w 528"/>
              <a:gd name="T105" fmla="*/ 556 h 856"/>
              <a:gd name="T106" fmla="*/ 466 w 528"/>
              <a:gd name="T107" fmla="*/ 560 h 856"/>
              <a:gd name="T108" fmla="*/ 481 w 528"/>
              <a:gd name="T109" fmla="*/ 562 h 856"/>
              <a:gd name="T110" fmla="*/ 494 w 528"/>
              <a:gd name="T111" fmla="*/ 562 h 856"/>
              <a:gd name="T112" fmla="*/ 513 w 528"/>
              <a:gd name="T113" fmla="*/ 549 h 856"/>
              <a:gd name="T114" fmla="*/ 521 w 528"/>
              <a:gd name="T115" fmla="*/ 570 h 856"/>
              <a:gd name="T116" fmla="*/ 487 w 528"/>
              <a:gd name="T117" fmla="*/ 856 h 856"/>
              <a:gd name="T118" fmla="*/ 274 w 528"/>
              <a:gd name="T119" fmla="*/ 822 h 856"/>
              <a:gd name="T120" fmla="*/ 132 w 528"/>
              <a:gd name="T121" fmla="*/ 7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856">
                <a:moveTo>
                  <a:pt x="0" y="769"/>
                </a:moveTo>
                <a:lnTo>
                  <a:pt x="42" y="570"/>
                </a:lnTo>
                <a:lnTo>
                  <a:pt x="44" y="564"/>
                </a:lnTo>
                <a:lnTo>
                  <a:pt x="46" y="562"/>
                </a:lnTo>
                <a:lnTo>
                  <a:pt x="53" y="547"/>
                </a:lnTo>
                <a:lnTo>
                  <a:pt x="55" y="539"/>
                </a:lnTo>
                <a:lnTo>
                  <a:pt x="59" y="530"/>
                </a:lnTo>
                <a:lnTo>
                  <a:pt x="55" y="524"/>
                </a:lnTo>
                <a:lnTo>
                  <a:pt x="49" y="519"/>
                </a:lnTo>
                <a:lnTo>
                  <a:pt x="42" y="517"/>
                </a:lnTo>
                <a:lnTo>
                  <a:pt x="40" y="513"/>
                </a:lnTo>
                <a:lnTo>
                  <a:pt x="44" y="490"/>
                </a:lnTo>
                <a:lnTo>
                  <a:pt x="51" y="483"/>
                </a:lnTo>
                <a:lnTo>
                  <a:pt x="59" y="468"/>
                </a:lnTo>
                <a:lnTo>
                  <a:pt x="72" y="462"/>
                </a:lnTo>
                <a:lnTo>
                  <a:pt x="78" y="455"/>
                </a:lnTo>
                <a:lnTo>
                  <a:pt x="83" y="447"/>
                </a:lnTo>
                <a:lnTo>
                  <a:pt x="83" y="441"/>
                </a:lnTo>
                <a:lnTo>
                  <a:pt x="95" y="428"/>
                </a:lnTo>
                <a:lnTo>
                  <a:pt x="106" y="404"/>
                </a:lnTo>
                <a:lnTo>
                  <a:pt x="123" y="385"/>
                </a:lnTo>
                <a:lnTo>
                  <a:pt x="127" y="379"/>
                </a:lnTo>
                <a:lnTo>
                  <a:pt x="125" y="364"/>
                </a:lnTo>
                <a:lnTo>
                  <a:pt x="110" y="351"/>
                </a:lnTo>
                <a:lnTo>
                  <a:pt x="108" y="347"/>
                </a:lnTo>
                <a:lnTo>
                  <a:pt x="104" y="340"/>
                </a:lnTo>
                <a:lnTo>
                  <a:pt x="104" y="330"/>
                </a:lnTo>
                <a:lnTo>
                  <a:pt x="102" y="323"/>
                </a:lnTo>
                <a:lnTo>
                  <a:pt x="104" y="300"/>
                </a:lnTo>
                <a:lnTo>
                  <a:pt x="100" y="285"/>
                </a:lnTo>
                <a:lnTo>
                  <a:pt x="104" y="279"/>
                </a:lnTo>
                <a:lnTo>
                  <a:pt x="106" y="255"/>
                </a:lnTo>
                <a:lnTo>
                  <a:pt x="159" y="4"/>
                </a:lnTo>
                <a:lnTo>
                  <a:pt x="161" y="0"/>
                </a:lnTo>
                <a:lnTo>
                  <a:pt x="217" y="12"/>
                </a:lnTo>
                <a:lnTo>
                  <a:pt x="234" y="15"/>
                </a:lnTo>
                <a:lnTo>
                  <a:pt x="232" y="19"/>
                </a:lnTo>
                <a:lnTo>
                  <a:pt x="210" y="125"/>
                </a:lnTo>
                <a:lnTo>
                  <a:pt x="223" y="147"/>
                </a:lnTo>
                <a:lnTo>
                  <a:pt x="223" y="151"/>
                </a:lnTo>
                <a:lnTo>
                  <a:pt x="230" y="166"/>
                </a:lnTo>
                <a:lnTo>
                  <a:pt x="230" y="172"/>
                </a:lnTo>
                <a:lnTo>
                  <a:pt x="227" y="181"/>
                </a:lnTo>
                <a:lnTo>
                  <a:pt x="232" y="187"/>
                </a:lnTo>
                <a:lnTo>
                  <a:pt x="223" y="189"/>
                </a:lnTo>
                <a:lnTo>
                  <a:pt x="236" y="202"/>
                </a:lnTo>
                <a:lnTo>
                  <a:pt x="238" y="208"/>
                </a:lnTo>
                <a:lnTo>
                  <a:pt x="249" y="215"/>
                </a:lnTo>
                <a:lnTo>
                  <a:pt x="251" y="223"/>
                </a:lnTo>
                <a:lnTo>
                  <a:pt x="255" y="230"/>
                </a:lnTo>
                <a:lnTo>
                  <a:pt x="259" y="236"/>
                </a:lnTo>
                <a:lnTo>
                  <a:pt x="268" y="251"/>
                </a:lnTo>
                <a:lnTo>
                  <a:pt x="274" y="257"/>
                </a:lnTo>
                <a:lnTo>
                  <a:pt x="272" y="262"/>
                </a:lnTo>
                <a:lnTo>
                  <a:pt x="274" y="270"/>
                </a:lnTo>
                <a:lnTo>
                  <a:pt x="281" y="277"/>
                </a:lnTo>
                <a:lnTo>
                  <a:pt x="285" y="283"/>
                </a:lnTo>
                <a:lnTo>
                  <a:pt x="291" y="283"/>
                </a:lnTo>
                <a:lnTo>
                  <a:pt x="289" y="289"/>
                </a:lnTo>
                <a:lnTo>
                  <a:pt x="296" y="294"/>
                </a:lnTo>
                <a:lnTo>
                  <a:pt x="306" y="294"/>
                </a:lnTo>
                <a:lnTo>
                  <a:pt x="313" y="296"/>
                </a:lnTo>
                <a:lnTo>
                  <a:pt x="306" y="317"/>
                </a:lnTo>
                <a:lnTo>
                  <a:pt x="298" y="332"/>
                </a:lnTo>
                <a:lnTo>
                  <a:pt x="296" y="340"/>
                </a:lnTo>
                <a:lnTo>
                  <a:pt x="289" y="347"/>
                </a:lnTo>
                <a:lnTo>
                  <a:pt x="291" y="353"/>
                </a:lnTo>
                <a:lnTo>
                  <a:pt x="289" y="362"/>
                </a:lnTo>
                <a:lnTo>
                  <a:pt x="293" y="368"/>
                </a:lnTo>
                <a:lnTo>
                  <a:pt x="289" y="383"/>
                </a:lnTo>
                <a:lnTo>
                  <a:pt x="283" y="385"/>
                </a:lnTo>
                <a:lnTo>
                  <a:pt x="279" y="392"/>
                </a:lnTo>
                <a:lnTo>
                  <a:pt x="281" y="400"/>
                </a:lnTo>
                <a:lnTo>
                  <a:pt x="276" y="406"/>
                </a:lnTo>
                <a:lnTo>
                  <a:pt x="274" y="413"/>
                </a:lnTo>
                <a:lnTo>
                  <a:pt x="283" y="417"/>
                </a:lnTo>
                <a:lnTo>
                  <a:pt x="289" y="426"/>
                </a:lnTo>
                <a:lnTo>
                  <a:pt x="296" y="426"/>
                </a:lnTo>
                <a:lnTo>
                  <a:pt x="325" y="409"/>
                </a:lnTo>
                <a:lnTo>
                  <a:pt x="325" y="415"/>
                </a:lnTo>
                <a:lnTo>
                  <a:pt x="334" y="421"/>
                </a:lnTo>
                <a:lnTo>
                  <a:pt x="334" y="436"/>
                </a:lnTo>
                <a:lnTo>
                  <a:pt x="336" y="455"/>
                </a:lnTo>
                <a:lnTo>
                  <a:pt x="342" y="470"/>
                </a:lnTo>
                <a:lnTo>
                  <a:pt x="347" y="477"/>
                </a:lnTo>
                <a:lnTo>
                  <a:pt x="349" y="485"/>
                </a:lnTo>
                <a:lnTo>
                  <a:pt x="349" y="492"/>
                </a:lnTo>
                <a:lnTo>
                  <a:pt x="347" y="502"/>
                </a:lnTo>
                <a:lnTo>
                  <a:pt x="349" y="509"/>
                </a:lnTo>
                <a:lnTo>
                  <a:pt x="353" y="517"/>
                </a:lnTo>
                <a:lnTo>
                  <a:pt x="362" y="515"/>
                </a:lnTo>
                <a:lnTo>
                  <a:pt x="370" y="521"/>
                </a:lnTo>
                <a:lnTo>
                  <a:pt x="374" y="534"/>
                </a:lnTo>
                <a:lnTo>
                  <a:pt x="372" y="541"/>
                </a:lnTo>
                <a:lnTo>
                  <a:pt x="374" y="549"/>
                </a:lnTo>
                <a:lnTo>
                  <a:pt x="374" y="556"/>
                </a:lnTo>
                <a:lnTo>
                  <a:pt x="379" y="562"/>
                </a:lnTo>
                <a:lnTo>
                  <a:pt x="385" y="570"/>
                </a:lnTo>
                <a:lnTo>
                  <a:pt x="387" y="568"/>
                </a:lnTo>
                <a:lnTo>
                  <a:pt x="389" y="560"/>
                </a:lnTo>
                <a:lnTo>
                  <a:pt x="396" y="558"/>
                </a:lnTo>
                <a:lnTo>
                  <a:pt x="411" y="560"/>
                </a:lnTo>
                <a:lnTo>
                  <a:pt x="419" y="562"/>
                </a:lnTo>
                <a:lnTo>
                  <a:pt x="425" y="562"/>
                </a:lnTo>
                <a:lnTo>
                  <a:pt x="432" y="556"/>
                </a:lnTo>
                <a:lnTo>
                  <a:pt x="436" y="556"/>
                </a:lnTo>
                <a:lnTo>
                  <a:pt x="451" y="560"/>
                </a:lnTo>
                <a:lnTo>
                  <a:pt x="466" y="560"/>
                </a:lnTo>
                <a:lnTo>
                  <a:pt x="472" y="564"/>
                </a:lnTo>
                <a:lnTo>
                  <a:pt x="481" y="562"/>
                </a:lnTo>
                <a:lnTo>
                  <a:pt x="494" y="566"/>
                </a:lnTo>
                <a:lnTo>
                  <a:pt x="494" y="562"/>
                </a:lnTo>
                <a:lnTo>
                  <a:pt x="506" y="547"/>
                </a:lnTo>
                <a:lnTo>
                  <a:pt x="513" y="549"/>
                </a:lnTo>
                <a:lnTo>
                  <a:pt x="517" y="562"/>
                </a:lnTo>
                <a:lnTo>
                  <a:pt x="521" y="570"/>
                </a:lnTo>
                <a:lnTo>
                  <a:pt x="528" y="577"/>
                </a:lnTo>
                <a:lnTo>
                  <a:pt x="487" y="856"/>
                </a:lnTo>
                <a:lnTo>
                  <a:pt x="391" y="843"/>
                </a:lnTo>
                <a:lnTo>
                  <a:pt x="274" y="822"/>
                </a:lnTo>
                <a:lnTo>
                  <a:pt x="242" y="818"/>
                </a:lnTo>
                <a:lnTo>
                  <a:pt x="132" y="796"/>
                </a:lnTo>
                <a:lnTo>
                  <a:pt x="0" y="769"/>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75" name="Freeform 681"/>
          <p:cNvSpPr>
            <a:spLocks/>
          </p:cNvSpPr>
          <p:nvPr/>
        </p:nvSpPr>
        <p:spPr bwMode="auto">
          <a:xfrm>
            <a:off x="1627187" y="1530350"/>
            <a:ext cx="838200" cy="1358900"/>
          </a:xfrm>
          <a:custGeom>
            <a:avLst/>
            <a:gdLst>
              <a:gd name="T0" fmla="*/ 42 w 528"/>
              <a:gd name="T1" fmla="*/ 570 h 856"/>
              <a:gd name="T2" fmla="*/ 46 w 528"/>
              <a:gd name="T3" fmla="*/ 562 h 856"/>
              <a:gd name="T4" fmla="*/ 55 w 528"/>
              <a:gd name="T5" fmla="*/ 539 h 856"/>
              <a:gd name="T6" fmla="*/ 55 w 528"/>
              <a:gd name="T7" fmla="*/ 524 h 856"/>
              <a:gd name="T8" fmla="*/ 42 w 528"/>
              <a:gd name="T9" fmla="*/ 517 h 856"/>
              <a:gd name="T10" fmla="*/ 44 w 528"/>
              <a:gd name="T11" fmla="*/ 490 h 856"/>
              <a:gd name="T12" fmla="*/ 59 w 528"/>
              <a:gd name="T13" fmla="*/ 468 h 856"/>
              <a:gd name="T14" fmla="*/ 78 w 528"/>
              <a:gd name="T15" fmla="*/ 455 h 856"/>
              <a:gd name="T16" fmla="*/ 83 w 528"/>
              <a:gd name="T17" fmla="*/ 441 h 856"/>
              <a:gd name="T18" fmla="*/ 106 w 528"/>
              <a:gd name="T19" fmla="*/ 404 h 856"/>
              <a:gd name="T20" fmla="*/ 127 w 528"/>
              <a:gd name="T21" fmla="*/ 379 h 856"/>
              <a:gd name="T22" fmla="*/ 110 w 528"/>
              <a:gd name="T23" fmla="*/ 351 h 856"/>
              <a:gd name="T24" fmla="*/ 104 w 528"/>
              <a:gd name="T25" fmla="*/ 340 h 856"/>
              <a:gd name="T26" fmla="*/ 102 w 528"/>
              <a:gd name="T27" fmla="*/ 323 h 856"/>
              <a:gd name="T28" fmla="*/ 100 w 528"/>
              <a:gd name="T29" fmla="*/ 285 h 856"/>
              <a:gd name="T30" fmla="*/ 106 w 528"/>
              <a:gd name="T31" fmla="*/ 255 h 856"/>
              <a:gd name="T32" fmla="*/ 161 w 528"/>
              <a:gd name="T33" fmla="*/ 0 h 856"/>
              <a:gd name="T34" fmla="*/ 234 w 528"/>
              <a:gd name="T35" fmla="*/ 15 h 856"/>
              <a:gd name="T36" fmla="*/ 210 w 528"/>
              <a:gd name="T37" fmla="*/ 125 h 856"/>
              <a:gd name="T38" fmla="*/ 223 w 528"/>
              <a:gd name="T39" fmla="*/ 151 h 856"/>
              <a:gd name="T40" fmla="*/ 230 w 528"/>
              <a:gd name="T41" fmla="*/ 172 h 856"/>
              <a:gd name="T42" fmla="*/ 232 w 528"/>
              <a:gd name="T43" fmla="*/ 187 h 856"/>
              <a:gd name="T44" fmla="*/ 236 w 528"/>
              <a:gd name="T45" fmla="*/ 202 h 856"/>
              <a:gd name="T46" fmla="*/ 249 w 528"/>
              <a:gd name="T47" fmla="*/ 215 h 856"/>
              <a:gd name="T48" fmla="*/ 255 w 528"/>
              <a:gd name="T49" fmla="*/ 230 h 856"/>
              <a:gd name="T50" fmla="*/ 268 w 528"/>
              <a:gd name="T51" fmla="*/ 251 h 856"/>
              <a:gd name="T52" fmla="*/ 272 w 528"/>
              <a:gd name="T53" fmla="*/ 262 h 856"/>
              <a:gd name="T54" fmla="*/ 281 w 528"/>
              <a:gd name="T55" fmla="*/ 277 h 856"/>
              <a:gd name="T56" fmla="*/ 291 w 528"/>
              <a:gd name="T57" fmla="*/ 283 h 856"/>
              <a:gd name="T58" fmla="*/ 296 w 528"/>
              <a:gd name="T59" fmla="*/ 294 h 856"/>
              <a:gd name="T60" fmla="*/ 313 w 528"/>
              <a:gd name="T61" fmla="*/ 296 h 856"/>
              <a:gd name="T62" fmla="*/ 298 w 528"/>
              <a:gd name="T63" fmla="*/ 332 h 856"/>
              <a:gd name="T64" fmla="*/ 289 w 528"/>
              <a:gd name="T65" fmla="*/ 347 h 856"/>
              <a:gd name="T66" fmla="*/ 289 w 528"/>
              <a:gd name="T67" fmla="*/ 362 h 856"/>
              <a:gd name="T68" fmla="*/ 289 w 528"/>
              <a:gd name="T69" fmla="*/ 383 h 856"/>
              <a:gd name="T70" fmla="*/ 279 w 528"/>
              <a:gd name="T71" fmla="*/ 392 h 856"/>
              <a:gd name="T72" fmla="*/ 276 w 528"/>
              <a:gd name="T73" fmla="*/ 406 h 856"/>
              <a:gd name="T74" fmla="*/ 283 w 528"/>
              <a:gd name="T75" fmla="*/ 417 h 856"/>
              <a:gd name="T76" fmla="*/ 296 w 528"/>
              <a:gd name="T77" fmla="*/ 426 h 856"/>
              <a:gd name="T78" fmla="*/ 325 w 528"/>
              <a:gd name="T79" fmla="*/ 415 h 856"/>
              <a:gd name="T80" fmla="*/ 334 w 528"/>
              <a:gd name="T81" fmla="*/ 436 h 856"/>
              <a:gd name="T82" fmla="*/ 342 w 528"/>
              <a:gd name="T83" fmla="*/ 470 h 856"/>
              <a:gd name="T84" fmla="*/ 349 w 528"/>
              <a:gd name="T85" fmla="*/ 485 h 856"/>
              <a:gd name="T86" fmla="*/ 347 w 528"/>
              <a:gd name="T87" fmla="*/ 502 h 856"/>
              <a:gd name="T88" fmla="*/ 353 w 528"/>
              <a:gd name="T89" fmla="*/ 517 h 856"/>
              <a:gd name="T90" fmla="*/ 370 w 528"/>
              <a:gd name="T91" fmla="*/ 521 h 856"/>
              <a:gd name="T92" fmla="*/ 372 w 528"/>
              <a:gd name="T93" fmla="*/ 541 h 856"/>
              <a:gd name="T94" fmla="*/ 374 w 528"/>
              <a:gd name="T95" fmla="*/ 556 h 856"/>
              <a:gd name="T96" fmla="*/ 385 w 528"/>
              <a:gd name="T97" fmla="*/ 570 h 856"/>
              <a:gd name="T98" fmla="*/ 389 w 528"/>
              <a:gd name="T99" fmla="*/ 560 h 856"/>
              <a:gd name="T100" fmla="*/ 411 w 528"/>
              <a:gd name="T101" fmla="*/ 560 h 856"/>
              <a:gd name="T102" fmla="*/ 425 w 528"/>
              <a:gd name="T103" fmla="*/ 562 h 856"/>
              <a:gd name="T104" fmla="*/ 436 w 528"/>
              <a:gd name="T105" fmla="*/ 556 h 856"/>
              <a:gd name="T106" fmla="*/ 466 w 528"/>
              <a:gd name="T107" fmla="*/ 560 h 856"/>
              <a:gd name="T108" fmla="*/ 481 w 528"/>
              <a:gd name="T109" fmla="*/ 562 h 856"/>
              <a:gd name="T110" fmla="*/ 494 w 528"/>
              <a:gd name="T111" fmla="*/ 562 h 856"/>
              <a:gd name="T112" fmla="*/ 513 w 528"/>
              <a:gd name="T113" fmla="*/ 549 h 856"/>
              <a:gd name="T114" fmla="*/ 521 w 528"/>
              <a:gd name="T115" fmla="*/ 570 h 856"/>
              <a:gd name="T116" fmla="*/ 487 w 528"/>
              <a:gd name="T117" fmla="*/ 856 h 856"/>
              <a:gd name="T118" fmla="*/ 274 w 528"/>
              <a:gd name="T119" fmla="*/ 822 h 856"/>
              <a:gd name="T120" fmla="*/ 132 w 528"/>
              <a:gd name="T121" fmla="*/ 7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856">
                <a:moveTo>
                  <a:pt x="0" y="769"/>
                </a:moveTo>
                <a:lnTo>
                  <a:pt x="42" y="570"/>
                </a:lnTo>
                <a:lnTo>
                  <a:pt x="44" y="564"/>
                </a:lnTo>
                <a:lnTo>
                  <a:pt x="46" y="562"/>
                </a:lnTo>
                <a:lnTo>
                  <a:pt x="53" y="547"/>
                </a:lnTo>
                <a:lnTo>
                  <a:pt x="55" y="539"/>
                </a:lnTo>
                <a:lnTo>
                  <a:pt x="59" y="530"/>
                </a:lnTo>
                <a:lnTo>
                  <a:pt x="55" y="524"/>
                </a:lnTo>
                <a:lnTo>
                  <a:pt x="49" y="519"/>
                </a:lnTo>
                <a:lnTo>
                  <a:pt x="42" y="517"/>
                </a:lnTo>
                <a:lnTo>
                  <a:pt x="40" y="513"/>
                </a:lnTo>
                <a:lnTo>
                  <a:pt x="44" y="490"/>
                </a:lnTo>
                <a:lnTo>
                  <a:pt x="51" y="483"/>
                </a:lnTo>
                <a:lnTo>
                  <a:pt x="59" y="468"/>
                </a:lnTo>
                <a:lnTo>
                  <a:pt x="72" y="462"/>
                </a:lnTo>
                <a:lnTo>
                  <a:pt x="78" y="455"/>
                </a:lnTo>
                <a:lnTo>
                  <a:pt x="83" y="447"/>
                </a:lnTo>
                <a:lnTo>
                  <a:pt x="83" y="441"/>
                </a:lnTo>
                <a:lnTo>
                  <a:pt x="95" y="428"/>
                </a:lnTo>
                <a:lnTo>
                  <a:pt x="106" y="404"/>
                </a:lnTo>
                <a:lnTo>
                  <a:pt x="123" y="385"/>
                </a:lnTo>
                <a:lnTo>
                  <a:pt x="127" y="379"/>
                </a:lnTo>
                <a:lnTo>
                  <a:pt x="125" y="364"/>
                </a:lnTo>
                <a:lnTo>
                  <a:pt x="110" y="351"/>
                </a:lnTo>
                <a:lnTo>
                  <a:pt x="108" y="347"/>
                </a:lnTo>
                <a:lnTo>
                  <a:pt x="104" y="340"/>
                </a:lnTo>
                <a:lnTo>
                  <a:pt x="104" y="330"/>
                </a:lnTo>
                <a:lnTo>
                  <a:pt x="102" y="323"/>
                </a:lnTo>
                <a:lnTo>
                  <a:pt x="104" y="300"/>
                </a:lnTo>
                <a:lnTo>
                  <a:pt x="100" y="285"/>
                </a:lnTo>
                <a:lnTo>
                  <a:pt x="104" y="279"/>
                </a:lnTo>
                <a:lnTo>
                  <a:pt x="106" y="255"/>
                </a:lnTo>
                <a:lnTo>
                  <a:pt x="159" y="4"/>
                </a:lnTo>
                <a:lnTo>
                  <a:pt x="161" y="0"/>
                </a:lnTo>
                <a:lnTo>
                  <a:pt x="217" y="12"/>
                </a:lnTo>
                <a:lnTo>
                  <a:pt x="234" y="15"/>
                </a:lnTo>
                <a:lnTo>
                  <a:pt x="232" y="19"/>
                </a:lnTo>
                <a:lnTo>
                  <a:pt x="210" y="125"/>
                </a:lnTo>
                <a:lnTo>
                  <a:pt x="223" y="147"/>
                </a:lnTo>
                <a:lnTo>
                  <a:pt x="223" y="151"/>
                </a:lnTo>
                <a:lnTo>
                  <a:pt x="230" y="166"/>
                </a:lnTo>
                <a:lnTo>
                  <a:pt x="230" y="172"/>
                </a:lnTo>
                <a:lnTo>
                  <a:pt x="227" y="181"/>
                </a:lnTo>
                <a:lnTo>
                  <a:pt x="232" y="187"/>
                </a:lnTo>
                <a:lnTo>
                  <a:pt x="223" y="189"/>
                </a:lnTo>
                <a:lnTo>
                  <a:pt x="236" y="202"/>
                </a:lnTo>
                <a:lnTo>
                  <a:pt x="238" y="208"/>
                </a:lnTo>
                <a:lnTo>
                  <a:pt x="249" y="215"/>
                </a:lnTo>
                <a:lnTo>
                  <a:pt x="251" y="223"/>
                </a:lnTo>
                <a:lnTo>
                  <a:pt x="255" y="230"/>
                </a:lnTo>
                <a:lnTo>
                  <a:pt x="259" y="236"/>
                </a:lnTo>
                <a:lnTo>
                  <a:pt x="268" y="251"/>
                </a:lnTo>
                <a:lnTo>
                  <a:pt x="274" y="257"/>
                </a:lnTo>
                <a:lnTo>
                  <a:pt x="272" y="262"/>
                </a:lnTo>
                <a:lnTo>
                  <a:pt x="274" y="270"/>
                </a:lnTo>
                <a:lnTo>
                  <a:pt x="281" y="277"/>
                </a:lnTo>
                <a:lnTo>
                  <a:pt x="285" y="283"/>
                </a:lnTo>
                <a:lnTo>
                  <a:pt x="291" y="283"/>
                </a:lnTo>
                <a:lnTo>
                  <a:pt x="289" y="289"/>
                </a:lnTo>
                <a:lnTo>
                  <a:pt x="296" y="294"/>
                </a:lnTo>
                <a:lnTo>
                  <a:pt x="306" y="294"/>
                </a:lnTo>
                <a:lnTo>
                  <a:pt x="313" y="296"/>
                </a:lnTo>
                <a:lnTo>
                  <a:pt x="306" y="317"/>
                </a:lnTo>
                <a:lnTo>
                  <a:pt x="298" y="332"/>
                </a:lnTo>
                <a:lnTo>
                  <a:pt x="296" y="340"/>
                </a:lnTo>
                <a:lnTo>
                  <a:pt x="289" y="347"/>
                </a:lnTo>
                <a:lnTo>
                  <a:pt x="291" y="353"/>
                </a:lnTo>
                <a:lnTo>
                  <a:pt x="289" y="362"/>
                </a:lnTo>
                <a:lnTo>
                  <a:pt x="293" y="368"/>
                </a:lnTo>
                <a:lnTo>
                  <a:pt x="289" y="383"/>
                </a:lnTo>
                <a:lnTo>
                  <a:pt x="283" y="385"/>
                </a:lnTo>
                <a:lnTo>
                  <a:pt x="279" y="392"/>
                </a:lnTo>
                <a:lnTo>
                  <a:pt x="281" y="400"/>
                </a:lnTo>
                <a:lnTo>
                  <a:pt x="276" y="406"/>
                </a:lnTo>
                <a:lnTo>
                  <a:pt x="274" y="413"/>
                </a:lnTo>
                <a:lnTo>
                  <a:pt x="283" y="417"/>
                </a:lnTo>
                <a:lnTo>
                  <a:pt x="289" y="426"/>
                </a:lnTo>
                <a:lnTo>
                  <a:pt x="296" y="426"/>
                </a:lnTo>
                <a:lnTo>
                  <a:pt x="325" y="409"/>
                </a:lnTo>
                <a:lnTo>
                  <a:pt x="325" y="415"/>
                </a:lnTo>
                <a:lnTo>
                  <a:pt x="334" y="421"/>
                </a:lnTo>
                <a:lnTo>
                  <a:pt x="334" y="436"/>
                </a:lnTo>
                <a:lnTo>
                  <a:pt x="336" y="455"/>
                </a:lnTo>
                <a:lnTo>
                  <a:pt x="342" y="470"/>
                </a:lnTo>
                <a:lnTo>
                  <a:pt x="347" y="477"/>
                </a:lnTo>
                <a:lnTo>
                  <a:pt x="349" y="485"/>
                </a:lnTo>
                <a:lnTo>
                  <a:pt x="349" y="492"/>
                </a:lnTo>
                <a:lnTo>
                  <a:pt x="347" y="502"/>
                </a:lnTo>
                <a:lnTo>
                  <a:pt x="349" y="509"/>
                </a:lnTo>
                <a:lnTo>
                  <a:pt x="353" y="517"/>
                </a:lnTo>
                <a:lnTo>
                  <a:pt x="362" y="515"/>
                </a:lnTo>
                <a:lnTo>
                  <a:pt x="370" y="521"/>
                </a:lnTo>
                <a:lnTo>
                  <a:pt x="374" y="534"/>
                </a:lnTo>
                <a:lnTo>
                  <a:pt x="372" y="541"/>
                </a:lnTo>
                <a:lnTo>
                  <a:pt x="374" y="549"/>
                </a:lnTo>
                <a:lnTo>
                  <a:pt x="374" y="556"/>
                </a:lnTo>
                <a:lnTo>
                  <a:pt x="379" y="562"/>
                </a:lnTo>
                <a:lnTo>
                  <a:pt x="385" y="570"/>
                </a:lnTo>
                <a:lnTo>
                  <a:pt x="387" y="568"/>
                </a:lnTo>
                <a:lnTo>
                  <a:pt x="389" y="560"/>
                </a:lnTo>
                <a:lnTo>
                  <a:pt x="396" y="558"/>
                </a:lnTo>
                <a:lnTo>
                  <a:pt x="411" y="560"/>
                </a:lnTo>
                <a:lnTo>
                  <a:pt x="419" y="562"/>
                </a:lnTo>
                <a:lnTo>
                  <a:pt x="425" y="562"/>
                </a:lnTo>
                <a:lnTo>
                  <a:pt x="432" y="556"/>
                </a:lnTo>
                <a:lnTo>
                  <a:pt x="436" y="556"/>
                </a:lnTo>
                <a:lnTo>
                  <a:pt x="451" y="560"/>
                </a:lnTo>
                <a:lnTo>
                  <a:pt x="466" y="560"/>
                </a:lnTo>
                <a:lnTo>
                  <a:pt x="472" y="564"/>
                </a:lnTo>
                <a:lnTo>
                  <a:pt x="481" y="562"/>
                </a:lnTo>
                <a:lnTo>
                  <a:pt x="494" y="566"/>
                </a:lnTo>
                <a:lnTo>
                  <a:pt x="494" y="562"/>
                </a:lnTo>
                <a:lnTo>
                  <a:pt x="506" y="547"/>
                </a:lnTo>
                <a:lnTo>
                  <a:pt x="513" y="549"/>
                </a:lnTo>
                <a:lnTo>
                  <a:pt x="517" y="562"/>
                </a:lnTo>
                <a:lnTo>
                  <a:pt x="521" y="570"/>
                </a:lnTo>
                <a:lnTo>
                  <a:pt x="528" y="577"/>
                </a:lnTo>
                <a:lnTo>
                  <a:pt x="487" y="856"/>
                </a:lnTo>
                <a:lnTo>
                  <a:pt x="391" y="843"/>
                </a:lnTo>
                <a:lnTo>
                  <a:pt x="274" y="822"/>
                </a:lnTo>
                <a:lnTo>
                  <a:pt x="242" y="818"/>
                </a:lnTo>
                <a:lnTo>
                  <a:pt x="132" y="796"/>
                </a:lnTo>
                <a:lnTo>
                  <a:pt x="0" y="76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6" name="Freeform 682"/>
          <p:cNvSpPr>
            <a:spLocks/>
          </p:cNvSpPr>
          <p:nvPr/>
        </p:nvSpPr>
        <p:spPr bwMode="auto">
          <a:xfrm>
            <a:off x="1852612" y="2828925"/>
            <a:ext cx="787400" cy="990600"/>
          </a:xfrm>
          <a:custGeom>
            <a:avLst/>
            <a:gdLst>
              <a:gd name="T0" fmla="*/ 0 w 496"/>
              <a:gd name="T1" fmla="*/ 558 h 624"/>
              <a:gd name="T2" fmla="*/ 100 w 496"/>
              <a:gd name="T3" fmla="*/ 0 h 624"/>
              <a:gd name="T4" fmla="*/ 132 w 496"/>
              <a:gd name="T5" fmla="*/ 4 h 624"/>
              <a:gd name="T6" fmla="*/ 249 w 496"/>
              <a:gd name="T7" fmla="*/ 25 h 624"/>
              <a:gd name="T8" fmla="*/ 345 w 496"/>
              <a:gd name="T9" fmla="*/ 38 h 624"/>
              <a:gd name="T10" fmla="*/ 328 w 496"/>
              <a:gd name="T11" fmla="*/ 151 h 624"/>
              <a:gd name="T12" fmla="*/ 496 w 496"/>
              <a:gd name="T13" fmla="*/ 174 h 624"/>
              <a:gd name="T14" fmla="*/ 441 w 496"/>
              <a:gd name="T15" fmla="*/ 624 h 624"/>
              <a:gd name="T16" fmla="*/ 320 w 496"/>
              <a:gd name="T17" fmla="*/ 609 h 624"/>
              <a:gd name="T18" fmla="*/ 203 w 496"/>
              <a:gd name="T19" fmla="*/ 592 h 624"/>
              <a:gd name="T20" fmla="*/ 81 w 496"/>
              <a:gd name="T21" fmla="*/ 572 h 624"/>
              <a:gd name="T22" fmla="*/ 0 w 496"/>
              <a:gd name="T23" fmla="*/ 55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6" h="624">
                <a:moveTo>
                  <a:pt x="0" y="558"/>
                </a:moveTo>
                <a:lnTo>
                  <a:pt x="100" y="0"/>
                </a:lnTo>
                <a:lnTo>
                  <a:pt x="132" y="4"/>
                </a:lnTo>
                <a:lnTo>
                  <a:pt x="249" y="25"/>
                </a:lnTo>
                <a:lnTo>
                  <a:pt x="345" y="38"/>
                </a:lnTo>
                <a:lnTo>
                  <a:pt x="328" y="151"/>
                </a:lnTo>
                <a:lnTo>
                  <a:pt x="496" y="174"/>
                </a:lnTo>
                <a:lnTo>
                  <a:pt x="441" y="624"/>
                </a:lnTo>
                <a:lnTo>
                  <a:pt x="320" y="609"/>
                </a:lnTo>
                <a:lnTo>
                  <a:pt x="203" y="592"/>
                </a:lnTo>
                <a:lnTo>
                  <a:pt x="81" y="572"/>
                </a:lnTo>
                <a:lnTo>
                  <a:pt x="0" y="558"/>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77" name="Freeform 683"/>
          <p:cNvSpPr>
            <a:spLocks/>
          </p:cNvSpPr>
          <p:nvPr/>
        </p:nvSpPr>
        <p:spPr bwMode="auto">
          <a:xfrm>
            <a:off x="1852612" y="2828925"/>
            <a:ext cx="787400" cy="990600"/>
          </a:xfrm>
          <a:custGeom>
            <a:avLst/>
            <a:gdLst>
              <a:gd name="T0" fmla="*/ 0 w 496"/>
              <a:gd name="T1" fmla="*/ 558 h 624"/>
              <a:gd name="T2" fmla="*/ 100 w 496"/>
              <a:gd name="T3" fmla="*/ 0 h 624"/>
              <a:gd name="T4" fmla="*/ 132 w 496"/>
              <a:gd name="T5" fmla="*/ 4 h 624"/>
              <a:gd name="T6" fmla="*/ 249 w 496"/>
              <a:gd name="T7" fmla="*/ 25 h 624"/>
              <a:gd name="T8" fmla="*/ 345 w 496"/>
              <a:gd name="T9" fmla="*/ 38 h 624"/>
              <a:gd name="T10" fmla="*/ 328 w 496"/>
              <a:gd name="T11" fmla="*/ 151 h 624"/>
              <a:gd name="T12" fmla="*/ 496 w 496"/>
              <a:gd name="T13" fmla="*/ 174 h 624"/>
              <a:gd name="T14" fmla="*/ 441 w 496"/>
              <a:gd name="T15" fmla="*/ 624 h 624"/>
              <a:gd name="T16" fmla="*/ 320 w 496"/>
              <a:gd name="T17" fmla="*/ 609 h 624"/>
              <a:gd name="T18" fmla="*/ 203 w 496"/>
              <a:gd name="T19" fmla="*/ 592 h 624"/>
              <a:gd name="T20" fmla="*/ 81 w 496"/>
              <a:gd name="T21" fmla="*/ 572 h 624"/>
              <a:gd name="T22" fmla="*/ 0 w 496"/>
              <a:gd name="T23" fmla="*/ 55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6" h="624">
                <a:moveTo>
                  <a:pt x="0" y="558"/>
                </a:moveTo>
                <a:lnTo>
                  <a:pt x="100" y="0"/>
                </a:lnTo>
                <a:lnTo>
                  <a:pt x="132" y="4"/>
                </a:lnTo>
                <a:lnTo>
                  <a:pt x="249" y="25"/>
                </a:lnTo>
                <a:lnTo>
                  <a:pt x="345" y="38"/>
                </a:lnTo>
                <a:lnTo>
                  <a:pt x="328" y="151"/>
                </a:lnTo>
                <a:lnTo>
                  <a:pt x="496" y="174"/>
                </a:lnTo>
                <a:lnTo>
                  <a:pt x="441" y="624"/>
                </a:lnTo>
                <a:lnTo>
                  <a:pt x="320" y="609"/>
                </a:lnTo>
                <a:lnTo>
                  <a:pt x="203" y="592"/>
                </a:lnTo>
                <a:lnTo>
                  <a:pt x="81" y="572"/>
                </a:lnTo>
                <a:lnTo>
                  <a:pt x="0" y="55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8" name="Freeform 684"/>
          <p:cNvSpPr>
            <a:spLocks/>
          </p:cNvSpPr>
          <p:nvPr/>
        </p:nvSpPr>
        <p:spPr bwMode="auto">
          <a:xfrm>
            <a:off x="1960562" y="1554163"/>
            <a:ext cx="1450975" cy="901700"/>
          </a:xfrm>
          <a:custGeom>
            <a:avLst/>
            <a:gdLst>
              <a:gd name="T0" fmla="*/ 20 w 914"/>
              <a:gd name="T1" fmla="*/ 157 h 568"/>
              <a:gd name="T2" fmla="*/ 13 w 914"/>
              <a:gd name="T3" fmla="*/ 136 h 568"/>
              <a:gd name="T4" fmla="*/ 0 w 914"/>
              <a:gd name="T5" fmla="*/ 110 h 568"/>
              <a:gd name="T6" fmla="*/ 24 w 914"/>
              <a:gd name="T7" fmla="*/ 0 h 568"/>
              <a:gd name="T8" fmla="*/ 324 w 914"/>
              <a:gd name="T9" fmla="*/ 55 h 568"/>
              <a:gd name="T10" fmla="*/ 601 w 914"/>
              <a:gd name="T11" fmla="*/ 91 h 568"/>
              <a:gd name="T12" fmla="*/ 861 w 914"/>
              <a:gd name="T13" fmla="*/ 119 h 568"/>
              <a:gd name="T14" fmla="*/ 914 w 914"/>
              <a:gd name="T15" fmla="*/ 125 h 568"/>
              <a:gd name="T16" fmla="*/ 884 w 914"/>
              <a:gd name="T17" fmla="*/ 560 h 568"/>
              <a:gd name="T18" fmla="*/ 775 w 914"/>
              <a:gd name="T19" fmla="*/ 560 h 568"/>
              <a:gd name="T20" fmla="*/ 477 w 914"/>
              <a:gd name="T21" fmla="*/ 528 h 568"/>
              <a:gd name="T22" fmla="*/ 326 w 914"/>
              <a:gd name="T23" fmla="*/ 513 h 568"/>
              <a:gd name="T24" fmla="*/ 311 w 914"/>
              <a:gd name="T25" fmla="*/ 555 h 568"/>
              <a:gd name="T26" fmla="*/ 303 w 914"/>
              <a:gd name="T27" fmla="*/ 534 h 568"/>
              <a:gd name="T28" fmla="*/ 284 w 914"/>
              <a:gd name="T29" fmla="*/ 547 h 568"/>
              <a:gd name="T30" fmla="*/ 271 w 914"/>
              <a:gd name="T31" fmla="*/ 547 h 568"/>
              <a:gd name="T32" fmla="*/ 256 w 914"/>
              <a:gd name="T33" fmla="*/ 545 h 568"/>
              <a:gd name="T34" fmla="*/ 226 w 914"/>
              <a:gd name="T35" fmla="*/ 541 h 568"/>
              <a:gd name="T36" fmla="*/ 215 w 914"/>
              <a:gd name="T37" fmla="*/ 547 h 568"/>
              <a:gd name="T38" fmla="*/ 201 w 914"/>
              <a:gd name="T39" fmla="*/ 545 h 568"/>
              <a:gd name="T40" fmla="*/ 179 w 914"/>
              <a:gd name="T41" fmla="*/ 545 h 568"/>
              <a:gd name="T42" fmla="*/ 175 w 914"/>
              <a:gd name="T43" fmla="*/ 555 h 568"/>
              <a:gd name="T44" fmla="*/ 164 w 914"/>
              <a:gd name="T45" fmla="*/ 541 h 568"/>
              <a:gd name="T46" fmla="*/ 162 w 914"/>
              <a:gd name="T47" fmla="*/ 526 h 568"/>
              <a:gd name="T48" fmla="*/ 160 w 914"/>
              <a:gd name="T49" fmla="*/ 506 h 568"/>
              <a:gd name="T50" fmla="*/ 143 w 914"/>
              <a:gd name="T51" fmla="*/ 502 h 568"/>
              <a:gd name="T52" fmla="*/ 137 w 914"/>
              <a:gd name="T53" fmla="*/ 487 h 568"/>
              <a:gd name="T54" fmla="*/ 139 w 914"/>
              <a:gd name="T55" fmla="*/ 470 h 568"/>
              <a:gd name="T56" fmla="*/ 132 w 914"/>
              <a:gd name="T57" fmla="*/ 455 h 568"/>
              <a:gd name="T58" fmla="*/ 124 w 914"/>
              <a:gd name="T59" fmla="*/ 421 h 568"/>
              <a:gd name="T60" fmla="*/ 115 w 914"/>
              <a:gd name="T61" fmla="*/ 400 h 568"/>
              <a:gd name="T62" fmla="*/ 86 w 914"/>
              <a:gd name="T63" fmla="*/ 411 h 568"/>
              <a:gd name="T64" fmla="*/ 73 w 914"/>
              <a:gd name="T65" fmla="*/ 402 h 568"/>
              <a:gd name="T66" fmla="*/ 66 w 914"/>
              <a:gd name="T67" fmla="*/ 391 h 568"/>
              <a:gd name="T68" fmla="*/ 69 w 914"/>
              <a:gd name="T69" fmla="*/ 377 h 568"/>
              <a:gd name="T70" fmla="*/ 79 w 914"/>
              <a:gd name="T71" fmla="*/ 368 h 568"/>
              <a:gd name="T72" fmla="*/ 79 w 914"/>
              <a:gd name="T73" fmla="*/ 347 h 568"/>
              <a:gd name="T74" fmla="*/ 79 w 914"/>
              <a:gd name="T75" fmla="*/ 332 h 568"/>
              <a:gd name="T76" fmla="*/ 88 w 914"/>
              <a:gd name="T77" fmla="*/ 317 h 568"/>
              <a:gd name="T78" fmla="*/ 103 w 914"/>
              <a:gd name="T79" fmla="*/ 281 h 568"/>
              <a:gd name="T80" fmla="*/ 86 w 914"/>
              <a:gd name="T81" fmla="*/ 279 h 568"/>
              <a:gd name="T82" fmla="*/ 81 w 914"/>
              <a:gd name="T83" fmla="*/ 268 h 568"/>
              <a:gd name="T84" fmla="*/ 71 w 914"/>
              <a:gd name="T85" fmla="*/ 262 h 568"/>
              <a:gd name="T86" fmla="*/ 62 w 914"/>
              <a:gd name="T87" fmla="*/ 247 h 568"/>
              <a:gd name="T88" fmla="*/ 58 w 914"/>
              <a:gd name="T89" fmla="*/ 236 h 568"/>
              <a:gd name="T90" fmla="*/ 45 w 914"/>
              <a:gd name="T91" fmla="*/ 215 h 568"/>
              <a:gd name="T92" fmla="*/ 39 w 914"/>
              <a:gd name="T93" fmla="*/ 200 h 568"/>
              <a:gd name="T94" fmla="*/ 26 w 914"/>
              <a:gd name="T95" fmla="*/ 187 h 568"/>
              <a:gd name="T96" fmla="*/ 22 w 914"/>
              <a:gd name="T97" fmla="*/ 172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4" h="568">
                <a:moveTo>
                  <a:pt x="17" y="166"/>
                </a:moveTo>
                <a:lnTo>
                  <a:pt x="20" y="157"/>
                </a:lnTo>
                <a:lnTo>
                  <a:pt x="20" y="151"/>
                </a:lnTo>
                <a:lnTo>
                  <a:pt x="13" y="136"/>
                </a:lnTo>
                <a:lnTo>
                  <a:pt x="13" y="132"/>
                </a:lnTo>
                <a:lnTo>
                  <a:pt x="0" y="110"/>
                </a:lnTo>
                <a:lnTo>
                  <a:pt x="22" y="4"/>
                </a:lnTo>
                <a:lnTo>
                  <a:pt x="24" y="0"/>
                </a:lnTo>
                <a:lnTo>
                  <a:pt x="132" y="21"/>
                </a:lnTo>
                <a:lnTo>
                  <a:pt x="324" y="55"/>
                </a:lnTo>
                <a:lnTo>
                  <a:pt x="492" y="78"/>
                </a:lnTo>
                <a:lnTo>
                  <a:pt x="601" y="91"/>
                </a:lnTo>
                <a:lnTo>
                  <a:pt x="716" y="104"/>
                </a:lnTo>
                <a:lnTo>
                  <a:pt x="861" y="119"/>
                </a:lnTo>
                <a:lnTo>
                  <a:pt x="914" y="121"/>
                </a:lnTo>
                <a:lnTo>
                  <a:pt x="914" y="125"/>
                </a:lnTo>
                <a:lnTo>
                  <a:pt x="890" y="462"/>
                </a:lnTo>
                <a:lnTo>
                  <a:pt x="884" y="560"/>
                </a:lnTo>
                <a:lnTo>
                  <a:pt x="882" y="568"/>
                </a:lnTo>
                <a:lnTo>
                  <a:pt x="775" y="560"/>
                </a:lnTo>
                <a:lnTo>
                  <a:pt x="618" y="545"/>
                </a:lnTo>
                <a:lnTo>
                  <a:pt x="477" y="528"/>
                </a:lnTo>
                <a:lnTo>
                  <a:pt x="333" y="509"/>
                </a:lnTo>
                <a:lnTo>
                  <a:pt x="326" y="513"/>
                </a:lnTo>
                <a:lnTo>
                  <a:pt x="318" y="562"/>
                </a:lnTo>
                <a:lnTo>
                  <a:pt x="311" y="555"/>
                </a:lnTo>
                <a:lnTo>
                  <a:pt x="307" y="547"/>
                </a:lnTo>
                <a:lnTo>
                  <a:pt x="303" y="534"/>
                </a:lnTo>
                <a:lnTo>
                  <a:pt x="296" y="532"/>
                </a:lnTo>
                <a:lnTo>
                  <a:pt x="284" y="547"/>
                </a:lnTo>
                <a:lnTo>
                  <a:pt x="284" y="551"/>
                </a:lnTo>
                <a:lnTo>
                  <a:pt x="271" y="547"/>
                </a:lnTo>
                <a:lnTo>
                  <a:pt x="262" y="549"/>
                </a:lnTo>
                <a:lnTo>
                  <a:pt x="256" y="545"/>
                </a:lnTo>
                <a:lnTo>
                  <a:pt x="241" y="545"/>
                </a:lnTo>
                <a:lnTo>
                  <a:pt x="226" y="541"/>
                </a:lnTo>
                <a:lnTo>
                  <a:pt x="222" y="541"/>
                </a:lnTo>
                <a:lnTo>
                  <a:pt x="215" y="547"/>
                </a:lnTo>
                <a:lnTo>
                  <a:pt x="209" y="547"/>
                </a:lnTo>
                <a:lnTo>
                  <a:pt x="201" y="545"/>
                </a:lnTo>
                <a:lnTo>
                  <a:pt x="186" y="543"/>
                </a:lnTo>
                <a:lnTo>
                  <a:pt x="179" y="545"/>
                </a:lnTo>
                <a:lnTo>
                  <a:pt x="177" y="553"/>
                </a:lnTo>
                <a:lnTo>
                  <a:pt x="175" y="555"/>
                </a:lnTo>
                <a:lnTo>
                  <a:pt x="169" y="547"/>
                </a:lnTo>
                <a:lnTo>
                  <a:pt x="164" y="541"/>
                </a:lnTo>
                <a:lnTo>
                  <a:pt x="164" y="534"/>
                </a:lnTo>
                <a:lnTo>
                  <a:pt x="162" y="526"/>
                </a:lnTo>
                <a:lnTo>
                  <a:pt x="164" y="519"/>
                </a:lnTo>
                <a:lnTo>
                  <a:pt x="160" y="506"/>
                </a:lnTo>
                <a:lnTo>
                  <a:pt x="152" y="500"/>
                </a:lnTo>
                <a:lnTo>
                  <a:pt x="143" y="502"/>
                </a:lnTo>
                <a:lnTo>
                  <a:pt x="139" y="494"/>
                </a:lnTo>
                <a:lnTo>
                  <a:pt x="137" y="487"/>
                </a:lnTo>
                <a:lnTo>
                  <a:pt x="139" y="477"/>
                </a:lnTo>
                <a:lnTo>
                  <a:pt x="139" y="470"/>
                </a:lnTo>
                <a:lnTo>
                  <a:pt x="137" y="462"/>
                </a:lnTo>
                <a:lnTo>
                  <a:pt x="132" y="455"/>
                </a:lnTo>
                <a:lnTo>
                  <a:pt x="126" y="440"/>
                </a:lnTo>
                <a:lnTo>
                  <a:pt x="124" y="421"/>
                </a:lnTo>
                <a:lnTo>
                  <a:pt x="124" y="406"/>
                </a:lnTo>
                <a:lnTo>
                  <a:pt x="115" y="400"/>
                </a:lnTo>
                <a:lnTo>
                  <a:pt x="115" y="394"/>
                </a:lnTo>
                <a:lnTo>
                  <a:pt x="86" y="411"/>
                </a:lnTo>
                <a:lnTo>
                  <a:pt x="79" y="411"/>
                </a:lnTo>
                <a:lnTo>
                  <a:pt x="73" y="402"/>
                </a:lnTo>
                <a:lnTo>
                  <a:pt x="64" y="398"/>
                </a:lnTo>
                <a:lnTo>
                  <a:pt x="66" y="391"/>
                </a:lnTo>
                <a:lnTo>
                  <a:pt x="71" y="385"/>
                </a:lnTo>
                <a:lnTo>
                  <a:pt x="69" y="377"/>
                </a:lnTo>
                <a:lnTo>
                  <a:pt x="73" y="370"/>
                </a:lnTo>
                <a:lnTo>
                  <a:pt x="79" y="368"/>
                </a:lnTo>
                <a:lnTo>
                  <a:pt x="83" y="353"/>
                </a:lnTo>
                <a:lnTo>
                  <a:pt x="79" y="347"/>
                </a:lnTo>
                <a:lnTo>
                  <a:pt x="81" y="338"/>
                </a:lnTo>
                <a:lnTo>
                  <a:pt x="79" y="332"/>
                </a:lnTo>
                <a:lnTo>
                  <a:pt x="86" y="325"/>
                </a:lnTo>
                <a:lnTo>
                  <a:pt x="88" y="317"/>
                </a:lnTo>
                <a:lnTo>
                  <a:pt x="96" y="302"/>
                </a:lnTo>
                <a:lnTo>
                  <a:pt x="103" y="281"/>
                </a:lnTo>
                <a:lnTo>
                  <a:pt x="96" y="279"/>
                </a:lnTo>
                <a:lnTo>
                  <a:pt x="86" y="279"/>
                </a:lnTo>
                <a:lnTo>
                  <a:pt x="79" y="274"/>
                </a:lnTo>
                <a:lnTo>
                  <a:pt x="81" y="268"/>
                </a:lnTo>
                <a:lnTo>
                  <a:pt x="75" y="268"/>
                </a:lnTo>
                <a:lnTo>
                  <a:pt x="71" y="262"/>
                </a:lnTo>
                <a:lnTo>
                  <a:pt x="64" y="255"/>
                </a:lnTo>
                <a:lnTo>
                  <a:pt x="62" y="247"/>
                </a:lnTo>
                <a:lnTo>
                  <a:pt x="64" y="242"/>
                </a:lnTo>
                <a:lnTo>
                  <a:pt x="58" y="236"/>
                </a:lnTo>
                <a:lnTo>
                  <a:pt x="49" y="221"/>
                </a:lnTo>
                <a:lnTo>
                  <a:pt x="45" y="215"/>
                </a:lnTo>
                <a:lnTo>
                  <a:pt x="41" y="208"/>
                </a:lnTo>
                <a:lnTo>
                  <a:pt x="39" y="200"/>
                </a:lnTo>
                <a:lnTo>
                  <a:pt x="28" y="193"/>
                </a:lnTo>
                <a:lnTo>
                  <a:pt x="26" y="187"/>
                </a:lnTo>
                <a:lnTo>
                  <a:pt x="13" y="174"/>
                </a:lnTo>
                <a:lnTo>
                  <a:pt x="22" y="172"/>
                </a:lnTo>
                <a:lnTo>
                  <a:pt x="17" y="166"/>
                </a:lnTo>
                <a:close/>
              </a:path>
            </a:pathLst>
          </a:custGeom>
          <a:solidFill>
            <a:srgbClr val="FFC80B"/>
          </a:solidFill>
          <a:ln>
            <a:noFill/>
          </a:ln>
        </p:spPr>
        <p:txBody>
          <a:bodyPr vert="horz" wrap="square" lIns="91440" tIns="45720" rIns="91440" bIns="45720" numCol="1" anchor="t" anchorCtr="0" compatLnSpc="1">
            <a:prstTxWarp prst="textNoShape">
              <a:avLst/>
            </a:prstTxWarp>
          </a:bodyPr>
          <a:lstStyle/>
          <a:p>
            <a:endParaRPr lang="en-US"/>
          </a:p>
        </p:txBody>
      </p:sp>
      <p:sp>
        <p:nvSpPr>
          <p:cNvPr id="1279" name="Freeform 685"/>
          <p:cNvSpPr>
            <a:spLocks/>
          </p:cNvSpPr>
          <p:nvPr/>
        </p:nvSpPr>
        <p:spPr bwMode="auto">
          <a:xfrm>
            <a:off x="1960562" y="1554163"/>
            <a:ext cx="1450975" cy="901700"/>
          </a:xfrm>
          <a:custGeom>
            <a:avLst/>
            <a:gdLst>
              <a:gd name="T0" fmla="*/ 20 w 914"/>
              <a:gd name="T1" fmla="*/ 157 h 568"/>
              <a:gd name="T2" fmla="*/ 13 w 914"/>
              <a:gd name="T3" fmla="*/ 136 h 568"/>
              <a:gd name="T4" fmla="*/ 0 w 914"/>
              <a:gd name="T5" fmla="*/ 110 h 568"/>
              <a:gd name="T6" fmla="*/ 24 w 914"/>
              <a:gd name="T7" fmla="*/ 0 h 568"/>
              <a:gd name="T8" fmla="*/ 324 w 914"/>
              <a:gd name="T9" fmla="*/ 55 h 568"/>
              <a:gd name="T10" fmla="*/ 601 w 914"/>
              <a:gd name="T11" fmla="*/ 91 h 568"/>
              <a:gd name="T12" fmla="*/ 861 w 914"/>
              <a:gd name="T13" fmla="*/ 119 h 568"/>
              <a:gd name="T14" fmla="*/ 914 w 914"/>
              <a:gd name="T15" fmla="*/ 125 h 568"/>
              <a:gd name="T16" fmla="*/ 884 w 914"/>
              <a:gd name="T17" fmla="*/ 560 h 568"/>
              <a:gd name="T18" fmla="*/ 775 w 914"/>
              <a:gd name="T19" fmla="*/ 560 h 568"/>
              <a:gd name="T20" fmla="*/ 477 w 914"/>
              <a:gd name="T21" fmla="*/ 528 h 568"/>
              <a:gd name="T22" fmla="*/ 326 w 914"/>
              <a:gd name="T23" fmla="*/ 513 h 568"/>
              <a:gd name="T24" fmla="*/ 311 w 914"/>
              <a:gd name="T25" fmla="*/ 555 h 568"/>
              <a:gd name="T26" fmla="*/ 303 w 914"/>
              <a:gd name="T27" fmla="*/ 534 h 568"/>
              <a:gd name="T28" fmla="*/ 284 w 914"/>
              <a:gd name="T29" fmla="*/ 547 h 568"/>
              <a:gd name="T30" fmla="*/ 271 w 914"/>
              <a:gd name="T31" fmla="*/ 547 h 568"/>
              <a:gd name="T32" fmla="*/ 256 w 914"/>
              <a:gd name="T33" fmla="*/ 545 h 568"/>
              <a:gd name="T34" fmla="*/ 226 w 914"/>
              <a:gd name="T35" fmla="*/ 541 h 568"/>
              <a:gd name="T36" fmla="*/ 215 w 914"/>
              <a:gd name="T37" fmla="*/ 547 h 568"/>
              <a:gd name="T38" fmla="*/ 201 w 914"/>
              <a:gd name="T39" fmla="*/ 545 h 568"/>
              <a:gd name="T40" fmla="*/ 179 w 914"/>
              <a:gd name="T41" fmla="*/ 545 h 568"/>
              <a:gd name="T42" fmla="*/ 175 w 914"/>
              <a:gd name="T43" fmla="*/ 555 h 568"/>
              <a:gd name="T44" fmla="*/ 164 w 914"/>
              <a:gd name="T45" fmla="*/ 541 h 568"/>
              <a:gd name="T46" fmla="*/ 162 w 914"/>
              <a:gd name="T47" fmla="*/ 526 h 568"/>
              <a:gd name="T48" fmla="*/ 160 w 914"/>
              <a:gd name="T49" fmla="*/ 506 h 568"/>
              <a:gd name="T50" fmla="*/ 143 w 914"/>
              <a:gd name="T51" fmla="*/ 502 h 568"/>
              <a:gd name="T52" fmla="*/ 137 w 914"/>
              <a:gd name="T53" fmla="*/ 487 h 568"/>
              <a:gd name="T54" fmla="*/ 139 w 914"/>
              <a:gd name="T55" fmla="*/ 470 h 568"/>
              <a:gd name="T56" fmla="*/ 132 w 914"/>
              <a:gd name="T57" fmla="*/ 455 h 568"/>
              <a:gd name="T58" fmla="*/ 124 w 914"/>
              <a:gd name="T59" fmla="*/ 421 h 568"/>
              <a:gd name="T60" fmla="*/ 115 w 914"/>
              <a:gd name="T61" fmla="*/ 400 h 568"/>
              <a:gd name="T62" fmla="*/ 86 w 914"/>
              <a:gd name="T63" fmla="*/ 411 h 568"/>
              <a:gd name="T64" fmla="*/ 73 w 914"/>
              <a:gd name="T65" fmla="*/ 402 h 568"/>
              <a:gd name="T66" fmla="*/ 66 w 914"/>
              <a:gd name="T67" fmla="*/ 391 h 568"/>
              <a:gd name="T68" fmla="*/ 69 w 914"/>
              <a:gd name="T69" fmla="*/ 377 h 568"/>
              <a:gd name="T70" fmla="*/ 79 w 914"/>
              <a:gd name="T71" fmla="*/ 368 h 568"/>
              <a:gd name="T72" fmla="*/ 79 w 914"/>
              <a:gd name="T73" fmla="*/ 347 h 568"/>
              <a:gd name="T74" fmla="*/ 79 w 914"/>
              <a:gd name="T75" fmla="*/ 332 h 568"/>
              <a:gd name="T76" fmla="*/ 88 w 914"/>
              <a:gd name="T77" fmla="*/ 317 h 568"/>
              <a:gd name="T78" fmla="*/ 103 w 914"/>
              <a:gd name="T79" fmla="*/ 281 h 568"/>
              <a:gd name="T80" fmla="*/ 86 w 914"/>
              <a:gd name="T81" fmla="*/ 279 h 568"/>
              <a:gd name="T82" fmla="*/ 81 w 914"/>
              <a:gd name="T83" fmla="*/ 268 h 568"/>
              <a:gd name="T84" fmla="*/ 71 w 914"/>
              <a:gd name="T85" fmla="*/ 262 h 568"/>
              <a:gd name="T86" fmla="*/ 62 w 914"/>
              <a:gd name="T87" fmla="*/ 247 h 568"/>
              <a:gd name="T88" fmla="*/ 58 w 914"/>
              <a:gd name="T89" fmla="*/ 236 h 568"/>
              <a:gd name="T90" fmla="*/ 45 w 914"/>
              <a:gd name="T91" fmla="*/ 215 h 568"/>
              <a:gd name="T92" fmla="*/ 39 w 914"/>
              <a:gd name="T93" fmla="*/ 200 h 568"/>
              <a:gd name="T94" fmla="*/ 26 w 914"/>
              <a:gd name="T95" fmla="*/ 187 h 568"/>
              <a:gd name="T96" fmla="*/ 22 w 914"/>
              <a:gd name="T97" fmla="*/ 172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4" h="568">
                <a:moveTo>
                  <a:pt x="17" y="166"/>
                </a:moveTo>
                <a:lnTo>
                  <a:pt x="20" y="157"/>
                </a:lnTo>
                <a:lnTo>
                  <a:pt x="20" y="151"/>
                </a:lnTo>
                <a:lnTo>
                  <a:pt x="13" y="136"/>
                </a:lnTo>
                <a:lnTo>
                  <a:pt x="13" y="132"/>
                </a:lnTo>
                <a:lnTo>
                  <a:pt x="0" y="110"/>
                </a:lnTo>
                <a:lnTo>
                  <a:pt x="22" y="4"/>
                </a:lnTo>
                <a:lnTo>
                  <a:pt x="24" y="0"/>
                </a:lnTo>
                <a:lnTo>
                  <a:pt x="132" y="21"/>
                </a:lnTo>
                <a:lnTo>
                  <a:pt x="324" y="55"/>
                </a:lnTo>
                <a:lnTo>
                  <a:pt x="492" y="78"/>
                </a:lnTo>
                <a:lnTo>
                  <a:pt x="601" y="91"/>
                </a:lnTo>
                <a:lnTo>
                  <a:pt x="716" y="104"/>
                </a:lnTo>
                <a:lnTo>
                  <a:pt x="861" y="119"/>
                </a:lnTo>
                <a:lnTo>
                  <a:pt x="914" y="121"/>
                </a:lnTo>
                <a:lnTo>
                  <a:pt x="914" y="125"/>
                </a:lnTo>
                <a:lnTo>
                  <a:pt x="890" y="462"/>
                </a:lnTo>
                <a:lnTo>
                  <a:pt x="884" y="560"/>
                </a:lnTo>
                <a:lnTo>
                  <a:pt x="882" y="568"/>
                </a:lnTo>
                <a:lnTo>
                  <a:pt x="775" y="560"/>
                </a:lnTo>
                <a:lnTo>
                  <a:pt x="618" y="545"/>
                </a:lnTo>
                <a:lnTo>
                  <a:pt x="477" y="528"/>
                </a:lnTo>
                <a:lnTo>
                  <a:pt x="333" y="509"/>
                </a:lnTo>
                <a:lnTo>
                  <a:pt x="326" y="513"/>
                </a:lnTo>
                <a:lnTo>
                  <a:pt x="318" y="562"/>
                </a:lnTo>
                <a:lnTo>
                  <a:pt x="311" y="555"/>
                </a:lnTo>
                <a:lnTo>
                  <a:pt x="307" y="547"/>
                </a:lnTo>
                <a:lnTo>
                  <a:pt x="303" y="534"/>
                </a:lnTo>
                <a:lnTo>
                  <a:pt x="296" y="532"/>
                </a:lnTo>
                <a:lnTo>
                  <a:pt x="284" y="547"/>
                </a:lnTo>
                <a:lnTo>
                  <a:pt x="284" y="551"/>
                </a:lnTo>
                <a:lnTo>
                  <a:pt x="271" y="547"/>
                </a:lnTo>
                <a:lnTo>
                  <a:pt x="262" y="549"/>
                </a:lnTo>
                <a:lnTo>
                  <a:pt x="256" y="545"/>
                </a:lnTo>
                <a:lnTo>
                  <a:pt x="241" y="545"/>
                </a:lnTo>
                <a:lnTo>
                  <a:pt x="226" y="541"/>
                </a:lnTo>
                <a:lnTo>
                  <a:pt x="222" y="541"/>
                </a:lnTo>
                <a:lnTo>
                  <a:pt x="215" y="547"/>
                </a:lnTo>
                <a:lnTo>
                  <a:pt x="209" y="547"/>
                </a:lnTo>
                <a:lnTo>
                  <a:pt x="201" y="545"/>
                </a:lnTo>
                <a:lnTo>
                  <a:pt x="186" y="543"/>
                </a:lnTo>
                <a:lnTo>
                  <a:pt x="179" y="545"/>
                </a:lnTo>
                <a:lnTo>
                  <a:pt x="177" y="553"/>
                </a:lnTo>
                <a:lnTo>
                  <a:pt x="175" y="555"/>
                </a:lnTo>
                <a:lnTo>
                  <a:pt x="169" y="547"/>
                </a:lnTo>
                <a:lnTo>
                  <a:pt x="164" y="541"/>
                </a:lnTo>
                <a:lnTo>
                  <a:pt x="164" y="534"/>
                </a:lnTo>
                <a:lnTo>
                  <a:pt x="162" y="526"/>
                </a:lnTo>
                <a:lnTo>
                  <a:pt x="164" y="519"/>
                </a:lnTo>
                <a:lnTo>
                  <a:pt x="160" y="506"/>
                </a:lnTo>
                <a:lnTo>
                  <a:pt x="152" y="500"/>
                </a:lnTo>
                <a:lnTo>
                  <a:pt x="143" y="502"/>
                </a:lnTo>
                <a:lnTo>
                  <a:pt x="139" y="494"/>
                </a:lnTo>
                <a:lnTo>
                  <a:pt x="137" y="487"/>
                </a:lnTo>
                <a:lnTo>
                  <a:pt x="139" y="477"/>
                </a:lnTo>
                <a:lnTo>
                  <a:pt x="139" y="470"/>
                </a:lnTo>
                <a:lnTo>
                  <a:pt x="137" y="462"/>
                </a:lnTo>
                <a:lnTo>
                  <a:pt x="132" y="455"/>
                </a:lnTo>
                <a:lnTo>
                  <a:pt x="126" y="440"/>
                </a:lnTo>
                <a:lnTo>
                  <a:pt x="124" y="421"/>
                </a:lnTo>
                <a:lnTo>
                  <a:pt x="124" y="406"/>
                </a:lnTo>
                <a:lnTo>
                  <a:pt x="115" y="400"/>
                </a:lnTo>
                <a:lnTo>
                  <a:pt x="115" y="394"/>
                </a:lnTo>
                <a:lnTo>
                  <a:pt x="86" y="411"/>
                </a:lnTo>
                <a:lnTo>
                  <a:pt x="79" y="411"/>
                </a:lnTo>
                <a:lnTo>
                  <a:pt x="73" y="402"/>
                </a:lnTo>
                <a:lnTo>
                  <a:pt x="64" y="398"/>
                </a:lnTo>
                <a:lnTo>
                  <a:pt x="66" y="391"/>
                </a:lnTo>
                <a:lnTo>
                  <a:pt x="71" y="385"/>
                </a:lnTo>
                <a:lnTo>
                  <a:pt x="69" y="377"/>
                </a:lnTo>
                <a:lnTo>
                  <a:pt x="73" y="370"/>
                </a:lnTo>
                <a:lnTo>
                  <a:pt x="79" y="368"/>
                </a:lnTo>
                <a:lnTo>
                  <a:pt x="83" y="353"/>
                </a:lnTo>
                <a:lnTo>
                  <a:pt x="79" y="347"/>
                </a:lnTo>
                <a:lnTo>
                  <a:pt x="81" y="338"/>
                </a:lnTo>
                <a:lnTo>
                  <a:pt x="79" y="332"/>
                </a:lnTo>
                <a:lnTo>
                  <a:pt x="86" y="325"/>
                </a:lnTo>
                <a:lnTo>
                  <a:pt x="88" y="317"/>
                </a:lnTo>
                <a:lnTo>
                  <a:pt x="96" y="302"/>
                </a:lnTo>
                <a:lnTo>
                  <a:pt x="103" y="281"/>
                </a:lnTo>
                <a:lnTo>
                  <a:pt x="96" y="279"/>
                </a:lnTo>
                <a:lnTo>
                  <a:pt x="86" y="279"/>
                </a:lnTo>
                <a:lnTo>
                  <a:pt x="79" y="274"/>
                </a:lnTo>
                <a:lnTo>
                  <a:pt x="81" y="268"/>
                </a:lnTo>
                <a:lnTo>
                  <a:pt x="75" y="268"/>
                </a:lnTo>
                <a:lnTo>
                  <a:pt x="71" y="262"/>
                </a:lnTo>
                <a:lnTo>
                  <a:pt x="64" y="255"/>
                </a:lnTo>
                <a:lnTo>
                  <a:pt x="62" y="247"/>
                </a:lnTo>
                <a:lnTo>
                  <a:pt x="64" y="242"/>
                </a:lnTo>
                <a:lnTo>
                  <a:pt x="58" y="236"/>
                </a:lnTo>
                <a:lnTo>
                  <a:pt x="49" y="221"/>
                </a:lnTo>
                <a:lnTo>
                  <a:pt x="45" y="215"/>
                </a:lnTo>
                <a:lnTo>
                  <a:pt x="41" y="208"/>
                </a:lnTo>
                <a:lnTo>
                  <a:pt x="39" y="200"/>
                </a:lnTo>
                <a:lnTo>
                  <a:pt x="28" y="193"/>
                </a:lnTo>
                <a:lnTo>
                  <a:pt x="26" y="187"/>
                </a:lnTo>
                <a:lnTo>
                  <a:pt x="13" y="174"/>
                </a:lnTo>
                <a:lnTo>
                  <a:pt x="22" y="172"/>
                </a:lnTo>
                <a:lnTo>
                  <a:pt x="17" y="16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0" name="Freeform 686"/>
          <p:cNvSpPr>
            <a:spLocks/>
          </p:cNvSpPr>
          <p:nvPr/>
        </p:nvSpPr>
        <p:spPr bwMode="auto">
          <a:xfrm>
            <a:off x="2373312" y="2362200"/>
            <a:ext cx="987425" cy="808038"/>
          </a:xfrm>
          <a:custGeom>
            <a:avLst/>
            <a:gdLst>
              <a:gd name="T0" fmla="*/ 17 w 622"/>
              <a:gd name="T1" fmla="*/ 332 h 509"/>
              <a:gd name="T2" fmla="*/ 58 w 622"/>
              <a:gd name="T3" fmla="*/ 53 h 509"/>
              <a:gd name="T4" fmla="*/ 66 w 622"/>
              <a:gd name="T5" fmla="*/ 4 h 509"/>
              <a:gd name="T6" fmla="*/ 73 w 622"/>
              <a:gd name="T7" fmla="*/ 0 h 509"/>
              <a:gd name="T8" fmla="*/ 217 w 622"/>
              <a:gd name="T9" fmla="*/ 19 h 509"/>
              <a:gd name="T10" fmla="*/ 358 w 622"/>
              <a:gd name="T11" fmla="*/ 36 h 509"/>
              <a:gd name="T12" fmla="*/ 515 w 622"/>
              <a:gd name="T13" fmla="*/ 51 h 509"/>
              <a:gd name="T14" fmla="*/ 622 w 622"/>
              <a:gd name="T15" fmla="*/ 59 h 509"/>
              <a:gd name="T16" fmla="*/ 605 w 622"/>
              <a:gd name="T17" fmla="*/ 283 h 509"/>
              <a:gd name="T18" fmla="*/ 590 w 622"/>
              <a:gd name="T19" fmla="*/ 509 h 509"/>
              <a:gd name="T20" fmla="*/ 458 w 622"/>
              <a:gd name="T21" fmla="*/ 500 h 509"/>
              <a:gd name="T22" fmla="*/ 386 w 622"/>
              <a:gd name="T23" fmla="*/ 492 h 509"/>
              <a:gd name="T24" fmla="*/ 249 w 622"/>
              <a:gd name="T25" fmla="*/ 477 h 509"/>
              <a:gd name="T26" fmla="*/ 168 w 622"/>
              <a:gd name="T27" fmla="*/ 468 h 509"/>
              <a:gd name="T28" fmla="*/ 0 w 622"/>
              <a:gd name="T29" fmla="*/ 445 h 509"/>
              <a:gd name="T30" fmla="*/ 17 w 622"/>
              <a:gd name="T31" fmla="*/ 33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2" h="509">
                <a:moveTo>
                  <a:pt x="17" y="332"/>
                </a:moveTo>
                <a:lnTo>
                  <a:pt x="58" y="53"/>
                </a:lnTo>
                <a:lnTo>
                  <a:pt x="66" y="4"/>
                </a:lnTo>
                <a:lnTo>
                  <a:pt x="73" y="0"/>
                </a:lnTo>
                <a:lnTo>
                  <a:pt x="217" y="19"/>
                </a:lnTo>
                <a:lnTo>
                  <a:pt x="358" y="36"/>
                </a:lnTo>
                <a:lnTo>
                  <a:pt x="515" y="51"/>
                </a:lnTo>
                <a:lnTo>
                  <a:pt x="622" y="59"/>
                </a:lnTo>
                <a:lnTo>
                  <a:pt x="605" y="283"/>
                </a:lnTo>
                <a:lnTo>
                  <a:pt x="590" y="509"/>
                </a:lnTo>
                <a:lnTo>
                  <a:pt x="458" y="500"/>
                </a:lnTo>
                <a:lnTo>
                  <a:pt x="386" y="492"/>
                </a:lnTo>
                <a:lnTo>
                  <a:pt x="249" y="477"/>
                </a:lnTo>
                <a:lnTo>
                  <a:pt x="168" y="468"/>
                </a:lnTo>
                <a:lnTo>
                  <a:pt x="0" y="445"/>
                </a:lnTo>
                <a:lnTo>
                  <a:pt x="17" y="332"/>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81" name="Freeform 687"/>
          <p:cNvSpPr>
            <a:spLocks/>
          </p:cNvSpPr>
          <p:nvPr/>
        </p:nvSpPr>
        <p:spPr bwMode="auto">
          <a:xfrm>
            <a:off x="2373312" y="2362200"/>
            <a:ext cx="987425" cy="808038"/>
          </a:xfrm>
          <a:custGeom>
            <a:avLst/>
            <a:gdLst>
              <a:gd name="T0" fmla="*/ 17 w 622"/>
              <a:gd name="T1" fmla="*/ 332 h 509"/>
              <a:gd name="T2" fmla="*/ 58 w 622"/>
              <a:gd name="T3" fmla="*/ 53 h 509"/>
              <a:gd name="T4" fmla="*/ 66 w 622"/>
              <a:gd name="T5" fmla="*/ 4 h 509"/>
              <a:gd name="T6" fmla="*/ 73 w 622"/>
              <a:gd name="T7" fmla="*/ 0 h 509"/>
              <a:gd name="T8" fmla="*/ 217 w 622"/>
              <a:gd name="T9" fmla="*/ 19 h 509"/>
              <a:gd name="T10" fmla="*/ 358 w 622"/>
              <a:gd name="T11" fmla="*/ 36 h 509"/>
              <a:gd name="T12" fmla="*/ 515 w 622"/>
              <a:gd name="T13" fmla="*/ 51 h 509"/>
              <a:gd name="T14" fmla="*/ 622 w 622"/>
              <a:gd name="T15" fmla="*/ 59 h 509"/>
              <a:gd name="T16" fmla="*/ 605 w 622"/>
              <a:gd name="T17" fmla="*/ 283 h 509"/>
              <a:gd name="T18" fmla="*/ 590 w 622"/>
              <a:gd name="T19" fmla="*/ 509 h 509"/>
              <a:gd name="T20" fmla="*/ 458 w 622"/>
              <a:gd name="T21" fmla="*/ 500 h 509"/>
              <a:gd name="T22" fmla="*/ 386 w 622"/>
              <a:gd name="T23" fmla="*/ 492 h 509"/>
              <a:gd name="T24" fmla="*/ 249 w 622"/>
              <a:gd name="T25" fmla="*/ 477 h 509"/>
              <a:gd name="T26" fmla="*/ 168 w 622"/>
              <a:gd name="T27" fmla="*/ 468 h 509"/>
              <a:gd name="T28" fmla="*/ 0 w 622"/>
              <a:gd name="T29" fmla="*/ 445 h 509"/>
              <a:gd name="T30" fmla="*/ 17 w 622"/>
              <a:gd name="T31" fmla="*/ 33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2" h="509">
                <a:moveTo>
                  <a:pt x="17" y="332"/>
                </a:moveTo>
                <a:lnTo>
                  <a:pt x="58" y="53"/>
                </a:lnTo>
                <a:lnTo>
                  <a:pt x="66" y="4"/>
                </a:lnTo>
                <a:lnTo>
                  <a:pt x="73" y="0"/>
                </a:lnTo>
                <a:lnTo>
                  <a:pt x="217" y="19"/>
                </a:lnTo>
                <a:lnTo>
                  <a:pt x="358" y="36"/>
                </a:lnTo>
                <a:lnTo>
                  <a:pt x="515" y="51"/>
                </a:lnTo>
                <a:lnTo>
                  <a:pt x="622" y="59"/>
                </a:lnTo>
                <a:lnTo>
                  <a:pt x="605" y="283"/>
                </a:lnTo>
                <a:lnTo>
                  <a:pt x="590" y="509"/>
                </a:lnTo>
                <a:lnTo>
                  <a:pt x="458" y="500"/>
                </a:lnTo>
                <a:lnTo>
                  <a:pt x="386" y="492"/>
                </a:lnTo>
                <a:lnTo>
                  <a:pt x="249" y="477"/>
                </a:lnTo>
                <a:lnTo>
                  <a:pt x="168" y="468"/>
                </a:lnTo>
                <a:lnTo>
                  <a:pt x="0" y="445"/>
                </a:lnTo>
                <a:lnTo>
                  <a:pt x="17" y="33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2" name="Freeform 688"/>
          <p:cNvSpPr>
            <a:spLocks/>
          </p:cNvSpPr>
          <p:nvPr/>
        </p:nvSpPr>
        <p:spPr bwMode="auto">
          <a:xfrm>
            <a:off x="2424112" y="3819525"/>
            <a:ext cx="976313" cy="1023938"/>
          </a:xfrm>
          <a:custGeom>
            <a:avLst/>
            <a:gdLst>
              <a:gd name="T0" fmla="*/ 0 w 615"/>
              <a:gd name="T1" fmla="*/ 636 h 645"/>
              <a:gd name="T2" fmla="*/ 0 w 615"/>
              <a:gd name="T3" fmla="*/ 632 h 645"/>
              <a:gd name="T4" fmla="*/ 81 w 615"/>
              <a:gd name="T5" fmla="*/ 0 h 645"/>
              <a:gd name="T6" fmla="*/ 228 w 615"/>
              <a:gd name="T7" fmla="*/ 17 h 645"/>
              <a:gd name="T8" fmla="*/ 358 w 615"/>
              <a:gd name="T9" fmla="*/ 32 h 645"/>
              <a:gd name="T10" fmla="*/ 515 w 615"/>
              <a:gd name="T11" fmla="*/ 44 h 645"/>
              <a:gd name="T12" fmla="*/ 615 w 615"/>
              <a:gd name="T13" fmla="*/ 51 h 645"/>
              <a:gd name="T14" fmla="*/ 613 w 615"/>
              <a:gd name="T15" fmla="*/ 106 h 645"/>
              <a:gd name="T16" fmla="*/ 609 w 615"/>
              <a:gd name="T17" fmla="*/ 108 h 645"/>
              <a:gd name="T18" fmla="*/ 607 w 615"/>
              <a:gd name="T19" fmla="*/ 117 h 645"/>
              <a:gd name="T20" fmla="*/ 590 w 615"/>
              <a:gd name="T21" fmla="*/ 387 h 645"/>
              <a:gd name="T22" fmla="*/ 581 w 615"/>
              <a:gd name="T23" fmla="*/ 489 h 645"/>
              <a:gd name="T24" fmla="*/ 575 w 615"/>
              <a:gd name="T25" fmla="*/ 607 h 645"/>
              <a:gd name="T26" fmla="*/ 569 w 615"/>
              <a:gd name="T27" fmla="*/ 615 h 645"/>
              <a:gd name="T28" fmla="*/ 564 w 615"/>
              <a:gd name="T29" fmla="*/ 615 h 645"/>
              <a:gd name="T30" fmla="*/ 481 w 615"/>
              <a:gd name="T31" fmla="*/ 609 h 645"/>
              <a:gd name="T32" fmla="*/ 398 w 615"/>
              <a:gd name="T33" fmla="*/ 602 h 645"/>
              <a:gd name="T34" fmla="*/ 307 w 615"/>
              <a:gd name="T35" fmla="*/ 594 h 645"/>
              <a:gd name="T36" fmla="*/ 234 w 615"/>
              <a:gd name="T37" fmla="*/ 587 h 645"/>
              <a:gd name="T38" fmla="*/ 234 w 615"/>
              <a:gd name="T39" fmla="*/ 590 h 645"/>
              <a:gd name="T40" fmla="*/ 239 w 615"/>
              <a:gd name="T41" fmla="*/ 604 h 645"/>
              <a:gd name="T42" fmla="*/ 243 w 615"/>
              <a:gd name="T43" fmla="*/ 609 h 645"/>
              <a:gd name="T44" fmla="*/ 243 w 615"/>
              <a:gd name="T45" fmla="*/ 613 h 645"/>
              <a:gd name="T46" fmla="*/ 241 w 615"/>
              <a:gd name="T47" fmla="*/ 613 h 645"/>
              <a:gd name="T48" fmla="*/ 87 w 615"/>
              <a:gd name="T49" fmla="*/ 596 h 645"/>
              <a:gd name="T50" fmla="*/ 83 w 615"/>
              <a:gd name="T51" fmla="*/ 604 h 645"/>
              <a:gd name="T52" fmla="*/ 81 w 615"/>
              <a:gd name="T53" fmla="*/ 643 h 645"/>
              <a:gd name="T54" fmla="*/ 73 w 615"/>
              <a:gd name="T55" fmla="*/ 645 h 645"/>
              <a:gd name="T56" fmla="*/ 0 w 615"/>
              <a:gd name="T57" fmla="*/ 63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5" h="645">
                <a:moveTo>
                  <a:pt x="0" y="636"/>
                </a:moveTo>
                <a:lnTo>
                  <a:pt x="0" y="632"/>
                </a:lnTo>
                <a:lnTo>
                  <a:pt x="81" y="0"/>
                </a:lnTo>
                <a:lnTo>
                  <a:pt x="228" y="17"/>
                </a:lnTo>
                <a:lnTo>
                  <a:pt x="358" y="32"/>
                </a:lnTo>
                <a:lnTo>
                  <a:pt x="515" y="44"/>
                </a:lnTo>
                <a:lnTo>
                  <a:pt x="615" y="51"/>
                </a:lnTo>
                <a:lnTo>
                  <a:pt x="613" y="106"/>
                </a:lnTo>
                <a:lnTo>
                  <a:pt x="609" y="108"/>
                </a:lnTo>
                <a:lnTo>
                  <a:pt x="607" y="117"/>
                </a:lnTo>
                <a:lnTo>
                  <a:pt x="590" y="387"/>
                </a:lnTo>
                <a:lnTo>
                  <a:pt x="581" y="489"/>
                </a:lnTo>
                <a:lnTo>
                  <a:pt x="575" y="607"/>
                </a:lnTo>
                <a:lnTo>
                  <a:pt x="569" y="615"/>
                </a:lnTo>
                <a:lnTo>
                  <a:pt x="564" y="615"/>
                </a:lnTo>
                <a:lnTo>
                  <a:pt x="481" y="609"/>
                </a:lnTo>
                <a:lnTo>
                  <a:pt x="398" y="602"/>
                </a:lnTo>
                <a:lnTo>
                  <a:pt x="307" y="594"/>
                </a:lnTo>
                <a:lnTo>
                  <a:pt x="234" y="587"/>
                </a:lnTo>
                <a:lnTo>
                  <a:pt x="234" y="590"/>
                </a:lnTo>
                <a:lnTo>
                  <a:pt x="239" y="604"/>
                </a:lnTo>
                <a:lnTo>
                  <a:pt x="243" y="609"/>
                </a:lnTo>
                <a:lnTo>
                  <a:pt x="243" y="613"/>
                </a:lnTo>
                <a:lnTo>
                  <a:pt x="241" y="613"/>
                </a:lnTo>
                <a:lnTo>
                  <a:pt x="87" y="596"/>
                </a:lnTo>
                <a:lnTo>
                  <a:pt x="83" y="604"/>
                </a:lnTo>
                <a:lnTo>
                  <a:pt x="81" y="643"/>
                </a:lnTo>
                <a:lnTo>
                  <a:pt x="73" y="645"/>
                </a:lnTo>
                <a:lnTo>
                  <a:pt x="0" y="636"/>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83" name="Freeform 689"/>
          <p:cNvSpPr>
            <a:spLocks/>
          </p:cNvSpPr>
          <p:nvPr/>
        </p:nvSpPr>
        <p:spPr bwMode="auto">
          <a:xfrm>
            <a:off x="2424112" y="3819525"/>
            <a:ext cx="976313" cy="1023938"/>
          </a:xfrm>
          <a:custGeom>
            <a:avLst/>
            <a:gdLst>
              <a:gd name="T0" fmla="*/ 0 w 615"/>
              <a:gd name="T1" fmla="*/ 636 h 645"/>
              <a:gd name="T2" fmla="*/ 0 w 615"/>
              <a:gd name="T3" fmla="*/ 632 h 645"/>
              <a:gd name="T4" fmla="*/ 81 w 615"/>
              <a:gd name="T5" fmla="*/ 0 h 645"/>
              <a:gd name="T6" fmla="*/ 228 w 615"/>
              <a:gd name="T7" fmla="*/ 17 h 645"/>
              <a:gd name="T8" fmla="*/ 358 w 615"/>
              <a:gd name="T9" fmla="*/ 32 h 645"/>
              <a:gd name="T10" fmla="*/ 515 w 615"/>
              <a:gd name="T11" fmla="*/ 44 h 645"/>
              <a:gd name="T12" fmla="*/ 615 w 615"/>
              <a:gd name="T13" fmla="*/ 51 h 645"/>
              <a:gd name="T14" fmla="*/ 613 w 615"/>
              <a:gd name="T15" fmla="*/ 106 h 645"/>
              <a:gd name="T16" fmla="*/ 609 w 615"/>
              <a:gd name="T17" fmla="*/ 108 h 645"/>
              <a:gd name="T18" fmla="*/ 607 w 615"/>
              <a:gd name="T19" fmla="*/ 117 h 645"/>
              <a:gd name="T20" fmla="*/ 590 w 615"/>
              <a:gd name="T21" fmla="*/ 387 h 645"/>
              <a:gd name="T22" fmla="*/ 581 w 615"/>
              <a:gd name="T23" fmla="*/ 489 h 645"/>
              <a:gd name="T24" fmla="*/ 575 w 615"/>
              <a:gd name="T25" fmla="*/ 607 h 645"/>
              <a:gd name="T26" fmla="*/ 569 w 615"/>
              <a:gd name="T27" fmla="*/ 615 h 645"/>
              <a:gd name="T28" fmla="*/ 564 w 615"/>
              <a:gd name="T29" fmla="*/ 615 h 645"/>
              <a:gd name="T30" fmla="*/ 481 w 615"/>
              <a:gd name="T31" fmla="*/ 609 h 645"/>
              <a:gd name="T32" fmla="*/ 398 w 615"/>
              <a:gd name="T33" fmla="*/ 602 h 645"/>
              <a:gd name="T34" fmla="*/ 307 w 615"/>
              <a:gd name="T35" fmla="*/ 594 h 645"/>
              <a:gd name="T36" fmla="*/ 234 w 615"/>
              <a:gd name="T37" fmla="*/ 587 h 645"/>
              <a:gd name="T38" fmla="*/ 234 w 615"/>
              <a:gd name="T39" fmla="*/ 590 h 645"/>
              <a:gd name="T40" fmla="*/ 239 w 615"/>
              <a:gd name="T41" fmla="*/ 604 h 645"/>
              <a:gd name="T42" fmla="*/ 243 w 615"/>
              <a:gd name="T43" fmla="*/ 609 h 645"/>
              <a:gd name="T44" fmla="*/ 243 w 615"/>
              <a:gd name="T45" fmla="*/ 613 h 645"/>
              <a:gd name="T46" fmla="*/ 241 w 615"/>
              <a:gd name="T47" fmla="*/ 613 h 645"/>
              <a:gd name="T48" fmla="*/ 87 w 615"/>
              <a:gd name="T49" fmla="*/ 596 h 645"/>
              <a:gd name="T50" fmla="*/ 83 w 615"/>
              <a:gd name="T51" fmla="*/ 604 h 645"/>
              <a:gd name="T52" fmla="*/ 81 w 615"/>
              <a:gd name="T53" fmla="*/ 643 h 645"/>
              <a:gd name="T54" fmla="*/ 73 w 615"/>
              <a:gd name="T55" fmla="*/ 645 h 645"/>
              <a:gd name="T56" fmla="*/ 0 w 615"/>
              <a:gd name="T57" fmla="*/ 63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5" h="645">
                <a:moveTo>
                  <a:pt x="0" y="636"/>
                </a:moveTo>
                <a:lnTo>
                  <a:pt x="0" y="632"/>
                </a:lnTo>
                <a:lnTo>
                  <a:pt x="81" y="0"/>
                </a:lnTo>
                <a:lnTo>
                  <a:pt x="228" y="17"/>
                </a:lnTo>
                <a:lnTo>
                  <a:pt x="358" y="32"/>
                </a:lnTo>
                <a:lnTo>
                  <a:pt x="515" y="44"/>
                </a:lnTo>
                <a:lnTo>
                  <a:pt x="615" y="51"/>
                </a:lnTo>
                <a:lnTo>
                  <a:pt x="613" y="106"/>
                </a:lnTo>
                <a:lnTo>
                  <a:pt x="609" y="108"/>
                </a:lnTo>
                <a:lnTo>
                  <a:pt x="607" y="117"/>
                </a:lnTo>
                <a:lnTo>
                  <a:pt x="590" y="387"/>
                </a:lnTo>
                <a:lnTo>
                  <a:pt x="581" y="489"/>
                </a:lnTo>
                <a:lnTo>
                  <a:pt x="575" y="607"/>
                </a:lnTo>
                <a:lnTo>
                  <a:pt x="569" y="615"/>
                </a:lnTo>
                <a:lnTo>
                  <a:pt x="564" y="615"/>
                </a:lnTo>
                <a:lnTo>
                  <a:pt x="481" y="609"/>
                </a:lnTo>
                <a:lnTo>
                  <a:pt x="398" y="602"/>
                </a:lnTo>
                <a:lnTo>
                  <a:pt x="307" y="594"/>
                </a:lnTo>
                <a:lnTo>
                  <a:pt x="234" y="587"/>
                </a:lnTo>
                <a:lnTo>
                  <a:pt x="234" y="590"/>
                </a:lnTo>
                <a:lnTo>
                  <a:pt x="239" y="604"/>
                </a:lnTo>
                <a:lnTo>
                  <a:pt x="243" y="609"/>
                </a:lnTo>
                <a:lnTo>
                  <a:pt x="243" y="613"/>
                </a:lnTo>
                <a:lnTo>
                  <a:pt x="241" y="613"/>
                </a:lnTo>
                <a:lnTo>
                  <a:pt x="87" y="596"/>
                </a:lnTo>
                <a:lnTo>
                  <a:pt x="83" y="604"/>
                </a:lnTo>
                <a:lnTo>
                  <a:pt x="81" y="643"/>
                </a:lnTo>
                <a:lnTo>
                  <a:pt x="73" y="645"/>
                </a:lnTo>
                <a:lnTo>
                  <a:pt x="0" y="63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4" name="Freeform 690"/>
          <p:cNvSpPr>
            <a:spLocks/>
          </p:cNvSpPr>
          <p:nvPr/>
        </p:nvSpPr>
        <p:spPr bwMode="auto">
          <a:xfrm>
            <a:off x="2552700" y="3105150"/>
            <a:ext cx="1023938" cy="801688"/>
          </a:xfrm>
          <a:custGeom>
            <a:avLst/>
            <a:gdLst>
              <a:gd name="T0" fmla="*/ 0 w 645"/>
              <a:gd name="T1" fmla="*/ 450 h 505"/>
              <a:gd name="T2" fmla="*/ 55 w 645"/>
              <a:gd name="T3" fmla="*/ 0 h 505"/>
              <a:gd name="T4" fmla="*/ 136 w 645"/>
              <a:gd name="T5" fmla="*/ 9 h 505"/>
              <a:gd name="T6" fmla="*/ 273 w 645"/>
              <a:gd name="T7" fmla="*/ 24 h 505"/>
              <a:gd name="T8" fmla="*/ 345 w 645"/>
              <a:gd name="T9" fmla="*/ 32 h 505"/>
              <a:gd name="T10" fmla="*/ 477 w 645"/>
              <a:gd name="T11" fmla="*/ 41 h 505"/>
              <a:gd name="T12" fmla="*/ 554 w 645"/>
              <a:gd name="T13" fmla="*/ 47 h 505"/>
              <a:gd name="T14" fmla="*/ 637 w 645"/>
              <a:gd name="T15" fmla="*/ 51 h 505"/>
              <a:gd name="T16" fmla="*/ 645 w 645"/>
              <a:gd name="T17" fmla="*/ 56 h 505"/>
              <a:gd name="T18" fmla="*/ 639 w 645"/>
              <a:gd name="T19" fmla="*/ 164 h 505"/>
              <a:gd name="T20" fmla="*/ 622 w 645"/>
              <a:gd name="T21" fmla="*/ 505 h 505"/>
              <a:gd name="T22" fmla="*/ 534 w 645"/>
              <a:gd name="T23" fmla="*/ 501 h 505"/>
              <a:gd name="T24" fmla="*/ 434 w 645"/>
              <a:gd name="T25" fmla="*/ 494 h 505"/>
              <a:gd name="T26" fmla="*/ 277 w 645"/>
              <a:gd name="T27" fmla="*/ 482 h 505"/>
              <a:gd name="T28" fmla="*/ 147 w 645"/>
              <a:gd name="T29" fmla="*/ 467 h 505"/>
              <a:gd name="T30" fmla="*/ 0 w 645"/>
              <a:gd name="T31" fmla="*/ 4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5" h="505">
                <a:moveTo>
                  <a:pt x="0" y="450"/>
                </a:moveTo>
                <a:lnTo>
                  <a:pt x="55" y="0"/>
                </a:lnTo>
                <a:lnTo>
                  <a:pt x="136" y="9"/>
                </a:lnTo>
                <a:lnTo>
                  <a:pt x="273" y="24"/>
                </a:lnTo>
                <a:lnTo>
                  <a:pt x="345" y="32"/>
                </a:lnTo>
                <a:lnTo>
                  <a:pt x="477" y="41"/>
                </a:lnTo>
                <a:lnTo>
                  <a:pt x="554" y="47"/>
                </a:lnTo>
                <a:lnTo>
                  <a:pt x="637" y="51"/>
                </a:lnTo>
                <a:lnTo>
                  <a:pt x="645" y="56"/>
                </a:lnTo>
                <a:lnTo>
                  <a:pt x="639" y="164"/>
                </a:lnTo>
                <a:lnTo>
                  <a:pt x="622" y="505"/>
                </a:lnTo>
                <a:lnTo>
                  <a:pt x="534" y="501"/>
                </a:lnTo>
                <a:lnTo>
                  <a:pt x="434" y="494"/>
                </a:lnTo>
                <a:lnTo>
                  <a:pt x="277" y="482"/>
                </a:lnTo>
                <a:lnTo>
                  <a:pt x="147" y="467"/>
                </a:lnTo>
                <a:lnTo>
                  <a:pt x="0" y="450"/>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85" name="Freeform 691"/>
          <p:cNvSpPr>
            <a:spLocks/>
          </p:cNvSpPr>
          <p:nvPr/>
        </p:nvSpPr>
        <p:spPr bwMode="auto">
          <a:xfrm>
            <a:off x="2552700" y="3105150"/>
            <a:ext cx="1023938" cy="801688"/>
          </a:xfrm>
          <a:custGeom>
            <a:avLst/>
            <a:gdLst>
              <a:gd name="T0" fmla="*/ 0 w 645"/>
              <a:gd name="T1" fmla="*/ 450 h 505"/>
              <a:gd name="T2" fmla="*/ 55 w 645"/>
              <a:gd name="T3" fmla="*/ 0 h 505"/>
              <a:gd name="T4" fmla="*/ 136 w 645"/>
              <a:gd name="T5" fmla="*/ 9 h 505"/>
              <a:gd name="T6" fmla="*/ 273 w 645"/>
              <a:gd name="T7" fmla="*/ 24 h 505"/>
              <a:gd name="T8" fmla="*/ 345 w 645"/>
              <a:gd name="T9" fmla="*/ 32 h 505"/>
              <a:gd name="T10" fmla="*/ 477 w 645"/>
              <a:gd name="T11" fmla="*/ 41 h 505"/>
              <a:gd name="T12" fmla="*/ 554 w 645"/>
              <a:gd name="T13" fmla="*/ 47 h 505"/>
              <a:gd name="T14" fmla="*/ 637 w 645"/>
              <a:gd name="T15" fmla="*/ 51 h 505"/>
              <a:gd name="T16" fmla="*/ 645 w 645"/>
              <a:gd name="T17" fmla="*/ 56 h 505"/>
              <a:gd name="T18" fmla="*/ 639 w 645"/>
              <a:gd name="T19" fmla="*/ 164 h 505"/>
              <a:gd name="T20" fmla="*/ 622 w 645"/>
              <a:gd name="T21" fmla="*/ 505 h 505"/>
              <a:gd name="T22" fmla="*/ 534 w 645"/>
              <a:gd name="T23" fmla="*/ 501 h 505"/>
              <a:gd name="T24" fmla="*/ 434 w 645"/>
              <a:gd name="T25" fmla="*/ 494 h 505"/>
              <a:gd name="T26" fmla="*/ 277 w 645"/>
              <a:gd name="T27" fmla="*/ 482 h 505"/>
              <a:gd name="T28" fmla="*/ 147 w 645"/>
              <a:gd name="T29" fmla="*/ 467 h 505"/>
              <a:gd name="T30" fmla="*/ 0 w 645"/>
              <a:gd name="T31" fmla="*/ 4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5" h="505">
                <a:moveTo>
                  <a:pt x="0" y="450"/>
                </a:moveTo>
                <a:lnTo>
                  <a:pt x="55" y="0"/>
                </a:lnTo>
                <a:lnTo>
                  <a:pt x="136" y="9"/>
                </a:lnTo>
                <a:lnTo>
                  <a:pt x="273" y="24"/>
                </a:lnTo>
                <a:lnTo>
                  <a:pt x="345" y="32"/>
                </a:lnTo>
                <a:lnTo>
                  <a:pt x="477" y="41"/>
                </a:lnTo>
                <a:lnTo>
                  <a:pt x="554" y="47"/>
                </a:lnTo>
                <a:lnTo>
                  <a:pt x="637" y="51"/>
                </a:lnTo>
                <a:lnTo>
                  <a:pt x="645" y="56"/>
                </a:lnTo>
                <a:lnTo>
                  <a:pt x="639" y="164"/>
                </a:lnTo>
                <a:lnTo>
                  <a:pt x="622" y="505"/>
                </a:lnTo>
                <a:lnTo>
                  <a:pt x="534" y="501"/>
                </a:lnTo>
                <a:lnTo>
                  <a:pt x="434" y="494"/>
                </a:lnTo>
                <a:lnTo>
                  <a:pt x="277" y="482"/>
                </a:lnTo>
                <a:lnTo>
                  <a:pt x="147" y="467"/>
                </a:lnTo>
                <a:lnTo>
                  <a:pt x="0" y="45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6" name="Freeform 692"/>
          <p:cNvSpPr>
            <a:spLocks/>
          </p:cNvSpPr>
          <p:nvPr/>
        </p:nvSpPr>
        <p:spPr bwMode="auto">
          <a:xfrm>
            <a:off x="3309937" y="2811463"/>
            <a:ext cx="1166813" cy="574675"/>
          </a:xfrm>
          <a:custGeom>
            <a:avLst/>
            <a:gdLst>
              <a:gd name="T0" fmla="*/ 15 w 735"/>
              <a:gd name="T1" fmla="*/ 0 h 362"/>
              <a:gd name="T2" fmla="*/ 241 w 735"/>
              <a:gd name="T3" fmla="*/ 15 h 362"/>
              <a:gd name="T4" fmla="*/ 468 w 735"/>
              <a:gd name="T5" fmla="*/ 21 h 362"/>
              <a:gd name="T6" fmla="*/ 509 w 735"/>
              <a:gd name="T7" fmla="*/ 47 h 362"/>
              <a:gd name="T8" fmla="*/ 522 w 735"/>
              <a:gd name="T9" fmla="*/ 36 h 362"/>
              <a:gd name="T10" fmla="*/ 569 w 735"/>
              <a:gd name="T11" fmla="*/ 36 h 362"/>
              <a:gd name="T12" fmla="*/ 588 w 735"/>
              <a:gd name="T13" fmla="*/ 47 h 362"/>
              <a:gd name="T14" fmla="*/ 596 w 735"/>
              <a:gd name="T15" fmla="*/ 51 h 362"/>
              <a:gd name="T16" fmla="*/ 609 w 735"/>
              <a:gd name="T17" fmla="*/ 57 h 362"/>
              <a:gd name="T18" fmla="*/ 620 w 735"/>
              <a:gd name="T19" fmla="*/ 68 h 362"/>
              <a:gd name="T20" fmla="*/ 635 w 735"/>
              <a:gd name="T21" fmla="*/ 77 h 362"/>
              <a:gd name="T22" fmla="*/ 641 w 735"/>
              <a:gd name="T23" fmla="*/ 87 h 362"/>
              <a:gd name="T24" fmla="*/ 645 w 735"/>
              <a:gd name="T25" fmla="*/ 100 h 362"/>
              <a:gd name="T26" fmla="*/ 645 w 735"/>
              <a:gd name="T27" fmla="*/ 113 h 362"/>
              <a:gd name="T28" fmla="*/ 654 w 735"/>
              <a:gd name="T29" fmla="*/ 128 h 362"/>
              <a:gd name="T30" fmla="*/ 662 w 735"/>
              <a:gd name="T31" fmla="*/ 147 h 362"/>
              <a:gd name="T32" fmla="*/ 669 w 735"/>
              <a:gd name="T33" fmla="*/ 162 h 362"/>
              <a:gd name="T34" fmla="*/ 666 w 735"/>
              <a:gd name="T35" fmla="*/ 177 h 362"/>
              <a:gd name="T36" fmla="*/ 669 w 735"/>
              <a:gd name="T37" fmla="*/ 185 h 362"/>
              <a:gd name="T38" fmla="*/ 675 w 735"/>
              <a:gd name="T39" fmla="*/ 194 h 362"/>
              <a:gd name="T40" fmla="*/ 681 w 735"/>
              <a:gd name="T41" fmla="*/ 204 h 362"/>
              <a:gd name="T42" fmla="*/ 684 w 735"/>
              <a:gd name="T43" fmla="*/ 221 h 362"/>
              <a:gd name="T44" fmla="*/ 688 w 735"/>
              <a:gd name="T45" fmla="*/ 234 h 362"/>
              <a:gd name="T46" fmla="*/ 690 w 735"/>
              <a:gd name="T47" fmla="*/ 260 h 362"/>
              <a:gd name="T48" fmla="*/ 694 w 735"/>
              <a:gd name="T49" fmla="*/ 285 h 362"/>
              <a:gd name="T50" fmla="*/ 696 w 735"/>
              <a:gd name="T51" fmla="*/ 300 h 362"/>
              <a:gd name="T52" fmla="*/ 707 w 735"/>
              <a:gd name="T53" fmla="*/ 321 h 362"/>
              <a:gd name="T54" fmla="*/ 720 w 735"/>
              <a:gd name="T55" fmla="*/ 332 h 362"/>
              <a:gd name="T56" fmla="*/ 728 w 735"/>
              <a:gd name="T57" fmla="*/ 347 h 362"/>
              <a:gd name="T58" fmla="*/ 735 w 735"/>
              <a:gd name="T59" fmla="*/ 360 h 362"/>
              <a:gd name="T60" fmla="*/ 481 w 735"/>
              <a:gd name="T61" fmla="*/ 362 h 362"/>
              <a:gd name="T62" fmla="*/ 162 w 735"/>
              <a:gd name="T63" fmla="*/ 349 h 362"/>
              <a:gd name="T64" fmla="*/ 160 w 735"/>
              <a:gd name="T65" fmla="*/ 236 h 362"/>
              <a:gd name="T66" fmla="*/ 0 w 735"/>
              <a:gd name="T67" fmla="*/ 22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5" h="362">
                <a:moveTo>
                  <a:pt x="0" y="226"/>
                </a:moveTo>
                <a:lnTo>
                  <a:pt x="15" y="0"/>
                </a:lnTo>
                <a:lnTo>
                  <a:pt x="100" y="6"/>
                </a:lnTo>
                <a:lnTo>
                  <a:pt x="241" y="15"/>
                </a:lnTo>
                <a:lnTo>
                  <a:pt x="379" y="19"/>
                </a:lnTo>
                <a:lnTo>
                  <a:pt x="468" y="21"/>
                </a:lnTo>
                <a:lnTo>
                  <a:pt x="479" y="30"/>
                </a:lnTo>
                <a:lnTo>
                  <a:pt x="509" y="47"/>
                </a:lnTo>
                <a:lnTo>
                  <a:pt x="515" y="45"/>
                </a:lnTo>
                <a:lnTo>
                  <a:pt x="522" y="36"/>
                </a:lnTo>
                <a:lnTo>
                  <a:pt x="537" y="38"/>
                </a:lnTo>
                <a:lnTo>
                  <a:pt x="569" y="36"/>
                </a:lnTo>
                <a:lnTo>
                  <a:pt x="579" y="45"/>
                </a:lnTo>
                <a:lnTo>
                  <a:pt x="588" y="47"/>
                </a:lnTo>
                <a:lnTo>
                  <a:pt x="594" y="49"/>
                </a:lnTo>
                <a:lnTo>
                  <a:pt x="596" y="51"/>
                </a:lnTo>
                <a:lnTo>
                  <a:pt x="603" y="51"/>
                </a:lnTo>
                <a:lnTo>
                  <a:pt x="609" y="57"/>
                </a:lnTo>
                <a:lnTo>
                  <a:pt x="618" y="62"/>
                </a:lnTo>
                <a:lnTo>
                  <a:pt x="620" y="68"/>
                </a:lnTo>
                <a:lnTo>
                  <a:pt x="628" y="74"/>
                </a:lnTo>
                <a:lnTo>
                  <a:pt x="635" y="77"/>
                </a:lnTo>
                <a:lnTo>
                  <a:pt x="641" y="79"/>
                </a:lnTo>
                <a:lnTo>
                  <a:pt x="641" y="87"/>
                </a:lnTo>
                <a:lnTo>
                  <a:pt x="641" y="91"/>
                </a:lnTo>
                <a:lnTo>
                  <a:pt x="645" y="100"/>
                </a:lnTo>
                <a:lnTo>
                  <a:pt x="647" y="106"/>
                </a:lnTo>
                <a:lnTo>
                  <a:pt x="645" y="113"/>
                </a:lnTo>
                <a:lnTo>
                  <a:pt x="652" y="121"/>
                </a:lnTo>
                <a:lnTo>
                  <a:pt x="654" y="128"/>
                </a:lnTo>
                <a:lnTo>
                  <a:pt x="662" y="140"/>
                </a:lnTo>
                <a:lnTo>
                  <a:pt x="662" y="147"/>
                </a:lnTo>
                <a:lnTo>
                  <a:pt x="666" y="155"/>
                </a:lnTo>
                <a:lnTo>
                  <a:pt x="669" y="162"/>
                </a:lnTo>
                <a:lnTo>
                  <a:pt x="666" y="168"/>
                </a:lnTo>
                <a:lnTo>
                  <a:pt x="666" y="177"/>
                </a:lnTo>
                <a:lnTo>
                  <a:pt x="669" y="183"/>
                </a:lnTo>
                <a:lnTo>
                  <a:pt x="669" y="185"/>
                </a:lnTo>
                <a:lnTo>
                  <a:pt x="675" y="185"/>
                </a:lnTo>
                <a:lnTo>
                  <a:pt x="675" y="194"/>
                </a:lnTo>
                <a:lnTo>
                  <a:pt x="681" y="196"/>
                </a:lnTo>
                <a:lnTo>
                  <a:pt x="681" y="204"/>
                </a:lnTo>
                <a:lnTo>
                  <a:pt x="686" y="211"/>
                </a:lnTo>
                <a:lnTo>
                  <a:pt x="684" y="221"/>
                </a:lnTo>
                <a:lnTo>
                  <a:pt x="688" y="228"/>
                </a:lnTo>
                <a:lnTo>
                  <a:pt x="688" y="234"/>
                </a:lnTo>
                <a:lnTo>
                  <a:pt x="688" y="245"/>
                </a:lnTo>
                <a:lnTo>
                  <a:pt x="690" y="260"/>
                </a:lnTo>
                <a:lnTo>
                  <a:pt x="688" y="281"/>
                </a:lnTo>
                <a:lnTo>
                  <a:pt x="694" y="285"/>
                </a:lnTo>
                <a:lnTo>
                  <a:pt x="696" y="292"/>
                </a:lnTo>
                <a:lnTo>
                  <a:pt x="696" y="300"/>
                </a:lnTo>
                <a:lnTo>
                  <a:pt x="703" y="307"/>
                </a:lnTo>
                <a:lnTo>
                  <a:pt x="707" y="321"/>
                </a:lnTo>
                <a:lnTo>
                  <a:pt x="713" y="328"/>
                </a:lnTo>
                <a:lnTo>
                  <a:pt x="720" y="332"/>
                </a:lnTo>
                <a:lnTo>
                  <a:pt x="722" y="341"/>
                </a:lnTo>
                <a:lnTo>
                  <a:pt x="728" y="347"/>
                </a:lnTo>
                <a:lnTo>
                  <a:pt x="726" y="353"/>
                </a:lnTo>
                <a:lnTo>
                  <a:pt x="735" y="360"/>
                </a:lnTo>
                <a:lnTo>
                  <a:pt x="592" y="362"/>
                </a:lnTo>
                <a:lnTo>
                  <a:pt x="481" y="362"/>
                </a:lnTo>
                <a:lnTo>
                  <a:pt x="270" y="356"/>
                </a:lnTo>
                <a:lnTo>
                  <a:pt x="162" y="349"/>
                </a:lnTo>
                <a:lnTo>
                  <a:pt x="168" y="241"/>
                </a:lnTo>
                <a:lnTo>
                  <a:pt x="160" y="236"/>
                </a:lnTo>
                <a:lnTo>
                  <a:pt x="77" y="232"/>
                </a:lnTo>
                <a:lnTo>
                  <a:pt x="0" y="226"/>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87" name="Freeform 693"/>
          <p:cNvSpPr>
            <a:spLocks/>
          </p:cNvSpPr>
          <p:nvPr/>
        </p:nvSpPr>
        <p:spPr bwMode="auto">
          <a:xfrm>
            <a:off x="3309937" y="2811463"/>
            <a:ext cx="1166813" cy="574675"/>
          </a:xfrm>
          <a:custGeom>
            <a:avLst/>
            <a:gdLst>
              <a:gd name="T0" fmla="*/ 15 w 735"/>
              <a:gd name="T1" fmla="*/ 0 h 362"/>
              <a:gd name="T2" fmla="*/ 241 w 735"/>
              <a:gd name="T3" fmla="*/ 15 h 362"/>
              <a:gd name="T4" fmla="*/ 468 w 735"/>
              <a:gd name="T5" fmla="*/ 21 h 362"/>
              <a:gd name="T6" fmla="*/ 509 w 735"/>
              <a:gd name="T7" fmla="*/ 47 h 362"/>
              <a:gd name="T8" fmla="*/ 522 w 735"/>
              <a:gd name="T9" fmla="*/ 36 h 362"/>
              <a:gd name="T10" fmla="*/ 569 w 735"/>
              <a:gd name="T11" fmla="*/ 36 h 362"/>
              <a:gd name="T12" fmla="*/ 588 w 735"/>
              <a:gd name="T13" fmla="*/ 47 h 362"/>
              <a:gd name="T14" fmla="*/ 596 w 735"/>
              <a:gd name="T15" fmla="*/ 51 h 362"/>
              <a:gd name="T16" fmla="*/ 609 w 735"/>
              <a:gd name="T17" fmla="*/ 57 h 362"/>
              <a:gd name="T18" fmla="*/ 620 w 735"/>
              <a:gd name="T19" fmla="*/ 68 h 362"/>
              <a:gd name="T20" fmla="*/ 635 w 735"/>
              <a:gd name="T21" fmla="*/ 77 h 362"/>
              <a:gd name="T22" fmla="*/ 641 w 735"/>
              <a:gd name="T23" fmla="*/ 87 h 362"/>
              <a:gd name="T24" fmla="*/ 645 w 735"/>
              <a:gd name="T25" fmla="*/ 100 h 362"/>
              <a:gd name="T26" fmla="*/ 645 w 735"/>
              <a:gd name="T27" fmla="*/ 113 h 362"/>
              <a:gd name="T28" fmla="*/ 654 w 735"/>
              <a:gd name="T29" fmla="*/ 128 h 362"/>
              <a:gd name="T30" fmla="*/ 662 w 735"/>
              <a:gd name="T31" fmla="*/ 147 h 362"/>
              <a:gd name="T32" fmla="*/ 669 w 735"/>
              <a:gd name="T33" fmla="*/ 162 h 362"/>
              <a:gd name="T34" fmla="*/ 666 w 735"/>
              <a:gd name="T35" fmla="*/ 177 h 362"/>
              <a:gd name="T36" fmla="*/ 669 w 735"/>
              <a:gd name="T37" fmla="*/ 185 h 362"/>
              <a:gd name="T38" fmla="*/ 675 w 735"/>
              <a:gd name="T39" fmla="*/ 194 h 362"/>
              <a:gd name="T40" fmla="*/ 681 w 735"/>
              <a:gd name="T41" fmla="*/ 204 h 362"/>
              <a:gd name="T42" fmla="*/ 684 w 735"/>
              <a:gd name="T43" fmla="*/ 221 h 362"/>
              <a:gd name="T44" fmla="*/ 688 w 735"/>
              <a:gd name="T45" fmla="*/ 234 h 362"/>
              <a:gd name="T46" fmla="*/ 690 w 735"/>
              <a:gd name="T47" fmla="*/ 260 h 362"/>
              <a:gd name="T48" fmla="*/ 694 w 735"/>
              <a:gd name="T49" fmla="*/ 285 h 362"/>
              <a:gd name="T50" fmla="*/ 696 w 735"/>
              <a:gd name="T51" fmla="*/ 300 h 362"/>
              <a:gd name="T52" fmla="*/ 707 w 735"/>
              <a:gd name="T53" fmla="*/ 321 h 362"/>
              <a:gd name="T54" fmla="*/ 720 w 735"/>
              <a:gd name="T55" fmla="*/ 332 h 362"/>
              <a:gd name="T56" fmla="*/ 728 w 735"/>
              <a:gd name="T57" fmla="*/ 347 h 362"/>
              <a:gd name="T58" fmla="*/ 735 w 735"/>
              <a:gd name="T59" fmla="*/ 360 h 362"/>
              <a:gd name="T60" fmla="*/ 481 w 735"/>
              <a:gd name="T61" fmla="*/ 362 h 362"/>
              <a:gd name="T62" fmla="*/ 162 w 735"/>
              <a:gd name="T63" fmla="*/ 349 h 362"/>
              <a:gd name="T64" fmla="*/ 160 w 735"/>
              <a:gd name="T65" fmla="*/ 236 h 362"/>
              <a:gd name="T66" fmla="*/ 0 w 735"/>
              <a:gd name="T67" fmla="*/ 22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5" h="362">
                <a:moveTo>
                  <a:pt x="0" y="226"/>
                </a:moveTo>
                <a:lnTo>
                  <a:pt x="15" y="0"/>
                </a:lnTo>
                <a:lnTo>
                  <a:pt x="100" y="6"/>
                </a:lnTo>
                <a:lnTo>
                  <a:pt x="241" y="15"/>
                </a:lnTo>
                <a:lnTo>
                  <a:pt x="379" y="19"/>
                </a:lnTo>
                <a:lnTo>
                  <a:pt x="468" y="21"/>
                </a:lnTo>
                <a:lnTo>
                  <a:pt x="479" y="30"/>
                </a:lnTo>
                <a:lnTo>
                  <a:pt x="509" y="47"/>
                </a:lnTo>
                <a:lnTo>
                  <a:pt x="515" y="45"/>
                </a:lnTo>
                <a:lnTo>
                  <a:pt x="522" y="36"/>
                </a:lnTo>
                <a:lnTo>
                  <a:pt x="537" y="38"/>
                </a:lnTo>
                <a:lnTo>
                  <a:pt x="569" y="36"/>
                </a:lnTo>
                <a:lnTo>
                  <a:pt x="579" y="45"/>
                </a:lnTo>
                <a:lnTo>
                  <a:pt x="588" y="47"/>
                </a:lnTo>
                <a:lnTo>
                  <a:pt x="594" y="49"/>
                </a:lnTo>
                <a:lnTo>
                  <a:pt x="596" y="51"/>
                </a:lnTo>
                <a:lnTo>
                  <a:pt x="603" y="51"/>
                </a:lnTo>
                <a:lnTo>
                  <a:pt x="609" y="57"/>
                </a:lnTo>
                <a:lnTo>
                  <a:pt x="618" y="62"/>
                </a:lnTo>
                <a:lnTo>
                  <a:pt x="620" y="68"/>
                </a:lnTo>
                <a:lnTo>
                  <a:pt x="628" y="74"/>
                </a:lnTo>
                <a:lnTo>
                  <a:pt x="635" y="77"/>
                </a:lnTo>
                <a:lnTo>
                  <a:pt x="641" y="79"/>
                </a:lnTo>
                <a:lnTo>
                  <a:pt x="641" y="87"/>
                </a:lnTo>
                <a:lnTo>
                  <a:pt x="641" y="91"/>
                </a:lnTo>
                <a:lnTo>
                  <a:pt x="645" y="100"/>
                </a:lnTo>
                <a:lnTo>
                  <a:pt x="647" y="106"/>
                </a:lnTo>
                <a:lnTo>
                  <a:pt x="645" y="113"/>
                </a:lnTo>
                <a:lnTo>
                  <a:pt x="652" y="121"/>
                </a:lnTo>
                <a:lnTo>
                  <a:pt x="654" y="128"/>
                </a:lnTo>
                <a:lnTo>
                  <a:pt x="662" y="140"/>
                </a:lnTo>
                <a:lnTo>
                  <a:pt x="662" y="147"/>
                </a:lnTo>
                <a:lnTo>
                  <a:pt x="666" y="155"/>
                </a:lnTo>
                <a:lnTo>
                  <a:pt x="669" y="162"/>
                </a:lnTo>
                <a:lnTo>
                  <a:pt x="666" y="168"/>
                </a:lnTo>
                <a:lnTo>
                  <a:pt x="666" y="177"/>
                </a:lnTo>
                <a:lnTo>
                  <a:pt x="669" y="183"/>
                </a:lnTo>
                <a:lnTo>
                  <a:pt x="669" y="185"/>
                </a:lnTo>
                <a:lnTo>
                  <a:pt x="675" y="185"/>
                </a:lnTo>
                <a:lnTo>
                  <a:pt x="675" y="194"/>
                </a:lnTo>
                <a:lnTo>
                  <a:pt x="681" y="196"/>
                </a:lnTo>
                <a:lnTo>
                  <a:pt x="681" y="204"/>
                </a:lnTo>
                <a:lnTo>
                  <a:pt x="686" y="211"/>
                </a:lnTo>
                <a:lnTo>
                  <a:pt x="684" y="221"/>
                </a:lnTo>
                <a:lnTo>
                  <a:pt x="688" y="228"/>
                </a:lnTo>
                <a:lnTo>
                  <a:pt x="688" y="234"/>
                </a:lnTo>
                <a:lnTo>
                  <a:pt x="688" y="245"/>
                </a:lnTo>
                <a:lnTo>
                  <a:pt x="690" y="260"/>
                </a:lnTo>
                <a:lnTo>
                  <a:pt x="688" y="281"/>
                </a:lnTo>
                <a:lnTo>
                  <a:pt x="694" y="285"/>
                </a:lnTo>
                <a:lnTo>
                  <a:pt x="696" y="292"/>
                </a:lnTo>
                <a:lnTo>
                  <a:pt x="696" y="300"/>
                </a:lnTo>
                <a:lnTo>
                  <a:pt x="703" y="307"/>
                </a:lnTo>
                <a:lnTo>
                  <a:pt x="707" y="321"/>
                </a:lnTo>
                <a:lnTo>
                  <a:pt x="713" y="328"/>
                </a:lnTo>
                <a:lnTo>
                  <a:pt x="720" y="332"/>
                </a:lnTo>
                <a:lnTo>
                  <a:pt x="722" y="341"/>
                </a:lnTo>
                <a:lnTo>
                  <a:pt x="728" y="347"/>
                </a:lnTo>
                <a:lnTo>
                  <a:pt x="726" y="353"/>
                </a:lnTo>
                <a:lnTo>
                  <a:pt x="735" y="360"/>
                </a:lnTo>
                <a:lnTo>
                  <a:pt x="592" y="362"/>
                </a:lnTo>
                <a:lnTo>
                  <a:pt x="481" y="362"/>
                </a:lnTo>
                <a:lnTo>
                  <a:pt x="270" y="356"/>
                </a:lnTo>
                <a:lnTo>
                  <a:pt x="162" y="349"/>
                </a:lnTo>
                <a:lnTo>
                  <a:pt x="168" y="241"/>
                </a:lnTo>
                <a:lnTo>
                  <a:pt x="160" y="236"/>
                </a:lnTo>
                <a:lnTo>
                  <a:pt x="77" y="232"/>
                </a:lnTo>
                <a:lnTo>
                  <a:pt x="0" y="22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8" name="Freeform 694"/>
          <p:cNvSpPr>
            <a:spLocks/>
          </p:cNvSpPr>
          <p:nvPr/>
        </p:nvSpPr>
        <p:spPr bwMode="auto">
          <a:xfrm>
            <a:off x="3333750" y="2287588"/>
            <a:ext cx="987425" cy="646113"/>
          </a:xfrm>
          <a:custGeom>
            <a:avLst/>
            <a:gdLst>
              <a:gd name="T0" fmla="*/ 0 w 622"/>
              <a:gd name="T1" fmla="*/ 330 h 407"/>
              <a:gd name="T2" fmla="*/ 17 w 622"/>
              <a:gd name="T3" fmla="*/ 106 h 407"/>
              <a:gd name="T4" fmla="*/ 19 w 622"/>
              <a:gd name="T5" fmla="*/ 98 h 407"/>
              <a:gd name="T6" fmla="*/ 25 w 622"/>
              <a:gd name="T7" fmla="*/ 0 h 407"/>
              <a:gd name="T8" fmla="*/ 166 w 622"/>
              <a:gd name="T9" fmla="*/ 10 h 407"/>
              <a:gd name="T10" fmla="*/ 321 w 622"/>
              <a:gd name="T11" fmla="*/ 17 h 407"/>
              <a:gd name="T12" fmla="*/ 464 w 622"/>
              <a:gd name="T13" fmla="*/ 19 h 407"/>
              <a:gd name="T14" fmla="*/ 611 w 622"/>
              <a:gd name="T15" fmla="*/ 21 h 407"/>
              <a:gd name="T16" fmla="*/ 607 w 622"/>
              <a:gd name="T17" fmla="*/ 36 h 407"/>
              <a:gd name="T18" fmla="*/ 603 w 622"/>
              <a:gd name="T19" fmla="*/ 42 h 407"/>
              <a:gd name="T20" fmla="*/ 596 w 622"/>
              <a:gd name="T21" fmla="*/ 47 h 407"/>
              <a:gd name="T22" fmla="*/ 590 w 622"/>
              <a:gd name="T23" fmla="*/ 53 h 407"/>
              <a:gd name="T24" fmla="*/ 588 w 622"/>
              <a:gd name="T25" fmla="*/ 59 h 407"/>
              <a:gd name="T26" fmla="*/ 592 w 622"/>
              <a:gd name="T27" fmla="*/ 66 h 407"/>
              <a:gd name="T28" fmla="*/ 600 w 622"/>
              <a:gd name="T29" fmla="*/ 81 h 407"/>
              <a:gd name="T30" fmla="*/ 609 w 622"/>
              <a:gd name="T31" fmla="*/ 81 h 407"/>
              <a:gd name="T32" fmla="*/ 615 w 622"/>
              <a:gd name="T33" fmla="*/ 85 h 407"/>
              <a:gd name="T34" fmla="*/ 620 w 622"/>
              <a:gd name="T35" fmla="*/ 93 h 407"/>
              <a:gd name="T36" fmla="*/ 622 w 622"/>
              <a:gd name="T37" fmla="*/ 296 h 407"/>
              <a:gd name="T38" fmla="*/ 609 w 622"/>
              <a:gd name="T39" fmla="*/ 296 h 407"/>
              <a:gd name="T40" fmla="*/ 611 w 622"/>
              <a:gd name="T41" fmla="*/ 304 h 407"/>
              <a:gd name="T42" fmla="*/ 615 w 622"/>
              <a:gd name="T43" fmla="*/ 311 h 407"/>
              <a:gd name="T44" fmla="*/ 613 w 622"/>
              <a:gd name="T45" fmla="*/ 317 h 407"/>
              <a:gd name="T46" fmla="*/ 611 w 622"/>
              <a:gd name="T47" fmla="*/ 319 h 407"/>
              <a:gd name="T48" fmla="*/ 613 w 622"/>
              <a:gd name="T49" fmla="*/ 328 h 407"/>
              <a:gd name="T50" fmla="*/ 620 w 622"/>
              <a:gd name="T51" fmla="*/ 334 h 407"/>
              <a:gd name="T52" fmla="*/ 620 w 622"/>
              <a:gd name="T53" fmla="*/ 341 h 407"/>
              <a:gd name="T54" fmla="*/ 615 w 622"/>
              <a:gd name="T55" fmla="*/ 347 h 407"/>
              <a:gd name="T56" fmla="*/ 617 w 622"/>
              <a:gd name="T57" fmla="*/ 355 h 407"/>
              <a:gd name="T58" fmla="*/ 613 w 622"/>
              <a:gd name="T59" fmla="*/ 370 h 407"/>
              <a:gd name="T60" fmla="*/ 611 w 622"/>
              <a:gd name="T61" fmla="*/ 370 h 407"/>
              <a:gd name="T62" fmla="*/ 607 w 622"/>
              <a:gd name="T63" fmla="*/ 377 h 407"/>
              <a:gd name="T64" fmla="*/ 609 w 622"/>
              <a:gd name="T65" fmla="*/ 385 h 407"/>
              <a:gd name="T66" fmla="*/ 615 w 622"/>
              <a:gd name="T67" fmla="*/ 392 h 407"/>
              <a:gd name="T68" fmla="*/ 620 w 622"/>
              <a:gd name="T69" fmla="*/ 407 h 407"/>
              <a:gd name="T70" fmla="*/ 613 w 622"/>
              <a:gd name="T71" fmla="*/ 404 h 407"/>
              <a:gd name="T72" fmla="*/ 605 w 622"/>
              <a:gd name="T73" fmla="*/ 398 h 407"/>
              <a:gd name="T74" fmla="*/ 603 w 622"/>
              <a:gd name="T75" fmla="*/ 392 h 407"/>
              <a:gd name="T76" fmla="*/ 594 w 622"/>
              <a:gd name="T77" fmla="*/ 387 h 407"/>
              <a:gd name="T78" fmla="*/ 588 w 622"/>
              <a:gd name="T79" fmla="*/ 381 h 407"/>
              <a:gd name="T80" fmla="*/ 581 w 622"/>
              <a:gd name="T81" fmla="*/ 381 h 407"/>
              <a:gd name="T82" fmla="*/ 579 w 622"/>
              <a:gd name="T83" fmla="*/ 379 h 407"/>
              <a:gd name="T84" fmla="*/ 573 w 622"/>
              <a:gd name="T85" fmla="*/ 377 h 407"/>
              <a:gd name="T86" fmla="*/ 564 w 622"/>
              <a:gd name="T87" fmla="*/ 375 h 407"/>
              <a:gd name="T88" fmla="*/ 554 w 622"/>
              <a:gd name="T89" fmla="*/ 366 h 407"/>
              <a:gd name="T90" fmla="*/ 522 w 622"/>
              <a:gd name="T91" fmla="*/ 368 h 407"/>
              <a:gd name="T92" fmla="*/ 507 w 622"/>
              <a:gd name="T93" fmla="*/ 366 h 407"/>
              <a:gd name="T94" fmla="*/ 500 w 622"/>
              <a:gd name="T95" fmla="*/ 375 h 407"/>
              <a:gd name="T96" fmla="*/ 494 w 622"/>
              <a:gd name="T97" fmla="*/ 377 h 407"/>
              <a:gd name="T98" fmla="*/ 464 w 622"/>
              <a:gd name="T99" fmla="*/ 360 h 407"/>
              <a:gd name="T100" fmla="*/ 453 w 622"/>
              <a:gd name="T101" fmla="*/ 351 h 407"/>
              <a:gd name="T102" fmla="*/ 364 w 622"/>
              <a:gd name="T103" fmla="*/ 349 h 407"/>
              <a:gd name="T104" fmla="*/ 226 w 622"/>
              <a:gd name="T105" fmla="*/ 345 h 407"/>
              <a:gd name="T106" fmla="*/ 85 w 622"/>
              <a:gd name="T107" fmla="*/ 336 h 407"/>
              <a:gd name="T108" fmla="*/ 0 w 622"/>
              <a:gd name="T109" fmla="*/ 3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2" h="407">
                <a:moveTo>
                  <a:pt x="0" y="330"/>
                </a:moveTo>
                <a:lnTo>
                  <a:pt x="17" y="106"/>
                </a:lnTo>
                <a:lnTo>
                  <a:pt x="19" y="98"/>
                </a:lnTo>
                <a:lnTo>
                  <a:pt x="25" y="0"/>
                </a:lnTo>
                <a:lnTo>
                  <a:pt x="166" y="10"/>
                </a:lnTo>
                <a:lnTo>
                  <a:pt x="321" y="17"/>
                </a:lnTo>
                <a:lnTo>
                  <a:pt x="464" y="19"/>
                </a:lnTo>
                <a:lnTo>
                  <a:pt x="611" y="21"/>
                </a:lnTo>
                <a:lnTo>
                  <a:pt x="607" y="36"/>
                </a:lnTo>
                <a:lnTo>
                  <a:pt x="603" y="42"/>
                </a:lnTo>
                <a:lnTo>
                  <a:pt x="596" y="47"/>
                </a:lnTo>
                <a:lnTo>
                  <a:pt x="590" y="53"/>
                </a:lnTo>
                <a:lnTo>
                  <a:pt x="588" y="59"/>
                </a:lnTo>
                <a:lnTo>
                  <a:pt x="592" y="66"/>
                </a:lnTo>
                <a:lnTo>
                  <a:pt x="600" y="81"/>
                </a:lnTo>
                <a:lnTo>
                  <a:pt x="609" y="81"/>
                </a:lnTo>
                <a:lnTo>
                  <a:pt x="615" y="85"/>
                </a:lnTo>
                <a:lnTo>
                  <a:pt x="620" y="93"/>
                </a:lnTo>
                <a:lnTo>
                  <a:pt x="622" y="296"/>
                </a:lnTo>
                <a:lnTo>
                  <a:pt x="609" y="296"/>
                </a:lnTo>
                <a:lnTo>
                  <a:pt x="611" y="304"/>
                </a:lnTo>
                <a:lnTo>
                  <a:pt x="615" y="311"/>
                </a:lnTo>
                <a:lnTo>
                  <a:pt x="613" y="317"/>
                </a:lnTo>
                <a:lnTo>
                  <a:pt x="611" y="319"/>
                </a:lnTo>
                <a:lnTo>
                  <a:pt x="613" y="328"/>
                </a:lnTo>
                <a:lnTo>
                  <a:pt x="620" y="334"/>
                </a:lnTo>
                <a:lnTo>
                  <a:pt x="620" y="341"/>
                </a:lnTo>
                <a:lnTo>
                  <a:pt x="615" y="347"/>
                </a:lnTo>
                <a:lnTo>
                  <a:pt x="617" y="355"/>
                </a:lnTo>
                <a:lnTo>
                  <a:pt x="613" y="370"/>
                </a:lnTo>
                <a:lnTo>
                  <a:pt x="611" y="370"/>
                </a:lnTo>
                <a:lnTo>
                  <a:pt x="607" y="377"/>
                </a:lnTo>
                <a:lnTo>
                  <a:pt x="609" y="385"/>
                </a:lnTo>
                <a:lnTo>
                  <a:pt x="615" y="392"/>
                </a:lnTo>
                <a:lnTo>
                  <a:pt x="620" y="407"/>
                </a:lnTo>
                <a:lnTo>
                  <a:pt x="613" y="404"/>
                </a:lnTo>
                <a:lnTo>
                  <a:pt x="605" y="398"/>
                </a:lnTo>
                <a:lnTo>
                  <a:pt x="603" y="392"/>
                </a:lnTo>
                <a:lnTo>
                  <a:pt x="594" y="387"/>
                </a:lnTo>
                <a:lnTo>
                  <a:pt x="588" y="381"/>
                </a:lnTo>
                <a:lnTo>
                  <a:pt x="581" y="381"/>
                </a:lnTo>
                <a:lnTo>
                  <a:pt x="579" y="379"/>
                </a:lnTo>
                <a:lnTo>
                  <a:pt x="573" y="377"/>
                </a:lnTo>
                <a:lnTo>
                  <a:pt x="564" y="375"/>
                </a:lnTo>
                <a:lnTo>
                  <a:pt x="554" y="366"/>
                </a:lnTo>
                <a:lnTo>
                  <a:pt x="522" y="368"/>
                </a:lnTo>
                <a:lnTo>
                  <a:pt x="507" y="366"/>
                </a:lnTo>
                <a:lnTo>
                  <a:pt x="500" y="375"/>
                </a:lnTo>
                <a:lnTo>
                  <a:pt x="494" y="377"/>
                </a:lnTo>
                <a:lnTo>
                  <a:pt x="464" y="360"/>
                </a:lnTo>
                <a:lnTo>
                  <a:pt x="453" y="351"/>
                </a:lnTo>
                <a:lnTo>
                  <a:pt x="364" y="349"/>
                </a:lnTo>
                <a:lnTo>
                  <a:pt x="226" y="345"/>
                </a:lnTo>
                <a:lnTo>
                  <a:pt x="85" y="336"/>
                </a:lnTo>
                <a:lnTo>
                  <a:pt x="0" y="330"/>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89" name="Freeform 695"/>
          <p:cNvSpPr>
            <a:spLocks/>
          </p:cNvSpPr>
          <p:nvPr/>
        </p:nvSpPr>
        <p:spPr bwMode="auto">
          <a:xfrm>
            <a:off x="3333750" y="2287588"/>
            <a:ext cx="987425" cy="646113"/>
          </a:xfrm>
          <a:custGeom>
            <a:avLst/>
            <a:gdLst>
              <a:gd name="T0" fmla="*/ 0 w 622"/>
              <a:gd name="T1" fmla="*/ 330 h 407"/>
              <a:gd name="T2" fmla="*/ 17 w 622"/>
              <a:gd name="T3" fmla="*/ 106 h 407"/>
              <a:gd name="T4" fmla="*/ 19 w 622"/>
              <a:gd name="T5" fmla="*/ 98 h 407"/>
              <a:gd name="T6" fmla="*/ 25 w 622"/>
              <a:gd name="T7" fmla="*/ 0 h 407"/>
              <a:gd name="T8" fmla="*/ 166 w 622"/>
              <a:gd name="T9" fmla="*/ 10 h 407"/>
              <a:gd name="T10" fmla="*/ 321 w 622"/>
              <a:gd name="T11" fmla="*/ 17 h 407"/>
              <a:gd name="T12" fmla="*/ 464 w 622"/>
              <a:gd name="T13" fmla="*/ 19 h 407"/>
              <a:gd name="T14" fmla="*/ 611 w 622"/>
              <a:gd name="T15" fmla="*/ 21 h 407"/>
              <a:gd name="T16" fmla="*/ 607 w 622"/>
              <a:gd name="T17" fmla="*/ 36 h 407"/>
              <a:gd name="T18" fmla="*/ 603 w 622"/>
              <a:gd name="T19" fmla="*/ 42 h 407"/>
              <a:gd name="T20" fmla="*/ 596 w 622"/>
              <a:gd name="T21" fmla="*/ 47 h 407"/>
              <a:gd name="T22" fmla="*/ 590 w 622"/>
              <a:gd name="T23" fmla="*/ 53 h 407"/>
              <a:gd name="T24" fmla="*/ 588 w 622"/>
              <a:gd name="T25" fmla="*/ 59 h 407"/>
              <a:gd name="T26" fmla="*/ 592 w 622"/>
              <a:gd name="T27" fmla="*/ 66 h 407"/>
              <a:gd name="T28" fmla="*/ 600 w 622"/>
              <a:gd name="T29" fmla="*/ 81 h 407"/>
              <a:gd name="T30" fmla="*/ 609 w 622"/>
              <a:gd name="T31" fmla="*/ 81 h 407"/>
              <a:gd name="T32" fmla="*/ 615 w 622"/>
              <a:gd name="T33" fmla="*/ 85 h 407"/>
              <a:gd name="T34" fmla="*/ 620 w 622"/>
              <a:gd name="T35" fmla="*/ 93 h 407"/>
              <a:gd name="T36" fmla="*/ 622 w 622"/>
              <a:gd name="T37" fmla="*/ 296 h 407"/>
              <a:gd name="T38" fmla="*/ 609 w 622"/>
              <a:gd name="T39" fmla="*/ 296 h 407"/>
              <a:gd name="T40" fmla="*/ 611 w 622"/>
              <a:gd name="T41" fmla="*/ 304 h 407"/>
              <a:gd name="T42" fmla="*/ 615 w 622"/>
              <a:gd name="T43" fmla="*/ 311 h 407"/>
              <a:gd name="T44" fmla="*/ 613 w 622"/>
              <a:gd name="T45" fmla="*/ 317 h 407"/>
              <a:gd name="T46" fmla="*/ 611 w 622"/>
              <a:gd name="T47" fmla="*/ 319 h 407"/>
              <a:gd name="T48" fmla="*/ 613 w 622"/>
              <a:gd name="T49" fmla="*/ 328 h 407"/>
              <a:gd name="T50" fmla="*/ 620 w 622"/>
              <a:gd name="T51" fmla="*/ 334 h 407"/>
              <a:gd name="T52" fmla="*/ 620 w 622"/>
              <a:gd name="T53" fmla="*/ 341 h 407"/>
              <a:gd name="T54" fmla="*/ 615 w 622"/>
              <a:gd name="T55" fmla="*/ 347 h 407"/>
              <a:gd name="T56" fmla="*/ 617 w 622"/>
              <a:gd name="T57" fmla="*/ 355 h 407"/>
              <a:gd name="T58" fmla="*/ 613 w 622"/>
              <a:gd name="T59" fmla="*/ 370 h 407"/>
              <a:gd name="T60" fmla="*/ 611 w 622"/>
              <a:gd name="T61" fmla="*/ 370 h 407"/>
              <a:gd name="T62" fmla="*/ 607 w 622"/>
              <a:gd name="T63" fmla="*/ 377 h 407"/>
              <a:gd name="T64" fmla="*/ 609 w 622"/>
              <a:gd name="T65" fmla="*/ 385 h 407"/>
              <a:gd name="T66" fmla="*/ 615 w 622"/>
              <a:gd name="T67" fmla="*/ 392 h 407"/>
              <a:gd name="T68" fmla="*/ 620 w 622"/>
              <a:gd name="T69" fmla="*/ 407 h 407"/>
              <a:gd name="T70" fmla="*/ 613 w 622"/>
              <a:gd name="T71" fmla="*/ 404 h 407"/>
              <a:gd name="T72" fmla="*/ 605 w 622"/>
              <a:gd name="T73" fmla="*/ 398 h 407"/>
              <a:gd name="T74" fmla="*/ 603 w 622"/>
              <a:gd name="T75" fmla="*/ 392 h 407"/>
              <a:gd name="T76" fmla="*/ 594 w 622"/>
              <a:gd name="T77" fmla="*/ 387 h 407"/>
              <a:gd name="T78" fmla="*/ 588 w 622"/>
              <a:gd name="T79" fmla="*/ 381 h 407"/>
              <a:gd name="T80" fmla="*/ 581 w 622"/>
              <a:gd name="T81" fmla="*/ 381 h 407"/>
              <a:gd name="T82" fmla="*/ 579 w 622"/>
              <a:gd name="T83" fmla="*/ 379 h 407"/>
              <a:gd name="T84" fmla="*/ 573 w 622"/>
              <a:gd name="T85" fmla="*/ 377 h 407"/>
              <a:gd name="T86" fmla="*/ 564 w 622"/>
              <a:gd name="T87" fmla="*/ 375 h 407"/>
              <a:gd name="T88" fmla="*/ 554 w 622"/>
              <a:gd name="T89" fmla="*/ 366 h 407"/>
              <a:gd name="T90" fmla="*/ 522 w 622"/>
              <a:gd name="T91" fmla="*/ 368 h 407"/>
              <a:gd name="T92" fmla="*/ 507 w 622"/>
              <a:gd name="T93" fmla="*/ 366 h 407"/>
              <a:gd name="T94" fmla="*/ 500 w 622"/>
              <a:gd name="T95" fmla="*/ 375 h 407"/>
              <a:gd name="T96" fmla="*/ 494 w 622"/>
              <a:gd name="T97" fmla="*/ 377 h 407"/>
              <a:gd name="T98" fmla="*/ 464 w 622"/>
              <a:gd name="T99" fmla="*/ 360 h 407"/>
              <a:gd name="T100" fmla="*/ 453 w 622"/>
              <a:gd name="T101" fmla="*/ 351 h 407"/>
              <a:gd name="T102" fmla="*/ 364 w 622"/>
              <a:gd name="T103" fmla="*/ 349 h 407"/>
              <a:gd name="T104" fmla="*/ 226 w 622"/>
              <a:gd name="T105" fmla="*/ 345 h 407"/>
              <a:gd name="T106" fmla="*/ 85 w 622"/>
              <a:gd name="T107" fmla="*/ 336 h 407"/>
              <a:gd name="T108" fmla="*/ 0 w 622"/>
              <a:gd name="T109" fmla="*/ 3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2" h="407">
                <a:moveTo>
                  <a:pt x="0" y="330"/>
                </a:moveTo>
                <a:lnTo>
                  <a:pt x="17" y="106"/>
                </a:lnTo>
                <a:lnTo>
                  <a:pt x="19" y="98"/>
                </a:lnTo>
                <a:lnTo>
                  <a:pt x="25" y="0"/>
                </a:lnTo>
                <a:lnTo>
                  <a:pt x="166" y="10"/>
                </a:lnTo>
                <a:lnTo>
                  <a:pt x="321" y="17"/>
                </a:lnTo>
                <a:lnTo>
                  <a:pt x="464" y="19"/>
                </a:lnTo>
                <a:lnTo>
                  <a:pt x="611" y="21"/>
                </a:lnTo>
                <a:lnTo>
                  <a:pt x="607" y="36"/>
                </a:lnTo>
                <a:lnTo>
                  <a:pt x="603" y="42"/>
                </a:lnTo>
                <a:lnTo>
                  <a:pt x="596" y="47"/>
                </a:lnTo>
                <a:lnTo>
                  <a:pt x="590" y="53"/>
                </a:lnTo>
                <a:lnTo>
                  <a:pt x="588" y="59"/>
                </a:lnTo>
                <a:lnTo>
                  <a:pt x="592" y="66"/>
                </a:lnTo>
                <a:lnTo>
                  <a:pt x="600" y="81"/>
                </a:lnTo>
                <a:lnTo>
                  <a:pt x="609" y="81"/>
                </a:lnTo>
                <a:lnTo>
                  <a:pt x="615" y="85"/>
                </a:lnTo>
                <a:lnTo>
                  <a:pt x="620" y="93"/>
                </a:lnTo>
                <a:lnTo>
                  <a:pt x="622" y="296"/>
                </a:lnTo>
                <a:lnTo>
                  <a:pt x="609" y="296"/>
                </a:lnTo>
                <a:lnTo>
                  <a:pt x="611" y="304"/>
                </a:lnTo>
                <a:lnTo>
                  <a:pt x="615" y="311"/>
                </a:lnTo>
                <a:lnTo>
                  <a:pt x="613" y="317"/>
                </a:lnTo>
                <a:lnTo>
                  <a:pt x="611" y="319"/>
                </a:lnTo>
                <a:lnTo>
                  <a:pt x="613" y="328"/>
                </a:lnTo>
                <a:lnTo>
                  <a:pt x="620" y="334"/>
                </a:lnTo>
                <a:lnTo>
                  <a:pt x="620" y="341"/>
                </a:lnTo>
                <a:lnTo>
                  <a:pt x="615" y="347"/>
                </a:lnTo>
                <a:lnTo>
                  <a:pt x="617" y="355"/>
                </a:lnTo>
                <a:lnTo>
                  <a:pt x="613" y="370"/>
                </a:lnTo>
                <a:lnTo>
                  <a:pt x="611" y="370"/>
                </a:lnTo>
                <a:lnTo>
                  <a:pt x="607" y="377"/>
                </a:lnTo>
                <a:lnTo>
                  <a:pt x="609" y="385"/>
                </a:lnTo>
                <a:lnTo>
                  <a:pt x="615" y="392"/>
                </a:lnTo>
                <a:lnTo>
                  <a:pt x="620" y="407"/>
                </a:lnTo>
                <a:lnTo>
                  <a:pt x="613" y="404"/>
                </a:lnTo>
                <a:lnTo>
                  <a:pt x="605" y="398"/>
                </a:lnTo>
                <a:lnTo>
                  <a:pt x="603" y="392"/>
                </a:lnTo>
                <a:lnTo>
                  <a:pt x="594" y="387"/>
                </a:lnTo>
                <a:lnTo>
                  <a:pt x="588" y="381"/>
                </a:lnTo>
                <a:lnTo>
                  <a:pt x="581" y="381"/>
                </a:lnTo>
                <a:lnTo>
                  <a:pt x="579" y="379"/>
                </a:lnTo>
                <a:lnTo>
                  <a:pt x="573" y="377"/>
                </a:lnTo>
                <a:lnTo>
                  <a:pt x="564" y="375"/>
                </a:lnTo>
                <a:lnTo>
                  <a:pt x="554" y="366"/>
                </a:lnTo>
                <a:lnTo>
                  <a:pt x="522" y="368"/>
                </a:lnTo>
                <a:lnTo>
                  <a:pt x="507" y="366"/>
                </a:lnTo>
                <a:lnTo>
                  <a:pt x="500" y="375"/>
                </a:lnTo>
                <a:lnTo>
                  <a:pt x="494" y="377"/>
                </a:lnTo>
                <a:lnTo>
                  <a:pt x="464" y="360"/>
                </a:lnTo>
                <a:lnTo>
                  <a:pt x="453" y="351"/>
                </a:lnTo>
                <a:lnTo>
                  <a:pt x="364" y="349"/>
                </a:lnTo>
                <a:lnTo>
                  <a:pt x="226" y="345"/>
                </a:lnTo>
                <a:lnTo>
                  <a:pt x="85" y="336"/>
                </a:lnTo>
                <a:lnTo>
                  <a:pt x="0" y="33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0" name="Freeform 696"/>
          <p:cNvSpPr>
            <a:spLocks/>
          </p:cNvSpPr>
          <p:nvPr/>
        </p:nvSpPr>
        <p:spPr bwMode="auto">
          <a:xfrm>
            <a:off x="3373437" y="1746250"/>
            <a:ext cx="930275" cy="574675"/>
          </a:xfrm>
          <a:custGeom>
            <a:avLst/>
            <a:gdLst>
              <a:gd name="T0" fmla="*/ 0 w 586"/>
              <a:gd name="T1" fmla="*/ 341 h 362"/>
              <a:gd name="T2" fmla="*/ 24 w 586"/>
              <a:gd name="T3" fmla="*/ 4 h 362"/>
              <a:gd name="T4" fmla="*/ 24 w 586"/>
              <a:gd name="T5" fmla="*/ 0 h 362"/>
              <a:gd name="T6" fmla="*/ 141 w 586"/>
              <a:gd name="T7" fmla="*/ 8 h 362"/>
              <a:gd name="T8" fmla="*/ 318 w 586"/>
              <a:gd name="T9" fmla="*/ 17 h 362"/>
              <a:gd name="T10" fmla="*/ 469 w 586"/>
              <a:gd name="T11" fmla="*/ 19 h 362"/>
              <a:gd name="T12" fmla="*/ 535 w 586"/>
              <a:gd name="T13" fmla="*/ 19 h 362"/>
              <a:gd name="T14" fmla="*/ 533 w 586"/>
              <a:gd name="T15" fmla="*/ 23 h 362"/>
              <a:gd name="T16" fmla="*/ 533 w 586"/>
              <a:gd name="T17" fmla="*/ 23 h 362"/>
              <a:gd name="T18" fmla="*/ 537 w 586"/>
              <a:gd name="T19" fmla="*/ 30 h 362"/>
              <a:gd name="T20" fmla="*/ 541 w 586"/>
              <a:gd name="T21" fmla="*/ 51 h 362"/>
              <a:gd name="T22" fmla="*/ 543 w 586"/>
              <a:gd name="T23" fmla="*/ 57 h 362"/>
              <a:gd name="T24" fmla="*/ 539 w 586"/>
              <a:gd name="T25" fmla="*/ 70 h 362"/>
              <a:gd name="T26" fmla="*/ 541 w 586"/>
              <a:gd name="T27" fmla="*/ 85 h 362"/>
              <a:gd name="T28" fmla="*/ 541 w 586"/>
              <a:gd name="T29" fmla="*/ 92 h 362"/>
              <a:gd name="T30" fmla="*/ 541 w 586"/>
              <a:gd name="T31" fmla="*/ 96 h 362"/>
              <a:gd name="T32" fmla="*/ 541 w 586"/>
              <a:gd name="T33" fmla="*/ 109 h 362"/>
              <a:gd name="T34" fmla="*/ 543 w 586"/>
              <a:gd name="T35" fmla="*/ 117 h 362"/>
              <a:gd name="T36" fmla="*/ 552 w 586"/>
              <a:gd name="T37" fmla="*/ 141 h 362"/>
              <a:gd name="T38" fmla="*/ 550 w 586"/>
              <a:gd name="T39" fmla="*/ 145 h 362"/>
              <a:gd name="T40" fmla="*/ 558 w 586"/>
              <a:gd name="T41" fmla="*/ 166 h 362"/>
              <a:gd name="T42" fmla="*/ 563 w 586"/>
              <a:gd name="T43" fmla="*/ 181 h 362"/>
              <a:gd name="T44" fmla="*/ 563 w 586"/>
              <a:gd name="T45" fmla="*/ 190 h 362"/>
              <a:gd name="T46" fmla="*/ 560 w 586"/>
              <a:gd name="T47" fmla="*/ 196 h 362"/>
              <a:gd name="T48" fmla="*/ 563 w 586"/>
              <a:gd name="T49" fmla="*/ 202 h 362"/>
              <a:gd name="T50" fmla="*/ 563 w 586"/>
              <a:gd name="T51" fmla="*/ 217 h 362"/>
              <a:gd name="T52" fmla="*/ 565 w 586"/>
              <a:gd name="T53" fmla="*/ 232 h 362"/>
              <a:gd name="T54" fmla="*/ 565 w 586"/>
              <a:gd name="T55" fmla="*/ 243 h 362"/>
              <a:gd name="T56" fmla="*/ 569 w 586"/>
              <a:gd name="T57" fmla="*/ 251 h 362"/>
              <a:gd name="T58" fmla="*/ 567 w 586"/>
              <a:gd name="T59" fmla="*/ 258 h 362"/>
              <a:gd name="T60" fmla="*/ 569 w 586"/>
              <a:gd name="T61" fmla="*/ 285 h 362"/>
              <a:gd name="T62" fmla="*/ 571 w 586"/>
              <a:gd name="T63" fmla="*/ 292 h 362"/>
              <a:gd name="T64" fmla="*/ 571 w 586"/>
              <a:gd name="T65" fmla="*/ 298 h 362"/>
              <a:gd name="T66" fmla="*/ 573 w 586"/>
              <a:gd name="T67" fmla="*/ 307 h 362"/>
              <a:gd name="T68" fmla="*/ 582 w 586"/>
              <a:gd name="T69" fmla="*/ 317 h 362"/>
              <a:gd name="T70" fmla="*/ 584 w 586"/>
              <a:gd name="T71" fmla="*/ 326 h 362"/>
              <a:gd name="T72" fmla="*/ 584 w 586"/>
              <a:gd name="T73" fmla="*/ 332 h 362"/>
              <a:gd name="T74" fmla="*/ 586 w 586"/>
              <a:gd name="T75" fmla="*/ 347 h 362"/>
              <a:gd name="T76" fmla="*/ 586 w 586"/>
              <a:gd name="T77" fmla="*/ 354 h 362"/>
              <a:gd name="T78" fmla="*/ 586 w 586"/>
              <a:gd name="T79" fmla="*/ 362 h 362"/>
              <a:gd name="T80" fmla="*/ 439 w 586"/>
              <a:gd name="T81" fmla="*/ 360 h 362"/>
              <a:gd name="T82" fmla="*/ 296 w 586"/>
              <a:gd name="T83" fmla="*/ 358 h 362"/>
              <a:gd name="T84" fmla="*/ 141 w 586"/>
              <a:gd name="T85" fmla="*/ 351 h 362"/>
              <a:gd name="T86" fmla="*/ 0 w 586"/>
              <a:gd name="T87" fmla="*/ 34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6" h="362">
                <a:moveTo>
                  <a:pt x="0" y="341"/>
                </a:moveTo>
                <a:lnTo>
                  <a:pt x="24" y="4"/>
                </a:lnTo>
                <a:lnTo>
                  <a:pt x="24" y="0"/>
                </a:lnTo>
                <a:lnTo>
                  <a:pt x="141" y="8"/>
                </a:lnTo>
                <a:lnTo>
                  <a:pt x="318" y="17"/>
                </a:lnTo>
                <a:lnTo>
                  <a:pt x="469" y="19"/>
                </a:lnTo>
                <a:lnTo>
                  <a:pt x="535" y="19"/>
                </a:lnTo>
                <a:lnTo>
                  <a:pt x="533" y="23"/>
                </a:lnTo>
                <a:lnTo>
                  <a:pt x="533" y="23"/>
                </a:lnTo>
                <a:lnTo>
                  <a:pt x="537" y="30"/>
                </a:lnTo>
                <a:lnTo>
                  <a:pt x="541" y="51"/>
                </a:lnTo>
                <a:lnTo>
                  <a:pt x="543" y="57"/>
                </a:lnTo>
                <a:lnTo>
                  <a:pt x="539" y="70"/>
                </a:lnTo>
                <a:lnTo>
                  <a:pt x="541" y="85"/>
                </a:lnTo>
                <a:lnTo>
                  <a:pt x="541" y="92"/>
                </a:lnTo>
                <a:lnTo>
                  <a:pt x="541" y="96"/>
                </a:lnTo>
                <a:lnTo>
                  <a:pt x="541" y="109"/>
                </a:lnTo>
                <a:lnTo>
                  <a:pt x="543" y="117"/>
                </a:lnTo>
                <a:lnTo>
                  <a:pt x="552" y="141"/>
                </a:lnTo>
                <a:lnTo>
                  <a:pt x="550" y="145"/>
                </a:lnTo>
                <a:lnTo>
                  <a:pt x="558" y="166"/>
                </a:lnTo>
                <a:lnTo>
                  <a:pt x="563" y="181"/>
                </a:lnTo>
                <a:lnTo>
                  <a:pt x="563" y="190"/>
                </a:lnTo>
                <a:lnTo>
                  <a:pt x="560" y="196"/>
                </a:lnTo>
                <a:lnTo>
                  <a:pt x="563" y="202"/>
                </a:lnTo>
                <a:lnTo>
                  <a:pt x="563" y="217"/>
                </a:lnTo>
                <a:lnTo>
                  <a:pt x="565" y="232"/>
                </a:lnTo>
                <a:lnTo>
                  <a:pt x="565" y="243"/>
                </a:lnTo>
                <a:lnTo>
                  <a:pt x="569" y="251"/>
                </a:lnTo>
                <a:lnTo>
                  <a:pt x="567" y="258"/>
                </a:lnTo>
                <a:lnTo>
                  <a:pt x="569" y="285"/>
                </a:lnTo>
                <a:lnTo>
                  <a:pt x="571" y="292"/>
                </a:lnTo>
                <a:lnTo>
                  <a:pt x="571" y="298"/>
                </a:lnTo>
                <a:lnTo>
                  <a:pt x="573" y="307"/>
                </a:lnTo>
                <a:lnTo>
                  <a:pt x="582" y="317"/>
                </a:lnTo>
                <a:lnTo>
                  <a:pt x="584" y="326"/>
                </a:lnTo>
                <a:lnTo>
                  <a:pt x="584" y="332"/>
                </a:lnTo>
                <a:lnTo>
                  <a:pt x="586" y="347"/>
                </a:lnTo>
                <a:lnTo>
                  <a:pt x="586" y="354"/>
                </a:lnTo>
                <a:lnTo>
                  <a:pt x="586" y="362"/>
                </a:lnTo>
                <a:lnTo>
                  <a:pt x="439" y="360"/>
                </a:lnTo>
                <a:lnTo>
                  <a:pt x="296" y="358"/>
                </a:lnTo>
                <a:lnTo>
                  <a:pt x="141" y="351"/>
                </a:lnTo>
                <a:lnTo>
                  <a:pt x="0" y="341"/>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91" name="Freeform 697"/>
          <p:cNvSpPr>
            <a:spLocks/>
          </p:cNvSpPr>
          <p:nvPr/>
        </p:nvSpPr>
        <p:spPr bwMode="auto">
          <a:xfrm>
            <a:off x="3373437" y="1746250"/>
            <a:ext cx="930275" cy="574675"/>
          </a:xfrm>
          <a:custGeom>
            <a:avLst/>
            <a:gdLst>
              <a:gd name="T0" fmla="*/ 0 w 586"/>
              <a:gd name="T1" fmla="*/ 341 h 362"/>
              <a:gd name="T2" fmla="*/ 24 w 586"/>
              <a:gd name="T3" fmla="*/ 4 h 362"/>
              <a:gd name="T4" fmla="*/ 24 w 586"/>
              <a:gd name="T5" fmla="*/ 0 h 362"/>
              <a:gd name="T6" fmla="*/ 141 w 586"/>
              <a:gd name="T7" fmla="*/ 8 h 362"/>
              <a:gd name="T8" fmla="*/ 318 w 586"/>
              <a:gd name="T9" fmla="*/ 17 h 362"/>
              <a:gd name="T10" fmla="*/ 469 w 586"/>
              <a:gd name="T11" fmla="*/ 19 h 362"/>
              <a:gd name="T12" fmla="*/ 535 w 586"/>
              <a:gd name="T13" fmla="*/ 19 h 362"/>
              <a:gd name="T14" fmla="*/ 533 w 586"/>
              <a:gd name="T15" fmla="*/ 23 h 362"/>
              <a:gd name="T16" fmla="*/ 533 w 586"/>
              <a:gd name="T17" fmla="*/ 23 h 362"/>
              <a:gd name="T18" fmla="*/ 537 w 586"/>
              <a:gd name="T19" fmla="*/ 30 h 362"/>
              <a:gd name="T20" fmla="*/ 541 w 586"/>
              <a:gd name="T21" fmla="*/ 51 h 362"/>
              <a:gd name="T22" fmla="*/ 543 w 586"/>
              <a:gd name="T23" fmla="*/ 57 h 362"/>
              <a:gd name="T24" fmla="*/ 539 w 586"/>
              <a:gd name="T25" fmla="*/ 70 h 362"/>
              <a:gd name="T26" fmla="*/ 541 w 586"/>
              <a:gd name="T27" fmla="*/ 85 h 362"/>
              <a:gd name="T28" fmla="*/ 541 w 586"/>
              <a:gd name="T29" fmla="*/ 92 h 362"/>
              <a:gd name="T30" fmla="*/ 541 w 586"/>
              <a:gd name="T31" fmla="*/ 96 h 362"/>
              <a:gd name="T32" fmla="*/ 541 w 586"/>
              <a:gd name="T33" fmla="*/ 109 h 362"/>
              <a:gd name="T34" fmla="*/ 543 w 586"/>
              <a:gd name="T35" fmla="*/ 117 h 362"/>
              <a:gd name="T36" fmla="*/ 552 w 586"/>
              <a:gd name="T37" fmla="*/ 141 h 362"/>
              <a:gd name="T38" fmla="*/ 550 w 586"/>
              <a:gd name="T39" fmla="*/ 145 h 362"/>
              <a:gd name="T40" fmla="*/ 558 w 586"/>
              <a:gd name="T41" fmla="*/ 166 h 362"/>
              <a:gd name="T42" fmla="*/ 563 w 586"/>
              <a:gd name="T43" fmla="*/ 181 h 362"/>
              <a:gd name="T44" fmla="*/ 563 w 586"/>
              <a:gd name="T45" fmla="*/ 190 h 362"/>
              <a:gd name="T46" fmla="*/ 560 w 586"/>
              <a:gd name="T47" fmla="*/ 196 h 362"/>
              <a:gd name="T48" fmla="*/ 563 w 586"/>
              <a:gd name="T49" fmla="*/ 202 h 362"/>
              <a:gd name="T50" fmla="*/ 563 w 586"/>
              <a:gd name="T51" fmla="*/ 217 h 362"/>
              <a:gd name="T52" fmla="*/ 565 w 586"/>
              <a:gd name="T53" fmla="*/ 232 h 362"/>
              <a:gd name="T54" fmla="*/ 565 w 586"/>
              <a:gd name="T55" fmla="*/ 243 h 362"/>
              <a:gd name="T56" fmla="*/ 569 w 586"/>
              <a:gd name="T57" fmla="*/ 251 h 362"/>
              <a:gd name="T58" fmla="*/ 567 w 586"/>
              <a:gd name="T59" fmla="*/ 258 h 362"/>
              <a:gd name="T60" fmla="*/ 569 w 586"/>
              <a:gd name="T61" fmla="*/ 285 h 362"/>
              <a:gd name="T62" fmla="*/ 571 w 586"/>
              <a:gd name="T63" fmla="*/ 292 h 362"/>
              <a:gd name="T64" fmla="*/ 571 w 586"/>
              <a:gd name="T65" fmla="*/ 298 h 362"/>
              <a:gd name="T66" fmla="*/ 573 w 586"/>
              <a:gd name="T67" fmla="*/ 307 h 362"/>
              <a:gd name="T68" fmla="*/ 582 w 586"/>
              <a:gd name="T69" fmla="*/ 317 h 362"/>
              <a:gd name="T70" fmla="*/ 584 w 586"/>
              <a:gd name="T71" fmla="*/ 326 h 362"/>
              <a:gd name="T72" fmla="*/ 584 w 586"/>
              <a:gd name="T73" fmla="*/ 332 h 362"/>
              <a:gd name="T74" fmla="*/ 586 w 586"/>
              <a:gd name="T75" fmla="*/ 347 h 362"/>
              <a:gd name="T76" fmla="*/ 586 w 586"/>
              <a:gd name="T77" fmla="*/ 354 h 362"/>
              <a:gd name="T78" fmla="*/ 586 w 586"/>
              <a:gd name="T79" fmla="*/ 362 h 362"/>
              <a:gd name="T80" fmla="*/ 439 w 586"/>
              <a:gd name="T81" fmla="*/ 360 h 362"/>
              <a:gd name="T82" fmla="*/ 296 w 586"/>
              <a:gd name="T83" fmla="*/ 358 h 362"/>
              <a:gd name="T84" fmla="*/ 141 w 586"/>
              <a:gd name="T85" fmla="*/ 351 h 362"/>
              <a:gd name="T86" fmla="*/ 0 w 586"/>
              <a:gd name="T87" fmla="*/ 34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6" h="362">
                <a:moveTo>
                  <a:pt x="0" y="341"/>
                </a:moveTo>
                <a:lnTo>
                  <a:pt x="24" y="4"/>
                </a:lnTo>
                <a:lnTo>
                  <a:pt x="24" y="0"/>
                </a:lnTo>
                <a:lnTo>
                  <a:pt x="141" y="8"/>
                </a:lnTo>
                <a:lnTo>
                  <a:pt x="318" y="17"/>
                </a:lnTo>
                <a:lnTo>
                  <a:pt x="469" y="19"/>
                </a:lnTo>
                <a:lnTo>
                  <a:pt x="535" y="19"/>
                </a:lnTo>
                <a:lnTo>
                  <a:pt x="533" y="23"/>
                </a:lnTo>
                <a:lnTo>
                  <a:pt x="533" y="23"/>
                </a:lnTo>
                <a:lnTo>
                  <a:pt x="537" y="30"/>
                </a:lnTo>
                <a:lnTo>
                  <a:pt x="541" y="51"/>
                </a:lnTo>
                <a:lnTo>
                  <a:pt x="543" y="57"/>
                </a:lnTo>
                <a:lnTo>
                  <a:pt x="539" y="70"/>
                </a:lnTo>
                <a:lnTo>
                  <a:pt x="541" y="85"/>
                </a:lnTo>
                <a:lnTo>
                  <a:pt x="541" y="92"/>
                </a:lnTo>
                <a:lnTo>
                  <a:pt x="541" y="96"/>
                </a:lnTo>
                <a:lnTo>
                  <a:pt x="541" y="109"/>
                </a:lnTo>
                <a:lnTo>
                  <a:pt x="543" y="117"/>
                </a:lnTo>
                <a:lnTo>
                  <a:pt x="552" y="141"/>
                </a:lnTo>
                <a:lnTo>
                  <a:pt x="550" y="145"/>
                </a:lnTo>
                <a:lnTo>
                  <a:pt x="558" y="166"/>
                </a:lnTo>
                <a:lnTo>
                  <a:pt x="563" y="181"/>
                </a:lnTo>
                <a:lnTo>
                  <a:pt x="563" y="190"/>
                </a:lnTo>
                <a:lnTo>
                  <a:pt x="560" y="196"/>
                </a:lnTo>
                <a:lnTo>
                  <a:pt x="563" y="202"/>
                </a:lnTo>
                <a:lnTo>
                  <a:pt x="563" y="217"/>
                </a:lnTo>
                <a:lnTo>
                  <a:pt x="565" y="232"/>
                </a:lnTo>
                <a:lnTo>
                  <a:pt x="565" y="243"/>
                </a:lnTo>
                <a:lnTo>
                  <a:pt x="569" y="251"/>
                </a:lnTo>
                <a:lnTo>
                  <a:pt x="567" y="258"/>
                </a:lnTo>
                <a:lnTo>
                  <a:pt x="569" y="285"/>
                </a:lnTo>
                <a:lnTo>
                  <a:pt x="571" y="292"/>
                </a:lnTo>
                <a:lnTo>
                  <a:pt x="571" y="298"/>
                </a:lnTo>
                <a:lnTo>
                  <a:pt x="573" y="307"/>
                </a:lnTo>
                <a:lnTo>
                  <a:pt x="582" y="317"/>
                </a:lnTo>
                <a:lnTo>
                  <a:pt x="584" y="326"/>
                </a:lnTo>
                <a:lnTo>
                  <a:pt x="584" y="332"/>
                </a:lnTo>
                <a:lnTo>
                  <a:pt x="586" y="347"/>
                </a:lnTo>
                <a:lnTo>
                  <a:pt x="586" y="354"/>
                </a:lnTo>
                <a:lnTo>
                  <a:pt x="586" y="362"/>
                </a:lnTo>
                <a:lnTo>
                  <a:pt x="439" y="360"/>
                </a:lnTo>
                <a:lnTo>
                  <a:pt x="296" y="358"/>
                </a:lnTo>
                <a:lnTo>
                  <a:pt x="141" y="351"/>
                </a:lnTo>
                <a:lnTo>
                  <a:pt x="0" y="34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2" name="Freeform 698"/>
          <p:cNvSpPr>
            <a:spLocks/>
          </p:cNvSpPr>
          <p:nvPr/>
        </p:nvSpPr>
        <p:spPr bwMode="auto">
          <a:xfrm>
            <a:off x="3397250" y="3900488"/>
            <a:ext cx="1223963" cy="625475"/>
          </a:xfrm>
          <a:custGeom>
            <a:avLst/>
            <a:gdLst>
              <a:gd name="T0" fmla="*/ 2 w 771"/>
              <a:gd name="T1" fmla="*/ 0 h 394"/>
              <a:gd name="T2" fmla="*/ 232 w 771"/>
              <a:gd name="T3" fmla="*/ 10 h 394"/>
              <a:gd name="T4" fmla="*/ 637 w 771"/>
              <a:gd name="T5" fmla="*/ 15 h 394"/>
              <a:gd name="T6" fmla="*/ 750 w 771"/>
              <a:gd name="T7" fmla="*/ 70 h 394"/>
              <a:gd name="T8" fmla="*/ 769 w 771"/>
              <a:gd name="T9" fmla="*/ 196 h 394"/>
              <a:gd name="T10" fmla="*/ 750 w 771"/>
              <a:gd name="T11" fmla="*/ 389 h 394"/>
              <a:gd name="T12" fmla="*/ 735 w 771"/>
              <a:gd name="T13" fmla="*/ 381 h 394"/>
              <a:gd name="T14" fmla="*/ 705 w 771"/>
              <a:gd name="T15" fmla="*/ 360 h 394"/>
              <a:gd name="T16" fmla="*/ 695 w 771"/>
              <a:gd name="T17" fmla="*/ 368 h 394"/>
              <a:gd name="T18" fmla="*/ 682 w 771"/>
              <a:gd name="T19" fmla="*/ 370 h 394"/>
              <a:gd name="T20" fmla="*/ 669 w 771"/>
              <a:gd name="T21" fmla="*/ 362 h 394"/>
              <a:gd name="T22" fmla="*/ 650 w 771"/>
              <a:gd name="T23" fmla="*/ 372 h 394"/>
              <a:gd name="T24" fmla="*/ 635 w 771"/>
              <a:gd name="T25" fmla="*/ 368 h 394"/>
              <a:gd name="T26" fmla="*/ 620 w 771"/>
              <a:gd name="T27" fmla="*/ 372 h 394"/>
              <a:gd name="T28" fmla="*/ 603 w 771"/>
              <a:gd name="T29" fmla="*/ 383 h 394"/>
              <a:gd name="T30" fmla="*/ 594 w 771"/>
              <a:gd name="T31" fmla="*/ 383 h 394"/>
              <a:gd name="T32" fmla="*/ 580 w 771"/>
              <a:gd name="T33" fmla="*/ 377 h 394"/>
              <a:gd name="T34" fmla="*/ 567 w 771"/>
              <a:gd name="T35" fmla="*/ 368 h 394"/>
              <a:gd name="T36" fmla="*/ 554 w 771"/>
              <a:gd name="T37" fmla="*/ 370 h 394"/>
              <a:gd name="T38" fmla="*/ 541 w 771"/>
              <a:gd name="T39" fmla="*/ 362 h 394"/>
              <a:gd name="T40" fmla="*/ 537 w 771"/>
              <a:gd name="T41" fmla="*/ 368 h 394"/>
              <a:gd name="T42" fmla="*/ 526 w 771"/>
              <a:gd name="T43" fmla="*/ 385 h 394"/>
              <a:gd name="T44" fmla="*/ 520 w 771"/>
              <a:gd name="T45" fmla="*/ 385 h 394"/>
              <a:gd name="T46" fmla="*/ 520 w 771"/>
              <a:gd name="T47" fmla="*/ 370 h 394"/>
              <a:gd name="T48" fmla="*/ 501 w 771"/>
              <a:gd name="T49" fmla="*/ 375 h 394"/>
              <a:gd name="T50" fmla="*/ 492 w 771"/>
              <a:gd name="T51" fmla="*/ 368 h 394"/>
              <a:gd name="T52" fmla="*/ 482 w 771"/>
              <a:gd name="T53" fmla="*/ 360 h 394"/>
              <a:gd name="T54" fmla="*/ 462 w 771"/>
              <a:gd name="T55" fmla="*/ 368 h 394"/>
              <a:gd name="T56" fmla="*/ 450 w 771"/>
              <a:gd name="T57" fmla="*/ 370 h 394"/>
              <a:gd name="T58" fmla="*/ 448 w 771"/>
              <a:gd name="T59" fmla="*/ 355 h 394"/>
              <a:gd name="T60" fmla="*/ 435 w 771"/>
              <a:gd name="T61" fmla="*/ 347 h 394"/>
              <a:gd name="T62" fmla="*/ 428 w 771"/>
              <a:gd name="T63" fmla="*/ 340 h 394"/>
              <a:gd name="T64" fmla="*/ 407 w 771"/>
              <a:gd name="T65" fmla="*/ 345 h 394"/>
              <a:gd name="T66" fmla="*/ 394 w 771"/>
              <a:gd name="T67" fmla="*/ 343 h 394"/>
              <a:gd name="T68" fmla="*/ 384 w 771"/>
              <a:gd name="T69" fmla="*/ 338 h 394"/>
              <a:gd name="T70" fmla="*/ 362 w 771"/>
              <a:gd name="T71" fmla="*/ 334 h 394"/>
              <a:gd name="T72" fmla="*/ 347 w 771"/>
              <a:gd name="T73" fmla="*/ 332 h 394"/>
              <a:gd name="T74" fmla="*/ 335 w 771"/>
              <a:gd name="T75" fmla="*/ 330 h 394"/>
              <a:gd name="T76" fmla="*/ 335 w 771"/>
              <a:gd name="T77" fmla="*/ 315 h 394"/>
              <a:gd name="T78" fmla="*/ 322 w 771"/>
              <a:gd name="T79" fmla="*/ 304 h 394"/>
              <a:gd name="T80" fmla="*/ 316 w 771"/>
              <a:gd name="T81" fmla="*/ 309 h 394"/>
              <a:gd name="T82" fmla="*/ 303 w 771"/>
              <a:gd name="T83" fmla="*/ 306 h 394"/>
              <a:gd name="T84" fmla="*/ 288 w 771"/>
              <a:gd name="T85" fmla="*/ 306 h 394"/>
              <a:gd name="T86" fmla="*/ 269 w 771"/>
              <a:gd name="T87" fmla="*/ 287 h 394"/>
              <a:gd name="T88" fmla="*/ 262 w 771"/>
              <a:gd name="T89" fmla="*/ 274 h 394"/>
              <a:gd name="T90" fmla="*/ 260 w 771"/>
              <a:gd name="T91" fmla="*/ 68 h 394"/>
              <a:gd name="T92" fmla="*/ 215 w 771"/>
              <a:gd name="T93" fmla="*/ 68 h 394"/>
              <a:gd name="T94" fmla="*/ 0 w 771"/>
              <a:gd name="T95" fmla="*/ 5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1" h="394">
                <a:moveTo>
                  <a:pt x="0" y="55"/>
                </a:moveTo>
                <a:lnTo>
                  <a:pt x="2" y="0"/>
                </a:lnTo>
                <a:lnTo>
                  <a:pt x="90" y="4"/>
                </a:lnTo>
                <a:lnTo>
                  <a:pt x="232" y="10"/>
                </a:lnTo>
                <a:lnTo>
                  <a:pt x="435" y="15"/>
                </a:lnTo>
                <a:lnTo>
                  <a:pt x="637" y="15"/>
                </a:lnTo>
                <a:lnTo>
                  <a:pt x="748" y="15"/>
                </a:lnTo>
                <a:lnTo>
                  <a:pt x="750" y="70"/>
                </a:lnTo>
                <a:lnTo>
                  <a:pt x="765" y="166"/>
                </a:lnTo>
                <a:lnTo>
                  <a:pt x="769" y="196"/>
                </a:lnTo>
                <a:lnTo>
                  <a:pt x="771" y="394"/>
                </a:lnTo>
                <a:lnTo>
                  <a:pt x="750" y="389"/>
                </a:lnTo>
                <a:lnTo>
                  <a:pt x="744" y="383"/>
                </a:lnTo>
                <a:lnTo>
                  <a:pt x="735" y="381"/>
                </a:lnTo>
                <a:lnTo>
                  <a:pt x="722" y="370"/>
                </a:lnTo>
                <a:lnTo>
                  <a:pt x="705" y="360"/>
                </a:lnTo>
                <a:lnTo>
                  <a:pt x="699" y="360"/>
                </a:lnTo>
                <a:lnTo>
                  <a:pt x="695" y="368"/>
                </a:lnTo>
                <a:lnTo>
                  <a:pt x="690" y="370"/>
                </a:lnTo>
                <a:lnTo>
                  <a:pt x="682" y="370"/>
                </a:lnTo>
                <a:lnTo>
                  <a:pt x="678" y="368"/>
                </a:lnTo>
                <a:lnTo>
                  <a:pt x="669" y="362"/>
                </a:lnTo>
                <a:lnTo>
                  <a:pt x="656" y="368"/>
                </a:lnTo>
                <a:lnTo>
                  <a:pt x="650" y="372"/>
                </a:lnTo>
                <a:lnTo>
                  <a:pt x="641" y="372"/>
                </a:lnTo>
                <a:lnTo>
                  <a:pt x="635" y="368"/>
                </a:lnTo>
                <a:lnTo>
                  <a:pt x="629" y="372"/>
                </a:lnTo>
                <a:lnTo>
                  <a:pt x="620" y="372"/>
                </a:lnTo>
                <a:lnTo>
                  <a:pt x="611" y="383"/>
                </a:lnTo>
                <a:lnTo>
                  <a:pt x="603" y="383"/>
                </a:lnTo>
                <a:lnTo>
                  <a:pt x="601" y="389"/>
                </a:lnTo>
                <a:lnTo>
                  <a:pt x="594" y="383"/>
                </a:lnTo>
                <a:lnTo>
                  <a:pt x="586" y="381"/>
                </a:lnTo>
                <a:lnTo>
                  <a:pt x="580" y="377"/>
                </a:lnTo>
                <a:lnTo>
                  <a:pt x="573" y="368"/>
                </a:lnTo>
                <a:lnTo>
                  <a:pt x="567" y="368"/>
                </a:lnTo>
                <a:lnTo>
                  <a:pt x="560" y="372"/>
                </a:lnTo>
                <a:lnTo>
                  <a:pt x="554" y="370"/>
                </a:lnTo>
                <a:lnTo>
                  <a:pt x="548" y="364"/>
                </a:lnTo>
                <a:lnTo>
                  <a:pt x="541" y="362"/>
                </a:lnTo>
                <a:lnTo>
                  <a:pt x="539" y="362"/>
                </a:lnTo>
                <a:lnTo>
                  <a:pt x="537" y="368"/>
                </a:lnTo>
                <a:lnTo>
                  <a:pt x="531" y="372"/>
                </a:lnTo>
                <a:lnTo>
                  <a:pt x="526" y="385"/>
                </a:lnTo>
                <a:lnTo>
                  <a:pt x="522" y="387"/>
                </a:lnTo>
                <a:lnTo>
                  <a:pt x="520" y="385"/>
                </a:lnTo>
                <a:lnTo>
                  <a:pt x="518" y="377"/>
                </a:lnTo>
                <a:lnTo>
                  <a:pt x="520" y="370"/>
                </a:lnTo>
                <a:lnTo>
                  <a:pt x="514" y="370"/>
                </a:lnTo>
                <a:lnTo>
                  <a:pt x="501" y="375"/>
                </a:lnTo>
                <a:lnTo>
                  <a:pt x="494" y="375"/>
                </a:lnTo>
                <a:lnTo>
                  <a:pt x="492" y="368"/>
                </a:lnTo>
                <a:lnTo>
                  <a:pt x="484" y="368"/>
                </a:lnTo>
                <a:lnTo>
                  <a:pt x="482" y="360"/>
                </a:lnTo>
                <a:lnTo>
                  <a:pt x="475" y="358"/>
                </a:lnTo>
                <a:lnTo>
                  <a:pt x="462" y="368"/>
                </a:lnTo>
                <a:lnTo>
                  <a:pt x="456" y="372"/>
                </a:lnTo>
                <a:lnTo>
                  <a:pt x="450" y="370"/>
                </a:lnTo>
                <a:lnTo>
                  <a:pt x="450" y="360"/>
                </a:lnTo>
                <a:lnTo>
                  <a:pt x="448" y="355"/>
                </a:lnTo>
                <a:lnTo>
                  <a:pt x="439" y="355"/>
                </a:lnTo>
                <a:lnTo>
                  <a:pt x="435" y="347"/>
                </a:lnTo>
                <a:lnTo>
                  <a:pt x="437" y="340"/>
                </a:lnTo>
                <a:lnTo>
                  <a:pt x="428" y="340"/>
                </a:lnTo>
                <a:lnTo>
                  <a:pt x="413" y="340"/>
                </a:lnTo>
                <a:lnTo>
                  <a:pt x="407" y="345"/>
                </a:lnTo>
                <a:lnTo>
                  <a:pt x="399" y="347"/>
                </a:lnTo>
                <a:lnTo>
                  <a:pt x="394" y="343"/>
                </a:lnTo>
                <a:lnTo>
                  <a:pt x="390" y="338"/>
                </a:lnTo>
                <a:lnTo>
                  <a:pt x="384" y="338"/>
                </a:lnTo>
                <a:lnTo>
                  <a:pt x="375" y="338"/>
                </a:lnTo>
                <a:lnTo>
                  <a:pt x="362" y="334"/>
                </a:lnTo>
                <a:lnTo>
                  <a:pt x="354" y="330"/>
                </a:lnTo>
                <a:lnTo>
                  <a:pt x="347" y="332"/>
                </a:lnTo>
                <a:lnTo>
                  <a:pt x="343" y="330"/>
                </a:lnTo>
                <a:lnTo>
                  <a:pt x="335" y="330"/>
                </a:lnTo>
                <a:lnTo>
                  <a:pt x="335" y="321"/>
                </a:lnTo>
                <a:lnTo>
                  <a:pt x="335" y="315"/>
                </a:lnTo>
                <a:lnTo>
                  <a:pt x="328" y="309"/>
                </a:lnTo>
                <a:lnTo>
                  <a:pt x="322" y="304"/>
                </a:lnTo>
                <a:lnTo>
                  <a:pt x="320" y="300"/>
                </a:lnTo>
                <a:lnTo>
                  <a:pt x="316" y="309"/>
                </a:lnTo>
                <a:lnTo>
                  <a:pt x="309" y="309"/>
                </a:lnTo>
                <a:lnTo>
                  <a:pt x="303" y="306"/>
                </a:lnTo>
                <a:lnTo>
                  <a:pt x="294" y="311"/>
                </a:lnTo>
                <a:lnTo>
                  <a:pt x="288" y="306"/>
                </a:lnTo>
                <a:lnTo>
                  <a:pt x="275" y="291"/>
                </a:lnTo>
                <a:lnTo>
                  <a:pt x="269" y="287"/>
                </a:lnTo>
                <a:lnTo>
                  <a:pt x="260" y="285"/>
                </a:lnTo>
                <a:lnTo>
                  <a:pt x="262" y="274"/>
                </a:lnTo>
                <a:lnTo>
                  <a:pt x="269" y="72"/>
                </a:lnTo>
                <a:lnTo>
                  <a:pt x="260" y="68"/>
                </a:lnTo>
                <a:lnTo>
                  <a:pt x="252" y="68"/>
                </a:lnTo>
                <a:lnTo>
                  <a:pt x="215" y="68"/>
                </a:lnTo>
                <a:lnTo>
                  <a:pt x="122" y="64"/>
                </a:lnTo>
                <a:lnTo>
                  <a:pt x="0" y="55"/>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93" name="Freeform 699"/>
          <p:cNvSpPr>
            <a:spLocks/>
          </p:cNvSpPr>
          <p:nvPr/>
        </p:nvSpPr>
        <p:spPr bwMode="auto">
          <a:xfrm>
            <a:off x="3397250" y="3900488"/>
            <a:ext cx="1223963" cy="625475"/>
          </a:xfrm>
          <a:custGeom>
            <a:avLst/>
            <a:gdLst>
              <a:gd name="T0" fmla="*/ 2 w 771"/>
              <a:gd name="T1" fmla="*/ 0 h 394"/>
              <a:gd name="T2" fmla="*/ 232 w 771"/>
              <a:gd name="T3" fmla="*/ 10 h 394"/>
              <a:gd name="T4" fmla="*/ 637 w 771"/>
              <a:gd name="T5" fmla="*/ 15 h 394"/>
              <a:gd name="T6" fmla="*/ 750 w 771"/>
              <a:gd name="T7" fmla="*/ 70 h 394"/>
              <a:gd name="T8" fmla="*/ 769 w 771"/>
              <a:gd name="T9" fmla="*/ 196 h 394"/>
              <a:gd name="T10" fmla="*/ 750 w 771"/>
              <a:gd name="T11" fmla="*/ 389 h 394"/>
              <a:gd name="T12" fmla="*/ 735 w 771"/>
              <a:gd name="T13" fmla="*/ 381 h 394"/>
              <a:gd name="T14" fmla="*/ 705 w 771"/>
              <a:gd name="T15" fmla="*/ 360 h 394"/>
              <a:gd name="T16" fmla="*/ 695 w 771"/>
              <a:gd name="T17" fmla="*/ 368 h 394"/>
              <a:gd name="T18" fmla="*/ 682 w 771"/>
              <a:gd name="T19" fmla="*/ 370 h 394"/>
              <a:gd name="T20" fmla="*/ 669 w 771"/>
              <a:gd name="T21" fmla="*/ 362 h 394"/>
              <a:gd name="T22" fmla="*/ 650 w 771"/>
              <a:gd name="T23" fmla="*/ 372 h 394"/>
              <a:gd name="T24" fmla="*/ 635 w 771"/>
              <a:gd name="T25" fmla="*/ 368 h 394"/>
              <a:gd name="T26" fmla="*/ 620 w 771"/>
              <a:gd name="T27" fmla="*/ 372 h 394"/>
              <a:gd name="T28" fmla="*/ 603 w 771"/>
              <a:gd name="T29" fmla="*/ 383 h 394"/>
              <a:gd name="T30" fmla="*/ 594 w 771"/>
              <a:gd name="T31" fmla="*/ 383 h 394"/>
              <a:gd name="T32" fmla="*/ 580 w 771"/>
              <a:gd name="T33" fmla="*/ 377 h 394"/>
              <a:gd name="T34" fmla="*/ 567 w 771"/>
              <a:gd name="T35" fmla="*/ 368 h 394"/>
              <a:gd name="T36" fmla="*/ 554 w 771"/>
              <a:gd name="T37" fmla="*/ 370 h 394"/>
              <a:gd name="T38" fmla="*/ 541 w 771"/>
              <a:gd name="T39" fmla="*/ 362 h 394"/>
              <a:gd name="T40" fmla="*/ 537 w 771"/>
              <a:gd name="T41" fmla="*/ 368 h 394"/>
              <a:gd name="T42" fmla="*/ 526 w 771"/>
              <a:gd name="T43" fmla="*/ 385 h 394"/>
              <a:gd name="T44" fmla="*/ 520 w 771"/>
              <a:gd name="T45" fmla="*/ 385 h 394"/>
              <a:gd name="T46" fmla="*/ 520 w 771"/>
              <a:gd name="T47" fmla="*/ 370 h 394"/>
              <a:gd name="T48" fmla="*/ 501 w 771"/>
              <a:gd name="T49" fmla="*/ 375 h 394"/>
              <a:gd name="T50" fmla="*/ 492 w 771"/>
              <a:gd name="T51" fmla="*/ 368 h 394"/>
              <a:gd name="T52" fmla="*/ 482 w 771"/>
              <a:gd name="T53" fmla="*/ 360 h 394"/>
              <a:gd name="T54" fmla="*/ 462 w 771"/>
              <a:gd name="T55" fmla="*/ 368 h 394"/>
              <a:gd name="T56" fmla="*/ 450 w 771"/>
              <a:gd name="T57" fmla="*/ 370 h 394"/>
              <a:gd name="T58" fmla="*/ 448 w 771"/>
              <a:gd name="T59" fmla="*/ 355 h 394"/>
              <a:gd name="T60" fmla="*/ 435 w 771"/>
              <a:gd name="T61" fmla="*/ 347 h 394"/>
              <a:gd name="T62" fmla="*/ 428 w 771"/>
              <a:gd name="T63" fmla="*/ 340 h 394"/>
              <a:gd name="T64" fmla="*/ 407 w 771"/>
              <a:gd name="T65" fmla="*/ 345 h 394"/>
              <a:gd name="T66" fmla="*/ 394 w 771"/>
              <a:gd name="T67" fmla="*/ 343 h 394"/>
              <a:gd name="T68" fmla="*/ 384 w 771"/>
              <a:gd name="T69" fmla="*/ 338 h 394"/>
              <a:gd name="T70" fmla="*/ 362 w 771"/>
              <a:gd name="T71" fmla="*/ 334 h 394"/>
              <a:gd name="T72" fmla="*/ 347 w 771"/>
              <a:gd name="T73" fmla="*/ 332 h 394"/>
              <a:gd name="T74" fmla="*/ 335 w 771"/>
              <a:gd name="T75" fmla="*/ 330 h 394"/>
              <a:gd name="T76" fmla="*/ 335 w 771"/>
              <a:gd name="T77" fmla="*/ 315 h 394"/>
              <a:gd name="T78" fmla="*/ 322 w 771"/>
              <a:gd name="T79" fmla="*/ 304 h 394"/>
              <a:gd name="T80" fmla="*/ 316 w 771"/>
              <a:gd name="T81" fmla="*/ 309 h 394"/>
              <a:gd name="T82" fmla="*/ 303 w 771"/>
              <a:gd name="T83" fmla="*/ 306 h 394"/>
              <a:gd name="T84" fmla="*/ 288 w 771"/>
              <a:gd name="T85" fmla="*/ 306 h 394"/>
              <a:gd name="T86" fmla="*/ 269 w 771"/>
              <a:gd name="T87" fmla="*/ 287 h 394"/>
              <a:gd name="T88" fmla="*/ 262 w 771"/>
              <a:gd name="T89" fmla="*/ 274 h 394"/>
              <a:gd name="T90" fmla="*/ 260 w 771"/>
              <a:gd name="T91" fmla="*/ 68 h 394"/>
              <a:gd name="T92" fmla="*/ 215 w 771"/>
              <a:gd name="T93" fmla="*/ 68 h 394"/>
              <a:gd name="T94" fmla="*/ 0 w 771"/>
              <a:gd name="T95" fmla="*/ 5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1" h="394">
                <a:moveTo>
                  <a:pt x="0" y="55"/>
                </a:moveTo>
                <a:lnTo>
                  <a:pt x="2" y="0"/>
                </a:lnTo>
                <a:lnTo>
                  <a:pt x="90" y="4"/>
                </a:lnTo>
                <a:lnTo>
                  <a:pt x="232" y="10"/>
                </a:lnTo>
                <a:lnTo>
                  <a:pt x="435" y="15"/>
                </a:lnTo>
                <a:lnTo>
                  <a:pt x="637" y="15"/>
                </a:lnTo>
                <a:lnTo>
                  <a:pt x="748" y="15"/>
                </a:lnTo>
                <a:lnTo>
                  <a:pt x="750" y="70"/>
                </a:lnTo>
                <a:lnTo>
                  <a:pt x="765" y="166"/>
                </a:lnTo>
                <a:lnTo>
                  <a:pt x="769" y="196"/>
                </a:lnTo>
                <a:lnTo>
                  <a:pt x="771" y="394"/>
                </a:lnTo>
                <a:lnTo>
                  <a:pt x="750" y="389"/>
                </a:lnTo>
                <a:lnTo>
                  <a:pt x="744" y="383"/>
                </a:lnTo>
                <a:lnTo>
                  <a:pt x="735" y="381"/>
                </a:lnTo>
                <a:lnTo>
                  <a:pt x="722" y="370"/>
                </a:lnTo>
                <a:lnTo>
                  <a:pt x="705" y="360"/>
                </a:lnTo>
                <a:lnTo>
                  <a:pt x="699" y="360"/>
                </a:lnTo>
                <a:lnTo>
                  <a:pt x="695" y="368"/>
                </a:lnTo>
                <a:lnTo>
                  <a:pt x="690" y="370"/>
                </a:lnTo>
                <a:lnTo>
                  <a:pt x="682" y="370"/>
                </a:lnTo>
                <a:lnTo>
                  <a:pt x="678" y="368"/>
                </a:lnTo>
                <a:lnTo>
                  <a:pt x="669" y="362"/>
                </a:lnTo>
                <a:lnTo>
                  <a:pt x="656" y="368"/>
                </a:lnTo>
                <a:lnTo>
                  <a:pt x="650" y="372"/>
                </a:lnTo>
                <a:lnTo>
                  <a:pt x="641" y="372"/>
                </a:lnTo>
                <a:lnTo>
                  <a:pt x="635" y="368"/>
                </a:lnTo>
                <a:lnTo>
                  <a:pt x="629" y="372"/>
                </a:lnTo>
                <a:lnTo>
                  <a:pt x="620" y="372"/>
                </a:lnTo>
                <a:lnTo>
                  <a:pt x="611" y="383"/>
                </a:lnTo>
                <a:lnTo>
                  <a:pt x="603" y="383"/>
                </a:lnTo>
                <a:lnTo>
                  <a:pt x="601" y="389"/>
                </a:lnTo>
                <a:lnTo>
                  <a:pt x="594" y="383"/>
                </a:lnTo>
                <a:lnTo>
                  <a:pt x="586" y="381"/>
                </a:lnTo>
                <a:lnTo>
                  <a:pt x="580" y="377"/>
                </a:lnTo>
                <a:lnTo>
                  <a:pt x="573" y="368"/>
                </a:lnTo>
                <a:lnTo>
                  <a:pt x="567" y="368"/>
                </a:lnTo>
                <a:lnTo>
                  <a:pt x="560" y="372"/>
                </a:lnTo>
                <a:lnTo>
                  <a:pt x="554" y="370"/>
                </a:lnTo>
                <a:lnTo>
                  <a:pt x="548" y="364"/>
                </a:lnTo>
                <a:lnTo>
                  <a:pt x="541" y="362"/>
                </a:lnTo>
                <a:lnTo>
                  <a:pt x="539" y="362"/>
                </a:lnTo>
                <a:lnTo>
                  <a:pt x="537" y="368"/>
                </a:lnTo>
                <a:lnTo>
                  <a:pt x="531" y="372"/>
                </a:lnTo>
                <a:lnTo>
                  <a:pt x="526" y="385"/>
                </a:lnTo>
                <a:lnTo>
                  <a:pt x="522" y="387"/>
                </a:lnTo>
                <a:lnTo>
                  <a:pt x="520" y="385"/>
                </a:lnTo>
                <a:lnTo>
                  <a:pt x="518" y="377"/>
                </a:lnTo>
                <a:lnTo>
                  <a:pt x="520" y="370"/>
                </a:lnTo>
                <a:lnTo>
                  <a:pt x="514" y="370"/>
                </a:lnTo>
                <a:lnTo>
                  <a:pt x="501" y="375"/>
                </a:lnTo>
                <a:lnTo>
                  <a:pt x="494" y="375"/>
                </a:lnTo>
                <a:lnTo>
                  <a:pt x="492" y="368"/>
                </a:lnTo>
                <a:lnTo>
                  <a:pt x="484" y="368"/>
                </a:lnTo>
                <a:lnTo>
                  <a:pt x="482" y="360"/>
                </a:lnTo>
                <a:lnTo>
                  <a:pt x="475" y="358"/>
                </a:lnTo>
                <a:lnTo>
                  <a:pt x="462" y="368"/>
                </a:lnTo>
                <a:lnTo>
                  <a:pt x="456" y="372"/>
                </a:lnTo>
                <a:lnTo>
                  <a:pt x="450" y="370"/>
                </a:lnTo>
                <a:lnTo>
                  <a:pt x="450" y="360"/>
                </a:lnTo>
                <a:lnTo>
                  <a:pt x="448" y="355"/>
                </a:lnTo>
                <a:lnTo>
                  <a:pt x="439" y="355"/>
                </a:lnTo>
                <a:lnTo>
                  <a:pt x="435" y="347"/>
                </a:lnTo>
                <a:lnTo>
                  <a:pt x="437" y="340"/>
                </a:lnTo>
                <a:lnTo>
                  <a:pt x="428" y="340"/>
                </a:lnTo>
                <a:lnTo>
                  <a:pt x="413" y="340"/>
                </a:lnTo>
                <a:lnTo>
                  <a:pt x="407" y="345"/>
                </a:lnTo>
                <a:lnTo>
                  <a:pt x="399" y="347"/>
                </a:lnTo>
                <a:lnTo>
                  <a:pt x="394" y="343"/>
                </a:lnTo>
                <a:lnTo>
                  <a:pt x="390" y="338"/>
                </a:lnTo>
                <a:lnTo>
                  <a:pt x="384" y="338"/>
                </a:lnTo>
                <a:lnTo>
                  <a:pt x="375" y="338"/>
                </a:lnTo>
                <a:lnTo>
                  <a:pt x="362" y="334"/>
                </a:lnTo>
                <a:lnTo>
                  <a:pt x="354" y="330"/>
                </a:lnTo>
                <a:lnTo>
                  <a:pt x="347" y="332"/>
                </a:lnTo>
                <a:lnTo>
                  <a:pt x="343" y="330"/>
                </a:lnTo>
                <a:lnTo>
                  <a:pt x="335" y="330"/>
                </a:lnTo>
                <a:lnTo>
                  <a:pt x="335" y="321"/>
                </a:lnTo>
                <a:lnTo>
                  <a:pt x="335" y="315"/>
                </a:lnTo>
                <a:lnTo>
                  <a:pt x="328" y="309"/>
                </a:lnTo>
                <a:lnTo>
                  <a:pt x="322" y="304"/>
                </a:lnTo>
                <a:lnTo>
                  <a:pt x="320" y="300"/>
                </a:lnTo>
                <a:lnTo>
                  <a:pt x="316" y="309"/>
                </a:lnTo>
                <a:lnTo>
                  <a:pt x="309" y="309"/>
                </a:lnTo>
                <a:lnTo>
                  <a:pt x="303" y="306"/>
                </a:lnTo>
                <a:lnTo>
                  <a:pt x="294" y="311"/>
                </a:lnTo>
                <a:lnTo>
                  <a:pt x="288" y="306"/>
                </a:lnTo>
                <a:lnTo>
                  <a:pt x="275" y="291"/>
                </a:lnTo>
                <a:lnTo>
                  <a:pt x="269" y="287"/>
                </a:lnTo>
                <a:lnTo>
                  <a:pt x="260" y="285"/>
                </a:lnTo>
                <a:lnTo>
                  <a:pt x="262" y="274"/>
                </a:lnTo>
                <a:lnTo>
                  <a:pt x="269" y="72"/>
                </a:lnTo>
                <a:lnTo>
                  <a:pt x="260" y="68"/>
                </a:lnTo>
                <a:lnTo>
                  <a:pt x="252" y="68"/>
                </a:lnTo>
                <a:lnTo>
                  <a:pt x="215" y="68"/>
                </a:lnTo>
                <a:lnTo>
                  <a:pt x="122" y="64"/>
                </a:lnTo>
                <a:lnTo>
                  <a:pt x="0" y="5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4" name="Freeform 700"/>
          <p:cNvSpPr>
            <a:spLocks/>
          </p:cNvSpPr>
          <p:nvPr/>
        </p:nvSpPr>
        <p:spPr bwMode="auto">
          <a:xfrm>
            <a:off x="3540125" y="3365500"/>
            <a:ext cx="1044575" cy="558800"/>
          </a:xfrm>
          <a:custGeom>
            <a:avLst/>
            <a:gdLst>
              <a:gd name="T0" fmla="*/ 0 w 658"/>
              <a:gd name="T1" fmla="*/ 341 h 352"/>
              <a:gd name="T2" fmla="*/ 17 w 658"/>
              <a:gd name="T3" fmla="*/ 0 h 352"/>
              <a:gd name="T4" fmla="*/ 125 w 658"/>
              <a:gd name="T5" fmla="*/ 7 h 352"/>
              <a:gd name="T6" fmla="*/ 336 w 658"/>
              <a:gd name="T7" fmla="*/ 13 h 352"/>
              <a:gd name="T8" fmla="*/ 447 w 658"/>
              <a:gd name="T9" fmla="*/ 13 h 352"/>
              <a:gd name="T10" fmla="*/ 590 w 658"/>
              <a:gd name="T11" fmla="*/ 11 h 352"/>
              <a:gd name="T12" fmla="*/ 611 w 658"/>
              <a:gd name="T13" fmla="*/ 26 h 352"/>
              <a:gd name="T14" fmla="*/ 617 w 658"/>
              <a:gd name="T15" fmla="*/ 21 h 352"/>
              <a:gd name="T16" fmla="*/ 624 w 658"/>
              <a:gd name="T17" fmla="*/ 24 h 352"/>
              <a:gd name="T18" fmla="*/ 628 w 658"/>
              <a:gd name="T19" fmla="*/ 32 h 352"/>
              <a:gd name="T20" fmla="*/ 630 w 658"/>
              <a:gd name="T21" fmla="*/ 39 h 352"/>
              <a:gd name="T22" fmla="*/ 628 w 658"/>
              <a:gd name="T23" fmla="*/ 41 h 352"/>
              <a:gd name="T24" fmla="*/ 622 w 658"/>
              <a:gd name="T25" fmla="*/ 41 h 352"/>
              <a:gd name="T26" fmla="*/ 617 w 658"/>
              <a:gd name="T27" fmla="*/ 47 h 352"/>
              <a:gd name="T28" fmla="*/ 609 w 658"/>
              <a:gd name="T29" fmla="*/ 60 h 352"/>
              <a:gd name="T30" fmla="*/ 613 w 658"/>
              <a:gd name="T31" fmla="*/ 66 h 352"/>
              <a:gd name="T32" fmla="*/ 619 w 658"/>
              <a:gd name="T33" fmla="*/ 75 h 352"/>
              <a:gd name="T34" fmla="*/ 628 w 658"/>
              <a:gd name="T35" fmla="*/ 81 h 352"/>
              <a:gd name="T36" fmla="*/ 628 w 658"/>
              <a:gd name="T37" fmla="*/ 87 h 352"/>
              <a:gd name="T38" fmla="*/ 639 w 658"/>
              <a:gd name="T39" fmla="*/ 102 h 352"/>
              <a:gd name="T40" fmla="*/ 645 w 658"/>
              <a:gd name="T41" fmla="*/ 105 h 352"/>
              <a:gd name="T42" fmla="*/ 654 w 658"/>
              <a:gd name="T43" fmla="*/ 111 h 352"/>
              <a:gd name="T44" fmla="*/ 658 w 658"/>
              <a:gd name="T45" fmla="*/ 352 h 352"/>
              <a:gd name="T46" fmla="*/ 547 w 658"/>
              <a:gd name="T47" fmla="*/ 352 h 352"/>
              <a:gd name="T48" fmla="*/ 345 w 658"/>
              <a:gd name="T49" fmla="*/ 352 h 352"/>
              <a:gd name="T50" fmla="*/ 142 w 658"/>
              <a:gd name="T51" fmla="*/ 347 h 352"/>
              <a:gd name="T52" fmla="*/ 0 w 658"/>
              <a:gd name="T53" fmla="*/ 34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8" h="352">
                <a:moveTo>
                  <a:pt x="0" y="341"/>
                </a:moveTo>
                <a:lnTo>
                  <a:pt x="17" y="0"/>
                </a:lnTo>
                <a:lnTo>
                  <a:pt x="125" y="7"/>
                </a:lnTo>
                <a:lnTo>
                  <a:pt x="336" y="13"/>
                </a:lnTo>
                <a:lnTo>
                  <a:pt x="447" y="13"/>
                </a:lnTo>
                <a:lnTo>
                  <a:pt x="590" y="11"/>
                </a:lnTo>
                <a:lnTo>
                  <a:pt x="611" y="26"/>
                </a:lnTo>
                <a:lnTo>
                  <a:pt x="617" y="21"/>
                </a:lnTo>
                <a:lnTo>
                  <a:pt x="624" y="24"/>
                </a:lnTo>
                <a:lnTo>
                  <a:pt x="628" y="32"/>
                </a:lnTo>
                <a:lnTo>
                  <a:pt x="630" y="39"/>
                </a:lnTo>
                <a:lnTo>
                  <a:pt x="628" y="41"/>
                </a:lnTo>
                <a:lnTo>
                  <a:pt x="622" y="41"/>
                </a:lnTo>
                <a:lnTo>
                  <a:pt x="617" y="47"/>
                </a:lnTo>
                <a:lnTo>
                  <a:pt x="609" y="60"/>
                </a:lnTo>
                <a:lnTo>
                  <a:pt x="613" y="66"/>
                </a:lnTo>
                <a:lnTo>
                  <a:pt x="619" y="75"/>
                </a:lnTo>
                <a:lnTo>
                  <a:pt x="628" y="81"/>
                </a:lnTo>
                <a:lnTo>
                  <a:pt x="628" y="87"/>
                </a:lnTo>
                <a:lnTo>
                  <a:pt x="639" y="102"/>
                </a:lnTo>
                <a:lnTo>
                  <a:pt x="645" y="105"/>
                </a:lnTo>
                <a:lnTo>
                  <a:pt x="654" y="111"/>
                </a:lnTo>
                <a:lnTo>
                  <a:pt x="658" y="352"/>
                </a:lnTo>
                <a:lnTo>
                  <a:pt x="547" y="352"/>
                </a:lnTo>
                <a:lnTo>
                  <a:pt x="345" y="352"/>
                </a:lnTo>
                <a:lnTo>
                  <a:pt x="142" y="347"/>
                </a:lnTo>
                <a:lnTo>
                  <a:pt x="0" y="341"/>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295" name="Freeform 701"/>
          <p:cNvSpPr>
            <a:spLocks/>
          </p:cNvSpPr>
          <p:nvPr/>
        </p:nvSpPr>
        <p:spPr bwMode="auto">
          <a:xfrm>
            <a:off x="3540125" y="3365500"/>
            <a:ext cx="1044575" cy="558800"/>
          </a:xfrm>
          <a:custGeom>
            <a:avLst/>
            <a:gdLst>
              <a:gd name="T0" fmla="*/ 0 w 658"/>
              <a:gd name="T1" fmla="*/ 341 h 352"/>
              <a:gd name="T2" fmla="*/ 17 w 658"/>
              <a:gd name="T3" fmla="*/ 0 h 352"/>
              <a:gd name="T4" fmla="*/ 125 w 658"/>
              <a:gd name="T5" fmla="*/ 7 h 352"/>
              <a:gd name="T6" fmla="*/ 336 w 658"/>
              <a:gd name="T7" fmla="*/ 13 h 352"/>
              <a:gd name="T8" fmla="*/ 447 w 658"/>
              <a:gd name="T9" fmla="*/ 13 h 352"/>
              <a:gd name="T10" fmla="*/ 590 w 658"/>
              <a:gd name="T11" fmla="*/ 11 h 352"/>
              <a:gd name="T12" fmla="*/ 611 w 658"/>
              <a:gd name="T13" fmla="*/ 26 h 352"/>
              <a:gd name="T14" fmla="*/ 617 w 658"/>
              <a:gd name="T15" fmla="*/ 21 h 352"/>
              <a:gd name="T16" fmla="*/ 624 w 658"/>
              <a:gd name="T17" fmla="*/ 24 h 352"/>
              <a:gd name="T18" fmla="*/ 628 w 658"/>
              <a:gd name="T19" fmla="*/ 32 h 352"/>
              <a:gd name="T20" fmla="*/ 630 w 658"/>
              <a:gd name="T21" fmla="*/ 39 h 352"/>
              <a:gd name="T22" fmla="*/ 628 w 658"/>
              <a:gd name="T23" fmla="*/ 41 h 352"/>
              <a:gd name="T24" fmla="*/ 622 w 658"/>
              <a:gd name="T25" fmla="*/ 41 h 352"/>
              <a:gd name="T26" fmla="*/ 617 w 658"/>
              <a:gd name="T27" fmla="*/ 47 h 352"/>
              <a:gd name="T28" fmla="*/ 609 w 658"/>
              <a:gd name="T29" fmla="*/ 60 h 352"/>
              <a:gd name="T30" fmla="*/ 613 w 658"/>
              <a:gd name="T31" fmla="*/ 66 h 352"/>
              <a:gd name="T32" fmla="*/ 619 w 658"/>
              <a:gd name="T33" fmla="*/ 75 h 352"/>
              <a:gd name="T34" fmla="*/ 628 w 658"/>
              <a:gd name="T35" fmla="*/ 81 h 352"/>
              <a:gd name="T36" fmla="*/ 628 w 658"/>
              <a:gd name="T37" fmla="*/ 87 h 352"/>
              <a:gd name="T38" fmla="*/ 639 w 658"/>
              <a:gd name="T39" fmla="*/ 102 h 352"/>
              <a:gd name="T40" fmla="*/ 645 w 658"/>
              <a:gd name="T41" fmla="*/ 105 h 352"/>
              <a:gd name="T42" fmla="*/ 654 w 658"/>
              <a:gd name="T43" fmla="*/ 111 h 352"/>
              <a:gd name="T44" fmla="*/ 658 w 658"/>
              <a:gd name="T45" fmla="*/ 352 h 352"/>
              <a:gd name="T46" fmla="*/ 547 w 658"/>
              <a:gd name="T47" fmla="*/ 352 h 352"/>
              <a:gd name="T48" fmla="*/ 345 w 658"/>
              <a:gd name="T49" fmla="*/ 352 h 352"/>
              <a:gd name="T50" fmla="*/ 142 w 658"/>
              <a:gd name="T51" fmla="*/ 347 h 352"/>
              <a:gd name="T52" fmla="*/ 0 w 658"/>
              <a:gd name="T53" fmla="*/ 34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8" h="352">
                <a:moveTo>
                  <a:pt x="0" y="341"/>
                </a:moveTo>
                <a:lnTo>
                  <a:pt x="17" y="0"/>
                </a:lnTo>
                <a:lnTo>
                  <a:pt x="125" y="7"/>
                </a:lnTo>
                <a:lnTo>
                  <a:pt x="336" y="13"/>
                </a:lnTo>
                <a:lnTo>
                  <a:pt x="447" y="13"/>
                </a:lnTo>
                <a:lnTo>
                  <a:pt x="590" y="11"/>
                </a:lnTo>
                <a:lnTo>
                  <a:pt x="611" y="26"/>
                </a:lnTo>
                <a:lnTo>
                  <a:pt x="617" y="21"/>
                </a:lnTo>
                <a:lnTo>
                  <a:pt x="624" y="24"/>
                </a:lnTo>
                <a:lnTo>
                  <a:pt x="628" y="32"/>
                </a:lnTo>
                <a:lnTo>
                  <a:pt x="630" y="39"/>
                </a:lnTo>
                <a:lnTo>
                  <a:pt x="628" y="41"/>
                </a:lnTo>
                <a:lnTo>
                  <a:pt x="622" y="41"/>
                </a:lnTo>
                <a:lnTo>
                  <a:pt x="617" y="47"/>
                </a:lnTo>
                <a:lnTo>
                  <a:pt x="609" y="60"/>
                </a:lnTo>
                <a:lnTo>
                  <a:pt x="613" y="66"/>
                </a:lnTo>
                <a:lnTo>
                  <a:pt x="619" y="75"/>
                </a:lnTo>
                <a:lnTo>
                  <a:pt x="628" y="81"/>
                </a:lnTo>
                <a:lnTo>
                  <a:pt x="628" y="87"/>
                </a:lnTo>
                <a:lnTo>
                  <a:pt x="639" y="102"/>
                </a:lnTo>
                <a:lnTo>
                  <a:pt x="645" y="105"/>
                </a:lnTo>
                <a:lnTo>
                  <a:pt x="654" y="111"/>
                </a:lnTo>
                <a:lnTo>
                  <a:pt x="658" y="352"/>
                </a:lnTo>
                <a:lnTo>
                  <a:pt x="547" y="352"/>
                </a:lnTo>
                <a:lnTo>
                  <a:pt x="345" y="352"/>
                </a:lnTo>
                <a:lnTo>
                  <a:pt x="142" y="347"/>
                </a:lnTo>
                <a:lnTo>
                  <a:pt x="0" y="34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6" name="Freeform 702"/>
          <p:cNvSpPr>
            <a:spLocks/>
          </p:cNvSpPr>
          <p:nvPr/>
        </p:nvSpPr>
        <p:spPr bwMode="auto">
          <a:xfrm>
            <a:off x="6091237" y="5103813"/>
            <a:ext cx="58738" cy="36513"/>
          </a:xfrm>
          <a:custGeom>
            <a:avLst/>
            <a:gdLst>
              <a:gd name="T0" fmla="*/ 0 w 37"/>
              <a:gd name="T1" fmla="*/ 19 h 23"/>
              <a:gd name="T2" fmla="*/ 5 w 37"/>
              <a:gd name="T3" fmla="*/ 23 h 23"/>
              <a:gd name="T4" fmla="*/ 13 w 37"/>
              <a:gd name="T5" fmla="*/ 19 h 23"/>
              <a:gd name="T6" fmla="*/ 15 w 37"/>
              <a:gd name="T7" fmla="*/ 17 h 23"/>
              <a:gd name="T8" fmla="*/ 30 w 37"/>
              <a:gd name="T9" fmla="*/ 6 h 23"/>
              <a:gd name="T10" fmla="*/ 37 w 37"/>
              <a:gd name="T11" fmla="*/ 0 h 23"/>
              <a:gd name="T12" fmla="*/ 28 w 37"/>
              <a:gd name="T13" fmla="*/ 6 h 23"/>
              <a:gd name="T14" fmla="*/ 28 w 37"/>
              <a:gd name="T15" fmla="*/ 8 h 23"/>
              <a:gd name="T16" fmla="*/ 22 w 37"/>
              <a:gd name="T17" fmla="*/ 11 h 23"/>
              <a:gd name="T18" fmla="*/ 13 w 37"/>
              <a:gd name="T19" fmla="*/ 17 h 23"/>
              <a:gd name="T20" fmla="*/ 7 w 37"/>
              <a:gd name="T21" fmla="*/ 21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5" y="23"/>
                </a:lnTo>
                <a:lnTo>
                  <a:pt x="13" y="19"/>
                </a:lnTo>
                <a:lnTo>
                  <a:pt x="15" y="17"/>
                </a:lnTo>
                <a:lnTo>
                  <a:pt x="30" y="6"/>
                </a:lnTo>
                <a:lnTo>
                  <a:pt x="37" y="0"/>
                </a:lnTo>
                <a:lnTo>
                  <a:pt x="28" y="6"/>
                </a:lnTo>
                <a:lnTo>
                  <a:pt x="28" y="8"/>
                </a:lnTo>
                <a:lnTo>
                  <a:pt x="22" y="11"/>
                </a:lnTo>
                <a:lnTo>
                  <a:pt x="13" y="17"/>
                </a:lnTo>
                <a:lnTo>
                  <a:pt x="7" y="21"/>
                </a:lnTo>
                <a:lnTo>
                  <a:pt x="0" y="1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703"/>
          <p:cNvSpPr>
            <a:spLocks/>
          </p:cNvSpPr>
          <p:nvPr/>
        </p:nvSpPr>
        <p:spPr bwMode="auto">
          <a:xfrm>
            <a:off x="6091237" y="5103813"/>
            <a:ext cx="58738" cy="36513"/>
          </a:xfrm>
          <a:custGeom>
            <a:avLst/>
            <a:gdLst>
              <a:gd name="T0" fmla="*/ 0 w 37"/>
              <a:gd name="T1" fmla="*/ 19 h 23"/>
              <a:gd name="T2" fmla="*/ 5 w 37"/>
              <a:gd name="T3" fmla="*/ 23 h 23"/>
              <a:gd name="T4" fmla="*/ 13 w 37"/>
              <a:gd name="T5" fmla="*/ 19 h 23"/>
              <a:gd name="T6" fmla="*/ 15 w 37"/>
              <a:gd name="T7" fmla="*/ 17 h 23"/>
              <a:gd name="T8" fmla="*/ 30 w 37"/>
              <a:gd name="T9" fmla="*/ 6 h 23"/>
              <a:gd name="T10" fmla="*/ 37 w 37"/>
              <a:gd name="T11" fmla="*/ 0 h 23"/>
              <a:gd name="T12" fmla="*/ 28 w 37"/>
              <a:gd name="T13" fmla="*/ 6 h 23"/>
              <a:gd name="T14" fmla="*/ 28 w 37"/>
              <a:gd name="T15" fmla="*/ 8 h 23"/>
              <a:gd name="T16" fmla="*/ 22 w 37"/>
              <a:gd name="T17" fmla="*/ 11 h 23"/>
              <a:gd name="T18" fmla="*/ 13 w 37"/>
              <a:gd name="T19" fmla="*/ 17 h 23"/>
              <a:gd name="T20" fmla="*/ 7 w 37"/>
              <a:gd name="T21" fmla="*/ 21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5" y="23"/>
                </a:lnTo>
                <a:lnTo>
                  <a:pt x="13" y="19"/>
                </a:lnTo>
                <a:lnTo>
                  <a:pt x="15" y="17"/>
                </a:lnTo>
                <a:lnTo>
                  <a:pt x="30" y="6"/>
                </a:lnTo>
                <a:lnTo>
                  <a:pt x="37" y="0"/>
                </a:lnTo>
                <a:lnTo>
                  <a:pt x="28" y="6"/>
                </a:lnTo>
                <a:lnTo>
                  <a:pt x="28" y="8"/>
                </a:lnTo>
                <a:lnTo>
                  <a:pt x="22" y="11"/>
                </a:lnTo>
                <a:lnTo>
                  <a:pt x="13" y="17"/>
                </a:lnTo>
                <a:lnTo>
                  <a:pt x="7" y="21"/>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8" name="Freeform 704"/>
          <p:cNvSpPr>
            <a:spLocks/>
          </p:cNvSpPr>
          <p:nvPr/>
        </p:nvSpPr>
        <p:spPr bwMode="auto">
          <a:xfrm>
            <a:off x="7308850" y="2754313"/>
            <a:ext cx="254000" cy="158750"/>
          </a:xfrm>
          <a:custGeom>
            <a:avLst/>
            <a:gdLst>
              <a:gd name="T0" fmla="*/ 51 w 160"/>
              <a:gd name="T1" fmla="*/ 78 h 100"/>
              <a:gd name="T2" fmla="*/ 53 w 160"/>
              <a:gd name="T3" fmla="*/ 78 h 100"/>
              <a:gd name="T4" fmla="*/ 62 w 160"/>
              <a:gd name="T5" fmla="*/ 72 h 100"/>
              <a:gd name="T6" fmla="*/ 68 w 160"/>
              <a:gd name="T7" fmla="*/ 68 h 100"/>
              <a:gd name="T8" fmla="*/ 83 w 160"/>
              <a:gd name="T9" fmla="*/ 59 h 100"/>
              <a:gd name="T10" fmla="*/ 92 w 160"/>
              <a:gd name="T11" fmla="*/ 57 h 100"/>
              <a:gd name="T12" fmla="*/ 98 w 160"/>
              <a:gd name="T13" fmla="*/ 51 h 100"/>
              <a:gd name="T14" fmla="*/ 106 w 160"/>
              <a:gd name="T15" fmla="*/ 51 h 100"/>
              <a:gd name="T16" fmla="*/ 119 w 160"/>
              <a:gd name="T17" fmla="*/ 40 h 100"/>
              <a:gd name="T18" fmla="*/ 121 w 160"/>
              <a:gd name="T19" fmla="*/ 34 h 100"/>
              <a:gd name="T20" fmla="*/ 130 w 160"/>
              <a:gd name="T21" fmla="*/ 34 h 100"/>
              <a:gd name="T22" fmla="*/ 143 w 160"/>
              <a:gd name="T23" fmla="*/ 21 h 100"/>
              <a:gd name="T24" fmla="*/ 151 w 160"/>
              <a:gd name="T25" fmla="*/ 17 h 100"/>
              <a:gd name="T26" fmla="*/ 160 w 160"/>
              <a:gd name="T27" fmla="*/ 4 h 100"/>
              <a:gd name="T28" fmla="*/ 153 w 160"/>
              <a:gd name="T29" fmla="*/ 10 h 100"/>
              <a:gd name="T30" fmla="*/ 145 w 160"/>
              <a:gd name="T31" fmla="*/ 12 h 100"/>
              <a:gd name="T32" fmla="*/ 143 w 160"/>
              <a:gd name="T33" fmla="*/ 10 h 100"/>
              <a:gd name="T34" fmla="*/ 136 w 160"/>
              <a:gd name="T35" fmla="*/ 12 h 100"/>
              <a:gd name="T36" fmla="*/ 130 w 160"/>
              <a:gd name="T37" fmla="*/ 17 h 100"/>
              <a:gd name="T38" fmla="*/ 119 w 160"/>
              <a:gd name="T39" fmla="*/ 32 h 100"/>
              <a:gd name="T40" fmla="*/ 115 w 160"/>
              <a:gd name="T41" fmla="*/ 34 h 100"/>
              <a:gd name="T42" fmla="*/ 109 w 160"/>
              <a:gd name="T43" fmla="*/ 34 h 100"/>
              <a:gd name="T44" fmla="*/ 113 w 160"/>
              <a:gd name="T45" fmla="*/ 27 h 100"/>
              <a:gd name="T46" fmla="*/ 121 w 160"/>
              <a:gd name="T47" fmla="*/ 21 h 100"/>
              <a:gd name="T48" fmla="*/ 121 w 160"/>
              <a:gd name="T49" fmla="*/ 12 h 100"/>
              <a:gd name="T50" fmla="*/ 128 w 160"/>
              <a:gd name="T51" fmla="*/ 0 h 100"/>
              <a:gd name="T52" fmla="*/ 106 w 160"/>
              <a:gd name="T53" fmla="*/ 25 h 100"/>
              <a:gd name="T54" fmla="*/ 92 w 160"/>
              <a:gd name="T55" fmla="*/ 32 h 100"/>
              <a:gd name="T56" fmla="*/ 70 w 160"/>
              <a:gd name="T57" fmla="*/ 38 h 100"/>
              <a:gd name="T58" fmla="*/ 64 w 160"/>
              <a:gd name="T59" fmla="*/ 40 h 100"/>
              <a:gd name="T60" fmla="*/ 60 w 160"/>
              <a:gd name="T61" fmla="*/ 47 h 100"/>
              <a:gd name="T62" fmla="*/ 53 w 160"/>
              <a:gd name="T63" fmla="*/ 47 h 100"/>
              <a:gd name="T64" fmla="*/ 38 w 160"/>
              <a:gd name="T65" fmla="*/ 55 h 100"/>
              <a:gd name="T66" fmla="*/ 32 w 160"/>
              <a:gd name="T67" fmla="*/ 53 h 100"/>
              <a:gd name="T68" fmla="*/ 26 w 160"/>
              <a:gd name="T69" fmla="*/ 59 h 100"/>
              <a:gd name="T70" fmla="*/ 26 w 160"/>
              <a:gd name="T71" fmla="*/ 66 h 100"/>
              <a:gd name="T72" fmla="*/ 19 w 160"/>
              <a:gd name="T73" fmla="*/ 64 h 100"/>
              <a:gd name="T74" fmla="*/ 17 w 160"/>
              <a:gd name="T75" fmla="*/ 72 h 100"/>
              <a:gd name="T76" fmla="*/ 4 w 160"/>
              <a:gd name="T77" fmla="*/ 81 h 100"/>
              <a:gd name="T78" fmla="*/ 0 w 160"/>
              <a:gd name="T79" fmla="*/ 89 h 100"/>
              <a:gd name="T80" fmla="*/ 0 w 160"/>
              <a:gd name="T81" fmla="*/ 96 h 100"/>
              <a:gd name="T82" fmla="*/ 2 w 160"/>
              <a:gd name="T83" fmla="*/ 98 h 100"/>
              <a:gd name="T84" fmla="*/ 17 w 160"/>
              <a:gd name="T85" fmla="*/ 93 h 100"/>
              <a:gd name="T86" fmla="*/ 11 w 160"/>
              <a:gd name="T87" fmla="*/ 100 h 100"/>
              <a:gd name="T88" fmla="*/ 23 w 160"/>
              <a:gd name="T89" fmla="*/ 93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53" y="78"/>
                </a:lnTo>
                <a:lnTo>
                  <a:pt x="62" y="72"/>
                </a:lnTo>
                <a:lnTo>
                  <a:pt x="68" y="68"/>
                </a:lnTo>
                <a:lnTo>
                  <a:pt x="83" y="59"/>
                </a:lnTo>
                <a:lnTo>
                  <a:pt x="92" y="57"/>
                </a:lnTo>
                <a:lnTo>
                  <a:pt x="98" y="51"/>
                </a:lnTo>
                <a:lnTo>
                  <a:pt x="106" y="51"/>
                </a:lnTo>
                <a:lnTo>
                  <a:pt x="119" y="40"/>
                </a:lnTo>
                <a:lnTo>
                  <a:pt x="121" y="34"/>
                </a:lnTo>
                <a:lnTo>
                  <a:pt x="130" y="34"/>
                </a:lnTo>
                <a:lnTo>
                  <a:pt x="143" y="21"/>
                </a:lnTo>
                <a:lnTo>
                  <a:pt x="151" y="17"/>
                </a:lnTo>
                <a:lnTo>
                  <a:pt x="160" y="4"/>
                </a:lnTo>
                <a:lnTo>
                  <a:pt x="153" y="10"/>
                </a:lnTo>
                <a:lnTo>
                  <a:pt x="145" y="12"/>
                </a:lnTo>
                <a:lnTo>
                  <a:pt x="143" y="10"/>
                </a:lnTo>
                <a:lnTo>
                  <a:pt x="136" y="12"/>
                </a:lnTo>
                <a:lnTo>
                  <a:pt x="130" y="17"/>
                </a:lnTo>
                <a:lnTo>
                  <a:pt x="119" y="32"/>
                </a:lnTo>
                <a:lnTo>
                  <a:pt x="115" y="34"/>
                </a:lnTo>
                <a:lnTo>
                  <a:pt x="109" y="34"/>
                </a:lnTo>
                <a:lnTo>
                  <a:pt x="113" y="27"/>
                </a:lnTo>
                <a:lnTo>
                  <a:pt x="121" y="21"/>
                </a:lnTo>
                <a:lnTo>
                  <a:pt x="121" y="12"/>
                </a:lnTo>
                <a:lnTo>
                  <a:pt x="128" y="0"/>
                </a:lnTo>
                <a:lnTo>
                  <a:pt x="106" y="25"/>
                </a:lnTo>
                <a:lnTo>
                  <a:pt x="92" y="32"/>
                </a:lnTo>
                <a:lnTo>
                  <a:pt x="70" y="38"/>
                </a:lnTo>
                <a:lnTo>
                  <a:pt x="64" y="40"/>
                </a:lnTo>
                <a:lnTo>
                  <a:pt x="60" y="47"/>
                </a:lnTo>
                <a:lnTo>
                  <a:pt x="53" y="47"/>
                </a:lnTo>
                <a:lnTo>
                  <a:pt x="38" y="55"/>
                </a:lnTo>
                <a:lnTo>
                  <a:pt x="32" y="53"/>
                </a:lnTo>
                <a:lnTo>
                  <a:pt x="26" y="59"/>
                </a:lnTo>
                <a:lnTo>
                  <a:pt x="26" y="66"/>
                </a:lnTo>
                <a:lnTo>
                  <a:pt x="19" y="64"/>
                </a:lnTo>
                <a:lnTo>
                  <a:pt x="17" y="72"/>
                </a:lnTo>
                <a:lnTo>
                  <a:pt x="4" y="81"/>
                </a:lnTo>
                <a:lnTo>
                  <a:pt x="0" y="89"/>
                </a:lnTo>
                <a:lnTo>
                  <a:pt x="0" y="96"/>
                </a:lnTo>
                <a:lnTo>
                  <a:pt x="2" y="98"/>
                </a:lnTo>
                <a:lnTo>
                  <a:pt x="17" y="93"/>
                </a:lnTo>
                <a:lnTo>
                  <a:pt x="11" y="100"/>
                </a:lnTo>
                <a:lnTo>
                  <a:pt x="23" y="93"/>
                </a:lnTo>
                <a:lnTo>
                  <a:pt x="51" y="7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705"/>
          <p:cNvSpPr>
            <a:spLocks/>
          </p:cNvSpPr>
          <p:nvPr/>
        </p:nvSpPr>
        <p:spPr bwMode="auto">
          <a:xfrm>
            <a:off x="7308850" y="2754313"/>
            <a:ext cx="254000" cy="158750"/>
          </a:xfrm>
          <a:custGeom>
            <a:avLst/>
            <a:gdLst>
              <a:gd name="T0" fmla="*/ 51 w 160"/>
              <a:gd name="T1" fmla="*/ 78 h 100"/>
              <a:gd name="T2" fmla="*/ 53 w 160"/>
              <a:gd name="T3" fmla="*/ 78 h 100"/>
              <a:gd name="T4" fmla="*/ 62 w 160"/>
              <a:gd name="T5" fmla="*/ 72 h 100"/>
              <a:gd name="T6" fmla="*/ 68 w 160"/>
              <a:gd name="T7" fmla="*/ 68 h 100"/>
              <a:gd name="T8" fmla="*/ 83 w 160"/>
              <a:gd name="T9" fmla="*/ 59 h 100"/>
              <a:gd name="T10" fmla="*/ 92 w 160"/>
              <a:gd name="T11" fmla="*/ 57 h 100"/>
              <a:gd name="T12" fmla="*/ 98 w 160"/>
              <a:gd name="T13" fmla="*/ 51 h 100"/>
              <a:gd name="T14" fmla="*/ 106 w 160"/>
              <a:gd name="T15" fmla="*/ 51 h 100"/>
              <a:gd name="T16" fmla="*/ 119 w 160"/>
              <a:gd name="T17" fmla="*/ 40 h 100"/>
              <a:gd name="T18" fmla="*/ 121 w 160"/>
              <a:gd name="T19" fmla="*/ 34 h 100"/>
              <a:gd name="T20" fmla="*/ 130 w 160"/>
              <a:gd name="T21" fmla="*/ 34 h 100"/>
              <a:gd name="T22" fmla="*/ 143 w 160"/>
              <a:gd name="T23" fmla="*/ 21 h 100"/>
              <a:gd name="T24" fmla="*/ 151 w 160"/>
              <a:gd name="T25" fmla="*/ 17 h 100"/>
              <a:gd name="T26" fmla="*/ 160 w 160"/>
              <a:gd name="T27" fmla="*/ 4 h 100"/>
              <a:gd name="T28" fmla="*/ 153 w 160"/>
              <a:gd name="T29" fmla="*/ 10 h 100"/>
              <a:gd name="T30" fmla="*/ 145 w 160"/>
              <a:gd name="T31" fmla="*/ 12 h 100"/>
              <a:gd name="T32" fmla="*/ 143 w 160"/>
              <a:gd name="T33" fmla="*/ 10 h 100"/>
              <a:gd name="T34" fmla="*/ 136 w 160"/>
              <a:gd name="T35" fmla="*/ 12 h 100"/>
              <a:gd name="T36" fmla="*/ 130 w 160"/>
              <a:gd name="T37" fmla="*/ 17 h 100"/>
              <a:gd name="T38" fmla="*/ 119 w 160"/>
              <a:gd name="T39" fmla="*/ 32 h 100"/>
              <a:gd name="T40" fmla="*/ 115 w 160"/>
              <a:gd name="T41" fmla="*/ 34 h 100"/>
              <a:gd name="T42" fmla="*/ 109 w 160"/>
              <a:gd name="T43" fmla="*/ 34 h 100"/>
              <a:gd name="T44" fmla="*/ 113 w 160"/>
              <a:gd name="T45" fmla="*/ 27 h 100"/>
              <a:gd name="T46" fmla="*/ 121 w 160"/>
              <a:gd name="T47" fmla="*/ 21 h 100"/>
              <a:gd name="T48" fmla="*/ 121 w 160"/>
              <a:gd name="T49" fmla="*/ 12 h 100"/>
              <a:gd name="T50" fmla="*/ 128 w 160"/>
              <a:gd name="T51" fmla="*/ 0 h 100"/>
              <a:gd name="T52" fmla="*/ 106 w 160"/>
              <a:gd name="T53" fmla="*/ 25 h 100"/>
              <a:gd name="T54" fmla="*/ 92 w 160"/>
              <a:gd name="T55" fmla="*/ 32 h 100"/>
              <a:gd name="T56" fmla="*/ 70 w 160"/>
              <a:gd name="T57" fmla="*/ 38 h 100"/>
              <a:gd name="T58" fmla="*/ 64 w 160"/>
              <a:gd name="T59" fmla="*/ 40 h 100"/>
              <a:gd name="T60" fmla="*/ 60 w 160"/>
              <a:gd name="T61" fmla="*/ 47 h 100"/>
              <a:gd name="T62" fmla="*/ 53 w 160"/>
              <a:gd name="T63" fmla="*/ 47 h 100"/>
              <a:gd name="T64" fmla="*/ 38 w 160"/>
              <a:gd name="T65" fmla="*/ 55 h 100"/>
              <a:gd name="T66" fmla="*/ 32 w 160"/>
              <a:gd name="T67" fmla="*/ 53 h 100"/>
              <a:gd name="T68" fmla="*/ 26 w 160"/>
              <a:gd name="T69" fmla="*/ 59 h 100"/>
              <a:gd name="T70" fmla="*/ 26 w 160"/>
              <a:gd name="T71" fmla="*/ 66 h 100"/>
              <a:gd name="T72" fmla="*/ 19 w 160"/>
              <a:gd name="T73" fmla="*/ 64 h 100"/>
              <a:gd name="T74" fmla="*/ 17 w 160"/>
              <a:gd name="T75" fmla="*/ 72 h 100"/>
              <a:gd name="T76" fmla="*/ 4 w 160"/>
              <a:gd name="T77" fmla="*/ 81 h 100"/>
              <a:gd name="T78" fmla="*/ 0 w 160"/>
              <a:gd name="T79" fmla="*/ 89 h 100"/>
              <a:gd name="T80" fmla="*/ 0 w 160"/>
              <a:gd name="T81" fmla="*/ 96 h 100"/>
              <a:gd name="T82" fmla="*/ 2 w 160"/>
              <a:gd name="T83" fmla="*/ 98 h 100"/>
              <a:gd name="T84" fmla="*/ 17 w 160"/>
              <a:gd name="T85" fmla="*/ 93 h 100"/>
              <a:gd name="T86" fmla="*/ 11 w 160"/>
              <a:gd name="T87" fmla="*/ 100 h 100"/>
              <a:gd name="T88" fmla="*/ 23 w 160"/>
              <a:gd name="T89" fmla="*/ 93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53" y="78"/>
                </a:lnTo>
                <a:lnTo>
                  <a:pt x="62" y="72"/>
                </a:lnTo>
                <a:lnTo>
                  <a:pt x="68" y="68"/>
                </a:lnTo>
                <a:lnTo>
                  <a:pt x="83" y="59"/>
                </a:lnTo>
                <a:lnTo>
                  <a:pt x="92" y="57"/>
                </a:lnTo>
                <a:lnTo>
                  <a:pt x="98" y="51"/>
                </a:lnTo>
                <a:lnTo>
                  <a:pt x="106" y="51"/>
                </a:lnTo>
                <a:lnTo>
                  <a:pt x="119" y="40"/>
                </a:lnTo>
                <a:lnTo>
                  <a:pt x="121" y="34"/>
                </a:lnTo>
                <a:lnTo>
                  <a:pt x="130" y="34"/>
                </a:lnTo>
                <a:lnTo>
                  <a:pt x="143" y="21"/>
                </a:lnTo>
                <a:lnTo>
                  <a:pt x="151" y="17"/>
                </a:lnTo>
                <a:lnTo>
                  <a:pt x="160" y="4"/>
                </a:lnTo>
                <a:lnTo>
                  <a:pt x="153" y="10"/>
                </a:lnTo>
                <a:lnTo>
                  <a:pt x="145" y="12"/>
                </a:lnTo>
                <a:lnTo>
                  <a:pt x="143" y="10"/>
                </a:lnTo>
                <a:lnTo>
                  <a:pt x="136" y="12"/>
                </a:lnTo>
                <a:lnTo>
                  <a:pt x="130" y="17"/>
                </a:lnTo>
                <a:lnTo>
                  <a:pt x="119" y="32"/>
                </a:lnTo>
                <a:lnTo>
                  <a:pt x="115" y="34"/>
                </a:lnTo>
                <a:lnTo>
                  <a:pt x="109" y="34"/>
                </a:lnTo>
                <a:lnTo>
                  <a:pt x="113" y="27"/>
                </a:lnTo>
                <a:lnTo>
                  <a:pt x="121" y="21"/>
                </a:lnTo>
                <a:lnTo>
                  <a:pt x="121" y="12"/>
                </a:lnTo>
                <a:lnTo>
                  <a:pt x="128" y="0"/>
                </a:lnTo>
                <a:lnTo>
                  <a:pt x="106" y="25"/>
                </a:lnTo>
                <a:lnTo>
                  <a:pt x="92" y="32"/>
                </a:lnTo>
                <a:lnTo>
                  <a:pt x="70" y="38"/>
                </a:lnTo>
                <a:lnTo>
                  <a:pt x="64" y="40"/>
                </a:lnTo>
                <a:lnTo>
                  <a:pt x="60" y="47"/>
                </a:lnTo>
                <a:lnTo>
                  <a:pt x="53" y="47"/>
                </a:lnTo>
                <a:lnTo>
                  <a:pt x="38" y="55"/>
                </a:lnTo>
                <a:lnTo>
                  <a:pt x="32" y="53"/>
                </a:lnTo>
                <a:lnTo>
                  <a:pt x="26" y="59"/>
                </a:lnTo>
                <a:lnTo>
                  <a:pt x="26" y="66"/>
                </a:lnTo>
                <a:lnTo>
                  <a:pt x="19" y="64"/>
                </a:lnTo>
                <a:lnTo>
                  <a:pt x="17" y="72"/>
                </a:lnTo>
                <a:lnTo>
                  <a:pt x="4" y="81"/>
                </a:lnTo>
                <a:lnTo>
                  <a:pt x="0" y="89"/>
                </a:lnTo>
                <a:lnTo>
                  <a:pt x="0" y="96"/>
                </a:lnTo>
                <a:lnTo>
                  <a:pt x="2" y="98"/>
                </a:lnTo>
                <a:lnTo>
                  <a:pt x="17" y="93"/>
                </a:lnTo>
                <a:lnTo>
                  <a:pt x="11" y="100"/>
                </a:lnTo>
                <a:lnTo>
                  <a:pt x="23" y="93"/>
                </a:lnTo>
                <a:lnTo>
                  <a:pt x="51" y="7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0" name="Freeform 706"/>
          <p:cNvSpPr>
            <a:spLocks/>
          </p:cNvSpPr>
          <p:nvPr/>
        </p:nvSpPr>
        <p:spPr bwMode="auto">
          <a:xfrm>
            <a:off x="7326312" y="3068638"/>
            <a:ext cx="9525" cy="33338"/>
          </a:xfrm>
          <a:custGeom>
            <a:avLst/>
            <a:gdLst>
              <a:gd name="T0" fmla="*/ 0 w 6"/>
              <a:gd name="T1" fmla="*/ 21 h 21"/>
              <a:gd name="T2" fmla="*/ 6 w 6"/>
              <a:gd name="T3" fmla="*/ 6 h 21"/>
              <a:gd name="T4" fmla="*/ 6 w 6"/>
              <a:gd name="T5" fmla="*/ 0 h 21"/>
              <a:gd name="T6" fmla="*/ 0 w 6"/>
              <a:gd name="T7" fmla="*/ 21 h 21"/>
            </a:gdLst>
            <a:ahLst/>
            <a:cxnLst>
              <a:cxn ang="0">
                <a:pos x="T0" y="T1"/>
              </a:cxn>
              <a:cxn ang="0">
                <a:pos x="T2" y="T3"/>
              </a:cxn>
              <a:cxn ang="0">
                <a:pos x="T4" y="T5"/>
              </a:cxn>
              <a:cxn ang="0">
                <a:pos x="T6" y="T7"/>
              </a:cxn>
            </a:cxnLst>
            <a:rect l="0" t="0" r="r" b="b"/>
            <a:pathLst>
              <a:path w="6" h="21">
                <a:moveTo>
                  <a:pt x="0" y="21"/>
                </a:moveTo>
                <a:lnTo>
                  <a:pt x="6" y="6"/>
                </a:lnTo>
                <a:lnTo>
                  <a:pt x="6" y="0"/>
                </a:lnTo>
                <a:lnTo>
                  <a:pt x="0" y="2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707"/>
          <p:cNvSpPr>
            <a:spLocks/>
          </p:cNvSpPr>
          <p:nvPr/>
        </p:nvSpPr>
        <p:spPr bwMode="auto">
          <a:xfrm>
            <a:off x="7326312" y="3068638"/>
            <a:ext cx="9525" cy="33338"/>
          </a:xfrm>
          <a:custGeom>
            <a:avLst/>
            <a:gdLst>
              <a:gd name="T0" fmla="*/ 0 w 6"/>
              <a:gd name="T1" fmla="*/ 21 h 21"/>
              <a:gd name="T2" fmla="*/ 6 w 6"/>
              <a:gd name="T3" fmla="*/ 6 h 21"/>
              <a:gd name="T4" fmla="*/ 6 w 6"/>
              <a:gd name="T5" fmla="*/ 0 h 21"/>
              <a:gd name="T6" fmla="*/ 0 w 6"/>
              <a:gd name="T7" fmla="*/ 21 h 21"/>
            </a:gdLst>
            <a:ahLst/>
            <a:cxnLst>
              <a:cxn ang="0">
                <a:pos x="T0" y="T1"/>
              </a:cxn>
              <a:cxn ang="0">
                <a:pos x="T2" y="T3"/>
              </a:cxn>
              <a:cxn ang="0">
                <a:pos x="T4" y="T5"/>
              </a:cxn>
              <a:cxn ang="0">
                <a:pos x="T6" y="T7"/>
              </a:cxn>
            </a:cxnLst>
            <a:rect l="0" t="0" r="r" b="b"/>
            <a:pathLst>
              <a:path w="6" h="21">
                <a:moveTo>
                  <a:pt x="0" y="21"/>
                </a:moveTo>
                <a:lnTo>
                  <a:pt x="6" y="6"/>
                </a:lnTo>
                <a:lnTo>
                  <a:pt x="6" y="0"/>
                </a:lnTo>
                <a:lnTo>
                  <a:pt x="0" y="2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2" name="Freeform 708"/>
          <p:cNvSpPr>
            <a:spLocks/>
          </p:cNvSpPr>
          <p:nvPr/>
        </p:nvSpPr>
        <p:spPr bwMode="auto">
          <a:xfrm>
            <a:off x="4219575" y="1709738"/>
            <a:ext cx="925513" cy="1047750"/>
          </a:xfrm>
          <a:custGeom>
            <a:avLst/>
            <a:gdLst>
              <a:gd name="T0" fmla="*/ 155 w 583"/>
              <a:gd name="T1" fmla="*/ 42 h 660"/>
              <a:gd name="T2" fmla="*/ 162 w 583"/>
              <a:gd name="T3" fmla="*/ 2 h 660"/>
              <a:gd name="T4" fmla="*/ 185 w 583"/>
              <a:gd name="T5" fmla="*/ 31 h 660"/>
              <a:gd name="T6" fmla="*/ 198 w 583"/>
              <a:gd name="T7" fmla="*/ 70 h 660"/>
              <a:gd name="T8" fmla="*/ 226 w 583"/>
              <a:gd name="T9" fmla="*/ 78 h 660"/>
              <a:gd name="T10" fmla="*/ 266 w 583"/>
              <a:gd name="T11" fmla="*/ 93 h 660"/>
              <a:gd name="T12" fmla="*/ 294 w 583"/>
              <a:gd name="T13" fmla="*/ 80 h 660"/>
              <a:gd name="T14" fmla="*/ 304 w 583"/>
              <a:gd name="T15" fmla="*/ 78 h 660"/>
              <a:gd name="T16" fmla="*/ 347 w 583"/>
              <a:gd name="T17" fmla="*/ 98 h 660"/>
              <a:gd name="T18" fmla="*/ 362 w 583"/>
              <a:gd name="T19" fmla="*/ 110 h 660"/>
              <a:gd name="T20" fmla="*/ 377 w 583"/>
              <a:gd name="T21" fmla="*/ 108 h 660"/>
              <a:gd name="T22" fmla="*/ 398 w 583"/>
              <a:gd name="T23" fmla="*/ 115 h 660"/>
              <a:gd name="T24" fmla="*/ 434 w 583"/>
              <a:gd name="T25" fmla="*/ 136 h 660"/>
              <a:gd name="T26" fmla="*/ 464 w 583"/>
              <a:gd name="T27" fmla="*/ 123 h 660"/>
              <a:gd name="T28" fmla="*/ 485 w 583"/>
              <a:gd name="T29" fmla="*/ 119 h 660"/>
              <a:gd name="T30" fmla="*/ 498 w 583"/>
              <a:gd name="T31" fmla="*/ 127 h 660"/>
              <a:gd name="T32" fmla="*/ 528 w 583"/>
              <a:gd name="T33" fmla="*/ 123 h 660"/>
              <a:gd name="T34" fmla="*/ 551 w 583"/>
              <a:gd name="T35" fmla="*/ 132 h 660"/>
              <a:gd name="T36" fmla="*/ 583 w 583"/>
              <a:gd name="T37" fmla="*/ 132 h 660"/>
              <a:gd name="T38" fmla="*/ 562 w 583"/>
              <a:gd name="T39" fmla="*/ 146 h 660"/>
              <a:gd name="T40" fmla="*/ 517 w 583"/>
              <a:gd name="T41" fmla="*/ 168 h 660"/>
              <a:gd name="T42" fmla="*/ 460 w 583"/>
              <a:gd name="T43" fmla="*/ 219 h 660"/>
              <a:gd name="T44" fmla="*/ 430 w 583"/>
              <a:gd name="T45" fmla="*/ 253 h 660"/>
              <a:gd name="T46" fmla="*/ 398 w 583"/>
              <a:gd name="T47" fmla="*/ 283 h 660"/>
              <a:gd name="T48" fmla="*/ 389 w 583"/>
              <a:gd name="T49" fmla="*/ 293 h 660"/>
              <a:gd name="T50" fmla="*/ 385 w 583"/>
              <a:gd name="T51" fmla="*/ 359 h 660"/>
              <a:gd name="T52" fmla="*/ 353 w 583"/>
              <a:gd name="T53" fmla="*/ 383 h 660"/>
              <a:gd name="T54" fmla="*/ 343 w 583"/>
              <a:gd name="T55" fmla="*/ 404 h 660"/>
              <a:gd name="T56" fmla="*/ 353 w 583"/>
              <a:gd name="T57" fmla="*/ 421 h 660"/>
              <a:gd name="T58" fmla="*/ 355 w 583"/>
              <a:gd name="T59" fmla="*/ 468 h 660"/>
              <a:gd name="T60" fmla="*/ 355 w 583"/>
              <a:gd name="T61" fmla="*/ 502 h 660"/>
              <a:gd name="T62" fmla="*/ 370 w 583"/>
              <a:gd name="T63" fmla="*/ 526 h 660"/>
              <a:gd name="T64" fmla="*/ 396 w 583"/>
              <a:gd name="T65" fmla="*/ 538 h 660"/>
              <a:gd name="T66" fmla="*/ 424 w 583"/>
              <a:gd name="T67" fmla="*/ 553 h 660"/>
              <a:gd name="T68" fmla="*/ 453 w 583"/>
              <a:gd name="T69" fmla="*/ 585 h 660"/>
              <a:gd name="T70" fmla="*/ 475 w 583"/>
              <a:gd name="T71" fmla="*/ 598 h 660"/>
              <a:gd name="T72" fmla="*/ 485 w 583"/>
              <a:gd name="T73" fmla="*/ 634 h 660"/>
              <a:gd name="T74" fmla="*/ 404 w 583"/>
              <a:gd name="T75" fmla="*/ 649 h 660"/>
              <a:gd name="T76" fmla="*/ 64 w 583"/>
              <a:gd name="T77" fmla="*/ 660 h 660"/>
              <a:gd name="T78" fmla="*/ 51 w 583"/>
              <a:gd name="T79" fmla="*/ 445 h 660"/>
              <a:gd name="T80" fmla="*/ 30 w 583"/>
              <a:gd name="T81" fmla="*/ 423 h 660"/>
              <a:gd name="T82" fmla="*/ 45 w 583"/>
              <a:gd name="T83" fmla="*/ 406 h 660"/>
              <a:gd name="T84" fmla="*/ 53 w 583"/>
              <a:gd name="T85" fmla="*/ 377 h 660"/>
              <a:gd name="T86" fmla="*/ 51 w 583"/>
              <a:gd name="T87" fmla="*/ 349 h 660"/>
              <a:gd name="T88" fmla="*/ 38 w 583"/>
              <a:gd name="T89" fmla="*/ 321 h 660"/>
              <a:gd name="T90" fmla="*/ 34 w 583"/>
              <a:gd name="T91" fmla="*/ 281 h 660"/>
              <a:gd name="T92" fmla="*/ 32 w 583"/>
              <a:gd name="T93" fmla="*/ 255 h 660"/>
              <a:gd name="T94" fmla="*/ 27 w 583"/>
              <a:gd name="T95" fmla="*/ 219 h 660"/>
              <a:gd name="T96" fmla="*/ 25 w 583"/>
              <a:gd name="T97" fmla="*/ 189 h 660"/>
              <a:gd name="T98" fmla="*/ 10 w 583"/>
              <a:gd name="T99" fmla="*/ 140 h 660"/>
              <a:gd name="T100" fmla="*/ 8 w 583"/>
              <a:gd name="T101" fmla="*/ 115 h 660"/>
              <a:gd name="T102" fmla="*/ 10 w 583"/>
              <a:gd name="T103" fmla="*/ 80 h 660"/>
              <a:gd name="T104" fmla="*/ 0 w 583"/>
              <a:gd name="T105" fmla="*/ 4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3" h="660">
                <a:moveTo>
                  <a:pt x="2" y="42"/>
                </a:moveTo>
                <a:lnTo>
                  <a:pt x="98" y="42"/>
                </a:lnTo>
                <a:lnTo>
                  <a:pt x="155" y="42"/>
                </a:lnTo>
                <a:lnTo>
                  <a:pt x="157" y="34"/>
                </a:lnTo>
                <a:lnTo>
                  <a:pt x="155" y="0"/>
                </a:lnTo>
                <a:lnTo>
                  <a:pt x="162" y="2"/>
                </a:lnTo>
                <a:lnTo>
                  <a:pt x="174" y="4"/>
                </a:lnTo>
                <a:lnTo>
                  <a:pt x="181" y="10"/>
                </a:lnTo>
                <a:lnTo>
                  <a:pt x="185" y="31"/>
                </a:lnTo>
                <a:lnTo>
                  <a:pt x="191" y="53"/>
                </a:lnTo>
                <a:lnTo>
                  <a:pt x="191" y="63"/>
                </a:lnTo>
                <a:lnTo>
                  <a:pt x="198" y="70"/>
                </a:lnTo>
                <a:lnTo>
                  <a:pt x="204" y="74"/>
                </a:lnTo>
                <a:lnTo>
                  <a:pt x="219" y="74"/>
                </a:lnTo>
                <a:lnTo>
                  <a:pt x="226" y="78"/>
                </a:lnTo>
                <a:lnTo>
                  <a:pt x="257" y="83"/>
                </a:lnTo>
                <a:lnTo>
                  <a:pt x="260" y="89"/>
                </a:lnTo>
                <a:lnTo>
                  <a:pt x="266" y="93"/>
                </a:lnTo>
                <a:lnTo>
                  <a:pt x="285" y="89"/>
                </a:lnTo>
                <a:lnTo>
                  <a:pt x="289" y="83"/>
                </a:lnTo>
                <a:lnTo>
                  <a:pt x="294" y="80"/>
                </a:lnTo>
                <a:lnTo>
                  <a:pt x="296" y="80"/>
                </a:lnTo>
                <a:lnTo>
                  <a:pt x="298" y="78"/>
                </a:lnTo>
                <a:lnTo>
                  <a:pt x="304" y="78"/>
                </a:lnTo>
                <a:lnTo>
                  <a:pt x="321" y="78"/>
                </a:lnTo>
                <a:lnTo>
                  <a:pt x="349" y="89"/>
                </a:lnTo>
                <a:lnTo>
                  <a:pt x="347" y="98"/>
                </a:lnTo>
                <a:lnTo>
                  <a:pt x="355" y="98"/>
                </a:lnTo>
                <a:lnTo>
                  <a:pt x="362" y="104"/>
                </a:lnTo>
                <a:lnTo>
                  <a:pt x="362" y="110"/>
                </a:lnTo>
                <a:lnTo>
                  <a:pt x="366" y="115"/>
                </a:lnTo>
                <a:lnTo>
                  <a:pt x="375" y="119"/>
                </a:lnTo>
                <a:lnTo>
                  <a:pt x="377" y="108"/>
                </a:lnTo>
                <a:lnTo>
                  <a:pt x="387" y="106"/>
                </a:lnTo>
                <a:lnTo>
                  <a:pt x="396" y="108"/>
                </a:lnTo>
                <a:lnTo>
                  <a:pt x="398" y="115"/>
                </a:lnTo>
                <a:lnTo>
                  <a:pt x="419" y="123"/>
                </a:lnTo>
                <a:lnTo>
                  <a:pt x="419" y="129"/>
                </a:lnTo>
                <a:lnTo>
                  <a:pt x="434" y="136"/>
                </a:lnTo>
                <a:lnTo>
                  <a:pt x="443" y="138"/>
                </a:lnTo>
                <a:lnTo>
                  <a:pt x="458" y="132"/>
                </a:lnTo>
                <a:lnTo>
                  <a:pt x="464" y="123"/>
                </a:lnTo>
                <a:lnTo>
                  <a:pt x="479" y="115"/>
                </a:lnTo>
                <a:lnTo>
                  <a:pt x="485" y="112"/>
                </a:lnTo>
                <a:lnTo>
                  <a:pt x="485" y="119"/>
                </a:lnTo>
                <a:lnTo>
                  <a:pt x="490" y="121"/>
                </a:lnTo>
                <a:lnTo>
                  <a:pt x="492" y="127"/>
                </a:lnTo>
                <a:lnTo>
                  <a:pt x="498" y="127"/>
                </a:lnTo>
                <a:lnTo>
                  <a:pt x="507" y="125"/>
                </a:lnTo>
                <a:lnTo>
                  <a:pt x="521" y="125"/>
                </a:lnTo>
                <a:lnTo>
                  <a:pt x="528" y="123"/>
                </a:lnTo>
                <a:lnTo>
                  <a:pt x="543" y="123"/>
                </a:lnTo>
                <a:lnTo>
                  <a:pt x="549" y="129"/>
                </a:lnTo>
                <a:lnTo>
                  <a:pt x="551" y="132"/>
                </a:lnTo>
                <a:lnTo>
                  <a:pt x="558" y="136"/>
                </a:lnTo>
                <a:lnTo>
                  <a:pt x="564" y="132"/>
                </a:lnTo>
                <a:lnTo>
                  <a:pt x="583" y="132"/>
                </a:lnTo>
                <a:lnTo>
                  <a:pt x="575" y="136"/>
                </a:lnTo>
                <a:lnTo>
                  <a:pt x="568" y="142"/>
                </a:lnTo>
                <a:lnTo>
                  <a:pt x="562" y="146"/>
                </a:lnTo>
                <a:lnTo>
                  <a:pt x="539" y="159"/>
                </a:lnTo>
                <a:lnTo>
                  <a:pt x="530" y="161"/>
                </a:lnTo>
                <a:lnTo>
                  <a:pt x="517" y="168"/>
                </a:lnTo>
                <a:lnTo>
                  <a:pt x="494" y="181"/>
                </a:lnTo>
                <a:lnTo>
                  <a:pt x="468" y="208"/>
                </a:lnTo>
                <a:lnTo>
                  <a:pt x="460" y="219"/>
                </a:lnTo>
                <a:lnTo>
                  <a:pt x="441" y="240"/>
                </a:lnTo>
                <a:lnTo>
                  <a:pt x="434" y="247"/>
                </a:lnTo>
                <a:lnTo>
                  <a:pt x="430" y="253"/>
                </a:lnTo>
                <a:lnTo>
                  <a:pt x="421" y="259"/>
                </a:lnTo>
                <a:lnTo>
                  <a:pt x="400" y="276"/>
                </a:lnTo>
                <a:lnTo>
                  <a:pt x="398" y="283"/>
                </a:lnTo>
                <a:lnTo>
                  <a:pt x="394" y="285"/>
                </a:lnTo>
                <a:lnTo>
                  <a:pt x="394" y="287"/>
                </a:lnTo>
                <a:lnTo>
                  <a:pt x="389" y="293"/>
                </a:lnTo>
                <a:lnTo>
                  <a:pt x="383" y="293"/>
                </a:lnTo>
                <a:lnTo>
                  <a:pt x="387" y="351"/>
                </a:lnTo>
                <a:lnTo>
                  <a:pt x="385" y="359"/>
                </a:lnTo>
                <a:lnTo>
                  <a:pt x="381" y="366"/>
                </a:lnTo>
                <a:lnTo>
                  <a:pt x="368" y="374"/>
                </a:lnTo>
                <a:lnTo>
                  <a:pt x="353" y="383"/>
                </a:lnTo>
                <a:lnTo>
                  <a:pt x="351" y="391"/>
                </a:lnTo>
                <a:lnTo>
                  <a:pt x="347" y="398"/>
                </a:lnTo>
                <a:lnTo>
                  <a:pt x="343" y="404"/>
                </a:lnTo>
                <a:lnTo>
                  <a:pt x="343" y="413"/>
                </a:lnTo>
                <a:lnTo>
                  <a:pt x="347" y="419"/>
                </a:lnTo>
                <a:lnTo>
                  <a:pt x="353" y="421"/>
                </a:lnTo>
                <a:lnTo>
                  <a:pt x="362" y="436"/>
                </a:lnTo>
                <a:lnTo>
                  <a:pt x="353" y="453"/>
                </a:lnTo>
                <a:lnTo>
                  <a:pt x="355" y="468"/>
                </a:lnTo>
                <a:lnTo>
                  <a:pt x="353" y="474"/>
                </a:lnTo>
                <a:lnTo>
                  <a:pt x="355" y="492"/>
                </a:lnTo>
                <a:lnTo>
                  <a:pt x="355" y="502"/>
                </a:lnTo>
                <a:lnTo>
                  <a:pt x="353" y="511"/>
                </a:lnTo>
                <a:lnTo>
                  <a:pt x="364" y="519"/>
                </a:lnTo>
                <a:lnTo>
                  <a:pt x="370" y="526"/>
                </a:lnTo>
                <a:lnTo>
                  <a:pt x="379" y="530"/>
                </a:lnTo>
                <a:lnTo>
                  <a:pt x="392" y="532"/>
                </a:lnTo>
                <a:lnTo>
                  <a:pt x="396" y="538"/>
                </a:lnTo>
                <a:lnTo>
                  <a:pt x="402" y="543"/>
                </a:lnTo>
                <a:lnTo>
                  <a:pt x="413" y="547"/>
                </a:lnTo>
                <a:lnTo>
                  <a:pt x="424" y="553"/>
                </a:lnTo>
                <a:lnTo>
                  <a:pt x="432" y="568"/>
                </a:lnTo>
                <a:lnTo>
                  <a:pt x="447" y="581"/>
                </a:lnTo>
                <a:lnTo>
                  <a:pt x="453" y="585"/>
                </a:lnTo>
                <a:lnTo>
                  <a:pt x="462" y="587"/>
                </a:lnTo>
                <a:lnTo>
                  <a:pt x="468" y="592"/>
                </a:lnTo>
                <a:lnTo>
                  <a:pt x="475" y="598"/>
                </a:lnTo>
                <a:lnTo>
                  <a:pt x="481" y="609"/>
                </a:lnTo>
                <a:lnTo>
                  <a:pt x="483" y="628"/>
                </a:lnTo>
                <a:lnTo>
                  <a:pt x="485" y="634"/>
                </a:lnTo>
                <a:lnTo>
                  <a:pt x="485" y="638"/>
                </a:lnTo>
                <a:lnTo>
                  <a:pt x="487" y="645"/>
                </a:lnTo>
                <a:lnTo>
                  <a:pt x="404" y="649"/>
                </a:lnTo>
                <a:lnTo>
                  <a:pt x="287" y="656"/>
                </a:lnTo>
                <a:lnTo>
                  <a:pt x="147" y="658"/>
                </a:lnTo>
                <a:lnTo>
                  <a:pt x="64" y="660"/>
                </a:lnTo>
                <a:lnTo>
                  <a:pt x="62" y="457"/>
                </a:lnTo>
                <a:lnTo>
                  <a:pt x="57" y="449"/>
                </a:lnTo>
                <a:lnTo>
                  <a:pt x="51" y="445"/>
                </a:lnTo>
                <a:lnTo>
                  <a:pt x="42" y="445"/>
                </a:lnTo>
                <a:lnTo>
                  <a:pt x="34" y="430"/>
                </a:lnTo>
                <a:lnTo>
                  <a:pt x="30" y="423"/>
                </a:lnTo>
                <a:lnTo>
                  <a:pt x="32" y="417"/>
                </a:lnTo>
                <a:lnTo>
                  <a:pt x="38" y="411"/>
                </a:lnTo>
                <a:lnTo>
                  <a:pt x="45" y="406"/>
                </a:lnTo>
                <a:lnTo>
                  <a:pt x="49" y="400"/>
                </a:lnTo>
                <a:lnTo>
                  <a:pt x="53" y="385"/>
                </a:lnTo>
                <a:lnTo>
                  <a:pt x="53" y="377"/>
                </a:lnTo>
                <a:lnTo>
                  <a:pt x="53" y="370"/>
                </a:lnTo>
                <a:lnTo>
                  <a:pt x="51" y="355"/>
                </a:lnTo>
                <a:lnTo>
                  <a:pt x="51" y="349"/>
                </a:lnTo>
                <a:lnTo>
                  <a:pt x="49" y="340"/>
                </a:lnTo>
                <a:lnTo>
                  <a:pt x="40" y="330"/>
                </a:lnTo>
                <a:lnTo>
                  <a:pt x="38" y="321"/>
                </a:lnTo>
                <a:lnTo>
                  <a:pt x="38" y="315"/>
                </a:lnTo>
                <a:lnTo>
                  <a:pt x="36" y="308"/>
                </a:lnTo>
                <a:lnTo>
                  <a:pt x="34" y="281"/>
                </a:lnTo>
                <a:lnTo>
                  <a:pt x="36" y="274"/>
                </a:lnTo>
                <a:lnTo>
                  <a:pt x="32" y="266"/>
                </a:lnTo>
                <a:lnTo>
                  <a:pt x="32" y="255"/>
                </a:lnTo>
                <a:lnTo>
                  <a:pt x="30" y="240"/>
                </a:lnTo>
                <a:lnTo>
                  <a:pt x="30" y="225"/>
                </a:lnTo>
                <a:lnTo>
                  <a:pt x="27" y="219"/>
                </a:lnTo>
                <a:lnTo>
                  <a:pt x="30" y="213"/>
                </a:lnTo>
                <a:lnTo>
                  <a:pt x="30" y="204"/>
                </a:lnTo>
                <a:lnTo>
                  <a:pt x="25" y="189"/>
                </a:lnTo>
                <a:lnTo>
                  <a:pt x="17" y="168"/>
                </a:lnTo>
                <a:lnTo>
                  <a:pt x="19" y="164"/>
                </a:lnTo>
                <a:lnTo>
                  <a:pt x="10" y="140"/>
                </a:lnTo>
                <a:lnTo>
                  <a:pt x="8" y="132"/>
                </a:lnTo>
                <a:lnTo>
                  <a:pt x="8" y="119"/>
                </a:lnTo>
                <a:lnTo>
                  <a:pt x="8" y="115"/>
                </a:lnTo>
                <a:lnTo>
                  <a:pt x="8" y="108"/>
                </a:lnTo>
                <a:lnTo>
                  <a:pt x="6" y="93"/>
                </a:lnTo>
                <a:lnTo>
                  <a:pt x="10" y="80"/>
                </a:lnTo>
                <a:lnTo>
                  <a:pt x="8" y="74"/>
                </a:lnTo>
                <a:lnTo>
                  <a:pt x="4" y="53"/>
                </a:lnTo>
                <a:lnTo>
                  <a:pt x="0" y="46"/>
                </a:lnTo>
                <a:lnTo>
                  <a:pt x="0" y="46"/>
                </a:lnTo>
                <a:lnTo>
                  <a:pt x="2" y="42"/>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03" name="Freeform 709"/>
          <p:cNvSpPr>
            <a:spLocks/>
          </p:cNvSpPr>
          <p:nvPr/>
        </p:nvSpPr>
        <p:spPr bwMode="auto">
          <a:xfrm>
            <a:off x="4219575" y="1709738"/>
            <a:ext cx="925513" cy="1047750"/>
          </a:xfrm>
          <a:custGeom>
            <a:avLst/>
            <a:gdLst>
              <a:gd name="T0" fmla="*/ 155 w 583"/>
              <a:gd name="T1" fmla="*/ 42 h 660"/>
              <a:gd name="T2" fmla="*/ 162 w 583"/>
              <a:gd name="T3" fmla="*/ 2 h 660"/>
              <a:gd name="T4" fmla="*/ 185 w 583"/>
              <a:gd name="T5" fmla="*/ 31 h 660"/>
              <a:gd name="T6" fmla="*/ 198 w 583"/>
              <a:gd name="T7" fmla="*/ 70 h 660"/>
              <a:gd name="T8" fmla="*/ 226 w 583"/>
              <a:gd name="T9" fmla="*/ 78 h 660"/>
              <a:gd name="T10" fmla="*/ 266 w 583"/>
              <a:gd name="T11" fmla="*/ 93 h 660"/>
              <a:gd name="T12" fmla="*/ 294 w 583"/>
              <a:gd name="T13" fmla="*/ 80 h 660"/>
              <a:gd name="T14" fmla="*/ 304 w 583"/>
              <a:gd name="T15" fmla="*/ 78 h 660"/>
              <a:gd name="T16" fmla="*/ 347 w 583"/>
              <a:gd name="T17" fmla="*/ 98 h 660"/>
              <a:gd name="T18" fmla="*/ 362 w 583"/>
              <a:gd name="T19" fmla="*/ 110 h 660"/>
              <a:gd name="T20" fmla="*/ 377 w 583"/>
              <a:gd name="T21" fmla="*/ 108 h 660"/>
              <a:gd name="T22" fmla="*/ 398 w 583"/>
              <a:gd name="T23" fmla="*/ 115 h 660"/>
              <a:gd name="T24" fmla="*/ 434 w 583"/>
              <a:gd name="T25" fmla="*/ 136 h 660"/>
              <a:gd name="T26" fmla="*/ 464 w 583"/>
              <a:gd name="T27" fmla="*/ 123 h 660"/>
              <a:gd name="T28" fmla="*/ 485 w 583"/>
              <a:gd name="T29" fmla="*/ 119 h 660"/>
              <a:gd name="T30" fmla="*/ 498 w 583"/>
              <a:gd name="T31" fmla="*/ 127 h 660"/>
              <a:gd name="T32" fmla="*/ 528 w 583"/>
              <a:gd name="T33" fmla="*/ 123 h 660"/>
              <a:gd name="T34" fmla="*/ 551 w 583"/>
              <a:gd name="T35" fmla="*/ 132 h 660"/>
              <a:gd name="T36" fmla="*/ 583 w 583"/>
              <a:gd name="T37" fmla="*/ 132 h 660"/>
              <a:gd name="T38" fmla="*/ 562 w 583"/>
              <a:gd name="T39" fmla="*/ 146 h 660"/>
              <a:gd name="T40" fmla="*/ 517 w 583"/>
              <a:gd name="T41" fmla="*/ 168 h 660"/>
              <a:gd name="T42" fmla="*/ 460 w 583"/>
              <a:gd name="T43" fmla="*/ 219 h 660"/>
              <a:gd name="T44" fmla="*/ 430 w 583"/>
              <a:gd name="T45" fmla="*/ 253 h 660"/>
              <a:gd name="T46" fmla="*/ 398 w 583"/>
              <a:gd name="T47" fmla="*/ 283 h 660"/>
              <a:gd name="T48" fmla="*/ 389 w 583"/>
              <a:gd name="T49" fmla="*/ 293 h 660"/>
              <a:gd name="T50" fmla="*/ 385 w 583"/>
              <a:gd name="T51" fmla="*/ 359 h 660"/>
              <a:gd name="T52" fmla="*/ 353 w 583"/>
              <a:gd name="T53" fmla="*/ 383 h 660"/>
              <a:gd name="T54" fmla="*/ 343 w 583"/>
              <a:gd name="T55" fmla="*/ 404 h 660"/>
              <a:gd name="T56" fmla="*/ 353 w 583"/>
              <a:gd name="T57" fmla="*/ 421 h 660"/>
              <a:gd name="T58" fmla="*/ 355 w 583"/>
              <a:gd name="T59" fmla="*/ 468 h 660"/>
              <a:gd name="T60" fmla="*/ 355 w 583"/>
              <a:gd name="T61" fmla="*/ 502 h 660"/>
              <a:gd name="T62" fmla="*/ 370 w 583"/>
              <a:gd name="T63" fmla="*/ 526 h 660"/>
              <a:gd name="T64" fmla="*/ 396 w 583"/>
              <a:gd name="T65" fmla="*/ 538 h 660"/>
              <a:gd name="T66" fmla="*/ 424 w 583"/>
              <a:gd name="T67" fmla="*/ 553 h 660"/>
              <a:gd name="T68" fmla="*/ 453 w 583"/>
              <a:gd name="T69" fmla="*/ 585 h 660"/>
              <a:gd name="T70" fmla="*/ 475 w 583"/>
              <a:gd name="T71" fmla="*/ 598 h 660"/>
              <a:gd name="T72" fmla="*/ 485 w 583"/>
              <a:gd name="T73" fmla="*/ 634 h 660"/>
              <a:gd name="T74" fmla="*/ 404 w 583"/>
              <a:gd name="T75" fmla="*/ 649 h 660"/>
              <a:gd name="T76" fmla="*/ 64 w 583"/>
              <a:gd name="T77" fmla="*/ 660 h 660"/>
              <a:gd name="T78" fmla="*/ 51 w 583"/>
              <a:gd name="T79" fmla="*/ 445 h 660"/>
              <a:gd name="T80" fmla="*/ 30 w 583"/>
              <a:gd name="T81" fmla="*/ 423 h 660"/>
              <a:gd name="T82" fmla="*/ 45 w 583"/>
              <a:gd name="T83" fmla="*/ 406 h 660"/>
              <a:gd name="T84" fmla="*/ 53 w 583"/>
              <a:gd name="T85" fmla="*/ 377 h 660"/>
              <a:gd name="T86" fmla="*/ 51 w 583"/>
              <a:gd name="T87" fmla="*/ 349 h 660"/>
              <a:gd name="T88" fmla="*/ 38 w 583"/>
              <a:gd name="T89" fmla="*/ 321 h 660"/>
              <a:gd name="T90" fmla="*/ 34 w 583"/>
              <a:gd name="T91" fmla="*/ 281 h 660"/>
              <a:gd name="T92" fmla="*/ 32 w 583"/>
              <a:gd name="T93" fmla="*/ 255 h 660"/>
              <a:gd name="T94" fmla="*/ 27 w 583"/>
              <a:gd name="T95" fmla="*/ 219 h 660"/>
              <a:gd name="T96" fmla="*/ 25 w 583"/>
              <a:gd name="T97" fmla="*/ 189 h 660"/>
              <a:gd name="T98" fmla="*/ 10 w 583"/>
              <a:gd name="T99" fmla="*/ 140 h 660"/>
              <a:gd name="T100" fmla="*/ 8 w 583"/>
              <a:gd name="T101" fmla="*/ 115 h 660"/>
              <a:gd name="T102" fmla="*/ 10 w 583"/>
              <a:gd name="T103" fmla="*/ 80 h 660"/>
              <a:gd name="T104" fmla="*/ 0 w 583"/>
              <a:gd name="T105" fmla="*/ 4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3" h="660">
                <a:moveTo>
                  <a:pt x="2" y="42"/>
                </a:moveTo>
                <a:lnTo>
                  <a:pt x="98" y="42"/>
                </a:lnTo>
                <a:lnTo>
                  <a:pt x="155" y="42"/>
                </a:lnTo>
                <a:lnTo>
                  <a:pt x="157" y="34"/>
                </a:lnTo>
                <a:lnTo>
                  <a:pt x="155" y="0"/>
                </a:lnTo>
                <a:lnTo>
                  <a:pt x="162" y="2"/>
                </a:lnTo>
                <a:lnTo>
                  <a:pt x="174" y="4"/>
                </a:lnTo>
                <a:lnTo>
                  <a:pt x="181" y="10"/>
                </a:lnTo>
                <a:lnTo>
                  <a:pt x="185" y="31"/>
                </a:lnTo>
                <a:lnTo>
                  <a:pt x="191" y="53"/>
                </a:lnTo>
                <a:lnTo>
                  <a:pt x="191" y="63"/>
                </a:lnTo>
                <a:lnTo>
                  <a:pt x="198" y="70"/>
                </a:lnTo>
                <a:lnTo>
                  <a:pt x="204" y="74"/>
                </a:lnTo>
                <a:lnTo>
                  <a:pt x="219" y="74"/>
                </a:lnTo>
                <a:lnTo>
                  <a:pt x="226" y="78"/>
                </a:lnTo>
                <a:lnTo>
                  <a:pt x="257" y="83"/>
                </a:lnTo>
                <a:lnTo>
                  <a:pt x="260" y="89"/>
                </a:lnTo>
                <a:lnTo>
                  <a:pt x="266" y="93"/>
                </a:lnTo>
                <a:lnTo>
                  <a:pt x="285" y="89"/>
                </a:lnTo>
                <a:lnTo>
                  <a:pt x="289" y="83"/>
                </a:lnTo>
                <a:lnTo>
                  <a:pt x="294" y="80"/>
                </a:lnTo>
                <a:lnTo>
                  <a:pt x="296" y="80"/>
                </a:lnTo>
                <a:lnTo>
                  <a:pt x="298" y="78"/>
                </a:lnTo>
                <a:lnTo>
                  <a:pt x="304" y="78"/>
                </a:lnTo>
                <a:lnTo>
                  <a:pt x="321" y="78"/>
                </a:lnTo>
                <a:lnTo>
                  <a:pt x="349" y="89"/>
                </a:lnTo>
                <a:lnTo>
                  <a:pt x="347" y="98"/>
                </a:lnTo>
                <a:lnTo>
                  <a:pt x="355" y="98"/>
                </a:lnTo>
                <a:lnTo>
                  <a:pt x="362" y="104"/>
                </a:lnTo>
                <a:lnTo>
                  <a:pt x="362" y="110"/>
                </a:lnTo>
                <a:lnTo>
                  <a:pt x="366" y="115"/>
                </a:lnTo>
                <a:lnTo>
                  <a:pt x="375" y="119"/>
                </a:lnTo>
                <a:lnTo>
                  <a:pt x="377" y="108"/>
                </a:lnTo>
                <a:lnTo>
                  <a:pt x="387" y="106"/>
                </a:lnTo>
                <a:lnTo>
                  <a:pt x="396" y="108"/>
                </a:lnTo>
                <a:lnTo>
                  <a:pt x="398" y="115"/>
                </a:lnTo>
                <a:lnTo>
                  <a:pt x="419" y="123"/>
                </a:lnTo>
                <a:lnTo>
                  <a:pt x="419" y="129"/>
                </a:lnTo>
                <a:lnTo>
                  <a:pt x="434" y="136"/>
                </a:lnTo>
                <a:lnTo>
                  <a:pt x="443" y="138"/>
                </a:lnTo>
                <a:lnTo>
                  <a:pt x="458" y="132"/>
                </a:lnTo>
                <a:lnTo>
                  <a:pt x="464" y="123"/>
                </a:lnTo>
                <a:lnTo>
                  <a:pt x="479" y="115"/>
                </a:lnTo>
                <a:lnTo>
                  <a:pt x="485" y="112"/>
                </a:lnTo>
                <a:lnTo>
                  <a:pt x="485" y="119"/>
                </a:lnTo>
                <a:lnTo>
                  <a:pt x="490" y="121"/>
                </a:lnTo>
                <a:lnTo>
                  <a:pt x="492" y="127"/>
                </a:lnTo>
                <a:lnTo>
                  <a:pt x="498" y="127"/>
                </a:lnTo>
                <a:lnTo>
                  <a:pt x="507" y="125"/>
                </a:lnTo>
                <a:lnTo>
                  <a:pt x="521" y="125"/>
                </a:lnTo>
                <a:lnTo>
                  <a:pt x="528" y="123"/>
                </a:lnTo>
                <a:lnTo>
                  <a:pt x="543" y="123"/>
                </a:lnTo>
                <a:lnTo>
                  <a:pt x="549" y="129"/>
                </a:lnTo>
                <a:lnTo>
                  <a:pt x="551" y="132"/>
                </a:lnTo>
                <a:lnTo>
                  <a:pt x="558" y="136"/>
                </a:lnTo>
                <a:lnTo>
                  <a:pt x="564" y="132"/>
                </a:lnTo>
                <a:lnTo>
                  <a:pt x="583" y="132"/>
                </a:lnTo>
                <a:lnTo>
                  <a:pt x="575" y="136"/>
                </a:lnTo>
                <a:lnTo>
                  <a:pt x="568" y="142"/>
                </a:lnTo>
                <a:lnTo>
                  <a:pt x="562" y="146"/>
                </a:lnTo>
                <a:lnTo>
                  <a:pt x="539" y="159"/>
                </a:lnTo>
                <a:lnTo>
                  <a:pt x="530" y="161"/>
                </a:lnTo>
                <a:lnTo>
                  <a:pt x="517" y="168"/>
                </a:lnTo>
                <a:lnTo>
                  <a:pt x="494" y="181"/>
                </a:lnTo>
                <a:lnTo>
                  <a:pt x="468" y="208"/>
                </a:lnTo>
                <a:lnTo>
                  <a:pt x="460" y="219"/>
                </a:lnTo>
                <a:lnTo>
                  <a:pt x="441" y="240"/>
                </a:lnTo>
                <a:lnTo>
                  <a:pt x="434" y="247"/>
                </a:lnTo>
                <a:lnTo>
                  <a:pt x="430" y="253"/>
                </a:lnTo>
                <a:lnTo>
                  <a:pt x="421" y="259"/>
                </a:lnTo>
                <a:lnTo>
                  <a:pt x="400" y="276"/>
                </a:lnTo>
                <a:lnTo>
                  <a:pt x="398" y="283"/>
                </a:lnTo>
                <a:lnTo>
                  <a:pt x="394" y="285"/>
                </a:lnTo>
                <a:lnTo>
                  <a:pt x="394" y="287"/>
                </a:lnTo>
                <a:lnTo>
                  <a:pt x="389" y="293"/>
                </a:lnTo>
                <a:lnTo>
                  <a:pt x="383" y="293"/>
                </a:lnTo>
                <a:lnTo>
                  <a:pt x="387" y="351"/>
                </a:lnTo>
                <a:lnTo>
                  <a:pt x="385" y="359"/>
                </a:lnTo>
                <a:lnTo>
                  <a:pt x="381" y="366"/>
                </a:lnTo>
                <a:lnTo>
                  <a:pt x="368" y="374"/>
                </a:lnTo>
                <a:lnTo>
                  <a:pt x="353" y="383"/>
                </a:lnTo>
                <a:lnTo>
                  <a:pt x="351" y="391"/>
                </a:lnTo>
                <a:lnTo>
                  <a:pt x="347" y="398"/>
                </a:lnTo>
                <a:lnTo>
                  <a:pt x="343" y="404"/>
                </a:lnTo>
                <a:lnTo>
                  <a:pt x="343" y="413"/>
                </a:lnTo>
                <a:lnTo>
                  <a:pt x="347" y="419"/>
                </a:lnTo>
                <a:lnTo>
                  <a:pt x="353" y="421"/>
                </a:lnTo>
                <a:lnTo>
                  <a:pt x="362" y="436"/>
                </a:lnTo>
                <a:lnTo>
                  <a:pt x="353" y="453"/>
                </a:lnTo>
                <a:lnTo>
                  <a:pt x="355" y="468"/>
                </a:lnTo>
                <a:lnTo>
                  <a:pt x="353" y="474"/>
                </a:lnTo>
                <a:lnTo>
                  <a:pt x="355" y="492"/>
                </a:lnTo>
                <a:lnTo>
                  <a:pt x="355" y="502"/>
                </a:lnTo>
                <a:lnTo>
                  <a:pt x="353" y="511"/>
                </a:lnTo>
                <a:lnTo>
                  <a:pt x="364" y="519"/>
                </a:lnTo>
                <a:lnTo>
                  <a:pt x="370" y="526"/>
                </a:lnTo>
                <a:lnTo>
                  <a:pt x="379" y="530"/>
                </a:lnTo>
                <a:lnTo>
                  <a:pt x="392" y="532"/>
                </a:lnTo>
                <a:lnTo>
                  <a:pt x="396" y="538"/>
                </a:lnTo>
                <a:lnTo>
                  <a:pt x="402" y="543"/>
                </a:lnTo>
                <a:lnTo>
                  <a:pt x="413" y="547"/>
                </a:lnTo>
                <a:lnTo>
                  <a:pt x="424" y="553"/>
                </a:lnTo>
                <a:lnTo>
                  <a:pt x="432" y="568"/>
                </a:lnTo>
                <a:lnTo>
                  <a:pt x="447" y="581"/>
                </a:lnTo>
                <a:lnTo>
                  <a:pt x="453" y="585"/>
                </a:lnTo>
                <a:lnTo>
                  <a:pt x="462" y="587"/>
                </a:lnTo>
                <a:lnTo>
                  <a:pt x="468" y="592"/>
                </a:lnTo>
                <a:lnTo>
                  <a:pt x="475" y="598"/>
                </a:lnTo>
                <a:lnTo>
                  <a:pt x="481" y="609"/>
                </a:lnTo>
                <a:lnTo>
                  <a:pt x="483" y="628"/>
                </a:lnTo>
                <a:lnTo>
                  <a:pt x="485" y="634"/>
                </a:lnTo>
                <a:lnTo>
                  <a:pt x="485" y="638"/>
                </a:lnTo>
                <a:lnTo>
                  <a:pt x="487" y="645"/>
                </a:lnTo>
                <a:lnTo>
                  <a:pt x="404" y="649"/>
                </a:lnTo>
                <a:lnTo>
                  <a:pt x="287" y="656"/>
                </a:lnTo>
                <a:lnTo>
                  <a:pt x="147" y="658"/>
                </a:lnTo>
                <a:lnTo>
                  <a:pt x="64" y="660"/>
                </a:lnTo>
                <a:lnTo>
                  <a:pt x="62" y="457"/>
                </a:lnTo>
                <a:lnTo>
                  <a:pt x="57" y="449"/>
                </a:lnTo>
                <a:lnTo>
                  <a:pt x="51" y="445"/>
                </a:lnTo>
                <a:lnTo>
                  <a:pt x="42" y="445"/>
                </a:lnTo>
                <a:lnTo>
                  <a:pt x="34" y="430"/>
                </a:lnTo>
                <a:lnTo>
                  <a:pt x="30" y="423"/>
                </a:lnTo>
                <a:lnTo>
                  <a:pt x="32" y="417"/>
                </a:lnTo>
                <a:lnTo>
                  <a:pt x="38" y="411"/>
                </a:lnTo>
                <a:lnTo>
                  <a:pt x="45" y="406"/>
                </a:lnTo>
                <a:lnTo>
                  <a:pt x="49" y="400"/>
                </a:lnTo>
                <a:lnTo>
                  <a:pt x="53" y="385"/>
                </a:lnTo>
                <a:lnTo>
                  <a:pt x="53" y="377"/>
                </a:lnTo>
                <a:lnTo>
                  <a:pt x="53" y="370"/>
                </a:lnTo>
                <a:lnTo>
                  <a:pt x="51" y="355"/>
                </a:lnTo>
                <a:lnTo>
                  <a:pt x="51" y="349"/>
                </a:lnTo>
                <a:lnTo>
                  <a:pt x="49" y="340"/>
                </a:lnTo>
                <a:lnTo>
                  <a:pt x="40" y="330"/>
                </a:lnTo>
                <a:lnTo>
                  <a:pt x="38" y="321"/>
                </a:lnTo>
                <a:lnTo>
                  <a:pt x="38" y="315"/>
                </a:lnTo>
                <a:lnTo>
                  <a:pt x="36" y="308"/>
                </a:lnTo>
                <a:lnTo>
                  <a:pt x="34" y="281"/>
                </a:lnTo>
                <a:lnTo>
                  <a:pt x="36" y="274"/>
                </a:lnTo>
                <a:lnTo>
                  <a:pt x="32" y="266"/>
                </a:lnTo>
                <a:lnTo>
                  <a:pt x="32" y="255"/>
                </a:lnTo>
                <a:lnTo>
                  <a:pt x="30" y="240"/>
                </a:lnTo>
                <a:lnTo>
                  <a:pt x="30" y="225"/>
                </a:lnTo>
                <a:lnTo>
                  <a:pt x="27" y="219"/>
                </a:lnTo>
                <a:lnTo>
                  <a:pt x="30" y="213"/>
                </a:lnTo>
                <a:lnTo>
                  <a:pt x="30" y="204"/>
                </a:lnTo>
                <a:lnTo>
                  <a:pt x="25" y="189"/>
                </a:lnTo>
                <a:lnTo>
                  <a:pt x="17" y="168"/>
                </a:lnTo>
                <a:lnTo>
                  <a:pt x="19" y="164"/>
                </a:lnTo>
                <a:lnTo>
                  <a:pt x="10" y="140"/>
                </a:lnTo>
                <a:lnTo>
                  <a:pt x="8" y="132"/>
                </a:lnTo>
                <a:lnTo>
                  <a:pt x="8" y="119"/>
                </a:lnTo>
                <a:lnTo>
                  <a:pt x="8" y="115"/>
                </a:lnTo>
                <a:lnTo>
                  <a:pt x="8" y="108"/>
                </a:lnTo>
                <a:lnTo>
                  <a:pt x="6" y="93"/>
                </a:lnTo>
                <a:lnTo>
                  <a:pt x="10" y="80"/>
                </a:lnTo>
                <a:lnTo>
                  <a:pt x="8" y="74"/>
                </a:lnTo>
                <a:lnTo>
                  <a:pt x="4" y="53"/>
                </a:lnTo>
                <a:lnTo>
                  <a:pt x="0" y="46"/>
                </a:lnTo>
                <a:lnTo>
                  <a:pt x="0" y="46"/>
                </a:lnTo>
                <a:lnTo>
                  <a:pt x="2" y="4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4" name="Freeform 710"/>
          <p:cNvSpPr>
            <a:spLocks/>
          </p:cNvSpPr>
          <p:nvPr/>
        </p:nvSpPr>
        <p:spPr bwMode="auto">
          <a:xfrm>
            <a:off x="4297362" y="2733675"/>
            <a:ext cx="854075" cy="560388"/>
          </a:xfrm>
          <a:custGeom>
            <a:avLst/>
            <a:gdLst>
              <a:gd name="T0" fmla="*/ 8 w 538"/>
              <a:gd name="T1" fmla="*/ 111 h 353"/>
              <a:gd name="T2" fmla="*/ 0 w 538"/>
              <a:gd name="T3" fmla="*/ 96 h 353"/>
              <a:gd name="T4" fmla="*/ 6 w 538"/>
              <a:gd name="T5" fmla="*/ 89 h 353"/>
              <a:gd name="T6" fmla="*/ 8 w 538"/>
              <a:gd name="T7" fmla="*/ 66 h 353"/>
              <a:gd name="T8" fmla="*/ 13 w 538"/>
              <a:gd name="T9" fmla="*/ 53 h 353"/>
              <a:gd name="T10" fmla="*/ 4 w 538"/>
              <a:gd name="T11" fmla="*/ 38 h 353"/>
              <a:gd name="T12" fmla="*/ 8 w 538"/>
              <a:gd name="T13" fmla="*/ 30 h 353"/>
              <a:gd name="T14" fmla="*/ 2 w 538"/>
              <a:gd name="T15" fmla="*/ 15 h 353"/>
              <a:gd name="T16" fmla="*/ 98 w 538"/>
              <a:gd name="T17" fmla="*/ 13 h 353"/>
              <a:gd name="T18" fmla="*/ 355 w 538"/>
              <a:gd name="T19" fmla="*/ 4 h 353"/>
              <a:gd name="T20" fmla="*/ 438 w 538"/>
              <a:gd name="T21" fmla="*/ 6 h 353"/>
              <a:gd name="T22" fmla="*/ 443 w 538"/>
              <a:gd name="T23" fmla="*/ 17 h 353"/>
              <a:gd name="T24" fmla="*/ 453 w 538"/>
              <a:gd name="T25" fmla="*/ 25 h 353"/>
              <a:gd name="T26" fmla="*/ 449 w 538"/>
              <a:gd name="T27" fmla="*/ 51 h 353"/>
              <a:gd name="T28" fmla="*/ 453 w 538"/>
              <a:gd name="T29" fmla="*/ 70 h 353"/>
              <a:gd name="T30" fmla="*/ 460 w 538"/>
              <a:gd name="T31" fmla="*/ 87 h 353"/>
              <a:gd name="T32" fmla="*/ 487 w 538"/>
              <a:gd name="T33" fmla="*/ 94 h 353"/>
              <a:gd name="T34" fmla="*/ 494 w 538"/>
              <a:gd name="T35" fmla="*/ 111 h 353"/>
              <a:gd name="T36" fmla="*/ 513 w 538"/>
              <a:gd name="T37" fmla="*/ 128 h 353"/>
              <a:gd name="T38" fmla="*/ 521 w 538"/>
              <a:gd name="T39" fmla="*/ 143 h 353"/>
              <a:gd name="T40" fmla="*/ 536 w 538"/>
              <a:gd name="T41" fmla="*/ 153 h 353"/>
              <a:gd name="T42" fmla="*/ 536 w 538"/>
              <a:gd name="T43" fmla="*/ 183 h 353"/>
              <a:gd name="T44" fmla="*/ 526 w 538"/>
              <a:gd name="T45" fmla="*/ 211 h 353"/>
              <a:gd name="T46" fmla="*/ 504 w 538"/>
              <a:gd name="T47" fmla="*/ 224 h 353"/>
              <a:gd name="T48" fmla="*/ 470 w 538"/>
              <a:gd name="T49" fmla="*/ 234 h 353"/>
              <a:gd name="T50" fmla="*/ 464 w 538"/>
              <a:gd name="T51" fmla="*/ 255 h 353"/>
              <a:gd name="T52" fmla="*/ 479 w 538"/>
              <a:gd name="T53" fmla="*/ 285 h 353"/>
              <a:gd name="T54" fmla="*/ 468 w 538"/>
              <a:gd name="T55" fmla="*/ 304 h 353"/>
              <a:gd name="T56" fmla="*/ 466 w 538"/>
              <a:gd name="T57" fmla="*/ 319 h 353"/>
              <a:gd name="T58" fmla="*/ 443 w 538"/>
              <a:gd name="T59" fmla="*/ 334 h 353"/>
              <a:gd name="T60" fmla="*/ 447 w 538"/>
              <a:gd name="T61" fmla="*/ 349 h 353"/>
              <a:gd name="T62" fmla="*/ 438 w 538"/>
              <a:gd name="T63" fmla="*/ 353 h 353"/>
              <a:gd name="T64" fmla="*/ 419 w 538"/>
              <a:gd name="T65" fmla="*/ 334 h 353"/>
              <a:gd name="T66" fmla="*/ 360 w 538"/>
              <a:gd name="T67" fmla="*/ 334 h 353"/>
              <a:gd name="T68" fmla="*/ 168 w 538"/>
              <a:gd name="T69" fmla="*/ 343 h 353"/>
              <a:gd name="T70" fmla="*/ 72 w 538"/>
              <a:gd name="T71" fmla="*/ 334 h 353"/>
              <a:gd name="T72" fmla="*/ 68 w 538"/>
              <a:gd name="T73" fmla="*/ 309 h 353"/>
              <a:gd name="T74" fmla="*/ 66 w 538"/>
              <a:gd name="T75" fmla="*/ 283 h 353"/>
              <a:gd name="T76" fmla="*/ 62 w 538"/>
              <a:gd name="T77" fmla="*/ 270 h 353"/>
              <a:gd name="T78" fmla="*/ 59 w 538"/>
              <a:gd name="T79" fmla="*/ 253 h 353"/>
              <a:gd name="T80" fmla="*/ 53 w 538"/>
              <a:gd name="T81" fmla="*/ 243 h 353"/>
              <a:gd name="T82" fmla="*/ 47 w 538"/>
              <a:gd name="T83" fmla="*/ 234 h 353"/>
              <a:gd name="T84" fmla="*/ 44 w 538"/>
              <a:gd name="T85" fmla="*/ 226 h 353"/>
              <a:gd name="T86" fmla="*/ 47 w 538"/>
              <a:gd name="T87" fmla="*/ 211 h 353"/>
              <a:gd name="T88" fmla="*/ 40 w 538"/>
              <a:gd name="T89" fmla="*/ 196 h 353"/>
              <a:gd name="T90" fmla="*/ 32 w 538"/>
              <a:gd name="T91" fmla="*/ 177 h 353"/>
              <a:gd name="T92" fmla="*/ 23 w 538"/>
              <a:gd name="T93" fmla="*/ 162 h 353"/>
              <a:gd name="T94" fmla="*/ 23 w 538"/>
              <a:gd name="T95" fmla="*/ 149 h 353"/>
              <a:gd name="T96" fmla="*/ 19 w 538"/>
              <a:gd name="T97" fmla="*/ 136 h 353"/>
              <a:gd name="T98" fmla="*/ 13 w 538"/>
              <a:gd name="T99" fmla="*/ 12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353">
                <a:moveTo>
                  <a:pt x="13" y="126"/>
                </a:moveTo>
                <a:lnTo>
                  <a:pt x="8" y="111"/>
                </a:lnTo>
                <a:lnTo>
                  <a:pt x="2" y="104"/>
                </a:lnTo>
                <a:lnTo>
                  <a:pt x="0" y="96"/>
                </a:lnTo>
                <a:lnTo>
                  <a:pt x="4" y="89"/>
                </a:lnTo>
                <a:lnTo>
                  <a:pt x="6" y="89"/>
                </a:lnTo>
                <a:lnTo>
                  <a:pt x="10" y="74"/>
                </a:lnTo>
                <a:lnTo>
                  <a:pt x="8" y="66"/>
                </a:lnTo>
                <a:lnTo>
                  <a:pt x="13" y="60"/>
                </a:lnTo>
                <a:lnTo>
                  <a:pt x="13" y="53"/>
                </a:lnTo>
                <a:lnTo>
                  <a:pt x="6" y="47"/>
                </a:lnTo>
                <a:lnTo>
                  <a:pt x="4" y="38"/>
                </a:lnTo>
                <a:lnTo>
                  <a:pt x="6" y="36"/>
                </a:lnTo>
                <a:lnTo>
                  <a:pt x="8" y="30"/>
                </a:lnTo>
                <a:lnTo>
                  <a:pt x="4" y="23"/>
                </a:lnTo>
                <a:lnTo>
                  <a:pt x="2" y="15"/>
                </a:lnTo>
                <a:lnTo>
                  <a:pt x="15" y="15"/>
                </a:lnTo>
                <a:lnTo>
                  <a:pt x="98" y="13"/>
                </a:lnTo>
                <a:lnTo>
                  <a:pt x="238" y="11"/>
                </a:lnTo>
                <a:lnTo>
                  <a:pt x="355" y="4"/>
                </a:lnTo>
                <a:lnTo>
                  <a:pt x="438" y="0"/>
                </a:lnTo>
                <a:lnTo>
                  <a:pt x="438" y="6"/>
                </a:lnTo>
                <a:lnTo>
                  <a:pt x="441" y="8"/>
                </a:lnTo>
                <a:lnTo>
                  <a:pt x="443" y="17"/>
                </a:lnTo>
                <a:lnTo>
                  <a:pt x="449" y="19"/>
                </a:lnTo>
                <a:lnTo>
                  <a:pt x="453" y="25"/>
                </a:lnTo>
                <a:lnTo>
                  <a:pt x="445" y="40"/>
                </a:lnTo>
                <a:lnTo>
                  <a:pt x="449" y="51"/>
                </a:lnTo>
                <a:lnTo>
                  <a:pt x="449" y="64"/>
                </a:lnTo>
                <a:lnTo>
                  <a:pt x="453" y="70"/>
                </a:lnTo>
                <a:lnTo>
                  <a:pt x="455" y="79"/>
                </a:lnTo>
                <a:lnTo>
                  <a:pt x="460" y="87"/>
                </a:lnTo>
                <a:lnTo>
                  <a:pt x="466" y="89"/>
                </a:lnTo>
                <a:lnTo>
                  <a:pt x="487" y="94"/>
                </a:lnTo>
                <a:lnTo>
                  <a:pt x="494" y="109"/>
                </a:lnTo>
                <a:lnTo>
                  <a:pt x="494" y="111"/>
                </a:lnTo>
                <a:lnTo>
                  <a:pt x="498" y="117"/>
                </a:lnTo>
                <a:lnTo>
                  <a:pt x="513" y="128"/>
                </a:lnTo>
                <a:lnTo>
                  <a:pt x="515" y="136"/>
                </a:lnTo>
                <a:lnTo>
                  <a:pt x="521" y="143"/>
                </a:lnTo>
                <a:lnTo>
                  <a:pt x="530" y="147"/>
                </a:lnTo>
                <a:lnTo>
                  <a:pt x="536" y="153"/>
                </a:lnTo>
                <a:lnTo>
                  <a:pt x="538" y="160"/>
                </a:lnTo>
                <a:lnTo>
                  <a:pt x="536" y="183"/>
                </a:lnTo>
                <a:lnTo>
                  <a:pt x="526" y="196"/>
                </a:lnTo>
                <a:lnTo>
                  <a:pt x="526" y="211"/>
                </a:lnTo>
                <a:lnTo>
                  <a:pt x="517" y="217"/>
                </a:lnTo>
                <a:lnTo>
                  <a:pt x="504" y="224"/>
                </a:lnTo>
                <a:lnTo>
                  <a:pt x="496" y="228"/>
                </a:lnTo>
                <a:lnTo>
                  <a:pt x="470" y="234"/>
                </a:lnTo>
                <a:lnTo>
                  <a:pt x="466" y="243"/>
                </a:lnTo>
                <a:lnTo>
                  <a:pt x="464" y="255"/>
                </a:lnTo>
                <a:lnTo>
                  <a:pt x="479" y="270"/>
                </a:lnTo>
                <a:lnTo>
                  <a:pt x="479" y="285"/>
                </a:lnTo>
                <a:lnTo>
                  <a:pt x="468" y="300"/>
                </a:lnTo>
                <a:lnTo>
                  <a:pt x="468" y="304"/>
                </a:lnTo>
                <a:lnTo>
                  <a:pt x="468" y="311"/>
                </a:lnTo>
                <a:lnTo>
                  <a:pt x="466" y="319"/>
                </a:lnTo>
                <a:lnTo>
                  <a:pt x="449" y="328"/>
                </a:lnTo>
                <a:lnTo>
                  <a:pt x="443" y="334"/>
                </a:lnTo>
                <a:lnTo>
                  <a:pt x="447" y="341"/>
                </a:lnTo>
                <a:lnTo>
                  <a:pt x="447" y="349"/>
                </a:lnTo>
                <a:lnTo>
                  <a:pt x="443" y="353"/>
                </a:lnTo>
                <a:lnTo>
                  <a:pt x="438" y="353"/>
                </a:lnTo>
                <a:lnTo>
                  <a:pt x="432" y="345"/>
                </a:lnTo>
                <a:lnTo>
                  <a:pt x="419" y="334"/>
                </a:lnTo>
                <a:lnTo>
                  <a:pt x="415" y="328"/>
                </a:lnTo>
                <a:lnTo>
                  <a:pt x="360" y="334"/>
                </a:lnTo>
                <a:lnTo>
                  <a:pt x="228" y="341"/>
                </a:lnTo>
                <a:lnTo>
                  <a:pt x="168" y="343"/>
                </a:lnTo>
                <a:lnTo>
                  <a:pt x="74" y="341"/>
                </a:lnTo>
                <a:lnTo>
                  <a:pt x="72" y="334"/>
                </a:lnTo>
                <a:lnTo>
                  <a:pt x="66" y="330"/>
                </a:lnTo>
                <a:lnTo>
                  <a:pt x="68" y="309"/>
                </a:lnTo>
                <a:lnTo>
                  <a:pt x="66" y="294"/>
                </a:lnTo>
                <a:lnTo>
                  <a:pt x="66" y="283"/>
                </a:lnTo>
                <a:lnTo>
                  <a:pt x="66" y="277"/>
                </a:lnTo>
                <a:lnTo>
                  <a:pt x="62" y="270"/>
                </a:lnTo>
                <a:lnTo>
                  <a:pt x="64" y="260"/>
                </a:lnTo>
                <a:lnTo>
                  <a:pt x="59" y="253"/>
                </a:lnTo>
                <a:lnTo>
                  <a:pt x="59" y="245"/>
                </a:lnTo>
                <a:lnTo>
                  <a:pt x="53" y="243"/>
                </a:lnTo>
                <a:lnTo>
                  <a:pt x="53" y="234"/>
                </a:lnTo>
                <a:lnTo>
                  <a:pt x="47" y="234"/>
                </a:lnTo>
                <a:lnTo>
                  <a:pt x="47" y="232"/>
                </a:lnTo>
                <a:lnTo>
                  <a:pt x="44" y="226"/>
                </a:lnTo>
                <a:lnTo>
                  <a:pt x="44" y="217"/>
                </a:lnTo>
                <a:lnTo>
                  <a:pt x="47" y="211"/>
                </a:lnTo>
                <a:lnTo>
                  <a:pt x="44" y="204"/>
                </a:lnTo>
                <a:lnTo>
                  <a:pt x="40" y="196"/>
                </a:lnTo>
                <a:lnTo>
                  <a:pt x="40" y="189"/>
                </a:lnTo>
                <a:lnTo>
                  <a:pt x="32" y="177"/>
                </a:lnTo>
                <a:lnTo>
                  <a:pt x="30" y="170"/>
                </a:lnTo>
                <a:lnTo>
                  <a:pt x="23" y="162"/>
                </a:lnTo>
                <a:lnTo>
                  <a:pt x="25" y="155"/>
                </a:lnTo>
                <a:lnTo>
                  <a:pt x="23" y="149"/>
                </a:lnTo>
                <a:lnTo>
                  <a:pt x="19" y="140"/>
                </a:lnTo>
                <a:lnTo>
                  <a:pt x="19" y="136"/>
                </a:lnTo>
                <a:lnTo>
                  <a:pt x="19" y="128"/>
                </a:lnTo>
                <a:lnTo>
                  <a:pt x="13" y="126"/>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05" name="Freeform 711"/>
          <p:cNvSpPr>
            <a:spLocks/>
          </p:cNvSpPr>
          <p:nvPr/>
        </p:nvSpPr>
        <p:spPr bwMode="auto">
          <a:xfrm>
            <a:off x="4297362" y="2733675"/>
            <a:ext cx="854075" cy="560388"/>
          </a:xfrm>
          <a:custGeom>
            <a:avLst/>
            <a:gdLst>
              <a:gd name="T0" fmla="*/ 8 w 538"/>
              <a:gd name="T1" fmla="*/ 111 h 353"/>
              <a:gd name="T2" fmla="*/ 0 w 538"/>
              <a:gd name="T3" fmla="*/ 96 h 353"/>
              <a:gd name="T4" fmla="*/ 6 w 538"/>
              <a:gd name="T5" fmla="*/ 89 h 353"/>
              <a:gd name="T6" fmla="*/ 8 w 538"/>
              <a:gd name="T7" fmla="*/ 66 h 353"/>
              <a:gd name="T8" fmla="*/ 13 w 538"/>
              <a:gd name="T9" fmla="*/ 53 h 353"/>
              <a:gd name="T10" fmla="*/ 4 w 538"/>
              <a:gd name="T11" fmla="*/ 38 h 353"/>
              <a:gd name="T12" fmla="*/ 8 w 538"/>
              <a:gd name="T13" fmla="*/ 30 h 353"/>
              <a:gd name="T14" fmla="*/ 2 w 538"/>
              <a:gd name="T15" fmla="*/ 15 h 353"/>
              <a:gd name="T16" fmla="*/ 98 w 538"/>
              <a:gd name="T17" fmla="*/ 13 h 353"/>
              <a:gd name="T18" fmla="*/ 355 w 538"/>
              <a:gd name="T19" fmla="*/ 4 h 353"/>
              <a:gd name="T20" fmla="*/ 438 w 538"/>
              <a:gd name="T21" fmla="*/ 6 h 353"/>
              <a:gd name="T22" fmla="*/ 443 w 538"/>
              <a:gd name="T23" fmla="*/ 17 h 353"/>
              <a:gd name="T24" fmla="*/ 453 w 538"/>
              <a:gd name="T25" fmla="*/ 25 h 353"/>
              <a:gd name="T26" fmla="*/ 449 w 538"/>
              <a:gd name="T27" fmla="*/ 51 h 353"/>
              <a:gd name="T28" fmla="*/ 453 w 538"/>
              <a:gd name="T29" fmla="*/ 70 h 353"/>
              <a:gd name="T30" fmla="*/ 460 w 538"/>
              <a:gd name="T31" fmla="*/ 87 h 353"/>
              <a:gd name="T32" fmla="*/ 487 w 538"/>
              <a:gd name="T33" fmla="*/ 94 h 353"/>
              <a:gd name="T34" fmla="*/ 494 w 538"/>
              <a:gd name="T35" fmla="*/ 111 h 353"/>
              <a:gd name="T36" fmla="*/ 513 w 538"/>
              <a:gd name="T37" fmla="*/ 128 h 353"/>
              <a:gd name="T38" fmla="*/ 521 w 538"/>
              <a:gd name="T39" fmla="*/ 143 h 353"/>
              <a:gd name="T40" fmla="*/ 536 w 538"/>
              <a:gd name="T41" fmla="*/ 153 h 353"/>
              <a:gd name="T42" fmla="*/ 536 w 538"/>
              <a:gd name="T43" fmla="*/ 183 h 353"/>
              <a:gd name="T44" fmla="*/ 526 w 538"/>
              <a:gd name="T45" fmla="*/ 211 h 353"/>
              <a:gd name="T46" fmla="*/ 504 w 538"/>
              <a:gd name="T47" fmla="*/ 224 h 353"/>
              <a:gd name="T48" fmla="*/ 470 w 538"/>
              <a:gd name="T49" fmla="*/ 234 h 353"/>
              <a:gd name="T50" fmla="*/ 464 w 538"/>
              <a:gd name="T51" fmla="*/ 255 h 353"/>
              <a:gd name="T52" fmla="*/ 479 w 538"/>
              <a:gd name="T53" fmla="*/ 285 h 353"/>
              <a:gd name="T54" fmla="*/ 468 w 538"/>
              <a:gd name="T55" fmla="*/ 304 h 353"/>
              <a:gd name="T56" fmla="*/ 466 w 538"/>
              <a:gd name="T57" fmla="*/ 319 h 353"/>
              <a:gd name="T58" fmla="*/ 443 w 538"/>
              <a:gd name="T59" fmla="*/ 334 h 353"/>
              <a:gd name="T60" fmla="*/ 447 w 538"/>
              <a:gd name="T61" fmla="*/ 349 h 353"/>
              <a:gd name="T62" fmla="*/ 438 w 538"/>
              <a:gd name="T63" fmla="*/ 353 h 353"/>
              <a:gd name="T64" fmla="*/ 419 w 538"/>
              <a:gd name="T65" fmla="*/ 334 h 353"/>
              <a:gd name="T66" fmla="*/ 360 w 538"/>
              <a:gd name="T67" fmla="*/ 334 h 353"/>
              <a:gd name="T68" fmla="*/ 168 w 538"/>
              <a:gd name="T69" fmla="*/ 343 h 353"/>
              <a:gd name="T70" fmla="*/ 72 w 538"/>
              <a:gd name="T71" fmla="*/ 334 h 353"/>
              <a:gd name="T72" fmla="*/ 68 w 538"/>
              <a:gd name="T73" fmla="*/ 309 h 353"/>
              <a:gd name="T74" fmla="*/ 66 w 538"/>
              <a:gd name="T75" fmla="*/ 283 h 353"/>
              <a:gd name="T76" fmla="*/ 62 w 538"/>
              <a:gd name="T77" fmla="*/ 270 h 353"/>
              <a:gd name="T78" fmla="*/ 59 w 538"/>
              <a:gd name="T79" fmla="*/ 253 h 353"/>
              <a:gd name="T80" fmla="*/ 53 w 538"/>
              <a:gd name="T81" fmla="*/ 243 h 353"/>
              <a:gd name="T82" fmla="*/ 47 w 538"/>
              <a:gd name="T83" fmla="*/ 234 h 353"/>
              <a:gd name="T84" fmla="*/ 44 w 538"/>
              <a:gd name="T85" fmla="*/ 226 h 353"/>
              <a:gd name="T86" fmla="*/ 47 w 538"/>
              <a:gd name="T87" fmla="*/ 211 h 353"/>
              <a:gd name="T88" fmla="*/ 40 w 538"/>
              <a:gd name="T89" fmla="*/ 196 h 353"/>
              <a:gd name="T90" fmla="*/ 32 w 538"/>
              <a:gd name="T91" fmla="*/ 177 h 353"/>
              <a:gd name="T92" fmla="*/ 23 w 538"/>
              <a:gd name="T93" fmla="*/ 162 h 353"/>
              <a:gd name="T94" fmla="*/ 23 w 538"/>
              <a:gd name="T95" fmla="*/ 149 h 353"/>
              <a:gd name="T96" fmla="*/ 19 w 538"/>
              <a:gd name="T97" fmla="*/ 136 h 353"/>
              <a:gd name="T98" fmla="*/ 13 w 538"/>
              <a:gd name="T99" fmla="*/ 12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353">
                <a:moveTo>
                  <a:pt x="13" y="126"/>
                </a:moveTo>
                <a:lnTo>
                  <a:pt x="8" y="111"/>
                </a:lnTo>
                <a:lnTo>
                  <a:pt x="2" y="104"/>
                </a:lnTo>
                <a:lnTo>
                  <a:pt x="0" y="96"/>
                </a:lnTo>
                <a:lnTo>
                  <a:pt x="4" y="89"/>
                </a:lnTo>
                <a:lnTo>
                  <a:pt x="6" y="89"/>
                </a:lnTo>
                <a:lnTo>
                  <a:pt x="10" y="74"/>
                </a:lnTo>
                <a:lnTo>
                  <a:pt x="8" y="66"/>
                </a:lnTo>
                <a:lnTo>
                  <a:pt x="13" y="60"/>
                </a:lnTo>
                <a:lnTo>
                  <a:pt x="13" y="53"/>
                </a:lnTo>
                <a:lnTo>
                  <a:pt x="6" y="47"/>
                </a:lnTo>
                <a:lnTo>
                  <a:pt x="4" y="38"/>
                </a:lnTo>
                <a:lnTo>
                  <a:pt x="6" y="36"/>
                </a:lnTo>
                <a:lnTo>
                  <a:pt x="8" y="30"/>
                </a:lnTo>
                <a:lnTo>
                  <a:pt x="4" y="23"/>
                </a:lnTo>
                <a:lnTo>
                  <a:pt x="2" y="15"/>
                </a:lnTo>
                <a:lnTo>
                  <a:pt x="15" y="15"/>
                </a:lnTo>
                <a:lnTo>
                  <a:pt x="98" y="13"/>
                </a:lnTo>
                <a:lnTo>
                  <a:pt x="238" y="11"/>
                </a:lnTo>
                <a:lnTo>
                  <a:pt x="355" y="4"/>
                </a:lnTo>
                <a:lnTo>
                  <a:pt x="438" y="0"/>
                </a:lnTo>
                <a:lnTo>
                  <a:pt x="438" y="6"/>
                </a:lnTo>
                <a:lnTo>
                  <a:pt x="441" y="8"/>
                </a:lnTo>
                <a:lnTo>
                  <a:pt x="443" y="17"/>
                </a:lnTo>
                <a:lnTo>
                  <a:pt x="449" y="19"/>
                </a:lnTo>
                <a:lnTo>
                  <a:pt x="453" y="25"/>
                </a:lnTo>
                <a:lnTo>
                  <a:pt x="445" y="40"/>
                </a:lnTo>
                <a:lnTo>
                  <a:pt x="449" y="51"/>
                </a:lnTo>
                <a:lnTo>
                  <a:pt x="449" y="64"/>
                </a:lnTo>
                <a:lnTo>
                  <a:pt x="453" y="70"/>
                </a:lnTo>
                <a:lnTo>
                  <a:pt x="455" y="79"/>
                </a:lnTo>
                <a:lnTo>
                  <a:pt x="460" y="87"/>
                </a:lnTo>
                <a:lnTo>
                  <a:pt x="466" y="89"/>
                </a:lnTo>
                <a:lnTo>
                  <a:pt x="487" y="94"/>
                </a:lnTo>
                <a:lnTo>
                  <a:pt x="494" y="109"/>
                </a:lnTo>
                <a:lnTo>
                  <a:pt x="494" y="111"/>
                </a:lnTo>
                <a:lnTo>
                  <a:pt x="498" y="117"/>
                </a:lnTo>
                <a:lnTo>
                  <a:pt x="513" y="128"/>
                </a:lnTo>
                <a:lnTo>
                  <a:pt x="515" y="136"/>
                </a:lnTo>
                <a:lnTo>
                  <a:pt x="521" y="143"/>
                </a:lnTo>
                <a:lnTo>
                  <a:pt x="530" y="147"/>
                </a:lnTo>
                <a:lnTo>
                  <a:pt x="536" y="153"/>
                </a:lnTo>
                <a:lnTo>
                  <a:pt x="538" y="160"/>
                </a:lnTo>
                <a:lnTo>
                  <a:pt x="536" y="183"/>
                </a:lnTo>
                <a:lnTo>
                  <a:pt x="526" y="196"/>
                </a:lnTo>
                <a:lnTo>
                  <a:pt x="526" y="211"/>
                </a:lnTo>
                <a:lnTo>
                  <a:pt x="517" y="217"/>
                </a:lnTo>
                <a:lnTo>
                  <a:pt x="504" y="224"/>
                </a:lnTo>
                <a:lnTo>
                  <a:pt x="496" y="228"/>
                </a:lnTo>
                <a:lnTo>
                  <a:pt x="470" y="234"/>
                </a:lnTo>
                <a:lnTo>
                  <a:pt x="466" y="243"/>
                </a:lnTo>
                <a:lnTo>
                  <a:pt x="464" y="255"/>
                </a:lnTo>
                <a:lnTo>
                  <a:pt x="479" y="270"/>
                </a:lnTo>
                <a:lnTo>
                  <a:pt x="479" y="285"/>
                </a:lnTo>
                <a:lnTo>
                  <a:pt x="468" y="300"/>
                </a:lnTo>
                <a:lnTo>
                  <a:pt x="468" y="304"/>
                </a:lnTo>
                <a:lnTo>
                  <a:pt x="468" y="311"/>
                </a:lnTo>
                <a:lnTo>
                  <a:pt x="466" y="319"/>
                </a:lnTo>
                <a:lnTo>
                  <a:pt x="449" y="328"/>
                </a:lnTo>
                <a:lnTo>
                  <a:pt x="443" y="334"/>
                </a:lnTo>
                <a:lnTo>
                  <a:pt x="447" y="341"/>
                </a:lnTo>
                <a:lnTo>
                  <a:pt x="447" y="349"/>
                </a:lnTo>
                <a:lnTo>
                  <a:pt x="443" y="353"/>
                </a:lnTo>
                <a:lnTo>
                  <a:pt x="438" y="353"/>
                </a:lnTo>
                <a:lnTo>
                  <a:pt x="432" y="345"/>
                </a:lnTo>
                <a:lnTo>
                  <a:pt x="419" y="334"/>
                </a:lnTo>
                <a:lnTo>
                  <a:pt x="415" y="328"/>
                </a:lnTo>
                <a:lnTo>
                  <a:pt x="360" y="334"/>
                </a:lnTo>
                <a:lnTo>
                  <a:pt x="228" y="341"/>
                </a:lnTo>
                <a:lnTo>
                  <a:pt x="168" y="343"/>
                </a:lnTo>
                <a:lnTo>
                  <a:pt x="74" y="341"/>
                </a:lnTo>
                <a:lnTo>
                  <a:pt x="72" y="334"/>
                </a:lnTo>
                <a:lnTo>
                  <a:pt x="66" y="330"/>
                </a:lnTo>
                <a:lnTo>
                  <a:pt x="68" y="309"/>
                </a:lnTo>
                <a:lnTo>
                  <a:pt x="66" y="294"/>
                </a:lnTo>
                <a:lnTo>
                  <a:pt x="66" y="283"/>
                </a:lnTo>
                <a:lnTo>
                  <a:pt x="66" y="277"/>
                </a:lnTo>
                <a:lnTo>
                  <a:pt x="62" y="270"/>
                </a:lnTo>
                <a:lnTo>
                  <a:pt x="64" y="260"/>
                </a:lnTo>
                <a:lnTo>
                  <a:pt x="59" y="253"/>
                </a:lnTo>
                <a:lnTo>
                  <a:pt x="59" y="245"/>
                </a:lnTo>
                <a:lnTo>
                  <a:pt x="53" y="243"/>
                </a:lnTo>
                <a:lnTo>
                  <a:pt x="53" y="234"/>
                </a:lnTo>
                <a:lnTo>
                  <a:pt x="47" y="234"/>
                </a:lnTo>
                <a:lnTo>
                  <a:pt x="47" y="232"/>
                </a:lnTo>
                <a:lnTo>
                  <a:pt x="44" y="226"/>
                </a:lnTo>
                <a:lnTo>
                  <a:pt x="44" y="217"/>
                </a:lnTo>
                <a:lnTo>
                  <a:pt x="47" y="211"/>
                </a:lnTo>
                <a:lnTo>
                  <a:pt x="44" y="204"/>
                </a:lnTo>
                <a:lnTo>
                  <a:pt x="40" y="196"/>
                </a:lnTo>
                <a:lnTo>
                  <a:pt x="40" y="189"/>
                </a:lnTo>
                <a:lnTo>
                  <a:pt x="32" y="177"/>
                </a:lnTo>
                <a:lnTo>
                  <a:pt x="30" y="170"/>
                </a:lnTo>
                <a:lnTo>
                  <a:pt x="23" y="162"/>
                </a:lnTo>
                <a:lnTo>
                  <a:pt x="25" y="155"/>
                </a:lnTo>
                <a:lnTo>
                  <a:pt x="23" y="149"/>
                </a:lnTo>
                <a:lnTo>
                  <a:pt x="19" y="140"/>
                </a:lnTo>
                <a:lnTo>
                  <a:pt x="19" y="136"/>
                </a:lnTo>
                <a:lnTo>
                  <a:pt x="19" y="128"/>
                </a:lnTo>
                <a:lnTo>
                  <a:pt x="13" y="12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6" name="Freeform 712"/>
          <p:cNvSpPr>
            <a:spLocks/>
          </p:cNvSpPr>
          <p:nvPr/>
        </p:nvSpPr>
        <p:spPr bwMode="auto">
          <a:xfrm>
            <a:off x="4414837" y="3254375"/>
            <a:ext cx="947738" cy="820738"/>
          </a:xfrm>
          <a:custGeom>
            <a:avLst/>
            <a:gdLst>
              <a:gd name="T0" fmla="*/ 94 w 597"/>
              <a:gd name="T1" fmla="*/ 15 h 517"/>
              <a:gd name="T2" fmla="*/ 286 w 597"/>
              <a:gd name="T3" fmla="*/ 6 h 517"/>
              <a:gd name="T4" fmla="*/ 345 w 597"/>
              <a:gd name="T5" fmla="*/ 6 h 517"/>
              <a:gd name="T6" fmla="*/ 364 w 597"/>
              <a:gd name="T7" fmla="*/ 25 h 517"/>
              <a:gd name="T8" fmla="*/ 364 w 597"/>
              <a:gd name="T9" fmla="*/ 34 h 517"/>
              <a:gd name="T10" fmla="*/ 362 w 597"/>
              <a:gd name="T11" fmla="*/ 55 h 517"/>
              <a:gd name="T12" fmla="*/ 369 w 597"/>
              <a:gd name="T13" fmla="*/ 72 h 517"/>
              <a:gd name="T14" fmla="*/ 377 w 597"/>
              <a:gd name="T15" fmla="*/ 94 h 517"/>
              <a:gd name="T16" fmla="*/ 388 w 597"/>
              <a:gd name="T17" fmla="*/ 109 h 517"/>
              <a:gd name="T18" fmla="*/ 403 w 597"/>
              <a:gd name="T19" fmla="*/ 121 h 517"/>
              <a:gd name="T20" fmla="*/ 424 w 597"/>
              <a:gd name="T21" fmla="*/ 138 h 517"/>
              <a:gd name="T22" fmla="*/ 435 w 597"/>
              <a:gd name="T23" fmla="*/ 151 h 517"/>
              <a:gd name="T24" fmla="*/ 447 w 597"/>
              <a:gd name="T25" fmla="*/ 189 h 517"/>
              <a:gd name="T26" fmla="*/ 460 w 597"/>
              <a:gd name="T27" fmla="*/ 181 h 517"/>
              <a:gd name="T28" fmla="*/ 471 w 597"/>
              <a:gd name="T29" fmla="*/ 183 h 517"/>
              <a:gd name="T30" fmla="*/ 492 w 597"/>
              <a:gd name="T31" fmla="*/ 194 h 517"/>
              <a:gd name="T32" fmla="*/ 488 w 597"/>
              <a:gd name="T33" fmla="*/ 204 h 517"/>
              <a:gd name="T34" fmla="*/ 482 w 597"/>
              <a:gd name="T35" fmla="*/ 228 h 517"/>
              <a:gd name="T36" fmla="*/ 475 w 597"/>
              <a:gd name="T37" fmla="*/ 247 h 517"/>
              <a:gd name="T38" fmla="*/ 475 w 597"/>
              <a:gd name="T39" fmla="*/ 262 h 517"/>
              <a:gd name="T40" fmla="*/ 509 w 597"/>
              <a:gd name="T41" fmla="*/ 292 h 517"/>
              <a:gd name="T42" fmla="*/ 516 w 597"/>
              <a:gd name="T43" fmla="*/ 300 h 517"/>
              <a:gd name="T44" fmla="*/ 535 w 597"/>
              <a:gd name="T45" fmla="*/ 304 h 517"/>
              <a:gd name="T46" fmla="*/ 548 w 597"/>
              <a:gd name="T47" fmla="*/ 317 h 517"/>
              <a:gd name="T48" fmla="*/ 556 w 597"/>
              <a:gd name="T49" fmla="*/ 336 h 517"/>
              <a:gd name="T50" fmla="*/ 562 w 597"/>
              <a:gd name="T51" fmla="*/ 358 h 517"/>
              <a:gd name="T52" fmla="*/ 567 w 597"/>
              <a:gd name="T53" fmla="*/ 379 h 517"/>
              <a:gd name="T54" fmla="*/ 586 w 597"/>
              <a:gd name="T55" fmla="*/ 392 h 517"/>
              <a:gd name="T56" fmla="*/ 597 w 597"/>
              <a:gd name="T57" fmla="*/ 402 h 517"/>
              <a:gd name="T58" fmla="*/ 597 w 597"/>
              <a:gd name="T59" fmla="*/ 422 h 517"/>
              <a:gd name="T60" fmla="*/ 594 w 597"/>
              <a:gd name="T61" fmla="*/ 432 h 517"/>
              <a:gd name="T62" fmla="*/ 584 w 597"/>
              <a:gd name="T63" fmla="*/ 441 h 517"/>
              <a:gd name="T64" fmla="*/ 573 w 597"/>
              <a:gd name="T65" fmla="*/ 454 h 517"/>
              <a:gd name="T66" fmla="*/ 567 w 597"/>
              <a:gd name="T67" fmla="*/ 454 h 517"/>
              <a:gd name="T68" fmla="*/ 560 w 597"/>
              <a:gd name="T69" fmla="*/ 454 h 517"/>
              <a:gd name="T70" fmla="*/ 565 w 597"/>
              <a:gd name="T71" fmla="*/ 468 h 517"/>
              <a:gd name="T72" fmla="*/ 562 w 597"/>
              <a:gd name="T73" fmla="*/ 479 h 517"/>
              <a:gd name="T74" fmla="*/ 560 w 597"/>
              <a:gd name="T75" fmla="*/ 492 h 517"/>
              <a:gd name="T76" fmla="*/ 550 w 597"/>
              <a:gd name="T77" fmla="*/ 511 h 517"/>
              <a:gd name="T78" fmla="*/ 494 w 597"/>
              <a:gd name="T79" fmla="*/ 509 h 517"/>
              <a:gd name="T80" fmla="*/ 503 w 597"/>
              <a:gd name="T81" fmla="*/ 494 h 517"/>
              <a:gd name="T82" fmla="*/ 518 w 597"/>
              <a:gd name="T83" fmla="*/ 483 h 517"/>
              <a:gd name="T84" fmla="*/ 516 w 597"/>
              <a:gd name="T85" fmla="*/ 468 h 517"/>
              <a:gd name="T86" fmla="*/ 503 w 597"/>
              <a:gd name="T87" fmla="*/ 458 h 517"/>
              <a:gd name="T88" fmla="*/ 198 w 597"/>
              <a:gd name="T89" fmla="*/ 475 h 517"/>
              <a:gd name="T90" fmla="*/ 107 w 597"/>
              <a:gd name="T91" fmla="*/ 422 h 517"/>
              <a:gd name="T92" fmla="*/ 94 w 597"/>
              <a:gd name="T93" fmla="*/ 175 h 517"/>
              <a:gd name="T94" fmla="*/ 77 w 597"/>
              <a:gd name="T95" fmla="*/ 157 h 517"/>
              <a:gd name="T96" fmla="*/ 68 w 597"/>
              <a:gd name="T97" fmla="*/ 145 h 517"/>
              <a:gd name="T98" fmla="*/ 58 w 597"/>
              <a:gd name="T99" fmla="*/ 130 h 517"/>
              <a:gd name="T100" fmla="*/ 71 w 597"/>
              <a:gd name="T101" fmla="*/ 111 h 517"/>
              <a:gd name="T102" fmla="*/ 79 w 597"/>
              <a:gd name="T103" fmla="*/ 109 h 517"/>
              <a:gd name="T104" fmla="*/ 73 w 597"/>
              <a:gd name="T105" fmla="*/ 94 h 517"/>
              <a:gd name="T106" fmla="*/ 60 w 597"/>
              <a:gd name="T107" fmla="*/ 96 h 517"/>
              <a:gd name="T108" fmla="*/ 30 w 597"/>
              <a:gd name="T109" fmla="*/ 74 h 517"/>
              <a:gd name="T110" fmla="*/ 26 w 597"/>
              <a:gd name="T111" fmla="*/ 62 h 517"/>
              <a:gd name="T112" fmla="*/ 17 w 597"/>
              <a:gd name="T113" fmla="*/ 49 h 517"/>
              <a:gd name="T114" fmla="*/ 7 w 597"/>
              <a:gd name="T115" fmla="*/ 28 h 517"/>
              <a:gd name="T116" fmla="*/ 0 w 597"/>
              <a:gd name="T117" fmla="*/ 13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7" h="517">
                <a:moveTo>
                  <a:pt x="0" y="13"/>
                </a:moveTo>
                <a:lnTo>
                  <a:pt x="94" y="15"/>
                </a:lnTo>
                <a:lnTo>
                  <a:pt x="154" y="13"/>
                </a:lnTo>
                <a:lnTo>
                  <a:pt x="286" y="6"/>
                </a:lnTo>
                <a:lnTo>
                  <a:pt x="341" y="0"/>
                </a:lnTo>
                <a:lnTo>
                  <a:pt x="345" y="6"/>
                </a:lnTo>
                <a:lnTo>
                  <a:pt x="358" y="17"/>
                </a:lnTo>
                <a:lnTo>
                  <a:pt x="364" y="25"/>
                </a:lnTo>
                <a:lnTo>
                  <a:pt x="369" y="25"/>
                </a:lnTo>
                <a:lnTo>
                  <a:pt x="364" y="34"/>
                </a:lnTo>
                <a:lnTo>
                  <a:pt x="362" y="40"/>
                </a:lnTo>
                <a:lnTo>
                  <a:pt x="362" y="55"/>
                </a:lnTo>
                <a:lnTo>
                  <a:pt x="367" y="68"/>
                </a:lnTo>
                <a:lnTo>
                  <a:pt x="369" y="72"/>
                </a:lnTo>
                <a:lnTo>
                  <a:pt x="373" y="87"/>
                </a:lnTo>
                <a:lnTo>
                  <a:pt x="377" y="94"/>
                </a:lnTo>
                <a:lnTo>
                  <a:pt x="379" y="102"/>
                </a:lnTo>
                <a:lnTo>
                  <a:pt x="388" y="109"/>
                </a:lnTo>
                <a:lnTo>
                  <a:pt x="396" y="117"/>
                </a:lnTo>
                <a:lnTo>
                  <a:pt x="403" y="121"/>
                </a:lnTo>
                <a:lnTo>
                  <a:pt x="407" y="128"/>
                </a:lnTo>
                <a:lnTo>
                  <a:pt x="424" y="138"/>
                </a:lnTo>
                <a:lnTo>
                  <a:pt x="430" y="145"/>
                </a:lnTo>
                <a:lnTo>
                  <a:pt x="435" y="151"/>
                </a:lnTo>
                <a:lnTo>
                  <a:pt x="443" y="183"/>
                </a:lnTo>
                <a:lnTo>
                  <a:pt x="447" y="189"/>
                </a:lnTo>
                <a:lnTo>
                  <a:pt x="456" y="187"/>
                </a:lnTo>
                <a:lnTo>
                  <a:pt x="460" y="181"/>
                </a:lnTo>
                <a:lnTo>
                  <a:pt x="464" y="181"/>
                </a:lnTo>
                <a:lnTo>
                  <a:pt x="471" y="183"/>
                </a:lnTo>
                <a:lnTo>
                  <a:pt x="477" y="185"/>
                </a:lnTo>
                <a:lnTo>
                  <a:pt x="492" y="194"/>
                </a:lnTo>
                <a:lnTo>
                  <a:pt x="492" y="196"/>
                </a:lnTo>
                <a:lnTo>
                  <a:pt x="488" y="204"/>
                </a:lnTo>
                <a:lnTo>
                  <a:pt x="488" y="217"/>
                </a:lnTo>
                <a:lnTo>
                  <a:pt x="482" y="228"/>
                </a:lnTo>
                <a:lnTo>
                  <a:pt x="479" y="241"/>
                </a:lnTo>
                <a:lnTo>
                  <a:pt x="475" y="247"/>
                </a:lnTo>
                <a:lnTo>
                  <a:pt x="473" y="255"/>
                </a:lnTo>
                <a:lnTo>
                  <a:pt x="475" y="262"/>
                </a:lnTo>
                <a:lnTo>
                  <a:pt x="488" y="277"/>
                </a:lnTo>
                <a:lnTo>
                  <a:pt x="509" y="292"/>
                </a:lnTo>
                <a:lnTo>
                  <a:pt x="513" y="292"/>
                </a:lnTo>
                <a:lnTo>
                  <a:pt x="516" y="300"/>
                </a:lnTo>
                <a:lnTo>
                  <a:pt x="524" y="298"/>
                </a:lnTo>
                <a:lnTo>
                  <a:pt x="535" y="304"/>
                </a:lnTo>
                <a:lnTo>
                  <a:pt x="539" y="313"/>
                </a:lnTo>
                <a:lnTo>
                  <a:pt x="548" y="317"/>
                </a:lnTo>
                <a:lnTo>
                  <a:pt x="554" y="319"/>
                </a:lnTo>
                <a:lnTo>
                  <a:pt x="556" y="336"/>
                </a:lnTo>
                <a:lnTo>
                  <a:pt x="565" y="349"/>
                </a:lnTo>
                <a:lnTo>
                  <a:pt x="562" y="358"/>
                </a:lnTo>
                <a:lnTo>
                  <a:pt x="558" y="364"/>
                </a:lnTo>
                <a:lnTo>
                  <a:pt x="567" y="379"/>
                </a:lnTo>
                <a:lnTo>
                  <a:pt x="577" y="394"/>
                </a:lnTo>
                <a:lnTo>
                  <a:pt x="586" y="392"/>
                </a:lnTo>
                <a:lnTo>
                  <a:pt x="594" y="396"/>
                </a:lnTo>
                <a:lnTo>
                  <a:pt x="597" y="402"/>
                </a:lnTo>
                <a:lnTo>
                  <a:pt x="594" y="411"/>
                </a:lnTo>
                <a:lnTo>
                  <a:pt x="597" y="422"/>
                </a:lnTo>
                <a:lnTo>
                  <a:pt x="590" y="426"/>
                </a:lnTo>
                <a:lnTo>
                  <a:pt x="594" y="432"/>
                </a:lnTo>
                <a:lnTo>
                  <a:pt x="590" y="443"/>
                </a:lnTo>
                <a:lnTo>
                  <a:pt x="584" y="441"/>
                </a:lnTo>
                <a:lnTo>
                  <a:pt x="575" y="445"/>
                </a:lnTo>
                <a:lnTo>
                  <a:pt x="573" y="454"/>
                </a:lnTo>
                <a:lnTo>
                  <a:pt x="567" y="458"/>
                </a:lnTo>
                <a:lnTo>
                  <a:pt x="567" y="454"/>
                </a:lnTo>
                <a:lnTo>
                  <a:pt x="565" y="447"/>
                </a:lnTo>
                <a:lnTo>
                  <a:pt x="560" y="454"/>
                </a:lnTo>
                <a:lnTo>
                  <a:pt x="562" y="462"/>
                </a:lnTo>
                <a:lnTo>
                  <a:pt x="565" y="468"/>
                </a:lnTo>
                <a:lnTo>
                  <a:pt x="558" y="471"/>
                </a:lnTo>
                <a:lnTo>
                  <a:pt x="562" y="479"/>
                </a:lnTo>
                <a:lnTo>
                  <a:pt x="552" y="485"/>
                </a:lnTo>
                <a:lnTo>
                  <a:pt x="560" y="492"/>
                </a:lnTo>
                <a:lnTo>
                  <a:pt x="556" y="500"/>
                </a:lnTo>
                <a:lnTo>
                  <a:pt x="550" y="511"/>
                </a:lnTo>
                <a:lnTo>
                  <a:pt x="499" y="517"/>
                </a:lnTo>
                <a:lnTo>
                  <a:pt x="494" y="509"/>
                </a:lnTo>
                <a:lnTo>
                  <a:pt x="499" y="503"/>
                </a:lnTo>
                <a:lnTo>
                  <a:pt x="503" y="494"/>
                </a:lnTo>
                <a:lnTo>
                  <a:pt x="511" y="490"/>
                </a:lnTo>
                <a:lnTo>
                  <a:pt x="518" y="483"/>
                </a:lnTo>
                <a:lnTo>
                  <a:pt x="518" y="477"/>
                </a:lnTo>
                <a:lnTo>
                  <a:pt x="516" y="468"/>
                </a:lnTo>
                <a:lnTo>
                  <a:pt x="509" y="462"/>
                </a:lnTo>
                <a:lnTo>
                  <a:pt x="503" y="458"/>
                </a:lnTo>
                <a:lnTo>
                  <a:pt x="341" y="468"/>
                </a:lnTo>
                <a:lnTo>
                  <a:pt x="198" y="475"/>
                </a:lnTo>
                <a:lnTo>
                  <a:pt x="109" y="477"/>
                </a:lnTo>
                <a:lnTo>
                  <a:pt x="107" y="422"/>
                </a:lnTo>
                <a:lnTo>
                  <a:pt x="103" y="181"/>
                </a:lnTo>
                <a:lnTo>
                  <a:pt x="94" y="175"/>
                </a:lnTo>
                <a:lnTo>
                  <a:pt x="88" y="172"/>
                </a:lnTo>
                <a:lnTo>
                  <a:pt x="77" y="157"/>
                </a:lnTo>
                <a:lnTo>
                  <a:pt x="77" y="151"/>
                </a:lnTo>
                <a:lnTo>
                  <a:pt x="68" y="145"/>
                </a:lnTo>
                <a:lnTo>
                  <a:pt x="62" y="136"/>
                </a:lnTo>
                <a:lnTo>
                  <a:pt x="58" y="130"/>
                </a:lnTo>
                <a:lnTo>
                  <a:pt x="66" y="117"/>
                </a:lnTo>
                <a:lnTo>
                  <a:pt x="71" y="111"/>
                </a:lnTo>
                <a:lnTo>
                  <a:pt x="77" y="111"/>
                </a:lnTo>
                <a:lnTo>
                  <a:pt x="79" y="109"/>
                </a:lnTo>
                <a:lnTo>
                  <a:pt x="77" y="102"/>
                </a:lnTo>
                <a:lnTo>
                  <a:pt x="73" y="94"/>
                </a:lnTo>
                <a:lnTo>
                  <a:pt x="66" y="91"/>
                </a:lnTo>
                <a:lnTo>
                  <a:pt x="60" y="96"/>
                </a:lnTo>
                <a:lnTo>
                  <a:pt x="39" y="81"/>
                </a:lnTo>
                <a:lnTo>
                  <a:pt x="30" y="74"/>
                </a:lnTo>
                <a:lnTo>
                  <a:pt x="32" y="68"/>
                </a:lnTo>
                <a:lnTo>
                  <a:pt x="26" y="62"/>
                </a:lnTo>
                <a:lnTo>
                  <a:pt x="24" y="53"/>
                </a:lnTo>
                <a:lnTo>
                  <a:pt x="17" y="49"/>
                </a:lnTo>
                <a:lnTo>
                  <a:pt x="11" y="42"/>
                </a:lnTo>
                <a:lnTo>
                  <a:pt x="7" y="28"/>
                </a:lnTo>
                <a:lnTo>
                  <a:pt x="0" y="21"/>
                </a:lnTo>
                <a:lnTo>
                  <a:pt x="0" y="13"/>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307" name="Freeform 713"/>
          <p:cNvSpPr>
            <a:spLocks/>
          </p:cNvSpPr>
          <p:nvPr/>
        </p:nvSpPr>
        <p:spPr bwMode="auto">
          <a:xfrm>
            <a:off x="4414837" y="3254375"/>
            <a:ext cx="947738" cy="820738"/>
          </a:xfrm>
          <a:custGeom>
            <a:avLst/>
            <a:gdLst>
              <a:gd name="T0" fmla="*/ 94 w 597"/>
              <a:gd name="T1" fmla="*/ 15 h 517"/>
              <a:gd name="T2" fmla="*/ 286 w 597"/>
              <a:gd name="T3" fmla="*/ 6 h 517"/>
              <a:gd name="T4" fmla="*/ 345 w 597"/>
              <a:gd name="T5" fmla="*/ 6 h 517"/>
              <a:gd name="T6" fmla="*/ 364 w 597"/>
              <a:gd name="T7" fmla="*/ 25 h 517"/>
              <a:gd name="T8" fmla="*/ 364 w 597"/>
              <a:gd name="T9" fmla="*/ 34 h 517"/>
              <a:gd name="T10" fmla="*/ 362 w 597"/>
              <a:gd name="T11" fmla="*/ 55 h 517"/>
              <a:gd name="T12" fmla="*/ 369 w 597"/>
              <a:gd name="T13" fmla="*/ 72 h 517"/>
              <a:gd name="T14" fmla="*/ 377 w 597"/>
              <a:gd name="T15" fmla="*/ 94 h 517"/>
              <a:gd name="T16" fmla="*/ 388 w 597"/>
              <a:gd name="T17" fmla="*/ 109 h 517"/>
              <a:gd name="T18" fmla="*/ 403 w 597"/>
              <a:gd name="T19" fmla="*/ 121 h 517"/>
              <a:gd name="T20" fmla="*/ 424 w 597"/>
              <a:gd name="T21" fmla="*/ 138 h 517"/>
              <a:gd name="T22" fmla="*/ 435 w 597"/>
              <a:gd name="T23" fmla="*/ 151 h 517"/>
              <a:gd name="T24" fmla="*/ 447 w 597"/>
              <a:gd name="T25" fmla="*/ 189 h 517"/>
              <a:gd name="T26" fmla="*/ 460 w 597"/>
              <a:gd name="T27" fmla="*/ 181 h 517"/>
              <a:gd name="T28" fmla="*/ 471 w 597"/>
              <a:gd name="T29" fmla="*/ 183 h 517"/>
              <a:gd name="T30" fmla="*/ 492 w 597"/>
              <a:gd name="T31" fmla="*/ 194 h 517"/>
              <a:gd name="T32" fmla="*/ 488 w 597"/>
              <a:gd name="T33" fmla="*/ 204 h 517"/>
              <a:gd name="T34" fmla="*/ 482 w 597"/>
              <a:gd name="T35" fmla="*/ 228 h 517"/>
              <a:gd name="T36" fmla="*/ 475 w 597"/>
              <a:gd name="T37" fmla="*/ 247 h 517"/>
              <a:gd name="T38" fmla="*/ 475 w 597"/>
              <a:gd name="T39" fmla="*/ 262 h 517"/>
              <a:gd name="T40" fmla="*/ 509 w 597"/>
              <a:gd name="T41" fmla="*/ 292 h 517"/>
              <a:gd name="T42" fmla="*/ 516 w 597"/>
              <a:gd name="T43" fmla="*/ 300 h 517"/>
              <a:gd name="T44" fmla="*/ 535 w 597"/>
              <a:gd name="T45" fmla="*/ 304 h 517"/>
              <a:gd name="T46" fmla="*/ 548 w 597"/>
              <a:gd name="T47" fmla="*/ 317 h 517"/>
              <a:gd name="T48" fmla="*/ 556 w 597"/>
              <a:gd name="T49" fmla="*/ 336 h 517"/>
              <a:gd name="T50" fmla="*/ 562 w 597"/>
              <a:gd name="T51" fmla="*/ 358 h 517"/>
              <a:gd name="T52" fmla="*/ 567 w 597"/>
              <a:gd name="T53" fmla="*/ 379 h 517"/>
              <a:gd name="T54" fmla="*/ 586 w 597"/>
              <a:gd name="T55" fmla="*/ 392 h 517"/>
              <a:gd name="T56" fmla="*/ 597 w 597"/>
              <a:gd name="T57" fmla="*/ 402 h 517"/>
              <a:gd name="T58" fmla="*/ 597 w 597"/>
              <a:gd name="T59" fmla="*/ 422 h 517"/>
              <a:gd name="T60" fmla="*/ 594 w 597"/>
              <a:gd name="T61" fmla="*/ 432 h 517"/>
              <a:gd name="T62" fmla="*/ 584 w 597"/>
              <a:gd name="T63" fmla="*/ 441 h 517"/>
              <a:gd name="T64" fmla="*/ 573 w 597"/>
              <a:gd name="T65" fmla="*/ 454 h 517"/>
              <a:gd name="T66" fmla="*/ 567 w 597"/>
              <a:gd name="T67" fmla="*/ 454 h 517"/>
              <a:gd name="T68" fmla="*/ 560 w 597"/>
              <a:gd name="T69" fmla="*/ 454 h 517"/>
              <a:gd name="T70" fmla="*/ 565 w 597"/>
              <a:gd name="T71" fmla="*/ 468 h 517"/>
              <a:gd name="T72" fmla="*/ 562 w 597"/>
              <a:gd name="T73" fmla="*/ 479 h 517"/>
              <a:gd name="T74" fmla="*/ 560 w 597"/>
              <a:gd name="T75" fmla="*/ 492 h 517"/>
              <a:gd name="T76" fmla="*/ 550 w 597"/>
              <a:gd name="T77" fmla="*/ 511 h 517"/>
              <a:gd name="T78" fmla="*/ 494 w 597"/>
              <a:gd name="T79" fmla="*/ 509 h 517"/>
              <a:gd name="T80" fmla="*/ 503 w 597"/>
              <a:gd name="T81" fmla="*/ 494 h 517"/>
              <a:gd name="T82" fmla="*/ 518 w 597"/>
              <a:gd name="T83" fmla="*/ 483 h 517"/>
              <a:gd name="T84" fmla="*/ 516 w 597"/>
              <a:gd name="T85" fmla="*/ 468 h 517"/>
              <a:gd name="T86" fmla="*/ 503 w 597"/>
              <a:gd name="T87" fmla="*/ 458 h 517"/>
              <a:gd name="T88" fmla="*/ 198 w 597"/>
              <a:gd name="T89" fmla="*/ 475 h 517"/>
              <a:gd name="T90" fmla="*/ 107 w 597"/>
              <a:gd name="T91" fmla="*/ 422 h 517"/>
              <a:gd name="T92" fmla="*/ 94 w 597"/>
              <a:gd name="T93" fmla="*/ 175 h 517"/>
              <a:gd name="T94" fmla="*/ 77 w 597"/>
              <a:gd name="T95" fmla="*/ 157 h 517"/>
              <a:gd name="T96" fmla="*/ 68 w 597"/>
              <a:gd name="T97" fmla="*/ 145 h 517"/>
              <a:gd name="T98" fmla="*/ 58 w 597"/>
              <a:gd name="T99" fmla="*/ 130 h 517"/>
              <a:gd name="T100" fmla="*/ 71 w 597"/>
              <a:gd name="T101" fmla="*/ 111 h 517"/>
              <a:gd name="T102" fmla="*/ 79 w 597"/>
              <a:gd name="T103" fmla="*/ 109 h 517"/>
              <a:gd name="T104" fmla="*/ 73 w 597"/>
              <a:gd name="T105" fmla="*/ 94 h 517"/>
              <a:gd name="T106" fmla="*/ 60 w 597"/>
              <a:gd name="T107" fmla="*/ 96 h 517"/>
              <a:gd name="T108" fmla="*/ 30 w 597"/>
              <a:gd name="T109" fmla="*/ 74 h 517"/>
              <a:gd name="T110" fmla="*/ 26 w 597"/>
              <a:gd name="T111" fmla="*/ 62 h 517"/>
              <a:gd name="T112" fmla="*/ 17 w 597"/>
              <a:gd name="T113" fmla="*/ 49 h 517"/>
              <a:gd name="T114" fmla="*/ 7 w 597"/>
              <a:gd name="T115" fmla="*/ 28 h 517"/>
              <a:gd name="T116" fmla="*/ 0 w 597"/>
              <a:gd name="T117" fmla="*/ 13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7" h="517">
                <a:moveTo>
                  <a:pt x="0" y="13"/>
                </a:moveTo>
                <a:lnTo>
                  <a:pt x="94" y="15"/>
                </a:lnTo>
                <a:lnTo>
                  <a:pt x="154" y="13"/>
                </a:lnTo>
                <a:lnTo>
                  <a:pt x="286" y="6"/>
                </a:lnTo>
                <a:lnTo>
                  <a:pt x="341" y="0"/>
                </a:lnTo>
                <a:lnTo>
                  <a:pt x="345" y="6"/>
                </a:lnTo>
                <a:lnTo>
                  <a:pt x="358" y="17"/>
                </a:lnTo>
                <a:lnTo>
                  <a:pt x="364" y="25"/>
                </a:lnTo>
                <a:lnTo>
                  <a:pt x="369" y="25"/>
                </a:lnTo>
                <a:lnTo>
                  <a:pt x="364" y="34"/>
                </a:lnTo>
                <a:lnTo>
                  <a:pt x="362" y="40"/>
                </a:lnTo>
                <a:lnTo>
                  <a:pt x="362" y="55"/>
                </a:lnTo>
                <a:lnTo>
                  <a:pt x="367" y="68"/>
                </a:lnTo>
                <a:lnTo>
                  <a:pt x="369" y="72"/>
                </a:lnTo>
                <a:lnTo>
                  <a:pt x="373" y="87"/>
                </a:lnTo>
                <a:lnTo>
                  <a:pt x="377" y="94"/>
                </a:lnTo>
                <a:lnTo>
                  <a:pt x="379" y="102"/>
                </a:lnTo>
                <a:lnTo>
                  <a:pt x="388" y="109"/>
                </a:lnTo>
                <a:lnTo>
                  <a:pt x="396" y="117"/>
                </a:lnTo>
                <a:lnTo>
                  <a:pt x="403" y="121"/>
                </a:lnTo>
                <a:lnTo>
                  <a:pt x="407" y="128"/>
                </a:lnTo>
                <a:lnTo>
                  <a:pt x="424" y="138"/>
                </a:lnTo>
                <a:lnTo>
                  <a:pt x="430" y="145"/>
                </a:lnTo>
                <a:lnTo>
                  <a:pt x="435" y="151"/>
                </a:lnTo>
                <a:lnTo>
                  <a:pt x="443" y="183"/>
                </a:lnTo>
                <a:lnTo>
                  <a:pt x="447" y="189"/>
                </a:lnTo>
                <a:lnTo>
                  <a:pt x="456" y="187"/>
                </a:lnTo>
                <a:lnTo>
                  <a:pt x="460" y="181"/>
                </a:lnTo>
                <a:lnTo>
                  <a:pt x="464" y="181"/>
                </a:lnTo>
                <a:lnTo>
                  <a:pt x="471" y="183"/>
                </a:lnTo>
                <a:lnTo>
                  <a:pt x="477" y="185"/>
                </a:lnTo>
                <a:lnTo>
                  <a:pt x="492" y="194"/>
                </a:lnTo>
                <a:lnTo>
                  <a:pt x="492" y="196"/>
                </a:lnTo>
                <a:lnTo>
                  <a:pt x="488" y="204"/>
                </a:lnTo>
                <a:lnTo>
                  <a:pt x="488" y="217"/>
                </a:lnTo>
                <a:lnTo>
                  <a:pt x="482" y="228"/>
                </a:lnTo>
                <a:lnTo>
                  <a:pt x="479" y="241"/>
                </a:lnTo>
                <a:lnTo>
                  <a:pt x="475" y="247"/>
                </a:lnTo>
                <a:lnTo>
                  <a:pt x="473" y="255"/>
                </a:lnTo>
                <a:lnTo>
                  <a:pt x="475" y="262"/>
                </a:lnTo>
                <a:lnTo>
                  <a:pt x="488" y="277"/>
                </a:lnTo>
                <a:lnTo>
                  <a:pt x="509" y="292"/>
                </a:lnTo>
                <a:lnTo>
                  <a:pt x="513" y="292"/>
                </a:lnTo>
                <a:lnTo>
                  <a:pt x="516" y="300"/>
                </a:lnTo>
                <a:lnTo>
                  <a:pt x="524" y="298"/>
                </a:lnTo>
                <a:lnTo>
                  <a:pt x="535" y="304"/>
                </a:lnTo>
                <a:lnTo>
                  <a:pt x="539" y="313"/>
                </a:lnTo>
                <a:lnTo>
                  <a:pt x="548" y="317"/>
                </a:lnTo>
                <a:lnTo>
                  <a:pt x="554" y="319"/>
                </a:lnTo>
                <a:lnTo>
                  <a:pt x="556" y="336"/>
                </a:lnTo>
                <a:lnTo>
                  <a:pt x="565" y="349"/>
                </a:lnTo>
                <a:lnTo>
                  <a:pt x="562" y="358"/>
                </a:lnTo>
                <a:lnTo>
                  <a:pt x="558" y="364"/>
                </a:lnTo>
                <a:lnTo>
                  <a:pt x="567" y="379"/>
                </a:lnTo>
                <a:lnTo>
                  <a:pt x="577" y="394"/>
                </a:lnTo>
                <a:lnTo>
                  <a:pt x="586" y="392"/>
                </a:lnTo>
                <a:lnTo>
                  <a:pt x="594" y="396"/>
                </a:lnTo>
                <a:lnTo>
                  <a:pt x="597" y="402"/>
                </a:lnTo>
                <a:lnTo>
                  <a:pt x="594" y="411"/>
                </a:lnTo>
                <a:lnTo>
                  <a:pt x="597" y="422"/>
                </a:lnTo>
                <a:lnTo>
                  <a:pt x="590" y="426"/>
                </a:lnTo>
                <a:lnTo>
                  <a:pt x="594" y="432"/>
                </a:lnTo>
                <a:lnTo>
                  <a:pt x="590" y="443"/>
                </a:lnTo>
                <a:lnTo>
                  <a:pt x="584" y="441"/>
                </a:lnTo>
                <a:lnTo>
                  <a:pt x="575" y="445"/>
                </a:lnTo>
                <a:lnTo>
                  <a:pt x="573" y="454"/>
                </a:lnTo>
                <a:lnTo>
                  <a:pt x="567" y="458"/>
                </a:lnTo>
                <a:lnTo>
                  <a:pt x="567" y="454"/>
                </a:lnTo>
                <a:lnTo>
                  <a:pt x="565" y="447"/>
                </a:lnTo>
                <a:lnTo>
                  <a:pt x="560" y="454"/>
                </a:lnTo>
                <a:lnTo>
                  <a:pt x="562" y="462"/>
                </a:lnTo>
                <a:lnTo>
                  <a:pt x="565" y="468"/>
                </a:lnTo>
                <a:lnTo>
                  <a:pt x="558" y="471"/>
                </a:lnTo>
                <a:lnTo>
                  <a:pt x="562" y="479"/>
                </a:lnTo>
                <a:lnTo>
                  <a:pt x="552" y="485"/>
                </a:lnTo>
                <a:lnTo>
                  <a:pt x="560" y="492"/>
                </a:lnTo>
                <a:lnTo>
                  <a:pt x="556" y="500"/>
                </a:lnTo>
                <a:lnTo>
                  <a:pt x="550" y="511"/>
                </a:lnTo>
                <a:lnTo>
                  <a:pt x="499" y="517"/>
                </a:lnTo>
                <a:lnTo>
                  <a:pt x="494" y="509"/>
                </a:lnTo>
                <a:lnTo>
                  <a:pt x="499" y="503"/>
                </a:lnTo>
                <a:lnTo>
                  <a:pt x="503" y="494"/>
                </a:lnTo>
                <a:lnTo>
                  <a:pt x="511" y="490"/>
                </a:lnTo>
                <a:lnTo>
                  <a:pt x="518" y="483"/>
                </a:lnTo>
                <a:lnTo>
                  <a:pt x="518" y="477"/>
                </a:lnTo>
                <a:lnTo>
                  <a:pt x="516" y="468"/>
                </a:lnTo>
                <a:lnTo>
                  <a:pt x="509" y="462"/>
                </a:lnTo>
                <a:lnTo>
                  <a:pt x="503" y="458"/>
                </a:lnTo>
                <a:lnTo>
                  <a:pt x="341" y="468"/>
                </a:lnTo>
                <a:lnTo>
                  <a:pt x="198" y="475"/>
                </a:lnTo>
                <a:lnTo>
                  <a:pt x="109" y="477"/>
                </a:lnTo>
                <a:lnTo>
                  <a:pt x="107" y="422"/>
                </a:lnTo>
                <a:lnTo>
                  <a:pt x="103" y="181"/>
                </a:lnTo>
                <a:lnTo>
                  <a:pt x="94" y="175"/>
                </a:lnTo>
                <a:lnTo>
                  <a:pt x="88" y="172"/>
                </a:lnTo>
                <a:lnTo>
                  <a:pt x="77" y="157"/>
                </a:lnTo>
                <a:lnTo>
                  <a:pt x="77" y="151"/>
                </a:lnTo>
                <a:lnTo>
                  <a:pt x="68" y="145"/>
                </a:lnTo>
                <a:lnTo>
                  <a:pt x="62" y="136"/>
                </a:lnTo>
                <a:lnTo>
                  <a:pt x="58" y="130"/>
                </a:lnTo>
                <a:lnTo>
                  <a:pt x="66" y="117"/>
                </a:lnTo>
                <a:lnTo>
                  <a:pt x="71" y="111"/>
                </a:lnTo>
                <a:lnTo>
                  <a:pt x="77" y="111"/>
                </a:lnTo>
                <a:lnTo>
                  <a:pt x="79" y="109"/>
                </a:lnTo>
                <a:lnTo>
                  <a:pt x="77" y="102"/>
                </a:lnTo>
                <a:lnTo>
                  <a:pt x="73" y="94"/>
                </a:lnTo>
                <a:lnTo>
                  <a:pt x="66" y="91"/>
                </a:lnTo>
                <a:lnTo>
                  <a:pt x="60" y="96"/>
                </a:lnTo>
                <a:lnTo>
                  <a:pt x="39" y="81"/>
                </a:lnTo>
                <a:lnTo>
                  <a:pt x="30" y="74"/>
                </a:lnTo>
                <a:lnTo>
                  <a:pt x="32" y="68"/>
                </a:lnTo>
                <a:lnTo>
                  <a:pt x="26" y="62"/>
                </a:lnTo>
                <a:lnTo>
                  <a:pt x="24" y="53"/>
                </a:lnTo>
                <a:lnTo>
                  <a:pt x="17" y="49"/>
                </a:lnTo>
                <a:lnTo>
                  <a:pt x="11" y="42"/>
                </a:lnTo>
                <a:lnTo>
                  <a:pt x="7" y="28"/>
                </a:lnTo>
                <a:lnTo>
                  <a:pt x="0" y="21"/>
                </a:lnTo>
                <a:lnTo>
                  <a:pt x="0"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8" name="Freeform 714"/>
          <p:cNvSpPr>
            <a:spLocks/>
          </p:cNvSpPr>
          <p:nvPr/>
        </p:nvSpPr>
        <p:spPr bwMode="auto">
          <a:xfrm>
            <a:off x="4587875" y="3981450"/>
            <a:ext cx="706438" cy="655638"/>
          </a:xfrm>
          <a:custGeom>
            <a:avLst/>
            <a:gdLst>
              <a:gd name="T0" fmla="*/ 89 w 445"/>
              <a:gd name="T1" fmla="*/ 17 h 413"/>
              <a:gd name="T2" fmla="*/ 394 w 445"/>
              <a:gd name="T3" fmla="*/ 0 h 413"/>
              <a:gd name="T4" fmla="*/ 407 w 445"/>
              <a:gd name="T5" fmla="*/ 10 h 413"/>
              <a:gd name="T6" fmla="*/ 409 w 445"/>
              <a:gd name="T7" fmla="*/ 25 h 413"/>
              <a:gd name="T8" fmla="*/ 394 w 445"/>
              <a:gd name="T9" fmla="*/ 36 h 413"/>
              <a:gd name="T10" fmla="*/ 385 w 445"/>
              <a:gd name="T11" fmla="*/ 51 h 413"/>
              <a:gd name="T12" fmla="*/ 441 w 445"/>
              <a:gd name="T13" fmla="*/ 53 h 413"/>
              <a:gd name="T14" fmla="*/ 445 w 445"/>
              <a:gd name="T15" fmla="*/ 64 h 413"/>
              <a:gd name="T16" fmla="*/ 443 w 445"/>
              <a:gd name="T17" fmla="*/ 74 h 413"/>
              <a:gd name="T18" fmla="*/ 428 w 445"/>
              <a:gd name="T19" fmla="*/ 85 h 413"/>
              <a:gd name="T20" fmla="*/ 424 w 445"/>
              <a:gd name="T21" fmla="*/ 89 h 413"/>
              <a:gd name="T22" fmla="*/ 424 w 445"/>
              <a:gd name="T23" fmla="*/ 100 h 413"/>
              <a:gd name="T24" fmla="*/ 417 w 445"/>
              <a:gd name="T25" fmla="*/ 108 h 413"/>
              <a:gd name="T26" fmla="*/ 417 w 445"/>
              <a:gd name="T27" fmla="*/ 121 h 413"/>
              <a:gd name="T28" fmla="*/ 409 w 445"/>
              <a:gd name="T29" fmla="*/ 119 h 413"/>
              <a:gd name="T30" fmla="*/ 413 w 445"/>
              <a:gd name="T31" fmla="*/ 125 h 413"/>
              <a:gd name="T32" fmla="*/ 417 w 445"/>
              <a:gd name="T33" fmla="*/ 153 h 413"/>
              <a:gd name="T34" fmla="*/ 409 w 445"/>
              <a:gd name="T35" fmla="*/ 157 h 413"/>
              <a:gd name="T36" fmla="*/ 398 w 445"/>
              <a:gd name="T37" fmla="*/ 168 h 413"/>
              <a:gd name="T38" fmla="*/ 400 w 445"/>
              <a:gd name="T39" fmla="*/ 172 h 413"/>
              <a:gd name="T40" fmla="*/ 394 w 445"/>
              <a:gd name="T41" fmla="*/ 187 h 413"/>
              <a:gd name="T42" fmla="*/ 383 w 445"/>
              <a:gd name="T43" fmla="*/ 185 h 413"/>
              <a:gd name="T44" fmla="*/ 379 w 445"/>
              <a:gd name="T45" fmla="*/ 202 h 413"/>
              <a:gd name="T46" fmla="*/ 377 w 445"/>
              <a:gd name="T47" fmla="*/ 204 h 413"/>
              <a:gd name="T48" fmla="*/ 377 w 445"/>
              <a:gd name="T49" fmla="*/ 213 h 413"/>
              <a:gd name="T50" fmla="*/ 375 w 445"/>
              <a:gd name="T51" fmla="*/ 217 h 413"/>
              <a:gd name="T52" fmla="*/ 375 w 445"/>
              <a:gd name="T53" fmla="*/ 230 h 413"/>
              <a:gd name="T54" fmla="*/ 370 w 445"/>
              <a:gd name="T55" fmla="*/ 243 h 413"/>
              <a:gd name="T56" fmla="*/ 360 w 445"/>
              <a:gd name="T57" fmla="*/ 245 h 413"/>
              <a:gd name="T58" fmla="*/ 355 w 445"/>
              <a:gd name="T59" fmla="*/ 258 h 413"/>
              <a:gd name="T60" fmla="*/ 345 w 445"/>
              <a:gd name="T61" fmla="*/ 260 h 413"/>
              <a:gd name="T62" fmla="*/ 347 w 445"/>
              <a:gd name="T63" fmla="*/ 268 h 413"/>
              <a:gd name="T64" fmla="*/ 351 w 445"/>
              <a:gd name="T65" fmla="*/ 281 h 413"/>
              <a:gd name="T66" fmla="*/ 338 w 445"/>
              <a:gd name="T67" fmla="*/ 294 h 413"/>
              <a:gd name="T68" fmla="*/ 338 w 445"/>
              <a:gd name="T69" fmla="*/ 307 h 413"/>
              <a:gd name="T70" fmla="*/ 330 w 445"/>
              <a:gd name="T71" fmla="*/ 311 h 413"/>
              <a:gd name="T72" fmla="*/ 336 w 445"/>
              <a:gd name="T73" fmla="*/ 319 h 413"/>
              <a:gd name="T74" fmla="*/ 328 w 445"/>
              <a:gd name="T75" fmla="*/ 321 h 413"/>
              <a:gd name="T76" fmla="*/ 328 w 445"/>
              <a:gd name="T77" fmla="*/ 330 h 413"/>
              <a:gd name="T78" fmla="*/ 326 w 445"/>
              <a:gd name="T79" fmla="*/ 343 h 413"/>
              <a:gd name="T80" fmla="*/ 330 w 445"/>
              <a:gd name="T81" fmla="*/ 345 h 413"/>
              <a:gd name="T82" fmla="*/ 326 w 445"/>
              <a:gd name="T83" fmla="*/ 353 h 413"/>
              <a:gd name="T84" fmla="*/ 334 w 445"/>
              <a:gd name="T85" fmla="*/ 355 h 413"/>
              <a:gd name="T86" fmla="*/ 334 w 445"/>
              <a:gd name="T87" fmla="*/ 370 h 413"/>
              <a:gd name="T88" fmla="*/ 338 w 445"/>
              <a:gd name="T89" fmla="*/ 383 h 413"/>
              <a:gd name="T90" fmla="*/ 332 w 445"/>
              <a:gd name="T91" fmla="*/ 383 h 413"/>
              <a:gd name="T92" fmla="*/ 332 w 445"/>
              <a:gd name="T93" fmla="*/ 400 h 413"/>
              <a:gd name="T94" fmla="*/ 64 w 445"/>
              <a:gd name="T95" fmla="*/ 413 h 413"/>
              <a:gd name="T96" fmla="*/ 38 w 445"/>
              <a:gd name="T97" fmla="*/ 347 h 413"/>
              <a:gd name="T98" fmla="*/ 23 w 445"/>
              <a:gd name="T99" fmla="*/ 347 h 413"/>
              <a:gd name="T100" fmla="*/ 21 w 445"/>
              <a:gd name="T101" fmla="*/ 343 h 413"/>
              <a:gd name="T102" fmla="*/ 15 w 445"/>
              <a:gd name="T103" fmla="*/ 1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 h="413">
                <a:moveTo>
                  <a:pt x="0" y="19"/>
                </a:moveTo>
                <a:lnTo>
                  <a:pt x="89" y="17"/>
                </a:lnTo>
                <a:lnTo>
                  <a:pt x="232" y="10"/>
                </a:lnTo>
                <a:lnTo>
                  <a:pt x="394" y="0"/>
                </a:lnTo>
                <a:lnTo>
                  <a:pt x="400" y="4"/>
                </a:lnTo>
                <a:lnTo>
                  <a:pt x="407" y="10"/>
                </a:lnTo>
                <a:lnTo>
                  <a:pt x="409" y="19"/>
                </a:lnTo>
                <a:lnTo>
                  <a:pt x="409" y="25"/>
                </a:lnTo>
                <a:lnTo>
                  <a:pt x="402" y="32"/>
                </a:lnTo>
                <a:lnTo>
                  <a:pt x="394" y="36"/>
                </a:lnTo>
                <a:lnTo>
                  <a:pt x="390" y="45"/>
                </a:lnTo>
                <a:lnTo>
                  <a:pt x="385" y="51"/>
                </a:lnTo>
                <a:lnTo>
                  <a:pt x="390" y="59"/>
                </a:lnTo>
                <a:lnTo>
                  <a:pt x="441" y="53"/>
                </a:lnTo>
                <a:lnTo>
                  <a:pt x="445" y="57"/>
                </a:lnTo>
                <a:lnTo>
                  <a:pt x="445" y="64"/>
                </a:lnTo>
                <a:lnTo>
                  <a:pt x="439" y="68"/>
                </a:lnTo>
                <a:lnTo>
                  <a:pt x="443" y="74"/>
                </a:lnTo>
                <a:lnTo>
                  <a:pt x="434" y="81"/>
                </a:lnTo>
                <a:lnTo>
                  <a:pt x="428" y="85"/>
                </a:lnTo>
                <a:lnTo>
                  <a:pt x="424" y="87"/>
                </a:lnTo>
                <a:lnTo>
                  <a:pt x="424" y="89"/>
                </a:lnTo>
                <a:lnTo>
                  <a:pt x="430" y="96"/>
                </a:lnTo>
                <a:lnTo>
                  <a:pt x="424" y="100"/>
                </a:lnTo>
                <a:lnTo>
                  <a:pt x="422" y="106"/>
                </a:lnTo>
                <a:lnTo>
                  <a:pt x="417" y="108"/>
                </a:lnTo>
                <a:lnTo>
                  <a:pt x="419" y="115"/>
                </a:lnTo>
                <a:lnTo>
                  <a:pt x="417" y="121"/>
                </a:lnTo>
                <a:lnTo>
                  <a:pt x="415" y="117"/>
                </a:lnTo>
                <a:lnTo>
                  <a:pt x="409" y="119"/>
                </a:lnTo>
                <a:lnTo>
                  <a:pt x="407" y="128"/>
                </a:lnTo>
                <a:lnTo>
                  <a:pt x="413" y="125"/>
                </a:lnTo>
                <a:lnTo>
                  <a:pt x="413" y="134"/>
                </a:lnTo>
                <a:lnTo>
                  <a:pt x="417" y="153"/>
                </a:lnTo>
                <a:lnTo>
                  <a:pt x="415" y="155"/>
                </a:lnTo>
                <a:lnTo>
                  <a:pt x="409" y="157"/>
                </a:lnTo>
                <a:lnTo>
                  <a:pt x="404" y="164"/>
                </a:lnTo>
                <a:lnTo>
                  <a:pt x="398" y="168"/>
                </a:lnTo>
                <a:lnTo>
                  <a:pt x="396" y="170"/>
                </a:lnTo>
                <a:lnTo>
                  <a:pt x="400" y="172"/>
                </a:lnTo>
                <a:lnTo>
                  <a:pt x="400" y="181"/>
                </a:lnTo>
                <a:lnTo>
                  <a:pt x="394" y="187"/>
                </a:lnTo>
                <a:lnTo>
                  <a:pt x="387" y="189"/>
                </a:lnTo>
                <a:lnTo>
                  <a:pt x="383" y="185"/>
                </a:lnTo>
                <a:lnTo>
                  <a:pt x="385" y="202"/>
                </a:lnTo>
                <a:lnTo>
                  <a:pt x="379" y="202"/>
                </a:lnTo>
                <a:lnTo>
                  <a:pt x="377" y="194"/>
                </a:lnTo>
                <a:lnTo>
                  <a:pt x="377" y="204"/>
                </a:lnTo>
                <a:lnTo>
                  <a:pt x="385" y="209"/>
                </a:lnTo>
                <a:lnTo>
                  <a:pt x="377" y="213"/>
                </a:lnTo>
                <a:lnTo>
                  <a:pt x="375" y="204"/>
                </a:lnTo>
                <a:lnTo>
                  <a:pt x="375" y="217"/>
                </a:lnTo>
                <a:lnTo>
                  <a:pt x="379" y="219"/>
                </a:lnTo>
                <a:lnTo>
                  <a:pt x="375" y="230"/>
                </a:lnTo>
                <a:lnTo>
                  <a:pt x="377" y="234"/>
                </a:lnTo>
                <a:lnTo>
                  <a:pt x="370" y="243"/>
                </a:lnTo>
                <a:lnTo>
                  <a:pt x="366" y="245"/>
                </a:lnTo>
                <a:lnTo>
                  <a:pt x="360" y="245"/>
                </a:lnTo>
                <a:lnTo>
                  <a:pt x="362" y="251"/>
                </a:lnTo>
                <a:lnTo>
                  <a:pt x="355" y="258"/>
                </a:lnTo>
                <a:lnTo>
                  <a:pt x="353" y="262"/>
                </a:lnTo>
                <a:lnTo>
                  <a:pt x="345" y="260"/>
                </a:lnTo>
                <a:lnTo>
                  <a:pt x="351" y="266"/>
                </a:lnTo>
                <a:lnTo>
                  <a:pt x="347" y="268"/>
                </a:lnTo>
                <a:lnTo>
                  <a:pt x="347" y="275"/>
                </a:lnTo>
                <a:lnTo>
                  <a:pt x="351" y="281"/>
                </a:lnTo>
                <a:lnTo>
                  <a:pt x="332" y="289"/>
                </a:lnTo>
                <a:lnTo>
                  <a:pt x="338" y="294"/>
                </a:lnTo>
                <a:lnTo>
                  <a:pt x="336" y="300"/>
                </a:lnTo>
                <a:lnTo>
                  <a:pt x="338" y="307"/>
                </a:lnTo>
                <a:lnTo>
                  <a:pt x="336" y="311"/>
                </a:lnTo>
                <a:lnTo>
                  <a:pt x="330" y="311"/>
                </a:lnTo>
                <a:lnTo>
                  <a:pt x="330" y="317"/>
                </a:lnTo>
                <a:lnTo>
                  <a:pt x="336" y="319"/>
                </a:lnTo>
                <a:lnTo>
                  <a:pt x="330" y="324"/>
                </a:lnTo>
                <a:lnTo>
                  <a:pt x="328" y="321"/>
                </a:lnTo>
                <a:lnTo>
                  <a:pt x="324" y="324"/>
                </a:lnTo>
                <a:lnTo>
                  <a:pt x="328" y="330"/>
                </a:lnTo>
                <a:lnTo>
                  <a:pt x="321" y="336"/>
                </a:lnTo>
                <a:lnTo>
                  <a:pt x="326" y="343"/>
                </a:lnTo>
                <a:lnTo>
                  <a:pt x="321" y="351"/>
                </a:lnTo>
                <a:lnTo>
                  <a:pt x="330" y="345"/>
                </a:lnTo>
                <a:lnTo>
                  <a:pt x="332" y="349"/>
                </a:lnTo>
                <a:lnTo>
                  <a:pt x="326" y="353"/>
                </a:lnTo>
                <a:lnTo>
                  <a:pt x="332" y="355"/>
                </a:lnTo>
                <a:lnTo>
                  <a:pt x="334" y="355"/>
                </a:lnTo>
                <a:lnTo>
                  <a:pt x="332" y="362"/>
                </a:lnTo>
                <a:lnTo>
                  <a:pt x="334" y="370"/>
                </a:lnTo>
                <a:lnTo>
                  <a:pt x="336" y="370"/>
                </a:lnTo>
                <a:lnTo>
                  <a:pt x="338" y="383"/>
                </a:lnTo>
                <a:lnTo>
                  <a:pt x="338" y="383"/>
                </a:lnTo>
                <a:lnTo>
                  <a:pt x="332" y="383"/>
                </a:lnTo>
                <a:lnTo>
                  <a:pt x="332" y="390"/>
                </a:lnTo>
                <a:lnTo>
                  <a:pt x="332" y="400"/>
                </a:lnTo>
                <a:lnTo>
                  <a:pt x="179" y="409"/>
                </a:lnTo>
                <a:lnTo>
                  <a:pt x="64" y="413"/>
                </a:lnTo>
                <a:lnTo>
                  <a:pt x="62" y="351"/>
                </a:lnTo>
                <a:lnTo>
                  <a:pt x="38" y="347"/>
                </a:lnTo>
                <a:lnTo>
                  <a:pt x="32" y="353"/>
                </a:lnTo>
                <a:lnTo>
                  <a:pt x="23" y="347"/>
                </a:lnTo>
                <a:lnTo>
                  <a:pt x="23" y="345"/>
                </a:lnTo>
                <a:lnTo>
                  <a:pt x="21" y="343"/>
                </a:lnTo>
                <a:lnTo>
                  <a:pt x="19" y="145"/>
                </a:lnTo>
                <a:lnTo>
                  <a:pt x="15" y="115"/>
                </a:lnTo>
                <a:lnTo>
                  <a:pt x="0" y="19"/>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09" name="Freeform 715"/>
          <p:cNvSpPr>
            <a:spLocks/>
          </p:cNvSpPr>
          <p:nvPr/>
        </p:nvSpPr>
        <p:spPr bwMode="auto">
          <a:xfrm>
            <a:off x="4587875" y="3981450"/>
            <a:ext cx="706438" cy="655638"/>
          </a:xfrm>
          <a:custGeom>
            <a:avLst/>
            <a:gdLst>
              <a:gd name="T0" fmla="*/ 89 w 445"/>
              <a:gd name="T1" fmla="*/ 17 h 413"/>
              <a:gd name="T2" fmla="*/ 394 w 445"/>
              <a:gd name="T3" fmla="*/ 0 h 413"/>
              <a:gd name="T4" fmla="*/ 407 w 445"/>
              <a:gd name="T5" fmla="*/ 10 h 413"/>
              <a:gd name="T6" fmla="*/ 409 w 445"/>
              <a:gd name="T7" fmla="*/ 25 h 413"/>
              <a:gd name="T8" fmla="*/ 394 w 445"/>
              <a:gd name="T9" fmla="*/ 36 h 413"/>
              <a:gd name="T10" fmla="*/ 385 w 445"/>
              <a:gd name="T11" fmla="*/ 51 h 413"/>
              <a:gd name="T12" fmla="*/ 441 w 445"/>
              <a:gd name="T13" fmla="*/ 53 h 413"/>
              <a:gd name="T14" fmla="*/ 445 w 445"/>
              <a:gd name="T15" fmla="*/ 64 h 413"/>
              <a:gd name="T16" fmla="*/ 443 w 445"/>
              <a:gd name="T17" fmla="*/ 74 h 413"/>
              <a:gd name="T18" fmla="*/ 428 w 445"/>
              <a:gd name="T19" fmla="*/ 85 h 413"/>
              <a:gd name="T20" fmla="*/ 424 w 445"/>
              <a:gd name="T21" fmla="*/ 89 h 413"/>
              <a:gd name="T22" fmla="*/ 424 w 445"/>
              <a:gd name="T23" fmla="*/ 100 h 413"/>
              <a:gd name="T24" fmla="*/ 417 w 445"/>
              <a:gd name="T25" fmla="*/ 108 h 413"/>
              <a:gd name="T26" fmla="*/ 417 w 445"/>
              <a:gd name="T27" fmla="*/ 121 h 413"/>
              <a:gd name="T28" fmla="*/ 409 w 445"/>
              <a:gd name="T29" fmla="*/ 119 h 413"/>
              <a:gd name="T30" fmla="*/ 413 w 445"/>
              <a:gd name="T31" fmla="*/ 125 h 413"/>
              <a:gd name="T32" fmla="*/ 417 w 445"/>
              <a:gd name="T33" fmla="*/ 153 h 413"/>
              <a:gd name="T34" fmla="*/ 409 w 445"/>
              <a:gd name="T35" fmla="*/ 157 h 413"/>
              <a:gd name="T36" fmla="*/ 398 w 445"/>
              <a:gd name="T37" fmla="*/ 168 h 413"/>
              <a:gd name="T38" fmla="*/ 400 w 445"/>
              <a:gd name="T39" fmla="*/ 172 h 413"/>
              <a:gd name="T40" fmla="*/ 394 w 445"/>
              <a:gd name="T41" fmla="*/ 187 h 413"/>
              <a:gd name="T42" fmla="*/ 383 w 445"/>
              <a:gd name="T43" fmla="*/ 185 h 413"/>
              <a:gd name="T44" fmla="*/ 379 w 445"/>
              <a:gd name="T45" fmla="*/ 202 h 413"/>
              <a:gd name="T46" fmla="*/ 377 w 445"/>
              <a:gd name="T47" fmla="*/ 204 h 413"/>
              <a:gd name="T48" fmla="*/ 377 w 445"/>
              <a:gd name="T49" fmla="*/ 213 h 413"/>
              <a:gd name="T50" fmla="*/ 375 w 445"/>
              <a:gd name="T51" fmla="*/ 217 h 413"/>
              <a:gd name="T52" fmla="*/ 375 w 445"/>
              <a:gd name="T53" fmla="*/ 230 h 413"/>
              <a:gd name="T54" fmla="*/ 370 w 445"/>
              <a:gd name="T55" fmla="*/ 243 h 413"/>
              <a:gd name="T56" fmla="*/ 360 w 445"/>
              <a:gd name="T57" fmla="*/ 245 h 413"/>
              <a:gd name="T58" fmla="*/ 355 w 445"/>
              <a:gd name="T59" fmla="*/ 258 h 413"/>
              <a:gd name="T60" fmla="*/ 345 w 445"/>
              <a:gd name="T61" fmla="*/ 260 h 413"/>
              <a:gd name="T62" fmla="*/ 347 w 445"/>
              <a:gd name="T63" fmla="*/ 268 h 413"/>
              <a:gd name="T64" fmla="*/ 351 w 445"/>
              <a:gd name="T65" fmla="*/ 281 h 413"/>
              <a:gd name="T66" fmla="*/ 338 w 445"/>
              <a:gd name="T67" fmla="*/ 294 h 413"/>
              <a:gd name="T68" fmla="*/ 338 w 445"/>
              <a:gd name="T69" fmla="*/ 307 h 413"/>
              <a:gd name="T70" fmla="*/ 330 w 445"/>
              <a:gd name="T71" fmla="*/ 311 h 413"/>
              <a:gd name="T72" fmla="*/ 336 w 445"/>
              <a:gd name="T73" fmla="*/ 319 h 413"/>
              <a:gd name="T74" fmla="*/ 328 w 445"/>
              <a:gd name="T75" fmla="*/ 321 h 413"/>
              <a:gd name="T76" fmla="*/ 328 w 445"/>
              <a:gd name="T77" fmla="*/ 330 h 413"/>
              <a:gd name="T78" fmla="*/ 326 w 445"/>
              <a:gd name="T79" fmla="*/ 343 h 413"/>
              <a:gd name="T80" fmla="*/ 330 w 445"/>
              <a:gd name="T81" fmla="*/ 345 h 413"/>
              <a:gd name="T82" fmla="*/ 326 w 445"/>
              <a:gd name="T83" fmla="*/ 353 h 413"/>
              <a:gd name="T84" fmla="*/ 334 w 445"/>
              <a:gd name="T85" fmla="*/ 355 h 413"/>
              <a:gd name="T86" fmla="*/ 334 w 445"/>
              <a:gd name="T87" fmla="*/ 370 h 413"/>
              <a:gd name="T88" fmla="*/ 338 w 445"/>
              <a:gd name="T89" fmla="*/ 383 h 413"/>
              <a:gd name="T90" fmla="*/ 332 w 445"/>
              <a:gd name="T91" fmla="*/ 383 h 413"/>
              <a:gd name="T92" fmla="*/ 332 w 445"/>
              <a:gd name="T93" fmla="*/ 400 h 413"/>
              <a:gd name="T94" fmla="*/ 64 w 445"/>
              <a:gd name="T95" fmla="*/ 413 h 413"/>
              <a:gd name="T96" fmla="*/ 38 w 445"/>
              <a:gd name="T97" fmla="*/ 347 h 413"/>
              <a:gd name="T98" fmla="*/ 23 w 445"/>
              <a:gd name="T99" fmla="*/ 347 h 413"/>
              <a:gd name="T100" fmla="*/ 21 w 445"/>
              <a:gd name="T101" fmla="*/ 343 h 413"/>
              <a:gd name="T102" fmla="*/ 15 w 445"/>
              <a:gd name="T103" fmla="*/ 1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 h="413">
                <a:moveTo>
                  <a:pt x="0" y="19"/>
                </a:moveTo>
                <a:lnTo>
                  <a:pt x="89" y="17"/>
                </a:lnTo>
                <a:lnTo>
                  <a:pt x="232" y="10"/>
                </a:lnTo>
                <a:lnTo>
                  <a:pt x="394" y="0"/>
                </a:lnTo>
                <a:lnTo>
                  <a:pt x="400" y="4"/>
                </a:lnTo>
                <a:lnTo>
                  <a:pt x="407" y="10"/>
                </a:lnTo>
                <a:lnTo>
                  <a:pt x="409" y="19"/>
                </a:lnTo>
                <a:lnTo>
                  <a:pt x="409" y="25"/>
                </a:lnTo>
                <a:lnTo>
                  <a:pt x="402" y="32"/>
                </a:lnTo>
                <a:lnTo>
                  <a:pt x="394" y="36"/>
                </a:lnTo>
                <a:lnTo>
                  <a:pt x="390" y="45"/>
                </a:lnTo>
                <a:lnTo>
                  <a:pt x="385" y="51"/>
                </a:lnTo>
                <a:lnTo>
                  <a:pt x="390" y="59"/>
                </a:lnTo>
                <a:lnTo>
                  <a:pt x="441" y="53"/>
                </a:lnTo>
                <a:lnTo>
                  <a:pt x="445" y="57"/>
                </a:lnTo>
                <a:lnTo>
                  <a:pt x="445" y="64"/>
                </a:lnTo>
                <a:lnTo>
                  <a:pt x="439" y="68"/>
                </a:lnTo>
                <a:lnTo>
                  <a:pt x="443" y="74"/>
                </a:lnTo>
                <a:lnTo>
                  <a:pt x="434" y="81"/>
                </a:lnTo>
                <a:lnTo>
                  <a:pt x="428" y="85"/>
                </a:lnTo>
                <a:lnTo>
                  <a:pt x="424" y="87"/>
                </a:lnTo>
                <a:lnTo>
                  <a:pt x="424" y="89"/>
                </a:lnTo>
                <a:lnTo>
                  <a:pt x="430" y="96"/>
                </a:lnTo>
                <a:lnTo>
                  <a:pt x="424" y="100"/>
                </a:lnTo>
                <a:lnTo>
                  <a:pt x="422" y="106"/>
                </a:lnTo>
                <a:lnTo>
                  <a:pt x="417" y="108"/>
                </a:lnTo>
                <a:lnTo>
                  <a:pt x="419" y="115"/>
                </a:lnTo>
                <a:lnTo>
                  <a:pt x="417" y="121"/>
                </a:lnTo>
                <a:lnTo>
                  <a:pt x="415" y="117"/>
                </a:lnTo>
                <a:lnTo>
                  <a:pt x="409" y="119"/>
                </a:lnTo>
                <a:lnTo>
                  <a:pt x="407" y="128"/>
                </a:lnTo>
                <a:lnTo>
                  <a:pt x="413" y="125"/>
                </a:lnTo>
                <a:lnTo>
                  <a:pt x="413" y="134"/>
                </a:lnTo>
                <a:lnTo>
                  <a:pt x="417" y="153"/>
                </a:lnTo>
                <a:lnTo>
                  <a:pt x="415" y="155"/>
                </a:lnTo>
                <a:lnTo>
                  <a:pt x="409" y="157"/>
                </a:lnTo>
                <a:lnTo>
                  <a:pt x="404" y="164"/>
                </a:lnTo>
                <a:lnTo>
                  <a:pt x="398" y="168"/>
                </a:lnTo>
                <a:lnTo>
                  <a:pt x="396" y="170"/>
                </a:lnTo>
                <a:lnTo>
                  <a:pt x="400" y="172"/>
                </a:lnTo>
                <a:lnTo>
                  <a:pt x="400" y="181"/>
                </a:lnTo>
                <a:lnTo>
                  <a:pt x="394" y="187"/>
                </a:lnTo>
                <a:lnTo>
                  <a:pt x="387" y="189"/>
                </a:lnTo>
                <a:lnTo>
                  <a:pt x="383" y="185"/>
                </a:lnTo>
                <a:lnTo>
                  <a:pt x="385" y="202"/>
                </a:lnTo>
                <a:lnTo>
                  <a:pt x="379" y="202"/>
                </a:lnTo>
                <a:lnTo>
                  <a:pt x="377" y="194"/>
                </a:lnTo>
                <a:lnTo>
                  <a:pt x="377" y="204"/>
                </a:lnTo>
                <a:lnTo>
                  <a:pt x="385" y="209"/>
                </a:lnTo>
                <a:lnTo>
                  <a:pt x="377" y="213"/>
                </a:lnTo>
                <a:lnTo>
                  <a:pt x="375" y="204"/>
                </a:lnTo>
                <a:lnTo>
                  <a:pt x="375" y="217"/>
                </a:lnTo>
                <a:lnTo>
                  <a:pt x="379" y="219"/>
                </a:lnTo>
                <a:lnTo>
                  <a:pt x="375" y="230"/>
                </a:lnTo>
                <a:lnTo>
                  <a:pt x="377" y="234"/>
                </a:lnTo>
                <a:lnTo>
                  <a:pt x="370" y="243"/>
                </a:lnTo>
                <a:lnTo>
                  <a:pt x="366" y="245"/>
                </a:lnTo>
                <a:lnTo>
                  <a:pt x="360" y="245"/>
                </a:lnTo>
                <a:lnTo>
                  <a:pt x="362" y="251"/>
                </a:lnTo>
                <a:lnTo>
                  <a:pt x="355" y="258"/>
                </a:lnTo>
                <a:lnTo>
                  <a:pt x="353" y="262"/>
                </a:lnTo>
                <a:lnTo>
                  <a:pt x="345" y="260"/>
                </a:lnTo>
                <a:lnTo>
                  <a:pt x="351" y="266"/>
                </a:lnTo>
                <a:lnTo>
                  <a:pt x="347" y="268"/>
                </a:lnTo>
                <a:lnTo>
                  <a:pt x="347" y="275"/>
                </a:lnTo>
                <a:lnTo>
                  <a:pt x="351" y="281"/>
                </a:lnTo>
                <a:lnTo>
                  <a:pt x="332" y="289"/>
                </a:lnTo>
                <a:lnTo>
                  <a:pt x="338" y="294"/>
                </a:lnTo>
                <a:lnTo>
                  <a:pt x="336" y="300"/>
                </a:lnTo>
                <a:lnTo>
                  <a:pt x="338" y="307"/>
                </a:lnTo>
                <a:lnTo>
                  <a:pt x="336" y="311"/>
                </a:lnTo>
                <a:lnTo>
                  <a:pt x="330" y="311"/>
                </a:lnTo>
                <a:lnTo>
                  <a:pt x="330" y="317"/>
                </a:lnTo>
                <a:lnTo>
                  <a:pt x="336" y="319"/>
                </a:lnTo>
                <a:lnTo>
                  <a:pt x="330" y="324"/>
                </a:lnTo>
                <a:lnTo>
                  <a:pt x="328" y="321"/>
                </a:lnTo>
                <a:lnTo>
                  <a:pt x="324" y="324"/>
                </a:lnTo>
                <a:lnTo>
                  <a:pt x="328" y="330"/>
                </a:lnTo>
                <a:lnTo>
                  <a:pt x="321" y="336"/>
                </a:lnTo>
                <a:lnTo>
                  <a:pt x="326" y="343"/>
                </a:lnTo>
                <a:lnTo>
                  <a:pt x="321" y="351"/>
                </a:lnTo>
                <a:lnTo>
                  <a:pt x="330" y="345"/>
                </a:lnTo>
                <a:lnTo>
                  <a:pt x="332" y="349"/>
                </a:lnTo>
                <a:lnTo>
                  <a:pt x="326" y="353"/>
                </a:lnTo>
                <a:lnTo>
                  <a:pt x="332" y="355"/>
                </a:lnTo>
                <a:lnTo>
                  <a:pt x="334" y="355"/>
                </a:lnTo>
                <a:lnTo>
                  <a:pt x="332" y="362"/>
                </a:lnTo>
                <a:lnTo>
                  <a:pt x="334" y="370"/>
                </a:lnTo>
                <a:lnTo>
                  <a:pt x="336" y="370"/>
                </a:lnTo>
                <a:lnTo>
                  <a:pt x="338" y="383"/>
                </a:lnTo>
                <a:lnTo>
                  <a:pt x="338" y="383"/>
                </a:lnTo>
                <a:lnTo>
                  <a:pt x="332" y="383"/>
                </a:lnTo>
                <a:lnTo>
                  <a:pt x="332" y="390"/>
                </a:lnTo>
                <a:lnTo>
                  <a:pt x="332" y="400"/>
                </a:lnTo>
                <a:lnTo>
                  <a:pt x="179" y="409"/>
                </a:lnTo>
                <a:lnTo>
                  <a:pt x="64" y="413"/>
                </a:lnTo>
                <a:lnTo>
                  <a:pt x="62" y="351"/>
                </a:lnTo>
                <a:lnTo>
                  <a:pt x="38" y="347"/>
                </a:lnTo>
                <a:lnTo>
                  <a:pt x="32" y="353"/>
                </a:lnTo>
                <a:lnTo>
                  <a:pt x="23" y="347"/>
                </a:lnTo>
                <a:lnTo>
                  <a:pt x="23" y="345"/>
                </a:lnTo>
                <a:lnTo>
                  <a:pt x="21" y="343"/>
                </a:lnTo>
                <a:lnTo>
                  <a:pt x="19" y="145"/>
                </a:lnTo>
                <a:lnTo>
                  <a:pt x="15" y="115"/>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0" name="Freeform 716"/>
          <p:cNvSpPr>
            <a:spLocks/>
          </p:cNvSpPr>
          <p:nvPr/>
        </p:nvSpPr>
        <p:spPr bwMode="auto">
          <a:xfrm>
            <a:off x="4989512" y="2878138"/>
            <a:ext cx="565150" cy="1004888"/>
          </a:xfrm>
          <a:custGeom>
            <a:avLst/>
            <a:gdLst>
              <a:gd name="T0" fmla="*/ 11 w 356"/>
              <a:gd name="T1" fmla="*/ 250 h 633"/>
              <a:gd name="T2" fmla="*/ 30 w 356"/>
              <a:gd name="T3" fmla="*/ 228 h 633"/>
              <a:gd name="T4" fmla="*/ 32 w 356"/>
              <a:gd name="T5" fmla="*/ 209 h 633"/>
              <a:gd name="T6" fmla="*/ 28 w 356"/>
              <a:gd name="T7" fmla="*/ 164 h 633"/>
              <a:gd name="T8" fmla="*/ 60 w 356"/>
              <a:gd name="T9" fmla="*/ 137 h 633"/>
              <a:gd name="T10" fmla="*/ 90 w 356"/>
              <a:gd name="T11" fmla="*/ 120 h 633"/>
              <a:gd name="T12" fmla="*/ 102 w 356"/>
              <a:gd name="T13" fmla="*/ 69 h 633"/>
              <a:gd name="T14" fmla="*/ 85 w 356"/>
              <a:gd name="T15" fmla="*/ 52 h 633"/>
              <a:gd name="T16" fmla="*/ 62 w 356"/>
              <a:gd name="T17" fmla="*/ 26 h 633"/>
              <a:gd name="T18" fmla="*/ 190 w 356"/>
              <a:gd name="T19" fmla="*/ 9 h 633"/>
              <a:gd name="T20" fmla="*/ 292 w 356"/>
              <a:gd name="T21" fmla="*/ 7 h 633"/>
              <a:gd name="T22" fmla="*/ 301 w 356"/>
              <a:gd name="T23" fmla="*/ 43 h 633"/>
              <a:gd name="T24" fmla="*/ 313 w 356"/>
              <a:gd name="T25" fmla="*/ 69 h 633"/>
              <a:gd name="T26" fmla="*/ 324 w 356"/>
              <a:gd name="T27" fmla="*/ 90 h 633"/>
              <a:gd name="T28" fmla="*/ 345 w 356"/>
              <a:gd name="T29" fmla="*/ 367 h 633"/>
              <a:gd name="T30" fmla="*/ 347 w 356"/>
              <a:gd name="T31" fmla="*/ 390 h 633"/>
              <a:gd name="T32" fmla="*/ 356 w 356"/>
              <a:gd name="T33" fmla="*/ 420 h 633"/>
              <a:gd name="T34" fmla="*/ 345 w 356"/>
              <a:gd name="T35" fmla="*/ 443 h 633"/>
              <a:gd name="T36" fmla="*/ 330 w 356"/>
              <a:gd name="T37" fmla="*/ 473 h 633"/>
              <a:gd name="T38" fmla="*/ 324 w 356"/>
              <a:gd name="T39" fmla="*/ 488 h 633"/>
              <a:gd name="T40" fmla="*/ 320 w 356"/>
              <a:gd name="T41" fmla="*/ 518 h 633"/>
              <a:gd name="T42" fmla="*/ 320 w 356"/>
              <a:gd name="T43" fmla="*/ 535 h 633"/>
              <a:gd name="T44" fmla="*/ 315 w 356"/>
              <a:gd name="T45" fmla="*/ 556 h 633"/>
              <a:gd name="T46" fmla="*/ 301 w 356"/>
              <a:gd name="T47" fmla="*/ 573 h 633"/>
              <a:gd name="T48" fmla="*/ 286 w 356"/>
              <a:gd name="T49" fmla="*/ 588 h 633"/>
              <a:gd name="T50" fmla="*/ 294 w 356"/>
              <a:gd name="T51" fmla="*/ 610 h 633"/>
              <a:gd name="T52" fmla="*/ 275 w 356"/>
              <a:gd name="T53" fmla="*/ 614 h 633"/>
              <a:gd name="T54" fmla="*/ 247 w 356"/>
              <a:gd name="T55" fmla="*/ 605 h 633"/>
              <a:gd name="T56" fmla="*/ 228 w 356"/>
              <a:gd name="T57" fmla="*/ 629 h 633"/>
              <a:gd name="T58" fmla="*/ 215 w 356"/>
              <a:gd name="T59" fmla="*/ 631 h 633"/>
              <a:gd name="T60" fmla="*/ 200 w 356"/>
              <a:gd name="T61" fmla="*/ 595 h 633"/>
              <a:gd name="T62" fmla="*/ 192 w 356"/>
              <a:gd name="T63" fmla="*/ 556 h 633"/>
              <a:gd name="T64" fmla="*/ 173 w 356"/>
              <a:gd name="T65" fmla="*/ 541 h 633"/>
              <a:gd name="T66" fmla="*/ 151 w 356"/>
              <a:gd name="T67" fmla="*/ 529 h 633"/>
              <a:gd name="T68" fmla="*/ 113 w 356"/>
              <a:gd name="T69" fmla="*/ 499 h 633"/>
              <a:gd name="T70" fmla="*/ 117 w 356"/>
              <a:gd name="T71" fmla="*/ 478 h 633"/>
              <a:gd name="T72" fmla="*/ 126 w 356"/>
              <a:gd name="T73" fmla="*/ 441 h 633"/>
              <a:gd name="T74" fmla="*/ 115 w 356"/>
              <a:gd name="T75" fmla="*/ 422 h 633"/>
              <a:gd name="T76" fmla="*/ 98 w 356"/>
              <a:gd name="T77" fmla="*/ 418 h 633"/>
              <a:gd name="T78" fmla="*/ 81 w 356"/>
              <a:gd name="T79" fmla="*/ 420 h 633"/>
              <a:gd name="T80" fmla="*/ 62 w 356"/>
              <a:gd name="T81" fmla="*/ 375 h 633"/>
              <a:gd name="T82" fmla="*/ 34 w 356"/>
              <a:gd name="T83" fmla="*/ 354 h 633"/>
              <a:gd name="T84" fmla="*/ 15 w 356"/>
              <a:gd name="T85" fmla="*/ 331 h 633"/>
              <a:gd name="T86" fmla="*/ 5 w 356"/>
              <a:gd name="T87" fmla="*/ 305 h 633"/>
              <a:gd name="T88" fmla="*/ 2 w 356"/>
              <a:gd name="T89" fmla="*/ 27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6" h="633">
                <a:moveTo>
                  <a:pt x="7" y="262"/>
                </a:moveTo>
                <a:lnTo>
                  <a:pt x="11" y="258"/>
                </a:lnTo>
                <a:lnTo>
                  <a:pt x="11" y="250"/>
                </a:lnTo>
                <a:lnTo>
                  <a:pt x="7" y="243"/>
                </a:lnTo>
                <a:lnTo>
                  <a:pt x="13" y="237"/>
                </a:lnTo>
                <a:lnTo>
                  <a:pt x="30" y="228"/>
                </a:lnTo>
                <a:lnTo>
                  <a:pt x="32" y="220"/>
                </a:lnTo>
                <a:lnTo>
                  <a:pt x="32" y="213"/>
                </a:lnTo>
                <a:lnTo>
                  <a:pt x="32" y="209"/>
                </a:lnTo>
                <a:lnTo>
                  <a:pt x="43" y="194"/>
                </a:lnTo>
                <a:lnTo>
                  <a:pt x="43" y="179"/>
                </a:lnTo>
                <a:lnTo>
                  <a:pt x="28" y="164"/>
                </a:lnTo>
                <a:lnTo>
                  <a:pt x="30" y="152"/>
                </a:lnTo>
                <a:lnTo>
                  <a:pt x="34" y="143"/>
                </a:lnTo>
                <a:lnTo>
                  <a:pt x="60" y="137"/>
                </a:lnTo>
                <a:lnTo>
                  <a:pt x="68" y="133"/>
                </a:lnTo>
                <a:lnTo>
                  <a:pt x="81" y="126"/>
                </a:lnTo>
                <a:lnTo>
                  <a:pt x="90" y="120"/>
                </a:lnTo>
                <a:lnTo>
                  <a:pt x="90" y="105"/>
                </a:lnTo>
                <a:lnTo>
                  <a:pt x="100" y="92"/>
                </a:lnTo>
                <a:lnTo>
                  <a:pt x="102" y="69"/>
                </a:lnTo>
                <a:lnTo>
                  <a:pt x="100" y="62"/>
                </a:lnTo>
                <a:lnTo>
                  <a:pt x="94" y="56"/>
                </a:lnTo>
                <a:lnTo>
                  <a:pt x="85" y="52"/>
                </a:lnTo>
                <a:lnTo>
                  <a:pt x="79" y="45"/>
                </a:lnTo>
                <a:lnTo>
                  <a:pt x="77" y="37"/>
                </a:lnTo>
                <a:lnTo>
                  <a:pt x="62" y="26"/>
                </a:lnTo>
                <a:lnTo>
                  <a:pt x="58" y="20"/>
                </a:lnTo>
                <a:lnTo>
                  <a:pt x="58" y="18"/>
                </a:lnTo>
                <a:lnTo>
                  <a:pt x="190" y="9"/>
                </a:lnTo>
                <a:lnTo>
                  <a:pt x="288" y="0"/>
                </a:lnTo>
                <a:lnTo>
                  <a:pt x="292" y="0"/>
                </a:lnTo>
                <a:lnTo>
                  <a:pt x="292" y="7"/>
                </a:lnTo>
                <a:lnTo>
                  <a:pt x="292" y="22"/>
                </a:lnTo>
                <a:lnTo>
                  <a:pt x="292" y="30"/>
                </a:lnTo>
                <a:lnTo>
                  <a:pt x="301" y="43"/>
                </a:lnTo>
                <a:lnTo>
                  <a:pt x="307" y="49"/>
                </a:lnTo>
                <a:lnTo>
                  <a:pt x="309" y="60"/>
                </a:lnTo>
                <a:lnTo>
                  <a:pt x="313" y="69"/>
                </a:lnTo>
                <a:lnTo>
                  <a:pt x="315" y="75"/>
                </a:lnTo>
                <a:lnTo>
                  <a:pt x="324" y="86"/>
                </a:lnTo>
                <a:lnTo>
                  <a:pt x="324" y="90"/>
                </a:lnTo>
                <a:lnTo>
                  <a:pt x="347" y="352"/>
                </a:lnTo>
                <a:lnTo>
                  <a:pt x="341" y="360"/>
                </a:lnTo>
                <a:lnTo>
                  <a:pt x="345" y="367"/>
                </a:lnTo>
                <a:lnTo>
                  <a:pt x="341" y="375"/>
                </a:lnTo>
                <a:lnTo>
                  <a:pt x="341" y="382"/>
                </a:lnTo>
                <a:lnTo>
                  <a:pt x="347" y="390"/>
                </a:lnTo>
                <a:lnTo>
                  <a:pt x="354" y="399"/>
                </a:lnTo>
                <a:lnTo>
                  <a:pt x="352" y="405"/>
                </a:lnTo>
                <a:lnTo>
                  <a:pt x="356" y="420"/>
                </a:lnTo>
                <a:lnTo>
                  <a:pt x="356" y="429"/>
                </a:lnTo>
                <a:lnTo>
                  <a:pt x="354" y="429"/>
                </a:lnTo>
                <a:lnTo>
                  <a:pt x="345" y="443"/>
                </a:lnTo>
                <a:lnTo>
                  <a:pt x="345" y="452"/>
                </a:lnTo>
                <a:lnTo>
                  <a:pt x="337" y="467"/>
                </a:lnTo>
                <a:lnTo>
                  <a:pt x="330" y="473"/>
                </a:lnTo>
                <a:lnTo>
                  <a:pt x="324" y="480"/>
                </a:lnTo>
                <a:lnTo>
                  <a:pt x="322" y="486"/>
                </a:lnTo>
                <a:lnTo>
                  <a:pt x="324" y="488"/>
                </a:lnTo>
                <a:lnTo>
                  <a:pt x="322" y="503"/>
                </a:lnTo>
                <a:lnTo>
                  <a:pt x="320" y="503"/>
                </a:lnTo>
                <a:lnTo>
                  <a:pt x="320" y="518"/>
                </a:lnTo>
                <a:lnTo>
                  <a:pt x="315" y="524"/>
                </a:lnTo>
                <a:lnTo>
                  <a:pt x="320" y="533"/>
                </a:lnTo>
                <a:lnTo>
                  <a:pt x="320" y="535"/>
                </a:lnTo>
                <a:lnTo>
                  <a:pt x="318" y="541"/>
                </a:lnTo>
                <a:lnTo>
                  <a:pt x="313" y="548"/>
                </a:lnTo>
                <a:lnTo>
                  <a:pt x="315" y="556"/>
                </a:lnTo>
                <a:lnTo>
                  <a:pt x="320" y="565"/>
                </a:lnTo>
                <a:lnTo>
                  <a:pt x="315" y="571"/>
                </a:lnTo>
                <a:lnTo>
                  <a:pt x="301" y="573"/>
                </a:lnTo>
                <a:lnTo>
                  <a:pt x="294" y="580"/>
                </a:lnTo>
                <a:lnTo>
                  <a:pt x="288" y="582"/>
                </a:lnTo>
                <a:lnTo>
                  <a:pt x="286" y="588"/>
                </a:lnTo>
                <a:lnTo>
                  <a:pt x="286" y="597"/>
                </a:lnTo>
                <a:lnTo>
                  <a:pt x="292" y="603"/>
                </a:lnTo>
                <a:lnTo>
                  <a:pt x="294" y="610"/>
                </a:lnTo>
                <a:lnTo>
                  <a:pt x="288" y="620"/>
                </a:lnTo>
                <a:lnTo>
                  <a:pt x="281" y="618"/>
                </a:lnTo>
                <a:lnTo>
                  <a:pt x="275" y="614"/>
                </a:lnTo>
                <a:lnTo>
                  <a:pt x="260" y="610"/>
                </a:lnTo>
                <a:lnTo>
                  <a:pt x="254" y="605"/>
                </a:lnTo>
                <a:lnTo>
                  <a:pt x="247" y="605"/>
                </a:lnTo>
                <a:lnTo>
                  <a:pt x="239" y="607"/>
                </a:lnTo>
                <a:lnTo>
                  <a:pt x="228" y="622"/>
                </a:lnTo>
                <a:lnTo>
                  <a:pt x="228" y="629"/>
                </a:lnTo>
                <a:lnTo>
                  <a:pt x="232" y="633"/>
                </a:lnTo>
                <a:lnTo>
                  <a:pt x="224" y="629"/>
                </a:lnTo>
                <a:lnTo>
                  <a:pt x="215" y="631"/>
                </a:lnTo>
                <a:lnTo>
                  <a:pt x="205" y="616"/>
                </a:lnTo>
                <a:lnTo>
                  <a:pt x="196" y="601"/>
                </a:lnTo>
                <a:lnTo>
                  <a:pt x="200" y="595"/>
                </a:lnTo>
                <a:lnTo>
                  <a:pt x="203" y="586"/>
                </a:lnTo>
                <a:lnTo>
                  <a:pt x="194" y="573"/>
                </a:lnTo>
                <a:lnTo>
                  <a:pt x="192" y="556"/>
                </a:lnTo>
                <a:lnTo>
                  <a:pt x="186" y="554"/>
                </a:lnTo>
                <a:lnTo>
                  <a:pt x="177" y="550"/>
                </a:lnTo>
                <a:lnTo>
                  <a:pt x="173" y="541"/>
                </a:lnTo>
                <a:lnTo>
                  <a:pt x="162" y="535"/>
                </a:lnTo>
                <a:lnTo>
                  <a:pt x="154" y="537"/>
                </a:lnTo>
                <a:lnTo>
                  <a:pt x="151" y="529"/>
                </a:lnTo>
                <a:lnTo>
                  <a:pt x="147" y="529"/>
                </a:lnTo>
                <a:lnTo>
                  <a:pt x="126" y="514"/>
                </a:lnTo>
                <a:lnTo>
                  <a:pt x="113" y="499"/>
                </a:lnTo>
                <a:lnTo>
                  <a:pt x="111" y="492"/>
                </a:lnTo>
                <a:lnTo>
                  <a:pt x="113" y="484"/>
                </a:lnTo>
                <a:lnTo>
                  <a:pt x="117" y="478"/>
                </a:lnTo>
                <a:lnTo>
                  <a:pt x="120" y="465"/>
                </a:lnTo>
                <a:lnTo>
                  <a:pt x="126" y="454"/>
                </a:lnTo>
                <a:lnTo>
                  <a:pt x="126" y="441"/>
                </a:lnTo>
                <a:lnTo>
                  <a:pt x="130" y="433"/>
                </a:lnTo>
                <a:lnTo>
                  <a:pt x="130" y="431"/>
                </a:lnTo>
                <a:lnTo>
                  <a:pt x="115" y="422"/>
                </a:lnTo>
                <a:lnTo>
                  <a:pt x="109" y="420"/>
                </a:lnTo>
                <a:lnTo>
                  <a:pt x="102" y="418"/>
                </a:lnTo>
                <a:lnTo>
                  <a:pt x="98" y="418"/>
                </a:lnTo>
                <a:lnTo>
                  <a:pt x="94" y="424"/>
                </a:lnTo>
                <a:lnTo>
                  <a:pt x="85" y="426"/>
                </a:lnTo>
                <a:lnTo>
                  <a:pt x="81" y="420"/>
                </a:lnTo>
                <a:lnTo>
                  <a:pt x="73" y="388"/>
                </a:lnTo>
                <a:lnTo>
                  <a:pt x="68" y="382"/>
                </a:lnTo>
                <a:lnTo>
                  <a:pt x="62" y="375"/>
                </a:lnTo>
                <a:lnTo>
                  <a:pt x="45" y="365"/>
                </a:lnTo>
                <a:lnTo>
                  <a:pt x="41" y="358"/>
                </a:lnTo>
                <a:lnTo>
                  <a:pt x="34" y="354"/>
                </a:lnTo>
                <a:lnTo>
                  <a:pt x="26" y="346"/>
                </a:lnTo>
                <a:lnTo>
                  <a:pt x="17" y="339"/>
                </a:lnTo>
                <a:lnTo>
                  <a:pt x="15" y="331"/>
                </a:lnTo>
                <a:lnTo>
                  <a:pt x="11" y="324"/>
                </a:lnTo>
                <a:lnTo>
                  <a:pt x="7" y="309"/>
                </a:lnTo>
                <a:lnTo>
                  <a:pt x="5" y="305"/>
                </a:lnTo>
                <a:lnTo>
                  <a:pt x="0" y="292"/>
                </a:lnTo>
                <a:lnTo>
                  <a:pt x="0" y="277"/>
                </a:lnTo>
                <a:lnTo>
                  <a:pt x="2" y="271"/>
                </a:lnTo>
                <a:lnTo>
                  <a:pt x="7" y="262"/>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11" name="Freeform 717"/>
          <p:cNvSpPr>
            <a:spLocks/>
          </p:cNvSpPr>
          <p:nvPr/>
        </p:nvSpPr>
        <p:spPr bwMode="auto">
          <a:xfrm>
            <a:off x="4989512" y="2878138"/>
            <a:ext cx="565150" cy="1004888"/>
          </a:xfrm>
          <a:custGeom>
            <a:avLst/>
            <a:gdLst>
              <a:gd name="T0" fmla="*/ 11 w 356"/>
              <a:gd name="T1" fmla="*/ 250 h 633"/>
              <a:gd name="T2" fmla="*/ 30 w 356"/>
              <a:gd name="T3" fmla="*/ 228 h 633"/>
              <a:gd name="T4" fmla="*/ 32 w 356"/>
              <a:gd name="T5" fmla="*/ 209 h 633"/>
              <a:gd name="T6" fmla="*/ 28 w 356"/>
              <a:gd name="T7" fmla="*/ 164 h 633"/>
              <a:gd name="T8" fmla="*/ 60 w 356"/>
              <a:gd name="T9" fmla="*/ 137 h 633"/>
              <a:gd name="T10" fmla="*/ 90 w 356"/>
              <a:gd name="T11" fmla="*/ 120 h 633"/>
              <a:gd name="T12" fmla="*/ 102 w 356"/>
              <a:gd name="T13" fmla="*/ 69 h 633"/>
              <a:gd name="T14" fmla="*/ 85 w 356"/>
              <a:gd name="T15" fmla="*/ 52 h 633"/>
              <a:gd name="T16" fmla="*/ 62 w 356"/>
              <a:gd name="T17" fmla="*/ 26 h 633"/>
              <a:gd name="T18" fmla="*/ 190 w 356"/>
              <a:gd name="T19" fmla="*/ 9 h 633"/>
              <a:gd name="T20" fmla="*/ 292 w 356"/>
              <a:gd name="T21" fmla="*/ 7 h 633"/>
              <a:gd name="T22" fmla="*/ 301 w 356"/>
              <a:gd name="T23" fmla="*/ 43 h 633"/>
              <a:gd name="T24" fmla="*/ 313 w 356"/>
              <a:gd name="T25" fmla="*/ 69 h 633"/>
              <a:gd name="T26" fmla="*/ 324 w 356"/>
              <a:gd name="T27" fmla="*/ 90 h 633"/>
              <a:gd name="T28" fmla="*/ 345 w 356"/>
              <a:gd name="T29" fmla="*/ 367 h 633"/>
              <a:gd name="T30" fmla="*/ 347 w 356"/>
              <a:gd name="T31" fmla="*/ 390 h 633"/>
              <a:gd name="T32" fmla="*/ 356 w 356"/>
              <a:gd name="T33" fmla="*/ 420 h 633"/>
              <a:gd name="T34" fmla="*/ 345 w 356"/>
              <a:gd name="T35" fmla="*/ 443 h 633"/>
              <a:gd name="T36" fmla="*/ 330 w 356"/>
              <a:gd name="T37" fmla="*/ 473 h 633"/>
              <a:gd name="T38" fmla="*/ 324 w 356"/>
              <a:gd name="T39" fmla="*/ 488 h 633"/>
              <a:gd name="T40" fmla="*/ 320 w 356"/>
              <a:gd name="T41" fmla="*/ 518 h 633"/>
              <a:gd name="T42" fmla="*/ 320 w 356"/>
              <a:gd name="T43" fmla="*/ 535 h 633"/>
              <a:gd name="T44" fmla="*/ 315 w 356"/>
              <a:gd name="T45" fmla="*/ 556 h 633"/>
              <a:gd name="T46" fmla="*/ 301 w 356"/>
              <a:gd name="T47" fmla="*/ 573 h 633"/>
              <a:gd name="T48" fmla="*/ 286 w 356"/>
              <a:gd name="T49" fmla="*/ 588 h 633"/>
              <a:gd name="T50" fmla="*/ 294 w 356"/>
              <a:gd name="T51" fmla="*/ 610 h 633"/>
              <a:gd name="T52" fmla="*/ 275 w 356"/>
              <a:gd name="T53" fmla="*/ 614 h 633"/>
              <a:gd name="T54" fmla="*/ 247 w 356"/>
              <a:gd name="T55" fmla="*/ 605 h 633"/>
              <a:gd name="T56" fmla="*/ 228 w 356"/>
              <a:gd name="T57" fmla="*/ 629 h 633"/>
              <a:gd name="T58" fmla="*/ 215 w 356"/>
              <a:gd name="T59" fmla="*/ 631 h 633"/>
              <a:gd name="T60" fmla="*/ 200 w 356"/>
              <a:gd name="T61" fmla="*/ 595 h 633"/>
              <a:gd name="T62" fmla="*/ 192 w 356"/>
              <a:gd name="T63" fmla="*/ 556 h 633"/>
              <a:gd name="T64" fmla="*/ 173 w 356"/>
              <a:gd name="T65" fmla="*/ 541 h 633"/>
              <a:gd name="T66" fmla="*/ 151 w 356"/>
              <a:gd name="T67" fmla="*/ 529 h 633"/>
              <a:gd name="T68" fmla="*/ 113 w 356"/>
              <a:gd name="T69" fmla="*/ 499 h 633"/>
              <a:gd name="T70" fmla="*/ 117 w 356"/>
              <a:gd name="T71" fmla="*/ 478 h 633"/>
              <a:gd name="T72" fmla="*/ 126 w 356"/>
              <a:gd name="T73" fmla="*/ 441 h 633"/>
              <a:gd name="T74" fmla="*/ 115 w 356"/>
              <a:gd name="T75" fmla="*/ 422 h 633"/>
              <a:gd name="T76" fmla="*/ 98 w 356"/>
              <a:gd name="T77" fmla="*/ 418 h 633"/>
              <a:gd name="T78" fmla="*/ 81 w 356"/>
              <a:gd name="T79" fmla="*/ 420 h 633"/>
              <a:gd name="T80" fmla="*/ 62 w 356"/>
              <a:gd name="T81" fmla="*/ 375 h 633"/>
              <a:gd name="T82" fmla="*/ 34 w 356"/>
              <a:gd name="T83" fmla="*/ 354 h 633"/>
              <a:gd name="T84" fmla="*/ 15 w 356"/>
              <a:gd name="T85" fmla="*/ 331 h 633"/>
              <a:gd name="T86" fmla="*/ 5 w 356"/>
              <a:gd name="T87" fmla="*/ 305 h 633"/>
              <a:gd name="T88" fmla="*/ 2 w 356"/>
              <a:gd name="T89" fmla="*/ 27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6" h="633">
                <a:moveTo>
                  <a:pt x="7" y="262"/>
                </a:moveTo>
                <a:lnTo>
                  <a:pt x="11" y="258"/>
                </a:lnTo>
                <a:lnTo>
                  <a:pt x="11" y="250"/>
                </a:lnTo>
                <a:lnTo>
                  <a:pt x="7" y="243"/>
                </a:lnTo>
                <a:lnTo>
                  <a:pt x="13" y="237"/>
                </a:lnTo>
                <a:lnTo>
                  <a:pt x="30" y="228"/>
                </a:lnTo>
                <a:lnTo>
                  <a:pt x="32" y="220"/>
                </a:lnTo>
                <a:lnTo>
                  <a:pt x="32" y="213"/>
                </a:lnTo>
                <a:lnTo>
                  <a:pt x="32" y="209"/>
                </a:lnTo>
                <a:lnTo>
                  <a:pt x="43" y="194"/>
                </a:lnTo>
                <a:lnTo>
                  <a:pt x="43" y="179"/>
                </a:lnTo>
                <a:lnTo>
                  <a:pt x="28" y="164"/>
                </a:lnTo>
                <a:lnTo>
                  <a:pt x="30" y="152"/>
                </a:lnTo>
                <a:lnTo>
                  <a:pt x="34" y="143"/>
                </a:lnTo>
                <a:lnTo>
                  <a:pt x="60" y="137"/>
                </a:lnTo>
                <a:lnTo>
                  <a:pt x="68" y="133"/>
                </a:lnTo>
                <a:lnTo>
                  <a:pt x="81" y="126"/>
                </a:lnTo>
                <a:lnTo>
                  <a:pt x="90" y="120"/>
                </a:lnTo>
                <a:lnTo>
                  <a:pt x="90" y="105"/>
                </a:lnTo>
                <a:lnTo>
                  <a:pt x="100" y="92"/>
                </a:lnTo>
                <a:lnTo>
                  <a:pt x="102" y="69"/>
                </a:lnTo>
                <a:lnTo>
                  <a:pt x="100" y="62"/>
                </a:lnTo>
                <a:lnTo>
                  <a:pt x="94" y="56"/>
                </a:lnTo>
                <a:lnTo>
                  <a:pt x="85" y="52"/>
                </a:lnTo>
                <a:lnTo>
                  <a:pt x="79" y="45"/>
                </a:lnTo>
                <a:lnTo>
                  <a:pt x="77" y="37"/>
                </a:lnTo>
                <a:lnTo>
                  <a:pt x="62" y="26"/>
                </a:lnTo>
                <a:lnTo>
                  <a:pt x="58" y="20"/>
                </a:lnTo>
                <a:lnTo>
                  <a:pt x="58" y="18"/>
                </a:lnTo>
                <a:lnTo>
                  <a:pt x="190" y="9"/>
                </a:lnTo>
                <a:lnTo>
                  <a:pt x="288" y="0"/>
                </a:lnTo>
                <a:lnTo>
                  <a:pt x="292" y="0"/>
                </a:lnTo>
                <a:lnTo>
                  <a:pt x="292" y="7"/>
                </a:lnTo>
                <a:lnTo>
                  <a:pt x="292" y="22"/>
                </a:lnTo>
                <a:lnTo>
                  <a:pt x="292" y="30"/>
                </a:lnTo>
                <a:lnTo>
                  <a:pt x="301" y="43"/>
                </a:lnTo>
                <a:lnTo>
                  <a:pt x="307" y="49"/>
                </a:lnTo>
                <a:lnTo>
                  <a:pt x="309" y="60"/>
                </a:lnTo>
                <a:lnTo>
                  <a:pt x="313" y="69"/>
                </a:lnTo>
                <a:lnTo>
                  <a:pt x="315" y="75"/>
                </a:lnTo>
                <a:lnTo>
                  <a:pt x="324" y="86"/>
                </a:lnTo>
                <a:lnTo>
                  <a:pt x="324" y="90"/>
                </a:lnTo>
                <a:lnTo>
                  <a:pt x="347" y="352"/>
                </a:lnTo>
                <a:lnTo>
                  <a:pt x="341" y="360"/>
                </a:lnTo>
                <a:lnTo>
                  <a:pt x="345" y="367"/>
                </a:lnTo>
                <a:lnTo>
                  <a:pt x="341" y="375"/>
                </a:lnTo>
                <a:lnTo>
                  <a:pt x="341" y="382"/>
                </a:lnTo>
                <a:lnTo>
                  <a:pt x="347" y="390"/>
                </a:lnTo>
                <a:lnTo>
                  <a:pt x="354" y="399"/>
                </a:lnTo>
                <a:lnTo>
                  <a:pt x="352" y="405"/>
                </a:lnTo>
                <a:lnTo>
                  <a:pt x="356" y="420"/>
                </a:lnTo>
                <a:lnTo>
                  <a:pt x="356" y="429"/>
                </a:lnTo>
                <a:lnTo>
                  <a:pt x="354" y="429"/>
                </a:lnTo>
                <a:lnTo>
                  <a:pt x="345" y="443"/>
                </a:lnTo>
                <a:lnTo>
                  <a:pt x="345" y="452"/>
                </a:lnTo>
                <a:lnTo>
                  <a:pt x="337" y="467"/>
                </a:lnTo>
                <a:lnTo>
                  <a:pt x="330" y="473"/>
                </a:lnTo>
                <a:lnTo>
                  <a:pt x="324" y="480"/>
                </a:lnTo>
                <a:lnTo>
                  <a:pt x="322" y="486"/>
                </a:lnTo>
                <a:lnTo>
                  <a:pt x="324" y="488"/>
                </a:lnTo>
                <a:lnTo>
                  <a:pt x="322" y="503"/>
                </a:lnTo>
                <a:lnTo>
                  <a:pt x="320" y="503"/>
                </a:lnTo>
                <a:lnTo>
                  <a:pt x="320" y="518"/>
                </a:lnTo>
                <a:lnTo>
                  <a:pt x="315" y="524"/>
                </a:lnTo>
                <a:lnTo>
                  <a:pt x="320" y="533"/>
                </a:lnTo>
                <a:lnTo>
                  <a:pt x="320" y="535"/>
                </a:lnTo>
                <a:lnTo>
                  <a:pt x="318" y="541"/>
                </a:lnTo>
                <a:lnTo>
                  <a:pt x="313" y="548"/>
                </a:lnTo>
                <a:lnTo>
                  <a:pt x="315" y="556"/>
                </a:lnTo>
                <a:lnTo>
                  <a:pt x="320" y="565"/>
                </a:lnTo>
                <a:lnTo>
                  <a:pt x="315" y="571"/>
                </a:lnTo>
                <a:lnTo>
                  <a:pt x="301" y="573"/>
                </a:lnTo>
                <a:lnTo>
                  <a:pt x="294" y="580"/>
                </a:lnTo>
                <a:lnTo>
                  <a:pt x="288" y="582"/>
                </a:lnTo>
                <a:lnTo>
                  <a:pt x="286" y="588"/>
                </a:lnTo>
                <a:lnTo>
                  <a:pt x="286" y="597"/>
                </a:lnTo>
                <a:lnTo>
                  <a:pt x="292" y="603"/>
                </a:lnTo>
                <a:lnTo>
                  <a:pt x="294" y="610"/>
                </a:lnTo>
                <a:lnTo>
                  <a:pt x="288" y="620"/>
                </a:lnTo>
                <a:lnTo>
                  <a:pt x="281" y="618"/>
                </a:lnTo>
                <a:lnTo>
                  <a:pt x="275" y="614"/>
                </a:lnTo>
                <a:lnTo>
                  <a:pt x="260" y="610"/>
                </a:lnTo>
                <a:lnTo>
                  <a:pt x="254" y="605"/>
                </a:lnTo>
                <a:lnTo>
                  <a:pt x="247" y="605"/>
                </a:lnTo>
                <a:lnTo>
                  <a:pt x="239" y="607"/>
                </a:lnTo>
                <a:lnTo>
                  <a:pt x="228" y="622"/>
                </a:lnTo>
                <a:lnTo>
                  <a:pt x="228" y="629"/>
                </a:lnTo>
                <a:lnTo>
                  <a:pt x="232" y="633"/>
                </a:lnTo>
                <a:lnTo>
                  <a:pt x="224" y="629"/>
                </a:lnTo>
                <a:lnTo>
                  <a:pt x="215" y="631"/>
                </a:lnTo>
                <a:lnTo>
                  <a:pt x="205" y="616"/>
                </a:lnTo>
                <a:lnTo>
                  <a:pt x="196" y="601"/>
                </a:lnTo>
                <a:lnTo>
                  <a:pt x="200" y="595"/>
                </a:lnTo>
                <a:lnTo>
                  <a:pt x="203" y="586"/>
                </a:lnTo>
                <a:lnTo>
                  <a:pt x="194" y="573"/>
                </a:lnTo>
                <a:lnTo>
                  <a:pt x="192" y="556"/>
                </a:lnTo>
                <a:lnTo>
                  <a:pt x="186" y="554"/>
                </a:lnTo>
                <a:lnTo>
                  <a:pt x="177" y="550"/>
                </a:lnTo>
                <a:lnTo>
                  <a:pt x="173" y="541"/>
                </a:lnTo>
                <a:lnTo>
                  <a:pt x="162" y="535"/>
                </a:lnTo>
                <a:lnTo>
                  <a:pt x="154" y="537"/>
                </a:lnTo>
                <a:lnTo>
                  <a:pt x="151" y="529"/>
                </a:lnTo>
                <a:lnTo>
                  <a:pt x="147" y="529"/>
                </a:lnTo>
                <a:lnTo>
                  <a:pt x="126" y="514"/>
                </a:lnTo>
                <a:lnTo>
                  <a:pt x="113" y="499"/>
                </a:lnTo>
                <a:lnTo>
                  <a:pt x="111" y="492"/>
                </a:lnTo>
                <a:lnTo>
                  <a:pt x="113" y="484"/>
                </a:lnTo>
                <a:lnTo>
                  <a:pt x="117" y="478"/>
                </a:lnTo>
                <a:lnTo>
                  <a:pt x="120" y="465"/>
                </a:lnTo>
                <a:lnTo>
                  <a:pt x="126" y="454"/>
                </a:lnTo>
                <a:lnTo>
                  <a:pt x="126" y="441"/>
                </a:lnTo>
                <a:lnTo>
                  <a:pt x="130" y="433"/>
                </a:lnTo>
                <a:lnTo>
                  <a:pt x="130" y="431"/>
                </a:lnTo>
                <a:lnTo>
                  <a:pt x="115" y="422"/>
                </a:lnTo>
                <a:lnTo>
                  <a:pt x="109" y="420"/>
                </a:lnTo>
                <a:lnTo>
                  <a:pt x="102" y="418"/>
                </a:lnTo>
                <a:lnTo>
                  <a:pt x="98" y="418"/>
                </a:lnTo>
                <a:lnTo>
                  <a:pt x="94" y="424"/>
                </a:lnTo>
                <a:lnTo>
                  <a:pt x="85" y="426"/>
                </a:lnTo>
                <a:lnTo>
                  <a:pt x="81" y="420"/>
                </a:lnTo>
                <a:lnTo>
                  <a:pt x="73" y="388"/>
                </a:lnTo>
                <a:lnTo>
                  <a:pt x="68" y="382"/>
                </a:lnTo>
                <a:lnTo>
                  <a:pt x="62" y="375"/>
                </a:lnTo>
                <a:lnTo>
                  <a:pt x="45" y="365"/>
                </a:lnTo>
                <a:lnTo>
                  <a:pt x="41" y="358"/>
                </a:lnTo>
                <a:lnTo>
                  <a:pt x="34" y="354"/>
                </a:lnTo>
                <a:lnTo>
                  <a:pt x="26" y="346"/>
                </a:lnTo>
                <a:lnTo>
                  <a:pt x="17" y="339"/>
                </a:lnTo>
                <a:lnTo>
                  <a:pt x="15" y="331"/>
                </a:lnTo>
                <a:lnTo>
                  <a:pt x="11" y="324"/>
                </a:lnTo>
                <a:lnTo>
                  <a:pt x="7" y="309"/>
                </a:lnTo>
                <a:lnTo>
                  <a:pt x="5" y="305"/>
                </a:lnTo>
                <a:lnTo>
                  <a:pt x="0" y="292"/>
                </a:lnTo>
                <a:lnTo>
                  <a:pt x="0" y="277"/>
                </a:lnTo>
                <a:lnTo>
                  <a:pt x="2" y="271"/>
                </a:lnTo>
                <a:lnTo>
                  <a:pt x="7" y="262"/>
                </a:lnTo>
              </a:path>
            </a:pathLst>
          </a:custGeom>
          <a:solidFill>
            <a:srgbClr val="CCCCCC"/>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12" name="Freeform 718"/>
          <p:cNvSpPr>
            <a:spLocks/>
          </p:cNvSpPr>
          <p:nvPr/>
        </p:nvSpPr>
        <p:spPr bwMode="auto">
          <a:xfrm>
            <a:off x="5216525" y="3822700"/>
            <a:ext cx="1203325" cy="428625"/>
          </a:xfrm>
          <a:custGeom>
            <a:avLst/>
            <a:gdLst>
              <a:gd name="T0" fmla="*/ 2 w 758"/>
              <a:gd name="T1" fmla="*/ 268 h 270"/>
              <a:gd name="T2" fmla="*/ 13 w 758"/>
              <a:gd name="T3" fmla="*/ 257 h 270"/>
              <a:gd name="T4" fmla="*/ 21 w 758"/>
              <a:gd name="T5" fmla="*/ 253 h 270"/>
              <a:gd name="T6" fmla="*/ 17 w 758"/>
              <a:gd name="T7" fmla="*/ 225 h 270"/>
              <a:gd name="T8" fmla="*/ 13 w 758"/>
              <a:gd name="T9" fmla="*/ 219 h 270"/>
              <a:gd name="T10" fmla="*/ 21 w 758"/>
              <a:gd name="T11" fmla="*/ 221 h 270"/>
              <a:gd name="T12" fmla="*/ 21 w 758"/>
              <a:gd name="T13" fmla="*/ 208 h 270"/>
              <a:gd name="T14" fmla="*/ 28 w 758"/>
              <a:gd name="T15" fmla="*/ 200 h 270"/>
              <a:gd name="T16" fmla="*/ 28 w 758"/>
              <a:gd name="T17" fmla="*/ 189 h 270"/>
              <a:gd name="T18" fmla="*/ 32 w 758"/>
              <a:gd name="T19" fmla="*/ 185 h 270"/>
              <a:gd name="T20" fmla="*/ 47 w 758"/>
              <a:gd name="T21" fmla="*/ 174 h 270"/>
              <a:gd name="T22" fmla="*/ 49 w 758"/>
              <a:gd name="T23" fmla="*/ 164 h 270"/>
              <a:gd name="T24" fmla="*/ 45 w 758"/>
              <a:gd name="T25" fmla="*/ 153 h 270"/>
              <a:gd name="T26" fmla="*/ 55 w 758"/>
              <a:gd name="T27" fmla="*/ 134 h 270"/>
              <a:gd name="T28" fmla="*/ 57 w 758"/>
              <a:gd name="T29" fmla="*/ 121 h 270"/>
              <a:gd name="T30" fmla="*/ 60 w 758"/>
              <a:gd name="T31" fmla="*/ 110 h 270"/>
              <a:gd name="T32" fmla="*/ 55 w 758"/>
              <a:gd name="T33" fmla="*/ 96 h 270"/>
              <a:gd name="T34" fmla="*/ 62 w 758"/>
              <a:gd name="T35" fmla="*/ 100 h 270"/>
              <a:gd name="T36" fmla="*/ 192 w 758"/>
              <a:gd name="T37" fmla="*/ 85 h 270"/>
              <a:gd name="T38" fmla="*/ 187 w 758"/>
              <a:gd name="T39" fmla="*/ 64 h 270"/>
              <a:gd name="T40" fmla="*/ 211 w 758"/>
              <a:gd name="T41" fmla="*/ 66 h 270"/>
              <a:gd name="T42" fmla="*/ 283 w 758"/>
              <a:gd name="T43" fmla="*/ 59 h 270"/>
              <a:gd name="T44" fmla="*/ 373 w 758"/>
              <a:gd name="T45" fmla="*/ 51 h 270"/>
              <a:gd name="T46" fmla="*/ 441 w 758"/>
              <a:gd name="T47" fmla="*/ 42 h 270"/>
              <a:gd name="T48" fmla="*/ 509 w 758"/>
              <a:gd name="T49" fmla="*/ 36 h 270"/>
              <a:gd name="T50" fmla="*/ 571 w 758"/>
              <a:gd name="T51" fmla="*/ 32 h 270"/>
              <a:gd name="T52" fmla="*/ 607 w 758"/>
              <a:gd name="T53" fmla="*/ 23 h 270"/>
              <a:gd name="T54" fmla="*/ 681 w 758"/>
              <a:gd name="T55" fmla="*/ 12 h 270"/>
              <a:gd name="T56" fmla="*/ 747 w 758"/>
              <a:gd name="T57" fmla="*/ 2 h 270"/>
              <a:gd name="T58" fmla="*/ 754 w 758"/>
              <a:gd name="T59" fmla="*/ 10 h 270"/>
              <a:gd name="T60" fmla="*/ 752 w 758"/>
              <a:gd name="T61" fmla="*/ 32 h 270"/>
              <a:gd name="T62" fmla="*/ 739 w 758"/>
              <a:gd name="T63" fmla="*/ 40 h 270"/>
              <a:gd name="T64" fmla="*/ 726 w 758"/>
              <a:gd name="T65" fmla="*/ 64 h 270"/>
              <a:gd name="T66" fmla="*/ 707 w 758"/>
              <a:gd name="T67" fmla="*/ 64 h 270"/>
              <a:gd name="T68" fmla="*/ 696 w 758"/>
              <a:gd name="T69" fmla="*/ 76 h 270"/>
              <a:gd name="T70" fmla="*/ 686 w 758"/>
              <a:gd name="T71" fmla="*/ 85 h 270"/>
              <a:gd name="T72" fmla="*/ 671 w 758"/>
              <a:gd name="T73" fmla="*/ 81 h 270"/>
              <a:gd name="T74" fmla="*/ 666 w 758"/>
              <a:gd name="T75" fmla="*/ 91 h 270"/>
              <a:gd name="T76" fmla="*/ 656 w 758"/>
              <a:gd name="T77" fmla="*/ 104 h 270"/>
              <a:gd name="T78" fmla="*/ 645 w 758"/>
              <a:gd name="T79" fmla="*/ 110 h 270"/>
              <a:gd name="T80" fmla="*/ 611 w 758"/>
              <a:gd name="T81" fmla="*/ 140 h 270"/>
              <a:gd name="T82" fmla="*/ 592 w 758"/>
              <a:gd name="T83" fmla="*/ 145 h 270"/>
              <a:gd name="T84" fmla="*/ 571 w 758"/>
              <a:gd name="T85" fmla="*/ 159 h 270"/>
              <a:gd name="T86" fmla="*/ 566 w 758"/>
              <a:gd name="T87" fmla="*/ 176 h 270"/>
              <a:gd name="T88" fmla="*/ 545 w 758"/>
              <a:gd name="T89" fmla="*/ 187 h 270"/>
              <a:gd name="T90" fmla="*/ 509 w 758"/>
              <a:gd name="T91" fmla="*/ 219 h 270"/>
              <a:gd name="T92" fmla="*/ 326 w 758"/>
              <a:gd name="T93" fmla="*/ 243 h 270"/>
              <a:gd name="T94" fmla="*/ 194 w 758"/>
              <a:gd name="T95" fmla="*/ 255 h 270"/>
              <a:gd name="T96" fmla="*/ 126 w 758"/>
              <a:gd name="T97" fmla="*/ 26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270">
                <a:moveTo>
                  <a:pt x="0" y="270"/>
                </a:moveTo>
                <a:lnTo>
                  <a:pt x="2" y="268"/>
                </a:lnTo>
                <a:lnTo>
                  <a:pt x="8" y="264"/>
                </a:lnTo>
                <a:lnTo>
                  <a:pt x="13" y="257"/>
                </a:lnTo>
                <a:lnTo>
                  <a:pt x="19" y="255"/>
                </a:lnTo>
                <a:lnTo>
                  <a:pt x="21" y="253"/>
                </a:lnTo>
                <a:lnTo>
                  <a:pt x="17" y="234"/>
                </a:lnTo>
                <a:lnTo>
                  <a:pt x="17" y="225"/>
                </a:lnTo>
                <a:lnTo>
                  <a:pt x="11" y="228"/>
                </a:lnTo>
                <a:lnTo>
                  <a:pt x="13" y="219"/>
                </a:lnTo>
                <a:lnTo>
                  <a:pt x="19" y="217"/>
                </a:lnTo>
                <a:lnTo>
                  <a:pt x="21" y="221"/>
                </a:lnTo>
                <a:lnTo>
                  <a:pt x="23" y="215"/>
                </a:lnTo>
                <a:lnTo>
                  <a:pt x="21" y="208"/>
                </a:lnTo>
                <a:lnTo>
                  <a:pt x="26" y="206"/>
                </a:lnTo>
                <a:lnTo>
                  <a:pt x="28" y="200"/>
                </a:lnTo>
                <a:lnTo>
                  <a:pt x="34" y="196"/>
                </a:lnTo>
                <a:lnTo>
                  <a:pt x="28" y="189"/>
                </a:lnTo>
                <a:lnTo>
                  <a:pt x="28" y="187"/>
                </a:lnTo>
                <a:lnTo>
                  <a:pt x="32" y="185"/>
                </a:lnTo>
                <a:lnTo>
                  <a:pt x="38" y="181"/>
                </a:lnTo>
                <a:lnTo>
                  <a:pt x="47" y="174"/>
                </a:lnTo>
                <a:lnTo>
                  <a:pt x="43" y="168"/>
                </a:lnTo>
                <a:lnTo>
                  <a:pt x="49" y="164"/>
                </a:lnTo>
                <a:lnTo>
                  <a:pt x="49" y="157"/>
                </a:lnTo>
                <a:lnTo>
                  <a:pt x="45" y="153"/>
                </a:lnTo>
                <a:lnTo>
                  <a:pt x="51" y="142"/>
                </a:lnTo>
                <a:lnTo>
                  <a:pt x="55" y="134"/>
                </a:lnTo>
                <a:lnTo>
                  <a:pt x="47" y="127"/>
                </a:lnTo>
                <a:lnTo>
                  <a:pt x="57" y="121"/>
                </a:lnTo>
                <a:lnTo>
                  <a:pt x="53" y="113"/>
                </a:lnTo>
                <a:lnTo>
                  <a:pt x="60" y="110"/>
                </a:lnTo>
                <a:lnTo>
                  <a:pt x="57" y="104"/>
                </a:lnTo>
                <a:lnTo>
                  <a:pt x="55" y="96"/>
                </a:lnTo>
                <a:lnTo>
                  <a:pt x="62" y="96"/>
                </a:lnTo>
                <a:lnTo>
                  <a:pt x="62" y="100"/>
                </a:lnTo>
                <a:lnTo>
                  <a:pt x="68" y="96"/>
                </a:lnTo>
                <a:lnTo>
                  <a:pt x="192" y="85"/>
                </a:lnTo>
                <a:lnTo>
                  <a:pt x="192" y="76"/>
                </a:lnTo>
                <a:lnTo>
                  <a:pt x="187" y="64"/>
                </a:lnTo>
                <a:lnTo>
                  <a:pt x="202" y="64"/>
                </a:lnTo>
                <a:lnTo>
                  <a:pt x="211" y="66"/>
                </a:lnTo>
                <a:lnTo>
                  <a:pt x="247" y="61"/>
                </a:lnTo>
                <a:lnTo>
                  <a:pt x="283" y="59"/>
                </a:lnTo>
                <a:lnTo>
                  <a:pt x="328" y="53"/>
                </a:lnTo>
                <a:lnTo>
                  <a:pt x="373" y="51"/>
                </a:lnTo>
                <a:lnTo>
                  <a:pt x="417" y="47"/>
                </a:lnTo>
                <a:lnTo>
                  <a:pt x="441" y="42"/>
                </a:lnTo>
                <a:lnTo>
                  <a:pt x="481" y="40"/>
                </a:lnTo>
                <a:lnTo>
                  <a:pt x="509" y="36"/>
                </a:lnTo>
                <a:lnTo>
                  <a:pt x="539" y="34"/>
                </a:lnTo>
                <a:lnTo>
                  <a:pt x="571" y="32"/>
                </a:lnTo>
                <a:lnTo>
                  <a:pt x="579" y="27"/>
                </a:lnTo>
                <a:lnTo>
                  <a:pt x="607" y="23"/>
                </a:lnTo>
                <a:lnTo>
                  <a:pt x="622" y="23"/>
                </a:lnTo>
                <a:lnTo>
                  <a:pt x="681" y="12"/>
                </a:lnTo>
                <a:lnTo>
                  <a:pt x="718" y="8"/>
                </a:lnTo>
                <a:lnTo>
                  <a:pt x="747" y="2"/>
                </a:lnTo>
                <a:lnTo>
                  <a:pt x="758" y="0"/>
                </a:lnTo>
                <a:lnTo>
                  <a:pt x="754" y="10"/>
                </a:lnTo>
                <a:lnTo>
                  <a:pt x="754" y="17"/>
                </a:lnTo>
                <a:lnTo>
                  <a:pt x="752" y="32"/>
                </a:lnTo>
                <a:lnTo>
                  <a:pt x="745" y="34"/>
                </a:lnTo>
                <a:lnTo>
                  <a:pt x="739" y="40"/>
                </a:lnTo>
                <a:lnTo>
                  <a:pt x="735" y="55"/>
                </a:lnTo>
                <a:lnTo>
                  <a:pt x="726" y="64"/>
                </a:lnTo>
                <a:lnTo>
                  <a:pt x="720" y="59"/>
                </a:lnTo>
                <a:lnTo>
                  <a:pt x="707" y="64"/>
                </a:lnTo>
                <a:lnTo>
                  <a:pt x="701" y="70"/>
                </a:lnTo>
                <a:lnTo>
                  <a:pt x="696" y="76"/>
                </a:lnTo>
                <a:lnTo>
                  <a:pt x="690" y="85"/>
                </a:lnTo>
                <a:lnTo>
                  <a:pt x="686" y="85"/>
                </a:lnTo>
                <a:lnTo>
                  <a:pt x="679" y="76"/>
                </a:lnTo>
                <a:lnTo>
                  <a:pt x="671" y="81"/>
                </a:lnTo>
                <a:lnTo>
                  <a:pt x="669" y="85"/>
                </a:lnTo>
                <a:lnTo>
                  <a:pt x="666" y="91"/>
                </a:lnTo>
                <a:lnTo>
                  <a:pt x="660" y="89"/>
                </a:lnTo>
                <a:lnTo>
                  <a:pt x="656" y="104"/>
                </a:lnTo>
                <a:lnTo>
                  <a:pt x="652" y="110"/>
                </a:lnTo>
                <a:lnTo>
                  <a:pt x="645" y="110"/>
                </a:lnTo>
                <a:lnTo>
                  <a:pt x="632" y="121"/>
                </a:lnTo>
                <a:lnTo>
                  <a:pt x="611" y="140"/>
                </a:lnTo>
                <a:lnTo>
                  <a:pt x="605" y="145"/>
                </a:lnTo>
                <a:lnTo>
                  <a:pt x="592" y="145"/>
                </a:lnTo>
                <a:lnTo>
                  <a:pt x="577" y="153"/>
                </a:lnTo>
                <a:lnTo>
                  <a:pt x="571" y="159"/>
                </a:lnTo>
                <a:lnTo>
                  <a:pt x="566" y="168"/>
                </a:lnTo>
                <a:lnTo>
                  <a:pt x="566" y="176"/>
                </a:lnTo>
                <a:lnTo>
                  <a:pt x="560" y="185"/>
                </a:lnTo>
                <a:lnTo>
                  <a:pt x="545" y="187"/>
                </a:lnTo>
                <a:lnTo>
                  <a:pt x="545" y="217"/>
                </a:lnTo>
                <a:lnTo>
                  <a:pt x="509" y="219"/>
                </a:lnTo>
                <a:lnTo>
                  <a:pt x="428" y="230"/>
                </a:lnTo>
                <a:lnTo>
                  <a:pt x="326" y="243"/>
                </a:lnTo>
                <a:lnTo>
                  <a:pt x="194" y="253"/>
                </a:lnTo>
                <a:lnTo>
                  <a:pt x="194" y="255"/>
                </a:lnTo>
                <a:lnTo>
                  <a:pt x="194" y="255"/>
                </a:lnTo>
                <a:lnTo>
                  <a:pt x="126" y="262"/>
                </a:lnTo>
                <a:lnTo>
                  <a:pt x="0" y="270"/>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13" name="Freeform 719"/>
          <p:cNvSpPr>
            <a:spLocks/>
          </p:cNvSpPr>
          <p:nvPr/>
        </p:nvSpPr>
        <p:spPr bwMode="auto">
          <a:xfrm>
            <a:off x="5216525" y="3822700"/>
            <a:ext cx="1203325" cy="428625"/>
          </a:xfrm>
          <a:custGeom>
            <a:avLst/>
            <a:gdLst>
              <a:gd name="T0" fmla="*/ 2 w 758"/>
              <a:gd name="T1" fmla="*/ 268 h 270"/>
              <a:gd name="T2" fmla="*/ 13 w 758"/>
              <a:gd name="T3" fmla="*/ 257 h 270"/>
              <a:gd name="T4" fmla="*/ 21 w 758"/>
              <a:gd name="T5" fmla="*/ 253 h 270"/>
              <a:gd name="T6" fmla="*/ 17 w 758"/>
              <a:gd name="T7" fmla="*/ 225 h 270"/>
              <a:gd name="T8" fmla="*/ 13 w 758"/>
              <a:gd name="T9" fmla="*/ 219 h 270"/>
              <a:gd name="T10" fmla="*/ 21 w 758"/>
              <a:gd name="T11" fmla="*/ 221 h 270"/>
              <a:gd name="T12" fmla="*/ 21 w 758"/>
              <a:gd name="T13" fmla="*/ 208 h 270"/>
              <a:gd name="T14" fmla="*/ 28 w 758"/>
              <a:gd name="T15" fmla="*/ 200 h 270"/>
              <a:gd name="T16" fmla="*/ 28 w 758"/>
              <a:gd name="T17" fmla="*/ 189 h 270"/>
              <a:gd name="T18" fmla="*/ 32 w 758"/>
              <a:gd name="T19" fmla="*/ 185 h 270"/>
              <a:gd name="T20" fmla="*/ 47 w 758"/>
              <a:gd name="T21" fmla="*/ 174 h 270"/>
              <a:gd name="T22" fmla="*/ 49 w 758"/>
              <a:gd name="T23" fmla="*/ 164 h 270"/>
              <a:gd name="T24" fmla="*/ 45 w 758"/>
              <a:gd name="T25" fmla="*/ 153 h 270"/>
              <a:gd name="T26" fmla="*/ 55 w 758"/>
              <a:gd name="T27" fmla="*/ 134 h 270"/>
              <a:gd name="T28" fmla="*/ 57 w 758"/>
              <a:gd name="T29" fmla="*/ 121 h 270"/>
              <a:gd name="T30" fmla="*/ 60 w 758"/>
              <a:gd name="T31" fmla="*/ 110 h 270"/>
              <a:gd name="T32" fmla="*/ 55 w 758"/>
              <a:gd name="T33" fmla="*/ 96 h 270"/>
              <a:gd name="T34" fmla="*/ 62 w 758"/>
              <a:gd name="T35" fmla="*/ 100 h 270"/>
              <a:gd name="T36" fmla="*/ 192 w 758"/>
              <a:gd name="T37" fmla="*/ 85 h 270"/>
              <a:gd name="T38" fmla="*/ 187 w 758"/>
              <a:gd name="T39" fmla="*/ 64 h 270"/>
              <a:gd name="T40" fmla="*/ 211 w 758"/>
              <a:gd name="T41" fmla="*/ 66 h 270"/>
              <a:gd name="T42" fmla="*/ 283 w 758"/>
              <a:gd name="T43" fmla="*/ 59 h 270"/>
              <a:gd name="T44" fmla="*/ 373 w 758"/>
              <a:gd name="T45" fmla="*/ 51 h 270"/>
              <a:gd name="T46" fmla="*/ 441 w 758"/>
              <a:gd name="T47" fmla="*/ 42 h 270"/>
              <a:gd name="T48" fmla="*/ 509 w 758"/>
              <a:gd name="T49" fmla="*/ 36 h 270"/>
              <a:gd name="T50" fmla="*/ 571 w 758"/>
              <a:gd name="T51" fmla="*/ 32 h 270"/>
              <a:gd name="T52" fmla="*/ 607 w 758"/>
              <a:gd name="T53" fmla="*/ 23 h 270"/>
              <a:gd name="T54" fmla="*/ 681 w 758"/>
              <a:gd name="T55" fmla="*/ 12 h 270"/>
              <a:gd name="T56" fmla="*/ 747 w 758"/>
              <a:gd name="T57" fmla="*/ 2 h 270"/>
              <a:gd name="T58" fmla="*/ 754 w 758"/>
              <a:gd name="T59" fmla="*/ 10 h 270"/>
              <a:gd name="T60" fmla="*/ 752 w 758"/>
              <a:gd name="T61" fmla="*/ 32 h 270"/>
              <a:gd name="T62" fmla="*/ 739 w 758"/>
              <a:gd name="T63" fmla="*/ 40 h 270"/>
              <a:gd name="T64" fmla="*/ 726 w 758"/>
              <a:gd name="T65" fmla="*/ 64 h 270"/>
              <a:gd name="T66" fmla="*/ 707 w 758"/>
              <a:gd name="T67" fmla="*/ 64 h 270"/>
              <a:gd name="T68" fmla="*/ 696 w 758"/>
              <a:gd name="T69" fmla="*/ 76 h 270"/>
              <a:gd name="T70" fmla="*/ 686 w 758"/>
              <a:gd name="T71" fmla="*/ 85 h 270"/>
              <a:gd name="T72" fmla="*/ 671 w 758"/>
              <a:gd name="T73" fmla="*/ 81 h 270"/>
              <a:gd name="T74" fmla="*/ 666 w 758"/>
              <a:gd name="T75" fmla="*/ 91 h 270"/>
              <a:gd name="T76" fmla="*/ 656 w 758"/>
              <a:gd name="T77" fmla="*/ 104 h 270"/>
              <a:gd name="T78" fmla="*/ 645 w 758"/>
              <a:gd name="T79" fmla="*/ 110 h 270"/>
              <a:gd name="T80" fmla="*/ 611 w 758"/>
              <a:gd name="T81" fmla="*/ 140 h 270"/>
              <a:gd name="T82" fmla="*/ 592 w 758"/>
              <a:gd name="T83" fmla="*/ 145 h 270"/>
              <a:gd name="T84" fmla="*/ 571 w 758"/>
              <a:gd name="T85" fmla="*/ 159 h 270"/>
              <a:gd name="T86" fmla="*/ 566 w 758"/>
              <a:gd name="T87" fmla="*/ 176 h 270"/>
              <a:gd name="T88" fmla="*/ 545 w 758"/>
              <a:gd name="T89" fmla="*/ 187 h 270"/>
              <a:gd name="T90" fmla="*/ 509 w 758"/>
              <a:gd name="T91" fmla="*/ 219 h 270"/>
              <a:gd name="T92" fmla="*/ 326 w 758"/>
              <a:gd name="T93" fmla="*/ 243 h 270"/>
              <a:gd name="T94" fmla="*/ 194 w 758"/>
              <a:gd name="T95" fmla="*/ 255 h 270"/>
              <a:gd name="T96" fmla="*/ 126 w 758"/>
              <a:gd name="T97" fmla="*/ 26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270">
                <a:moveTo>
                  <a:pt x="0" y="270"/>
                </a:moveTo>
                <a:lnTo>
                  <a:pt x="2" y="268"/>
                </a:lnTo>
                <a:lnTo>
                  <a:pt x="8" y="264"/>
                </a:lnTo>
                <a:lnTo>
                  <a:pt x="13" y="257"/>
                </a:lnTo>
                <a:lnTo>
                  <a:pt x="19" y="255"/>
                </a:lnTo>
                <a:lnTo>
                  <a:pt x="21" y="253"/>
                </a:lnTo>
                <a:lnTo>
                  <a:pt x="17" y="234"/>
                </a:lnTo>
                <a:lnTo>
                  <a:pt x="17" y="225"/>
                </a:lnTo>
                <a:lnTo>
                  <a:pt x="11" y="228"/>
                </a:lnTo>
                <a:lnTo>
                  <a:pt x="13" y="219"/>
                </a:lnTo>
                <a:lnTo>
                  <a:pt x="19" y="217"/>
                </a:lnTo>
                <a:lnTo>
                  <a:pt x="21" y="221"/>
                </a:lnTo>
                <a:lnTo>
                  <a:pt x="23" y="215"/>
                </a:lnTo>
                <a:lnTo>
                  <a:pt x="21" y="208"/>
                </a:lnTo>
                <a:lnTo>
                  <a:pt x="26" y="206"/>
                </a:lnTo>
                <a:lnTo>
                  <a:pt x="28" y="200"/>
                </a:lnTo>
                <a:lnTo>
                  <a:pt x="34" y="196"/>
                </a:lnTo>
                <a:lnTo>
                  <a:pt x="28" y="189"/>
                </a:lnTo>
                <a:lnTo>
                  <a:pt x="28" y="187"/>
                </a:lnTo>
                <a:lnTo>
                  <a:pt x="32" y="185"/>
                </a:lnTo>
                <a:lnTo>
                  <a:pt x="38" y="181"/>
                </a:lnTo>
                <a:lnTo>
                  <a:pt x="47" y="174"/>
                </a:lnTo>
                <a:lnTo>
                  <a:pt x="43" y="168"/>
                </a:lnTo>
                <a:lnTo>
                  <a:pt x="49" y="164"/>
                </a:lnTo>
                <a:lnTo>
                  <a:pt x="49" y="157"/>
                </a:lnTo>
                <a:lnTo>
                  <a:pt x="45" y="153"/>
                </a:lnTo>
                <a:lnTo>
                  <a:pt x="51" y="142"/>
                </a:lnTo>
                <a:lnTo>
                  <a:pt x="55" y="134"/>
                </a:lnTo>
                <a:lnTo>
                  <a:pt x="47" y="127"/>
                </a:lnTo>
                <a:lnTo>
                  <a:pt x="57" y="121"/>
                </a:lnTo>
                <a:lnTo>
                  <a:pt x="53" y="113"/>
                </a:lnTo>
                <a:lnTo>
                  <a:pt x="60" y="110"/>
                </a:lnTo>
                <a:lnTo>
                  <a:pt x="57" y="104"/>
                </a:lnTo>
                <a:lnTo>
                  <a:pt x="55" y="96"/>
                </a:lnTo>
                <a:lnTo>
                  <a:pt x="62" y="96"/>
                </a:lnTo>
                <a:lnTo>
                  <a:pt x="62" y="100"/>
                </a:lnTo>
                <a:lnTo>
                  <a:pt x="68" y="96"/>
                </a:lnTo>
                <a:lnTo>
                  <a:pt x="192" y="85"/>
                </a:lnTo>
                <a:lnTo>
                  <a:pt x="192" y="76"/>
                </a:lnTo>
                <a:lnTo>
                  <a:pt x="187" y="64"/>
                </a:lnTo>
                <a:lnTo>
                  <a:pt x="202" y="64"/>
                </a:lnTo>
                <a:lnTo>
                  <a:pt x="211" y="66"/>
                </a:lnTo>
                <a:lnTo>
                  <a:pt x="247" y="61"/>
                </a:lnTo>
                <a:lnTo>
                  <a:pt x="283" y="59"/>
                </a:lnTo>
                <a:lnTo>
                  <a:pt x="328" y="53"/>
                </a:lnTo>
                <a:lnTo>
                  <a:pt x="373" y="51"/>
                </a:lnTo>
                <a:lnTo>
                  <a:pt x="417" y="47"/>
                </a:lnTo>
                <a:lnTo>
                  <a:pt x="441" y="42"/>
                </a:lnTo>
                <a:lnTo>
                  <a:pt x="481" y="40"/>
                </a:lnTo>
                <a:lnTo>
                  <a:pt x="509" y="36"/>
                </a:lnTo>
                <a:lnTo>
                  <a:pt x="539" y="34"/>
                </a:lnTo>
                <a:lnTo>
                  <a:pt x="571" y="32"/>
                </a:lnTo>
                <a:lnTo>
                  <a:pt x="579" y="27"/>
                </a:lnTo>
                <a:lnTo>
                  <a:pt x="607" y="23"/>
                </a:lnTo>
                <a:lnTo>
                  <a:pt x="622" y="23"/>
                </a:lnTo>
                <a:lnTo>
                  <a:pt x="681" y="12"/>
                </a:lnTo>
                <a:lnTo>
                  <a:pt x="718" y="8"/>
                </a:lnTo>
                <a:lnTo>
                  <a:pt x="747" y="2"/>
                </a:lnTo>
                <a:lnTo>
                  <a:pt x="758" y="0"/>
                </a:lnTo>
                <a:lnTo>
                  <a:pt x="754" y="10"/>
                </a:lnTo>
                <a:lnTo>
                  <a:pt x="754" y="17"/>
                </a:lnTo>
                <a:lnTo>
                  <a:pt x="752" y="32"/>
                </a:lnTo>
                <a:lnTo>
                  <a:pt x="745" y="34"/>
                </a:lnTo>
                <a:lnTo>
                  <a:pt x="739" y="40"/>
                </a:lnTo>
                <a:lnTo>
                  <a:pt x="735" y="55"/>
                </a:lnTo>
                <a:lnTo>
                  <a:pt x="726" y="64"/>
                </a:lnTo>
                <a:lnTo>
                  <a:pt x="720" y="59"/>
                </a:lnTo>
                <a:lnTo>
                  <a:pt x="707" y="64"/>
                </a:lnTo>
                <a:lnTo>
                  <a:pt x="701" y="70"/>
                </a:lnTo>
                <a:lnTo>
                  <a:pt x="696" y="76"/>
                </a:lnTo>
                <a:lnTo>
                  <a:pt x="690" y="85"/>
                </a:lnTo>
                <a:lnTo>
                  <a:pt x="686" y="85"/>
                </a:lnTo>
                <a:lnTo>
                  <a:pt x="679" y="76"/>
                </a:lnTo>
                <a:lnTo>
                  <a:pt x="671" y="81"/>
                </a:lnTo>
                <a:lnTo>
                  <a:pt x="669" y="85"/>
                </a:lnTo>
                <a:lnTo>
                  <a:pt x="666" y="91"/>
                </a:lnTo>
                <a:lnTo>
                  <a:pt x="660" y="89"/>
                </a:lnTo>
                <a:lnTo>
                  <a:pt x="656" y="104"/>
                </a:lnTo>
                <a:lnTo>
                  <a:pt x="652" y="110"/>
                </a:lnTo>
                <a:lnTo>
                  <a:pt x="645" y="110"/>
                </a:lnTo>
                <a:lnTo>
                  <a:pt x="632" y="121"/>
                </a:lnTo>
                <a:lnTo>
                  <a:pt x="611" y="140"/>
                </a:lnTo>
                <a:lnTo>
                  <a:pt x="605" y="145"/>
                </a:lnTo>
                <a:lnTo>
                  <a:pt x="592" y="145"/>
                </a:lnTo>
                <a:lnTo>
                  <a:pt x="577" y="153"/>
                </a:lnTo>
                <a:lnTo>
                  <a:pt x="571" y="159"/>
                </a:lnTo>
                <a:lnTo>
                  <a:pt x="566" y="168"/>
                </a:lnTo>
                <a:lnTo>
                  <a:pt x="566" y="176"/>
                </a:lnTo>
                <a:lnTo>
                  <a:pt x="560" y="185"/>
                </a:lnTo>
                <a:lnTo>
                  <a:pt x="545" y="187"/>
                </a:lnTo>
                <a:lnTo>
                  <a:pt x="545" y="217"/>
                </a:lnTo>
                <a:lnTo>
                  <a:pt x="509" y="219"/>
                </a:lnTo>
                <a:lnTo>
                  <a:pt x="428" y="230"/>
                </a:lnTo>
                <a:lnTo>
                  <a:pt x="326" y="243"/>
                </a:lnTo>
                <a:lnTo>
                  <a:pt x="194" y="253"/>
                </a:lnTo>
                <a:lnTo>
                  <a:pt x="194" y="255"/>
                </a:lnTo>
                <a:lnTo>
                  <a:pt x="194" y="255"/>
                </a:lnTo>
                <a:lnTo>
                  <a:pt x="126" y="262"/>
                </a:lnTo>
                <a:lnTo>
                  <a:pt x="0" y="27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4" name="Freeform 720"/>
          <p:cNvSpPr>
            <a:spLocks/>
          </p:cNvSpPr>
          <p:nvPr/>
        </p:nvSpPr>
        <p:spPr bwMode="auto">
          <a:xfrm>
            <a:off x="5303837" y="3963988"/>
            <a:ext cx="11113" cy="11113"/>
          </a:xfrm>
          <a:custGeom>
            <a:avLst/>
            <a:gdLst>
              <a:gd name="T0" fmla="*/ 0 w 7"/>
              <a:gd name="T1" fmla="*/ 7 h 7"/>
              <a:gd name="T2" fmla="*/ 5 w 7"/>
              <a:gd name="T3" fmla="*/ 0 h 7"/>
              <a:gd name="T4" fmla="*/ 7 w 7"/>
              <a:gd name="T5" fmla="*/ 7 h 7"/>
              <a:gd name="T6" fmla="*/ 0 w 7"/>
              <a:gd name="T7" fmla="*/ 7 h 7"/>
            </a:gdLst>
            <a:ahLst/>
            <a:cxnLst>
              <a:cxn ang="0">
                <a:pos x="T0" y="T1"/>
              </a:cxn>
              <a:cxn ang="0">
                <a:pos x="T2" y="T3"/>
              </a:cxn>
              <a:cxn ang="0">
                <a:pos x="T4" y="T5"/>
              </a:cxn>
              <a:cxn ang="0">
                <a:pos x="T6" y="T7"/>
              </a:cxn>
            </a:cxnLst>
            <a:rect l="0" t="0" r="r" b="b"/>
            <a:pathLst>
              <a:path w="7" h="7">
                <a:moveTo>
                  <a:pt x="0" y="7"/>
                </a:moveTo>
                <a:lnTo>
                  <a:pt x="5" y="0"/>
                </a:lnTo>
                <a:lnTo>
                  <a:pt x="7" y="7"/>
                </a:lnTo>
                <a:lnTo>
                  <a:pt x="0" y="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721"/>
          <p:cNvSpPr>
            <a:spLocks/>
          </p:cNvSpPr>
          <p:nvPr/>
        </p:nvSpPr>
        <p:spPr bwMode="auto">
          <a:xfrm>
            <a:off x="5303837" y="3963988"/>
            <a:ext cx="11113" cy="11113"/>
          </a:xfrm>
          <a:custGeom>
            <a:avLst/>
            <a:gdLst>
              <a:gd name="T0" fmla="*/ 0 w 7"/>
              <a:gd name="T1" fmla="*/ 7 h 7"/>
              <a:gd name="T2" fmla="*/ 5 w 7"/>
              <a:gd name="T3" fmla="*/ 0 h 7"/>
              <a:gd name="T4" fmla="*/ 7 w 7"/>
              <a:gd name="T5" fmla="*/ 7 h 7"/>
              <a:gd name="T6" fmla="*/ 0 w 7"/>
              <a:gd name="T7" fmla="*/ 7 h 7"/>
            </a:gdLst>
            <a:ahLst/>
            <a:cxnLst>
              <a:cxn ang="0">
                <a:pos x="T0" y="T1"/>
              </a:cxn>
              <a:cxn ang="0">
                <a:pos x="T2" y="T3"/>
              </a:cxn>
              <a:cxn ang="0">
                <a:pos x="T4" y="T5"/>
              </a:cxn>
              <a:cxn ang="0">
                <a:pos x="T6" y="T7"/>
              </a:cxn>
            </a:cxnLst>
            <a:rect l="0" t="0" r="r" b="b"/>
            <a:pathLst>
              <a:path w="7" h="7">
                <a:moveTo>
                  <a:pt x="0" y="7"/>
                </a:moveTo>
                <a:lnTo>
                  <a:pt x="5" y="0"/>
                </a:lnTo>
                <a:lnTo>
                  <a:pt x="7" y="7"/>
                </a:lnTo>
                <a:lnTo>
                  <a:pt x="0" y="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6" name="Freeform 722"/>
          <p:cNvSpPr>
            <a:spLocks/>
          </p:cNvSpPr>
          <p:nvPr/>
        </p:nvSpPr>
        <p:spPr bwMode="auto">
          <a:xfrm>
            <a:off x="5324475" y="3433763"/>
            <a:ext cx="1023938" cy="541338"/>
          </a:xfrm>
          <a:custGeom>
            <a:avLst/>
            <a:gdLst>
              <a:gd name="T0" fmla="*/ 11 w 645"/>
              <a:gd name="T1" fmla="*/ 328 h 341"/>
              <a:gd name="T2" fmla="*/ 17 w 645"/>
              <a:gd name="T3" fmla="*/ 313 h 341"/>
              <a:gd name="T4" fmla="*/ 24 w 645"/>
              <a:gd name="T5" fmla="*/ 289 h 341"/>
              <a:gd name="T6" fmla="*/ 17 w 645"/>
              <a:gd name="T7" fmla="*/ 272 h 341"/>
              <a:gd name="T8" fmla="*/ 43 w 645"/>
              <a:gd name="T9" fmla="*/ 255 h 341"/>
              <a:gd name="T10" fmla="*/ 70 w 645"/>
              <a:gd name="T11" fmla="*/ 268 h 341"/>
              <a:gd name="T12" fmla="*/ 81 w 645"/>
              <a:gd name="T13" fmla="*/ 253 h 341"/>
              <a:gd name="T14" fmla="*/ 77 w 645"/>
              <a:gd name="T15" fmla="*/ 232 h 341"/>
              <a:gd name="T16" fmla="*/ 104 w 645"/>
              <a:gd name="T17" fmla="*/ 221 h 341"/>
              <a:gd name="T18" fmla="*/ 102 w 645"/>
              <a:gd name="T19" fmla="*/ 198 h 341"/>
              <a:gd name="T20" fmla="*/ 109 w 645"/>
              <a:gd name="T21" fmla="*/ 183 h 341"/>
              <a:gd name="T22" fmla="*/ 119 w 645"/>
              <a:gd name="T23" fmla="*/ 170 h 341"/>
              <a:gd name="T24" fmla="*/ 141 w 645"/>
              <a:gd name="T25" fmla="*/ 174 h 341"/>
              <a:gd name="T26" fmla="*/ 156 w 645"/>
              <a:gd name="T27" fmla="*/ 164 h 341"/>
              <a:gd name="T28" fmla="*/ 192 w 645"/>
              <a:gd name="T29" fmla="*/ 174 h 341"/>
              <a:gd name="T30" fmla="*/ 200 w 645"/>
              <a:gd name="T31" fmla="*/ 160 h 341"/>
              <a:gd name="T32" fmla="*/ 219 w 645"/>
              <a:gd name="T33" fmla="*/ 157 h 341"/>
              <a:gd name="T34" fmla="*/ 236 w 645"/>
              <a:gd name="T35" fmla="*/ 157 h 341"/>
              <a:gd name="T36" fmla="*/ 247 w 645"/>
              <a:gd name="T37" fmla="*/ 134 h 341"/>
              <a:gd name="T38" fmla="*/ 258 w 645"/>
              <a:gd name="T39" fmla="*/ 128 h 341"/>
              <a:gd name="T40" fmla="*/ 285 w 645"/>
              <a:gd name="T41" fmla="*/ 142 h 341"/>
              <a:gd name="T42" fmla="*/ 292 w 645"/>
              <a:gd name="T43" fmla="*/ 123 h 341"/>
              <a:gd name="T44" fmla="*/ 313 w 645"/>
              <a:gd name="T45" fmla="*/ 102 h 341"/>
              <a:gd name="T46" fmla="*/ 328 w 645"/>
              <a:gd name="T47" fmla="*/ 76 h 341"/>
              <a:gd name="T48" fmla="*/ 326 w 645"/>
              <a:gd name="T49" fmla="*/ 53 h 341"/>
              <a:gd name="T50" fmla="*/ 347 w 645"/>
              <a:gd name="T51" fmla="*/ 55 h 341"/>
              <a:gd name="T52" fmla="*/ 379 w 645"/>
              <a:gd name="T53" fmla="*/ 34 h 341"/>
              <a:gd name="T54" fmla="*/ 371 w 645"/>
              <a:gd name="T55" fmla="*/ 10 h 341"/>
              <a:gd name="T56" fmla="*/ 390 w 645"/>
              <a:gd name="T57" fmla="*/ 6 h 341"/>
              <a:gd name="T58" fmla="*/ 424 w 645"/>
              <a:gd name="T59" fmla="*/ 17 h 341"/>
              <a:gd name="T60" fmla="*/ 456 w 645"/>
              <a:gd name="T61" fmla="*/ 32 h 341"/>
              <a:gd name="T62" fmla="*/ 483 w 645"/>
              <a:gd name="T63" fmla="*/ 42 h 341"/>
              <a:gd name="T64" fmla="*/ 503 w 645"/>
              <a:gd name="T65" fmla="*/ 38 h 341"/>
              <a:gd name="T66" fmla="*/ 524 w 645"/>
              <a:gd name="T67" fmla="*/ 40 h 341"/>
              <a:gd name="T68" fmla="*/ 545 w 645"/>
              <a:gd name="T69" fmla="*/ 21 h 341"/>
              <a:gd name="T70" fmla="*/ 564 w 645"/>
              <a:gd name="T71" fmla="*/ 42 h 341"/>
              <a:gd name="T72" fmla="*/ 577 w 645"/>
              <a:gd name="T73" fmla="*/ 59 h 341"/>
              <a:gd name="T74" fmla="*/ 577 w 645"/>
              <a:gd name="T75" fmla="*/ 85 h 341"/>
              <a:gd name="T76" fmla="*/ 601 w 645"/>
              <a:gd name="T77" fmla="*/ 115 h 341"/>
              <a:gd name="T78" fmla="*/ 645 w 645"/>
              <a:gd name="T79" fmla="*/ 145 h 341"/>
              <a:gd name="T80" fmla="*/ 588 w 645"/>
              <a:gd name="T81" fmla="*/ 204 h 341"/>
              <a:gd name="T82" fmla="*/ 579 w 645"/>
              <a:gd name="T83" fmla="*/ 226 h 341"/>
              <a:gd name="T84" fmla="*/ 558 w 645"/>
              <a:gd name="T85" fmla="*/ 240 h 341"/>
              <a:gd name="T86" fmla="*/ 532 w 645"/>
              <a:gd name="T87" fmla="*/ 262 h 341"/>
              <a:gd name="T88" fmla="*/ 503 w 645"/>
              <a:gd name="T89" fmla="*/ 277 h 341"/>
              <a:gd name="T90" fmla="*/ 413 w 645"/>
              <a:gd name="T91" fmla="*/ 285 h 341"/>
              <a:gd name="T92" fmla="*/ 305 w 645"/>
              <a:gd name="T93" fmla="*/ 296 h 341"/>
              <a:gd name="T94" fmla="*/ 179 w 645"/>
              <a:gd name="T95" fmla="*/ 306 h 341"/>
              <a:gd name="T96" fmla="*/ 119 w 645"/>
              <a:gd name="T97" fmla="*/ 309 h 341"/>
              <a:gd name="T98" fmla="*/ 0 w 645"/>
              <a:gd name="T9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5" h="341">
                <a:moveTo>
                  <a:pt x="0" y="341"/>
                </a:moveTo>
                <a:lnTo>
                  <a:pt x="2" y="332"/>
                </a:lnTo>
                <a:lnTo>
                  <a:pt x="11" y="328"/>
                </a:lnTo>
                <a:lnTo>
                  <a:pt x="17" y="330"/>
                </a:lnTo>
                <a:lnTo>
                  <a:pt x="21" y="319"/>
                </a:lnTo>
                <a:lnTo>
                  <a:pt x="17" y="313"/>
                </a:lnTo>
                <a:lnTo>
                  <a:pt x="24" y="309"/>
                </a:lnTo>
                <a:lnTo>
                  <a:pt x="21" y="298"/>
                </a:lnTo>
                <a:lnTo>
                  <a:pt x="24" y="289"/>
                </a:lnTo>
                <a:lnTo>
                  <a:pt x="21" y="283"/>
                </a:lnTo>
                <a:lnTo>
                  <a:pt x="17" y="279"/>
                </a:lnTo>
                <a:lnTo>
                  <a:pt x="17" y="272"/>
                </a:lnTo>
                <a:lnTo>
                  <a:pt x="28" y="257"/>
                </a:lnTo>
                <a:lnTo>
                  <a:pt x="36" y="255"/>
                </a:lnTo>
                <a:lnTo>
                  <a:pt x="43" y="255"/>
                </a:lnTo>
                <a:lnTo>
                  <a:pt x="49" y="260"/>
                </a:lnTo>
                <a:lnTo>
                  <a:pt x="64" y="264"/>
                </a:lnTo>
                <a:lnTo>
                  <a:pt x="70" y="268"/>
                </a:lnTo>
                <a:lnTo>
                  <a:pt x="77" y="270"/>
                </a:lnTo>
                <a:lnTo>
                  <a:pt x="83" y="260"/>
                </a:lnTo>
                <a:lnTo>
                  <a:pt x="81" y="253"/>
                </a:lnTo>
                <a:lnTo>
                  <a:pt x="75" y="247"/>
                </a:lnTo>
                <a:lnTo>
                  <a:pt x="75" y="238"/>
                </a:lnTo>
                <a:lnTo>
                  <a:pt x="77" y="232"/>
                </a:lnTo>
                <a:lnTo>
                  <a:pt x="83" y="230"/>
                </a:lnTo>
                <a:lnTo>
                  <a:pt x="90" y="223"/>
                </a:lnTo>
                <a:lnTo>
                  <a:pt x="104" y="221"/>
                </a:lnTo>
                <a:lnTo>
                  <a:pt x="109" y="215"/>
                </a:lnTo>
                <a:lnTo>
                  <a:pt x="104" y="206"/>
                </a:lnTo>
                <a:lnTo>
                  <a:pt x="102" y="198"/>
                </a:lnTo>
                <a:lnTo>
                  <a:pt x="107" y="191"/>
                </a:lnTo>
                <a:lnTo>
                  <a:pt x="109" y="185"/>
                </a:lnTo>
                <a:lnTo>
                  <a:pt x="109" y="183"/>
                </a:lnTo>
                <a:lnTo>
                  <a:pt x="117" y="183"/>
                </a:lnTo>
                <a:lnTo>
                  <a:pt x="121" y="177"/>
                </a:lnTo>
                <a:lnTo>
                  <a:pt x="119" y="170"/>
                </a:lnTo>
                <a:lnTo>
                  <a:pt x="134" y="172"/>
                </a:lnTo>
                <a:lnTo>
                  <a:pt x="141" y="168"/>
                </a:lnTo>
                <a:lnTo>
                  <a:pt x="141" y="174"/>
                </a:lnTo>
                <a:lnTo>
                  <a:pt x="149" y="172"/>
                </a:lnTo>
                <a:lnTo>
                  <a:pt x="147" y="166"/>
                </a:lnTo>
                <a:lnTo>
                  <a:pt x="156" y="164"/>
                </a:lnTo>
                <a:lnTo>
                  <a:pt x="164" y="162"/>
                </a:lnTo>
                <a:lnTo>
                  <a:pt x="185" y="170"/>
                </a:lnTo>
                <a:lnTo>
                  <a:pt x="192" y="174"/>
                </a:lnTo>
                <a:lnTo>
                  <a:pt x="196" y="168"/>
                </a:lnTo>
                <a:lnTo>
                  <a:pt x="196" y="166"/>
                </a:lnTo>
                <a:lnTo>
                  <a:pt x="200" y="160"/>
                </a:lnTo>
                <a:lnTo>
                  <a:pt x="209" y="155"/>
                </a:lnTo>
                <a:lnTo>
                  <a:pt x="215" y="151"/>
                </a:lnTo>
                <a:lnTo>
                  <a:pt x="219" y="157"/>
                </a:lnTo>
                <a:lnTo>
                  <a:pt x="226" y="160"/>
                </a:lnTo>
                <a:lnTo>
                  <a:pt x="234" y="164"/>
                </a:lnTo>
                <a:lnTo>
                  <a:pt x="236" y="157"/>
                </a:lnTo>
                <a:lnTo>
                  <a:pt x="241" y="149"/>
                </a:lnTo>
                <a:lnTo>
                  <a:pt x="241" y="142"/>
                </a:lnTo>
                <a:lnTo>
                  <a:pt x="247" y="134"/>
                </a:lnTo>
                <a:lnTo>
                  <a:pt x="253" y="130"/>
                </a:lnTo>
                <a:lnTo>
                  <a:pt x="251" y="123"/>
                </a:lnTo>
                <a:lnTo>
                  <a:pt x="258" y="128"/>
                </a:lnTo>
                <a:lnTo>
                  <a:pt x="264" y="138"/>
                </a:lnTo>
                <a:lnTo>
                  <a:pt x="271" y="140"/>
                </a:lnTo>
                <a:lnTo>
                  <a:pt x="285" y="142"/>
                </a:lnTo>
                <a:lnTo>
                  <a:pt x="292" y="138"/>
                </a:lnTo>
                <a:lnTo>
                  <a:pt x="294" y="130"/>
                </a:lnTo>
                <a:lnTo>
                  <a:pt x="292" y="123"/>
                </a:lnTo>
                <a:lnTo>
                  <a:pt x="298" y="108"/>
                </a:lnTo>
                <a:lnTo>
                  <a:pt x="305" y="108"/>
                </a:lnTo>
                <a:lnTo>
                  <a:pt x="313" y="102"/>
                </a:lnTo>
                <a:lnTo>
                  <a:pt x="315" y="87"/>
                </a:lnTo>
                <a:lnTo>
                  <a:pt x="322" y="83"/>
                </a:lnTo>
                <a:lnTo>
                  <a:pt x="328" y="76"/>
                </a:lnTo>
                <a:lnTo>
                  <a:pt x="330" y="70"/>
                </a:lnTo>
                <a:lnTo>
                  <a:pt x="326" y="62"/>
                </a:lnTo>
                <a:lnTo>
                  <a:pt x="326" y="53"/>
                </a:lnTo>
                <a:lnTo>
                  <a:pt x="332" y="53"/>
                </a:lnTo>
                <a:lnTo>
                  <a:pt x="341" y="49"/>
                </a:lnTo>
                <a:lnTo>
                  <a:pt x="347" y="55"/>
                </a:lnTo>
                <a:lnTo>
                  <a:pt x="362" y="44"/>
                </a:lnTo>
                <a:lnTo>
                  <a:pt x="377" y="40"/>
                </a:lnTo>
                <a:lnTo>
                  <a:pt x="379" y="34"/>
                </a:lnTo>
                <a:lnTo>
                  <a:pt x="373" y="25"/>
                </a:lnTo>
                <a:lnTo>
                  <a:pt x="375" y="19"/>
                </a:lnTo>
                <a:lnTo>
                  <a:pt x="371" y="10"/>
                </a:lnTo>
                <a:lnTo>
                  <a:pt x="373" y="6"/>
                </a:lnTo>
                <a:lnTo>
                  <a:pt x="383" y="0"/>
                </a:lnTo>
                <a:lnTo>
                  <a:pt x="390" y="6"/>
                </a:lnTo>
                <a:lnTo>
                  <a:pt x="403" y="2"/>
                </a:lnTo>
                <a:lnTo>
                  <a:pt x="420" y="8"/>
                </a:lnTo>
                <a:lnTo>
                  <a:pt x="424" y="17"/>
                </a:lnTo>
                <a:lnTo>
                  <a:pt x="434" y="32"/>
                </a:lnTo>
                <a:lnTo>
                  <a:pt x="441" y="34"/>
                </a:lnTo>
                <a:lnTo>
                  <a:pt x="456" y="32"/>
                </a:lnTo>
                <a:lnTo>
                  <a:pt x="460" y="32"/>
                </a:lnTo>
                <a:lnTo>
                  <a:pt x="475" y="44"/>
                </a:lnTo>
                <a:lnTo>
                  <a:pt x="483" y="42"/>
                </a:lnTo>
                <a:lnTo>
                  <a:pt x="488" y="36"/>
                </a:lnTo>
                <a:lnTo>
                  <a:pt x="494" y="36"/>
                </a:lnTo>
                <a:lnTo>
                  <a:pt x="503" y="38"/>
                </a:lnTo>
                <a:lnTo>
                  <a:pt x="511" y="42"/>
                </a:lnTo>
                <a:lnTo>
                  <a:pt x="518" y="40"/>
                </a:lnTo>
                <a:lnTo>
                  <a:pt x="524" y="40"/>
                </a:lnTo>
                <a:lnTo>
                  <a:pt x="528" y="34"/>
                </a:lnTo>
                <a:lnTo>
                  <a:pt x="537" y="25"/>
                </a:lnTo>
                <a:lnTo>
                  <a:pt x="545" y="21"/>
                </a:lnTo>
                <a:lnTo>
                  <a:pt x="549" y="34"/>
                </a:lnTo>
                <a:lnTo>
                  <a:pt x="556" y="40"/>
                </a:lnTo>
                <a:lnTo>
                  <a:pt x="564" y="42"/>
                </a:lnTo>
                <a:lnTo>
                  <a:pt x="571" y="49"/>
                </a:lnTo>
                <a:lnTo>
                  <a:pt x="577" y="55"/>
                </a:lnTo>
                <a:lnTo>
                  <a:pt x="577" y="59"/>
                </a:lnTo>
                <a:lnTo>
                  <a:pt x="579" y="64"/>
                </a:lnTo>
                <a:lnTo>
                  <a:pt x="581" y="72"/>
                </a:lnTo>
                <a:lnTo>
                  <a:pt x="577" y="85"/>
                </a:lnTo>
                <a:lnTo>
                  <a:pt x="592" y="102"/>
                </a:lnTo>
                <a:lnTo>
                  <a:pt x="594" y="108"/>
                </a:lnTo>
                <a:lnTo>
                  <a:pt x="601" y="115"/>
                </a:lnTo>
                <a:lnTo>
                  <a:pt x="615" y="134"/>
                </a:lnTo>
                <a:lnTo>
                  <a:pt x="630" y="145"/>
                </a:lnTo>
                <a:lnTo>
                  <a:pt x="645" y="145"/>
                </a:lnTo>
                <a:lnTo>
                  <a:pt x="618" y="179"/>
                </a:lnTo>
                <a:lnTo>
                  <a:pt x="592" y="196"/>
                </a:lnTo>
                <a:lnTo>
                  <a:pt x="588" y="204"/>
                </a:lnTo>
                <a:lnTo>
                  <a:pt x="588" y="213"/>
                </a:lnTo>
                <a:lnTo>
                  <a:pt x="579" y="219"/>
                </a:lnTo>
                <a:lnTo>
                  <a:pt x="579" y="226"/>
                </a:lnTo>
                <a:lnTo>
                  <a:pt x="573" y="232"/>
                </a:lnTo>
                <a:lnTo>
                  <a:pt x="567" y="236"/>
                </a:lnTo>
                <a:lnTo>
                  <a:pt x="558" y="240"/>
                </a:lnTo>
                <a:lnTo>
                  <a:pt x="558" y="249"/>
                </a:lnTo>
                <a:lnTo>
                  <a:pt x="541" y="255"/>
                </a:lnTo>
                <a:lnTo>
                  <a:pt x="532" y="262"/>
                </a:lnTo>
                <a:lnTo>
                  <a:pt x="526" y="262"/>
                </a:lnTo>
                <a:lnTo>
                  <a:pt x="511" y="272"/>
                </a:lnTo>
                <a:lnTo>
                  <a:pt x="503" y="277"/>
                </a:lnTo>
                <a:lnTo>
                  <a:pt x="471" y="279"/>
                </a:lnTo>
                <a:lnTo>
                  <a:pt x="441" y="281"/>
                </a:lnTo>
                <a:lnTo>
                  <a:pt x="413" y="285"/>
                </a:lnTo>
                <a:lnTo>
                  <a:pt x="373" y="287"/>
                </a:lnTo>
                <a:lnTo>
                  <a:pt x="349" y="292"/>
                </a:lnTo>
                <a:lnTo>
                  <a:pt x="305" y="296"/>
                </a:lnTo>
                <a:lnTo>
                  <a:pt x="260" y="298"/>
                </a:lnTo>
                <a:lnTo>
                  <a:pt x="215" y="304"/>
                </a:lnTo>
                <a:lnTo>
                  <a:pt x="179" y="306"/>
                </a:lnTo>
                <a:lnTo>
                  <a:pt x="143" y="311"/>
                </a:lnTo>
                <a:lnTo>
                  <a:pt x="134" y="309"/>
                </a:lnTo>
                <a:lnTo>
                  <a:pt x="119" y="309"/>
                </a:lnTo>
                <a:lnTo>
                  <a:pt x="124" y="321"/>
                </a:lnTo>
                <a:lnTo>
                  <a:pt x="124" y="330"/>
                </a:lnTo>
                <a:lnTo>
                  <a:pt x="0" y="341"/>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17" name="Freeform 723"/>
          <p:cNvSpPr>
            <a:spLocks/>
          </p:cNvSpPr>
          <p:nvPr/>
        </p:nvSpPr>
        <p:spPr bwMode="auto">
          <a:xfrm>
            <a:off x="5324475" y="3433763"/>
            <a:ext cx="1023938" cy="541338"/>
          </a:xfrm>
          <a:custGeom>
            <a:avLst/>
            <a:gdLst>
              <a:gd name="T0" fmla="*/ 11 w 645"/>
              <a:gd name="T1" fmla="*/ 328 h 341"/>
              <a:gd name="T2" fmla="*/ 17 w 645"/>
              <a:gd name="T3" fmla="*/ 313 h 341"/>
              <a:gd name="T4" fmla="*/ 24 w 645"/>
              <a:gd name="T5" fmla="*/ 289 h 341"/>
              <a:gd name="T6" fmla="*/ 17 w 645"/>
              <a:gd name="T7" fmla="*/ 272 h 341"/>
              <a:gd name="T8" fmla="*/ 43 w 645"/>
              <a:gd name="T9" fmla="*/ 255 h 341"/>
              <a:gd name="T10" fmla="*/ 70 w 645"/>
              <a:gd name="T11" fmla="*/ 268 h 341"/>
              <a:gd name="T12" fmla="*/ 81 w 645"/>
              <a:gd name="T13" fmla="*/ 253 h 341"/>
              <a:gd name="T14" fmla="*/ 77 w 645"/>
              <a:gd name="T15" fmla="*/ 232 h 341"/>
              <a:gd name="T16" fmla="*/ 104 w 645"/>
              <a:gd name="T17" fmla="*/ 221 h 341"/>
              <a:gd name="T18" fmla="*/ 102 w 645"/>
              <a:gd name="T19" fmla="*/ 198 h 341"/>
              <a:gd name="T20" fmla="*/ 109 w 645"/>
              <a:gd name="T21" fmla="*/ 183 h 341"/>
              <a:gd name="T22" fmla="*/ 119 w 645"/>
              <a:gd name="T23" fmla="*/ 170 h 341"/>
              <a:gd name="T24" fmla="*/ 141 w 645"/>
              <a:gd name="T25" fmla="*/ 174 h 341"/>
              <a:gd name="T26" fmla="*/ 156 w 645"/>
              <a:gd name="T27" fmla="*/ 164 h 341"/>
              <a:gd name="T28" fmla="*/ 192 w 645"/>
              <a:gd name="T29" fmla="*/ 174 h 341"/>
              <a:gd name="T30" fmla="*/ 200 w 645"/>
              <a:gd name="T31" fmla="*/ 160 h 341"/>
              <a:gd name="T32" fmla="*/ 219 w 645"/>
              <a:gd name="T33" fmla="*/ 157 h 341"/>
              <a:gd name="T34" fmla="*/ 236 w 645"/>
              <a:gd name="T35" fmla="*/ 157 h 341"/>
              <a:gd name="T36" fmla="*/ 247 w 645"/>
              <a:gd name="T37" fmla="*/ 134 h 341"/>
              <a:gd name="T38" fmla="*/ 258 w 645"/>
              <a:gd name="T39" fmla="*/ 128 h 341"/>
              <a:gd name="T40" fmla="*/ 285 w 645"/>
              <a:gd name="T41" fmla="*/ 142 h 341"/>
              <a:gd name="T42" fmla="*/ 292 w 645"/>
              <a:gd name="T43" fmla="*/ 123 h 341"/>
              <a:gd name="T44" fmla="*/ 313 w 645"/>
              <a:gd name="T45" fmla="*/ 102 h 341"/>
              <a:gd name="T46" fmla="*/ 328 w 645"/>
              <a:gd name="T47" fmla="*/ 76 h 341"/>
              <a:gd name="T48" fmla="*/ 326 w 645"/>
              <a:gd name="T49" fmla="*/ 53 h 341"/>
              <a:gd name="T50" fmla="*/ 347 w 645"/>
              <a:gd name="T51" fmla="*/ 55 h 341"/>
              <a:gd name="T52" fmla="*/ 379 w 645"/>
              <a:gd name="T53" fmla="*/ 34 h 341"/>
              <a:gd name="T54" fmla="*/ 371 w 645"/>
              <a:gd name="T55" fmla="*/ 10 h 341"/>
              <a:gd name="T56" fmla="*/ 390 w 645"/>
              <a:gd name="T57" fmla="*/ 6 h 341"/>
              <a:gd name="T58" fmla="*/ 424 w 645"/>
              <a:gd name="T59" fmla="*/ 17 h 341"/>
              <a:gd name="T60" fmla="*/ 456 w 645"/>
              <a:gd name="T61" fmla="*/ 32 h 341"/>
              <a:gd name="T62" fmla="*/ 483 w 645"/>
              <a:gd name="T63" fmla="*/ 42 h 341"/>
              <a:gd name="T64" fmla="*/ 503 w 645"/>
              <a:gd name="T65" fmla="*/ 38 h 341"/>
              <a:gd name="T66" fmla="*/ 524 w 645"/>
              <a:gd name="T67" fmla="*/ 40 h 341"/>
              <a:gd name="T68" fmla="*/ 545 w 645"/>
              <a:gd name="T69" fmla="*/ 21 h 341"/>
              <a:gd name="T70" fmla="*/ 564 w 645"/>
              <a:gd name="T71" fmla="*/ 42 h 341"/>
              <a:gd name="T72" fmla="*/ 577 w 645"/>
              <a:gd name="T73" fmla="*/ 59 h 341"/>
              <a:gd name="T74" fmla="*/ 577 w 645"/>
              <a:gd name="T75" fmla="*/ 85 h 341"/>
              <a:gd name="T76" fmla="*/ 601 w 645"/>
              <a:gd name="T77" fmla="*/ 115 h 341"/>
              <a:gd name="T78" fmla="*/ 645 w 645"/>
              <a:gd name="T79" fmla="*/ 145 h 341"/>
              <a:gd name="T80" fmla="*/ 588 w 645"/>
              <a:gd name="T81" fmla="*/ 204 h 341"/>
              <a:gd name="T82" fmla="*/ 579 w 645"/>
              <a:gd name="T83" fmla="*/ 226 h 341"/>
              <a:gd name="T84" fmla="*/ 558 w 645"/>
              <a:gd name="T85" fmla="*/ 240 h 341"/>
              <a:gd name="T86" fmla="*/ 532 w 645"/>
              <a:gd name="T87" fmla="*/ 262 h 341"/>
              <a:gd name="T88" fmla="*/ 503 w 645"/>
              <a:gd name="T89" fmla="*/ 277 h 341"/>
              <a:gd name="T90" fmla="*/ 413 w 645"/>
              <a:gd name="T91" fmla="*/ 285 h 341"/>
              <a:gd name="T92" fmla="*/ 305 w 645"/>
              <a:gd name="T93" fmla="*/ 296 h 341"/>
              <a:gd name="T94" fmla="*/ 179 w 645"/>
              <a:gd name="T95" fmla="*/ 306 h 341"/>
              <a:gd name="T96" fmla="*/ 119 w 645"/>
              <a:gd name="T97" fmla="*/ 309 h 341"/>
              <a:gd name="T98" fmla="*/ 0 w 645"/>
              <a:gd name="T9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5" h="341">
                <a:moveTo>
                  <a:pt x="0" y="341"/>
                </a:moveTo>
                <a:lnTo>
                  <a:pt x="2" y="332"/>
                </a:lnTo>
                <a:lnTo>
                  <a:pt x="11" y="328"/>
                </a:lnTo>
                <a:lnTo>
                  <a:pt x="17" y="330"/>
                </a:lnTo>
                <a:lnTo>
                  <a:pt x="21" y="319"/>
                </a:lnTo>
                <a:lnTo>
                  <a:pt x="17" y="313"/>
                </a:lnTo>
                <a:lnTo>
                  <a:pt x="24" y="309"/>
                </a:lnTo>
                <a:lnTo>
                  <a:pt x="21" y="298"/>
                </a:lnTo>
                <a:lnTo>
                  <a:pt x="24" y="289"/>
                </a:lnTo>
                <a:lnTo>
                  <a:pt x="21" y="283"/>
                </a:lnTo>
                <a:lnTo>
                  <a:pt x="17" y="279"/>
                </a:lnTo>
                <a:lnTo>
                  <a:pt x="17" y="272"/>
                </a:lnTo>
                <a:lnTo>
                  <a:pt x="28" y="257"/>
                </a:lnTo>
                <a:lnTo>
                  <a:pt x="36" y="255"/>
                </a:lnTo>
                <a:lnTo>
                  <a:pt x="43" y="255"/>
                </a:lnTo>
                <a:lnTo>
                  <a:pt x="49" y="260"/>
                </a:lnTo>
                <a:lnTo>
                  <a:pt x="64" y="264"/>
                </a:lnTo>
                <a:lnTo>
                  <a:pt x="70" y="268"/>
                </a:lnTo>
                <a:lnTo>
                  <a:pt x="77" y="270"/>
                </a:lnTo>
                <a:lnTo>
                  <a:pt x="83" y="260"/>
                </a:lnTo>
                <a:lnTo>
                  <a:pt x="81" y="253"/>
                </a:lnTo>
                <a:lnTo>
                  <a:pt x="75" y="247"/>
                </a:lnTo>
                <a:lnTo>
                  <a:pt x="75" y="238"/>
                </a:lnTo>
                <a:lnTo>
                  <a:pt x="77" y="232"/>
                </a:lnTo>
                <a:lnTo>
                  <a:pt x="83" y="230"/>
                </a:lnTo>
                <a:lnTo>
                  <a:pt x="90" y="223"/>
                </a:lnTo>
                <a:lnTo>
                  <a:pt x="104" y="221"/>
                </a:lnTo>
                <a:lnTo>
                  <a:pt x="109" y="215"/>
                </a:lnTo>
                <a:lnTo>
                  <a:pt x="104" y="206"/>
                </a:lnTo>
                <a:lnTo>
                  <a:pt x="102" y="198"/>
                </a:lnTo>
                <a:lnTo>
                  <a:pt x="107" y="191"/>
                </a:lnTo>
                <a:lnTo>
                  <a:pt x="109" y="185"/>
                </a:lnTo>
                <a:lnTo>
                  <a:pt x="109" y="183"/>
                </a:lnTo>
                <a:lnTo>
                  <a:pt x="117" y="183"/>
                </a:lnTo>
                <a:lnTo>
                  <a:pt x="121" y="177"/>
                </a:lnTo>
                <a:lnTo>
                  <a:pt x="119" y="170"/>
                </a:lnTo>
                <a:lnTo>
                  <a:pt x="134" y="172"/>
                </a:lnTo>
                <a:lnTo>
                  <a:pt x="141" y="168"/>
                </a:lnTo>
                <a:lnTo>
                  <a:pt x="141" y="174"/>
                </a:lnTo>
                <a:lnTo>
                  <a:pt x="149" y="172"/>
                </a:lnTo>
                <a:lnTo>
                  <a:pt x="147" y="166"/>
                </a:lnTo>
                <a:lnTo>
                  <a:pt x="156" y="164"/>
                </a:lnTo>
                <a:lnTo>
                  <a:pt x="164" y="162"/>
                </a:lnTo>
                <a:lnTo>
                  <a:pt x="185" y="170"/>
                </a:lnTo>
                <a:lnTo>
                  <a:pt x="192" y="174"/>
                </a:lnTo>
                <a:lnTo>
                  <a:pt x="196" y="168"/>
                </a:lnTo>
                <a:lnTo>
                  <a:pt x="196" y="166"/>
                </a:lnTo>
                <a:lnTo>
                  <a:pt x="200" y="160"/>
                </a:lnTo>
                <a:lnTo>
                  <a:pt x="209" y="155"/>
                </a:lnTo>
                <a:lnTo>
                  <a:pt x="215" y="151"/>
                </a:lnTo>
                <a:lnTo>
                  <a:pt x="219" y="157"/>
                </a:lnTo>
                <a:lnTo>
                  <a:pt x="226" y="160"/>
                </a:lnTo>
                <a:lnTo>
                  <a:pt x="234" y="164"/>
                </a:lnTo>
                <a:lnTo>
                  <a:pt x="236" y="157"/>
                </a:lnTo>
                <a:lnTo>
                  <a:pt x="241" y="149"/>
                </a:lnTo>
                <a:lnTo>
                  <a:pt x="241" y="142"/>
                </a:lnTo>
                <a:lnTo>
                  <a:pt x="247" y="134"/>
                </a:lnTo>
                <a:lnTo>
                  <a:pt x="253" y="130"/>
                </a:lnTo>
                <a:lnTo>
                  <a:pt x="251" y="123"/>
                </a:lnTo>
                <a:lnTo>
                  <a:pt x="258" y="128"/>
                </a:lnTo>
                <a:lnTo>
                  <a:pt x="264" y="138"/>
                </a:lnTo>
                <a:lnTo>
                  <a:pt x="271" y="140"/>
                </a:lnTo>
                <a:lnTo>
                  <a:pt x="285" y="142"/>
                </a:lnTo>
                <a:lnTo>
                  <a:pt x="292" y="138"/>
                </a:lnTo>
                <a:lnTo>
                  <a:pt x="294" y="130"/>
                </a:lnTo>
                <a:lnTo>
                  <a:pt x="292" y="123"/>
                </a:lnTo>
                <a:lnTo>
                  <a:pt x="298" y="108"/>
                </a:lnTo>
                <a:lnTo>
                  <a:pt x="305" y="108"/>
                </a:lnTo>
                <a:lnTo>
                  <a:pt x="313" y="102"/>
                </a:lnTo>
                <a:lnTo>
                  <a:pt x="315" y="87"/>
                </a:lnTo>
                <a:lnTo>
                  <a:pt x="322" y="83"/>
                </a:lnTo>
                <a:lnTo>
                  <a:pt x="328" y="76"/>
                </a:lnTo>
                <a:lnTo>
                  <a:pt x="330" y="70"/>
                </a:lnTo>
                <a:lnTo>
                  <a:pt x="326" y="62"/>
                </a:lnTo>
                <a:lnTo>
                  <a:pt x="326" y="53"/>
                </a:lnTo>
                <a:lnTo>
                  <a:pt x="332" y="53"/>
                </a:lnTo>
                <a:lnTo>
                  <a:pt x="341" y="49"/>
                </a:lnTo>
                <a:lnTo>
                  <a:pt x="347" y="55"/>
                </a:lnTo>
                <a:lnTo>
                  <a:pt x="362" y="44"/>
                </a:lnTo>
                <a:lnTo>
                  <a:pt x="377" y="40"/>
                </a:lnTo>
                <a:lnTo>
                  <a:pt x="379" y="34"/>
                </a:lnTo>
                <a:lnTo>
                  <a:pt x="373" y="25"/>
                </a:lnTo>
                <a:lnTo>
                  <a:pt x="375" y="19"/>
                </a:lnTo>
                <a:lnTo>
                  <a:pt x="371" y="10"/>
                </a:lnTo>
                <a:lnTo>
                  <a:pt x="373" y="6"/>
                </a:lnTo>
                <a:lnTo>
                  <a:pt x="383" y="0"/>
                </a:lnTo>
                <a:lnTo>
                  <a:pt x="390" y="6"/>
                </a:lnTo>
                <a:lnTo>
                  <a:pt x="403" y="2"/>
                </a:lnTo>
                <a:lnTo>
                  <a:pt x="420" y="8"/>
                </a:lnTo>
                <a:lnTo>
                  <a:pt x="424" y="17"/>
                </a:lnTo>
                <a:lnTo>
                  <a:pt x="434" y="32"/>
                </a:lnTo>
                <a:lnTo>
                  <a:pt x="441" y="34"/>
                </a:lnTo>
                <a:lnTo>
                  <a:pt x="456" y="32"/>
                </a:lnTo>
                <a:lnTo>
                  <a:pt x="460" y="32"/>
                </a:lnTo>
                <a:lnTo>
                  <a:pt x="475" y="44"/>
                </a:lnTo>
                <a:lnTo>
                  <a:pt x="483" y="42"/>
                </a:lnTo>
                <a:lnTo>
                  <a:pt x="488" y="36"/>
                </a:lnTo>
                <a:lnTo>
                  <a:pt x="494" y="36"/>
                </a:lnTo>
                <a:lnTo>
                  <a:pt x="503" y="38"/>
                </a:lnTo>
                <a:lnTo>
                  <a:pt x="511" y="42"/>
                </a:lnTo>
                <a:lnTo>
                  <a:pt x="518" y="40"/>
                </a:lnTo>
                <a:lnTo>
                  <a:pt x="524" y="40"/>
                </a:lnTo>
                <a:lnTo>
                  <a:pt x="528" y="34"/>
                </a:lnTo>
                <a:lnTo>
                  <a:pt x="537" y="25"/>
                </a:lnTo>
                <a:lnTo>
                  <a:pt x="545" y="21"/>
                </a:lnTo>
                <a:lnTo>
                  <a:pt x="549" y="34"/>
                </a:lnTo>
                <a:lnTo>
                  <a:pt x="556" y="40"/>
                </a:lnTo>
                <a:lnTo>
                  <a:pt x="564" y="42"/>
                </a:lnTo>
                <a:lnTo>
                  <a:pt x="571" y="49"/>
                </a:lnTo>
                <a:lnTo>
                  <a:pt x="577" y="55"/>
                </a:lnTo>
                <a:lnTo>
                  <a:pt x="577" y="59"/>
                </a:lnTo>
                <a:lnTo>
                  <a:pt x="579" y="64"/>
                </a:lnTo>
                <a:lnTo>
                  <a:pt x="581" y="72"/>
                </a:lnTo>
                <a:lnTo>
                  <a:pt x="577" y="85"/>
                </a:lnTo>
                <a:lnTo>
                  <a:pt x="592" y="102"/>
                </a:lnTo>
                <a:lnTo>
                  <a:pt x="594" y="108"/>
                </a:lnTo>
                <a:lnTo>
                  <a:pt x="601" y="115"/>
                </a:lnTo>
                <a:lnTo>
                  <a:pt x="615" y="134"/>
                </a:lnTo>
                <a:lnTo>
                  <a:pt x="630" y="145"/>
                </a:lnTo>
                <a:lnTo>
                  <a:pt x="645" y="145"/>
                </a:lnTo>
                <a:lnTo>
                  <a:pt x="618" y="179"/>
                </a:lnTo>
                <a:lnTo>
                  <a:pt x="592" y="196"/>
                </a:lnTo>
                <a:lnTo>
                  <a:pt x="588" y="204"/>
                </a:lnTo>
                <a:lnTo>
                  <a:pt x="588" y="213"/>
                </a:lnTo>
                <a:lnTo>
                  <a:pt x="579" y="219"/>
                </a:lnTo>
                <a:lnTo>
                  <a:pt x="579" y="226"/>
                </a:lnTo>
                <a:lnTo>
                  <a:pt x="573" y="232"/>
                </a:lnTo>
                <a:lnTo>
                  <a:pt x="567" y="236"/>
                </a:lnTo>
                <a:lnTo>
                  <a:pt x="558" y="240"/>
                </a:lnTo>
                <a:lnTo>
                  <a:pt x="558" y="249"/>
                </a:lnTo>
                <a:lnTo>
                  <a:pt x="541" y="255"/>
                </a:lnTo>
                <a:lnTo>
                  <a:pt x="532" y="262"/>
                </a:lnTo>
                <a:lnTo>
                  <a:pt x="526" y="262"/>
                </a:lnTo>
                <a:lnTo>
                  <a:pt x="511" y="272"/>
                </a:lnTo>
                <a:lnTo>
                  <a:pt x="503" y="277"/>
                </a:lnTo>
                <a:lnTo>
                  <a:pt x="471" y="279"/>
                </a:lnTo>
                <a:lnTo>
                  <a:pt x="441" y="281"/>
                </a:lnTo>
                <a:lnTo>
                  <a:pt x="413" y="285"/>
                </a:lnTo>
                <a:lnTo>
                  <a:pt x="373" y="287"/>
                </a:lnTo>
                <a:lnTo>
                  <a:pt x="349" y="292"/>
                </a:lnTo>
                <a:lnTo>
                  <a:pt x="305" y="296"/>
                </a:lnTo>
                <a:lnTo>
                  <a:pt x="260" y="298"/>
                </a:lnTo>
                <a:lnTo>
                  <a:pt x="215" y="304"/>
                </a:lnTo>
                <a:lnTo>
                  <a:pt x="179" y="306"/>
                </a:lnTo>
                <a:lnTo>
                  <a:pt x="143" y="311"/>
                </a:lnTo>
                <a:lnTo>
                  <a:pt x="134" y="309"/>
                </a:lnTo>
                <a:lnTo>
                  <a:pt x="119" y="309"/>
                </a:lnTo>
                <a:lnTo>
                  <a:pt x="124" y="321"/>
                </a:lnTo>
                <a:lnTo>
                  <a:pt x="124" y="330"/>
                </a:lnTo>
                <a:lnTo>
                  <a:pt x="0" y="34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8" name="Freeform 724"/>
          <p:cNvSpPr>
            <a:spLocks/>
          </p:cNvSpPr>
          <p:nvPr/>
        </p:nvSpPr>
        <p:spPr bwMode="auto">
          <a:xfrm>
            <a:off x="5489575" y="2967038"/>
            <a:ext cx="436563" cy="757238"/>
          </a:xfrm>
          <a:custGeom>
            <a:avLst/>
            <a:gdLst>
              <a:gd name="T0" fmla="*/ 0 w 275"/>
              <a:gd name="T1" fmla="*/ 468 h 477"/>
              <a:gd name="T2" fmla="*/ 5 w 275"/>
              <a:gd name="T3" fmla="*/ 447 h 477"/>
              <a:gd name="T4" fmla="*/ 9 w 275"/>
              <a:gd name="T5" fmla="*/ 432 h 477"/>
              <a:gd name="T6" fmla="*/ 9 w 275"/>
              <a:gd name="T7" fmla="*/ 424 h 477"/>
              <a:gd name="T8" fmla="*/ 22 w 275"/>
              <a:gd name="T9" fmla="*/ 411 h 477"/>
              <a:gd name="T10" fmla="*/ 30 w 275"/>
              <a:gd name="T11" fmla="*/ 387 h 477"/>
              <a:gd name="T12" fmla="*/ 41 w 275"/>
              <a:gd name="T13" fmla="*/ 373 h 477"/>
              <a:gd name="T14" fmla="*/ 37 w 275"/>
              <a:gd name="T15" fmla="*/ 349 h 477"/>
              <a:gd name="T16" fmla="*/ 32 w 275"/>
              <a:gd name="T17" fmla="*/ 334 h 477"/>
              <a:gd name="T18" fmla="*/ 26 w 275"/>
              <a:gd name="T19" fmla="*/ 319 h 477"/>
              <a:gd name="T20" fmla="*/ 26 w 275"/>
              <a:gd name="T21" fmla="*/ 304 h 477"/>
              <a:gd name="T22" fmla="*/ 9 w 275"/>
              <a:gd name="T23" fmla="*/ 34 h 477"/>
              <a:gd name="T24" fmla="*/ 17 w 275"/>
              <a:gd name="T25" fmla="*/ 38 h 477"/>
              <a:gd name="T26" fmla="*/ 35 w 275"/>
              <a:gd name="T27" fmla="*/ 38 h 477"/>
              <a:gd name="T28" fmla="*/ 64 w 275"/>
              <a:gd name="T29" fmla="*/ 19 h 477"/>
              <a:gd name="T30" fmla="*/ 109 w 275"/>
              <a:gd name="T31" fmla="*/ 15 h 477"/>
              <a:gd name="T32" fmla="*/ 235 w 275"/>
              <a:gd name="T33" fmla="*/ 6 h 477"/>
              <a:gd name="T34" fmla="*/ 269 w 275"/>
              <a:gd name="T35" fmla="*/ 300 h 477"/>
              <a:gd name="T36" fmla="*/ 271 w 275"/>
              <a:gd name="T37" fmla="*/ 313 h 477"/>
              <a:gd name="T38" fmla="*/ 275 w 275"/>
              <a:gd name="T39" fmla="*/ 328 h 477"/>
              <a:gd name="T40" fmla="*/ 258 w 275"/>
              <a:gd name="T41" fmla="*/ 338 h 477"/>
              <a:gd name="T42" fmla="*/ 237 w 275"/>
              <a:gd name="T43" fmla="*/ 343 h 477"/>
              <a:gd name="T44" fmla="*/ 222 w 275"/>
              <a:gd name="T45" fmla="*/ 347 h 477"/>
              <a:gd name="T46" fmla="*/ 226 w 275"/>
              <a:gd name="T47" fmla="*/ 364 h 477"/>
              <a:gd name="T48" fmla="*/ 218 w 275"/>
              <a:gd name="T49" fmla="*/ 377 h 477"/>
              <a:gd name="T50" fmla="*/ 209 w 275"/>
              <a:gd name="T51" fmla="*/ 396 h 477"/>
              <a:gd name="T52" fmla="*/ 194 w 275"/>
              <a:gd name="T53" fmla="*/ 402 h 477"/>
              <a:gd name="T54" fmla="*/ 190 w 275"/>
              <a:gd name="T55" fmla="*/ 424 h 477"/>
              <a:gd name="T56" fmla="*/ 181 w 275"/>
              <a:gd name="T57" fmla="*/ 436 h 477"/>
              <a:gd name="T58" fmla="*/ 160 w 275"/>
              <a:gd name="T59" fmla="*/ 432 h 477"/>
              <a:gd name="T60" fmla="*/ 147 w 275"/>
              <a:gd name="T61" fmla="*/ 417 h 477"/>
              <a:gd name="T62" fmla="*/ 143 w 275"/>
              <a:gd name="T63" fmla="*/ 428 h 477"/>
              <a:gd name="T64" fmla="*/ 137 w 275"/>
              <a:gd name="T65" fmla="*/ 443 h 477"/>
              <a:gd name="T66" fmla="*/ 130 w 275"/>
              <a:gd name="T67" fmla="*/ 458 h 477"/>
              <a:gd name="T68" fmla="*/ 115 w 275"/>
              <a:gd name="T69" fmla="*/ 451 h 477"/>
              <a:gd name="T70" fmla="*/ 105 w 275"/>
              <a:gd name="T71" fmla="*/ 449 h 477"/>
              <a:gd name="T72" fmla="*/ 92 w 275"/>
              <a:gd name="T73" fmla="*/ 460 h 477"/>
              <a:gd name="T74" fmla="*/ 88 w 275"/>
              <a:gd name="T75" fmla="*/ 468 h 477"/>
              <a:gd name="T76" fmla="*/ 60 w 275"/>
              <a:gd name="T77" fmla="*/ 456 h 477"/>
              <a:gd name="T78" fmla="*/ 43 w 275"/>
              <a:gd name="T79" fmla="*/ 460 h 477"/>
              <a:gd name="T80" fmla="*/ 37 w 275"/>
              <a:gd name="T81" fmla="*/ 468 h 477"/>
              <a:gd name="T82" fmla="*/ 30 w 275"/>
              <a:gd name="T83" fmla="*/ 466 h 477"/>
              <a:gd name="T84" fmla="*/ 17 w 275"/>
              <a:gd name="T85" fmla="*/ 471 h 477"/>
              <a:gd name="T86" fmla="*/ 5 w 275"/>
              <a:gd name="T8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5" h="477">
                <a:moveTo>
                  <a:pt x="5" y="477"/>
                </a:moveTo>
                <a:lnTo>
                  <a:pt x="0" y="468"/>
                </a:lnTo>
                <a:lnTo>
                  <a:pt x="5" y="462"/>
                </a:lnTo>
                <a:lnTo>
                  <a:pt x="5" y="447"/>
                </a:lnTo>
                <a:lnTo>
                  <a:pt x="7" y="447"/>
                </a:lnTo>
                <a:lnTo>
                  <a:pt x="9" y="432"/>
                </a:lnTo>
                <a:lnTo>
                  <a:pt x="7" y="430"/>
                </a:lnTo>
                <a:lnTo>
                  <a:pt x="9" y="424"/>
                </a:lnTo>
                <a:lnTo>
                  <a:pt x="15" y="417"/>
                </a:lnTo>
                <a:lnTo>
                  <a:pt x="22" y="411"/>
                </a:lnTo>
                <a:lnTo>
                  <a:pt x="30" y="396"/>
                </a:lnTo>
                <a:lnTo>
                  <a:pt x="30" y="387"/>
                </a:lnTo>
                <a:lnTo>
                  <a:pt x="39" y="373"/>
                </a:lnTo>
                <a:lnTo>
                  <a:pt x="41" y="373"/>
                </a:lnTo>
                <a:lnTo>
                  <a:pt x="41" y="364"/>
                </a:lnTo>
                <a:lnTo>
                  <a:pt x="37" y="349"/>
                </a:lnTo>
                <a:lnTo>
                  <a:pt x="39" y="343"/>
                </a:lnTo>
                <a:lnTo>
                  <a:pt x="32" y="334"/>
                </a:lnTo>
                <a:lnTo>
                  <a:pt x="26" y="326"/>
                </a:lnTo>
                <a:lnTo>
                  <a:pt x="26" y="319"/>
                </a:lnTo>
                <a:lnTo>
                  <a:pt x="30" y="311"/>
                </a:lnTo>
                <a:lnTo>
                  <a:pt x="26" y="304"/>
                </a:lnTo>
                <a:lnTo>
                  <a:pt x="32" y="296"/>
                </a:lnTo>
                <a:lnTo>
                  <a:pt x="9" y="34"/>
                </a:lnTo>
                <a:lnTo>
                  <a:pt x="9" y="30"/>
                </a:lnTo>
                <a:lnTo>
                  <a:pt x="17" y="38"/>
                </a:lnTo>
                <a:lnTo>
                  <a:pt x="28" y="38"/>
                </a:lnTo>
                <a:lnTo>
                  <a:pt x="35" y="38"/>
                </a:lnTo>
                <a:lnTo>
                  <a:pt x="49" y="30"/>
                </a:lnTo>
                <a:lnTo>
                  <a:pt x="64" y="19"/>
                </a:lnTo>
                <a:lnTo>
                  <a:pt x="69" y="19"/>
                </a:lnTo>
                <a:lnTo>
                  <a:pt x="109" y="15"/>
                </a:lnTo>
                <a:lnTo>
                  <a:pt x="226" y="0"/>
                </a:lnTo>
                <a:lnTo>
                  <a:pt x="235" y="6"/>
                </a:lnTo>
                <a:lnTo>
                  <a:pt x="247" y="111"/>
                </a:lnTo>
                <a:lnTo>
                  <a:pt x="269" y="300"/>
                </a:lnTo>
                <a:lnTo>
                  <a:pt x="267" y="304"/>
                </a:lnTo>
                <a:lnTo>
                  <a:pt x="271" y="313"/>
                </a:lnTo>
                <a:lnTo>
                  <a:pt x="269" y="319"/>
                </a:lnTo>
                <a:lnTo>
                  <a:pt x="275" y="328"/>
                </a:lnTo>
                <a:lnTo>
                  <a:pt x="273" y="334"/>
                </a:lnTo>
                <a:lnTo>
                  <a:pt x="258" y="338"/>
                </a:lnTo>
                <a:lnTo>
                  <a:pt x="243" y="349"/>
                </a:lnTo>
                <a:lnTo>
                  <a:pt x="237" y="343"/>
                </a:lnTo>
                <a:lnTo>
                  <a:pt x="228" y="347"/>
                </a:lnTo>
                <a:lnTo>
                  <a:pt x="222" y="347"/>
                </a:lnTo>
                <a:lnTo>
                  <a:pt x="222" y="356"/>
                </a:lnTo>
                <a:lnTo>
                  <a:pt x="226" y="364"/>
                </a:lnTo>
                <a:lnTo>
                  <a:pt x="224" y="370"/>
                </a:lnTo>
                <a:lnTo>
                  <a:pt x="218" y="377"/>
                </a:lnTo>
                <a:lnTo>
                  <a:pt x="211" y="381"/>
                </a:lnTo>
                <a:lnTo>
                  <a:pt x="209" y="396"/>
                </a:lnTo>
                <a:lnTo>
                  <a:pt x="201" y="402"/>
                </a:lnTo>
                <a:lnTo>
                  <a:pt x="194" y="402"/>
                </a:lnTo>
                <a:lnTo>
                  <a:pt x="188" y="417"/>
                </a:lnTo>
                <a:lnTo>
                  <a:pt x="190" y="424"/>
                </a:lnTo>
                <a:lnTo>
                  <a:pt x="188" y="432"/>
                </a:lnTo>
                <a:lnTo>
                  <a:pt x="181" y="436"/>
                </a:lnTo>
                <a:lnTo>
                  <a:pt x="167" y="434"/>
                </a:lnTo>
                <a:lnTo>
                  <a:pt x="160" y="432"/>
                </a:lnTo>
                <a:lnTo>
                  <a:pt x="154" y="422"/>
                </a:lnTo>
                <a:lnTo>
                  <a:pt x="147" y="417"/>
                </a:lnTo>
                <a:lnTo>
                  <a:pt x="149" y="424"/>
                </a:lnTo>
                <a:lnTo>
                  <a:pt x="143" y="428"/>
                </a:lnTo>
                <a:lnTo>
                  <a:pt x="137" y="436"/>
                </a:lnTo>
                <a:lnTo>
                  <a:pt x="137" y="443"/>
                </a:lnTo>
                <a:lnTo>
                  <a:pt x="132" y="451"/>
                </a:lnTo>
                <a:lnTo>
                  <a:pt x="130" y="458"/>
                </a:lnTo>
                <a:lnTo>
                  <a:pt x="122" y="454"/>
                </a:lnTo>
                <a:lnTo>
                  <a:pt x="115" y="451"/>
                </a:lnTo>
                <a:lnTo>
                  <a:pt x="111" y="445"/>
                </a:lnTo>
                <a:lnTo>
                  <a:pt x="105" y="449"/>
                </a:lnTo>
                <a:lnTo>
                  <a:pt x="96" y="454"/>
                </a:lnTo>
                <a:lnTo>
                  <a:pt x="92" y="460"/>
                </a:lnTo>
                <a:lnTo>
                  <a:pt x="92" y="462"/>
                </a:lnTo>
                <a:lnTo>
                  <a:pt x="88" y="468"/>
                </a:lnTo>
                <a:lnTo>
                  <a:pt x="81" y="464"/>
                </a:lnTo>
                <a:lnTo>
                  <a:pt x="60" y="456"/>
                </a:lnTo>
                <a:lnTo>
                  <a:pt x="52" y="458"/>
                </a:lnTo>
                <a:lnTo>
                  <a:pt x="43" y="460"/>
                </a:lnTo>
                <a:lnTo>
                  <a:pt x="45" y="466"/>
                </a:lnTo>
                <a:lnTo>
                  <a:pt x="37" y="468"/>
                </a:lnTo>
                <a:lnTo>
                  <a:pt x="37" y="462"/>
                </a:lnTo>
                <a:lnTo>
                  <a:pt x="30" y="466"/>
                </a:lnTo>
                <a:lnTo>
                  <a:pt x="15" y="464"/>
                </a:lnTo>
                <a:lnTo>
                  <a:pt x="17" y="471"/>
                </a:lnTo>
                <a:lnTo>
                  <a:pt x="13" y="477"/>
                </a:lnTo>
                <a:lnTo>
                  <a:pt x="5" y="47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319" name="Freeform 725"/>
          <p:cNvSpPr>
            <a:spLocks/>
          </p:cNvSpPr>
          <p:nvPr/>
        </p:nvSpPr>
        <p:spPr bwMode="auto">
          <a:xfrm>
            <a:off x="5489575" y="2967038"/>
            <a:ext cx="436563" cy="757238"/>
          </a:xfrm>
          <a:custGeom>
            <a:avLst/>
            <a:gdLst>
              <a:gd name="T0" fmla="*/ 0 w 275"/>
              <a:gd name="T1" fmla="*/ 468 h 477"/>
              <a:gd name="T2" fmla="*/ 5 w 275"/>
              <a:gd name="T3" fmla="*/ 447 h 477"/>
              <a:gd name="T4" fmla="*/ 9 w 275"/>
              <a:gd name="T5" fmla="*/ 432 h 477"/>
              <a:gd name="T6" fmla="*/ 9 w 275"/>
              <a:gd name="T7" fmla="*/ 424 h 477"/>
              <a:gd name="T8" fmla="*/ 22 w 275"/>
              <a:gd name="T9" fmla="*/ 411 h 477"/>
              <a:gd name="T10" fmla="*/ 30 w 275"/>
              <a:gd name="T11" fmla="*/ 387 h 477"/>
              <a:gd name="T12" fmla="*/ 41 w 275"/>
              <a:gd name="T13" fmla="*/ 373 h 477"/>
              <a:gd name="T14" fmla="*/ 37 w 275"/>
              <a:gd name="T15" fmla="*/ 349 h 477"/>
              <a:gd name="T16" fmla="*/ 32 w 275"/>
              <a:gd name="T17" fmla="*/ 334 h 477"/>
              <a:gd name="T18" fmla="*/ 26 w 275"/>
              <a:gd name="T19" fmla="*/ 319 h 477"/>
              <a:gd name="T20" fmla="*/ 26 w 275"/>
              <a:gd name="T21" fmla="*/ 304 h 477"/>
              <a:gd name="T22" fmla="*/ 9 w 275"/>
              <a:gd name="T23" fmla="*/ 34 h 477"/>
              <a:gd name="T24" fmla="*/ 17 w 275"/>
              <a:gd name="T25" fmla="*/ 38 h 477"/>
              <a:gd name="T26" fmla="*/ 35 w 275"/>
              <a:gd name="T27" fmla="*/ 38 h 477"/>
              <a:gd name="T28" fmla="*/ 64 w 275"/>
              <a:gd name="T29" fmla="*/ 19 h 477"/>
              <a:gd name="T30" fmla="*/ 109 w 275"/>
              <a:gd name="T31" fmla="*/ 15 h 477"/>
              <a:gd name="T32" fmla="*/ 235 w 275"/>
              <a:gd name="T33" fmla="*/ 6 h 477"/>
              <a:gd name="T34" fmla="*/ 269 w 275"/>
              <a:gd name="T35" fmla="*/ 300 h 477"/>
              <a:gd name="T36" fmla="*/ 271 w 275"/>
              <a:gd name="T37" fmla="*/ 313 h 477"/>
              <a:gd name="T38" fmla="*/ 275 w 275"/>
              <a:gd name="T39" fmla="*/ 328 h 477"/>
              <a:gd name="T40" fmla="*/ 258 w 275"/>
              <a:gd name="T41" fmla="*/ 338 h 477"/>
              <a:gd name="T42" fmla="*/ 237 w 275"/>
              <a:gd name="T43" fmla="*/ 343 h 477"/>
              <a:gd name="T44" fmla="*/ 222 w 275"/>
              <a:gd name="T45" fmla="*/ 347 h 477"/>
              <a:gd name="T46" fmla="*/ 226 w 275"/>
              <a:gd name="T47" fmla="*/ 364 h 477"/>
              <a:gd name="T48" fmla="*/ 218 w 275"/>
              <a:gd name="T49" fmla="*/ 377 h 477"/>
              <a:gd name="T50" fmla="*/ 209 w 275"/>
              <a:gd name="T51" fmla="*/ 396 h 477"/>
              <a:gd name="T52" fmla="*/ 194 w 275"/>
              <a:gd name="T53" fmla="*/ 402 h 477"/>
              <a:gd name="T54" fmla="*/ 190 w 275"/>
              <a:gd name="T55" fmla="*/ 424 h 477"/>
              <a:gd name="T56" fmla="*/ 181 w 275"/>
              <a:gd name="T57" fmla="*/ 436 h 477"/>
              <a:gd name="T58" fmla="*/ 160 w 275"/>
              <a:gd name="T59" fmla="*/ 432 h 477"/>
              <a:gd name="T60" fmla="*/ 147 w 275"/>
              <a:gd name="T61" fmla="*/ 417 h 477"/>
              <a:gd name="T62" fmla="*/ 143 w 275"/>
              <a:gd name="T63" fmla="*/ 428 h 477"/>
              <a:gd name="T64" fmla="*/ 137 w 275"/>
              <a:gd name="T65" fmla="*/ 443 h 477"/>
              <a:gd name="T66" fmla="*/ 130 w 275"/>
              <a:gd name="T67" fmla="*/ 458 h 477"/>
              <a:gd name="T68" fmla="*/ 115 w 275"/>
              <a:gd name="T69" fmla="*/ 451 h 477"/>
              <a:gd name="T70" fmla="*/ 105 w 275"/>
              <a:gd name="T71" fmla="*/ 449 h 477"/>
              <a:gd name="T72" fmla="*/ 92 w 275"/>
              <a:gd name="T73" fmla="*/ 460 h 477"/>
              <a:gd name="T74" fmla="*/ 88 w 275"/>
              <a:gd name="T75" fmla="*/ 468 h 477"/>
              <a:gd name="T76" fmla="*/ 60 w 275"/>
              <a:gd name="T77" fmla="*/ 456 h 477"/>
              <a:gd name="T78" fmla="*/ 43 w 275"/>
              <a:gd name="T79" fmla="*/ 460 h 477"/>
              <a:gd name="T80" fmla="*/ 37 w 275"/>
              <a:gd name="T81" fmla="*/ 468 h 477"/>
              <a:gd name="T82" fmla="*/ 30 w 275"/>
              <a:gd name="T83" fmla="*/ 466 h 477"/>
              <a:gd name="T84" fmla="*/ 17 w 275"/>
              <a:gd name="T85" fmla="*/ 471 h 477"/>
              <a:gd name="T86" fmla="*/ 5 w 275"/>
              <a:gd name="T8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5" h="477">
                <a:moveTo>
                  <a:pt x="5" y="477"/>
                </a:moveTo>
                <a:lnTo>
                  <a:pt x="0" y="468"/>
                </a:lnTo>
                <a:lnTo>
                  <a:pt x="5" y="462"/>
                </a:lnTo>
                <a:lnTo>
                  <a:pt x="5" y="447"/>
                </a:lnTo>
                <a:lnTo>
                  <a:pt x="7" y="447"/>
                </a:lnTo>
                <a:lnTo>
                  <a:pt x="9" y="432"/>
                </a:lnTo>
                <a:lnTo>
                  <a:pt x="7" y="430"/>
                </a:lnTo>
                <a:lnTo>
                  <a:pt x="9" y="424"/>
                </a:lnTo>
                <a:lnTo>
                  <a:pt x="15" y="417"/>
                </a:lnTo>
                <a:lnTo>
                  <a:pt x="22" y="411"/>
                </a:lnTo>
                <a:lnTo>
                  <a:pt x="30" y="396"/>
                </a:lnTo>
                <a:lnTo>
                  <a:pt x="30" y="387"/>
                </a:lnTo>
                <a:lnTo>
                  <a:pt x="39" y="373"/>
                </a:lnTo>
                <a:lnTo>
                  <a:pt x="41" y="373"/>
                </a:lnTo>
                <a:lnTo>
                  <a:pt x="41" y="364"/>
                </a:lnTo>
                <a:lnTo>
                  <a:pt x="37" y="349"/>
                </a:lnTo>
                <a:lnTo>
                  <a:pt x="39" y="343"/>
                </a:lnTo>
                <a:lnTo>
                  <a:pt x="32" y="334"/>
                </a:lnTo>
                <a:lnTo>
                  <a:pt x="26" y="326"/>
                </a:lnTo>
                <a:lnTo>
                  <a:pt x="26" y="319"/>
                </a:lnTo>
                <a:lnTo>
                  <a:pt x="30" y="311"/>
                </a:lnTo>
                <a:lnTo>
                  <a:pt x="26" y="304"/>
                </a:lnTo>
                <a:lnTo>
                  <a:pt x="32" y="296"/>
                </a:lnTo>
                <a:lnTo>
                  <a:pt x="9" y="34"/>
                </a:lnTo>
                <a:lnTo>
                  <a:pt x="9" y="30"/>
                </a:lnTo>
                <a:lnTo>
                  <a:pt x="17" y="38"/>
                </a:lnTo>
                <a:lnTo>
                  <a:pt x="28" y="38"/>
                </a:lnTo>
                <a:lnTo>
                  <a:pt x="35" y="38"/>
                </a:lnTo>
                <a:lnTo>
                  <a:pt x="49" y="30"/>
                </a:lnTo>
                <a:lnTo>
                  <a:pt x="64" y="19"/>
                </a:lnTo>
                <a:lnTo>
                  <a:pt x="69" y="19"/>
                </a:lnTo>
                <a:lnTo>
                  <a:pt x="109" y="15"/>
                </a:lnTo>
                <a:lnTo>
                  <a:pt x="226" y="0"/>
                </a:lnTo>
                <a:lnTo>
                  <a:pt x="235" y="6"/>
                </a:lnTo>
                <a:lnTo>
                  <a:pt x="247" y="111"/>
                </a:lnTo>
                <a:lnTo>
                  <a:pt x="269" y="300"/>
                </a:lnTo>
                <a:lnTo>
                  <a:pt x="267" y="304"/>
                </a:lnTo>
                <a:lnTo>
                  <a:pt x="271" y="313"/>
                </a:lnTo>
                <a:lnTo>
                  <a:pt x="269" y="319"/>
                </a:lnTo>
                <a:lnTo>
                  <a:pt x="275" y="328"/>
                </a:lnTo>
                <a:lnTo>
                  <a:pt x="273" y="334"/>
                </a:lnTo>
                <a:lnTo>
                  <a:pt x="258" y="338"/>
                </a:lnTo>
                <a:lnTo>
                  <a:pt x="243" y="349"/>
                </a:lnTo>
                <a:lnTo>
                  <a:pt x="237" y="343"/>
                </a:lnTo>
                <a:lnTo>
                  <a:pt x="228" y="347"/>
                </a:lnTo>
                <a:lnTo>
                  <a:pt x="222" y="347"/>
                </a:lnTo>
                <a:lnTo>
                  <a:pt x="222" y="356"/>
                </a:lnTo>
                <a:lnTo>
                  <a:pt x="226" y="364"/>
                </a:lnTo>
                <a:lnTo>
                  <a:pt x="224" y="370"/>
                </a:lnTo>
                <a:lnTo>
                  <a:pt x="218" y="377"/>
                </a:lnTo>
                <a:lnTo>
                  <a:pt x="211" y="381"/>
                </a:lnTo>
                <a:lnTo>
                  <a:pt x="209" y="396"/>
                </a:lnTo>
                <a:lnTo>
                  <a:pt x="201" y="402"/>
                </a:lnTo>
                <a:lnTo>
                  <a:pt x="194" y="402"/>
                </a:lnTo>
                <a:lnTo>
                  <a:pt x="188" y="417"/>
                </a:lnTo>
                <a:lnTo>
                  <a:pt x="190" y="424"/>
                </a:lnTo>
                <a:lnTo>
                  <a:pt x="188" y="432"/>
                </a:lnTo>
                <a:lnTo>
                  <a:pt x="181" y="436"/>
                </a:lnTo>
                <a:lnTo>
                  <a:pt x="167" y="434"/>
                </a:lnTo>
                <a:lnTo>
                  <a:pt x="160" y="432"/>
                </a:lnTo>
                <a:lnTo>
                  <a:pt x="154" y="422"/>
                </a:lnTo>
                <a:lnTo>
                  <a:pt x="147" y="417"/>
                </a:lnTo>
                <a:lnTo>
                  <a:pt x="149" y="424"/>
                </a:lnTo>
                <a:lnTo>
                  <a:pt x="143" y="428"/>
                </a:lnTo>
                <a:lnTo>
                  <a:pt x="137" y="436"/>
                </a:lnTo>
                <a:lnTo>
                  <a:pt x="137" y="443"/>
                </a:lnTo>
                <a:lnTo>
                  <a:pt x="132" y="451"/>
                </a:lnTo>
                <a:lnTo>
                  <a:pt x="130" y="458"/>
                </a:lnTo>
                <a:lnTo>
                  <a:pt x="122" y="454"/>
                </a:lnTo>
                <a:lnTo>
                  <a:pt x="115" y="451"/>
                </a:lnTo>
                <a:lnTo>
                  <a:pt x="111" y="445"/>
                </a:lnTo>
                <a:lnTo>
                  <a:pt x="105" y="449"/>
                </a:lnTo>
                <a:lnTo>
                  <a:pt x="96" y="454"/>
                </a:lnTo>
                <a:lnTo>
                  <a:pt x="92" y="460"/>
                </a:lnTo>
                <a:lnTo>
                  <a:pt x="92" y="462"/>
                </a:lnTo>
                <a:lnTo>
                  <a:pt x="88" y="468"/>
                </a:lnTo>
                <a:lnTo>
                  <a:pt x="81" y="464"/>
                </a:lnTo>
                <a:lnTo>
                  <a:pt x="60" y="456"/>
                </a:lnTo>
                <a:lnTo>
                  <a:pt x="52" y="458"/>
                </a:lnTo>
                <a:lnTo>
                  <a:pt x="43" y="460"/>
                </a:lnTo>
                <a:lnTo>
                  <a:pt x="45" y="466"/>
                </a:lnTo>
                <a:lnTo>
                  <a:pt x="37" y="468"/>
                </a:lnTo>
                <a:lnTo>
                  <a:pt x="37" y="462"/>
                </a:lnTo>
                <a:lnTo>
                  <a:pt x="30" y="466"/>
                </a:lnTo>
                <a:lnTo>
                  <a:pt x="15" y="464"/>
                </a:lnTo>
                <a:lnTo>
                  <a:pt x="17" y="471"/>
                </a:lnTo>
                <a:lnTo>
                  <a:pt x="13" y="477"/>
                </a:lnTo>
                <a:lnTo>
                  <a:pt x="5" y="47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0" name="Freeform 726"/>
          <p:cNvSpPr>
            <a:spLocks/>
          </p:cNvSpPr>
          <p:nvPr/>
        </p:nvSpPr>
        <p:spPr bwMode="auto">
          <a:xfrm>
            <a:off x="5524500" y="4187825"/>
            <a:ext cx="547688" cy="889000"/>
          </a:xfrm>
          <a:custGeom>
            <a:avLst/>
            <a:gdLst>
              <a:gd name="T0" fmla="*/ 0 w 345"/>
              <a:gd name="T1" fmla="*/ 23 h 560"/>
              <a:gd name="T2" fmla="*/ 234 w 345"/>
              <a:gd name="T3" fmla="*/ 0 h 560"/>
              <a:gd name="T4" fmla="*/ 302 w 345"/>
              <a:gd name="T5" fmla="*/ 230 h 560"/>
              <a:gd name="T6" fmla="*/ 306 w 345"/>
              <a:gd name="T7" fmla="*/ 240 h 560"/>
              <a:gd name="T8" fmla="*/ 315 w 345"/>
              <a:gd name="T9" fmla="*/ 262 h 560"/>
              <a:gd name="T10" fmla="*/ 326 w 345"/>
              <a:gd name="T11" fmla="*/ 274 h 560"/>
              <a:gd name="T12" fmla="*/ 328 w 345"/>
              <a:gd name="T13" fmla="*/ 294 h 560"/>
              <a:gd name="T14" fmla="*/ 336 w 345"/>
              <a:gd name="T15" fmla="*/ 304 h 560"/>
              <a:gd name="T16" fmla="*/ 326 w 345"/>
              <a:gd name="T17" fmla="*/ 315 h 560"/>
              <a:gd name="T18" fmla="*/ 323 w 345"/>
              <a:gd name="T19" fmla="*/ 338 h 560"/>
              <a:gd name="T20" fmla="*/ 326 w 345"/>
              <a:gd name="T21" fmla="*/ 366 h 560"/>
              <a:gd name="T22" fmla="*/ 336 w 345"/>
              <a:gd name="T23" fmla="*/ 383 h 560"/>
              <a:gd name="T24" fmla="*/ 334 w 345"/>
              <a:gd name="T25" fmla="*/ 398 h 560"/>
              <a:gd name="T26" fmla="*/ 334 w 345"/>
              <a:gd name="T27" fmla="*/ 421 h 560"/>
              <a:gd name="T28" fmla="*/ 345 w 345"/>
              <a:gd name="T29" fmla="*/ 438 h 560"/>
              <a:gd name="T30" fmla="*/ 196 w 345"/>
              <a:gd name="T31" fmla="*/ 460 h 560"/>
              <a:gd name="T32" fmla="*/ 100 w 345"/>
              <a:gd name="T33" fmla="*/ 475 h 560"/>
              <a:gd name="T34" fmla="*/ 108 w 345"/>
              <a:gd name="T35" fmla="*/ 498 h 560"/>
              <a:gd name="T36" fmla="*/ 121 w 345"/>
              <a:gd name="T37" fmla="*/ 509 h 560"/>
              <a:gd name="T38" fmla="*/ 121 w 345"/>
              <a:gd name="T39" fmla="*/ 526 h 560"/>
              <a:gd name="T40" fmla="*/ 113 w 345"/>
              <a:gd name="T41" fmla="*/ 545 h 560"/>
              <a:gd name="T42" fmla="*/ 106 w 345"/>
              <a:gd name="T43" fmla="*/ 547 h 560"/>
              <a:gd name="T44" fmla="*/ 96 w 345"/>
              <a:gd name="T45" fmla="*/ 556 h 560"/>
              <a:gd name="T46" fmla="*/ 72 w 345"/>
              <a:gd name="T47" fmla="*/ 558 h 560"/>
              <a:gd name="T48" fmla="*/ 87 w 345"/>
              <a:gd name="T49" fmla="*/ 556 h 560"/>
              <a:gd name="T50" fmla="*/ 83 w 345"/>
              <a:gd name="T51" fmla="*/ 541 h 560"/>
              <a:gd name="T52" fmla="*/ 74 w 345"/>
              <a:gd name="T53" fmla="*/ 539 h 560"/>
              <a:gd name="T54" fmla="*/ 72 w 345"/>
              <a:gd name="T55" fmla="*/ 524 h 560"/>
              <a:gd name="T56" fmla="*/ 68 w 345"/>
              <a:gd name="T57" fmla="*/ 511 h 560"/>
              <a:gd name="T58" fmla="*/ 59 w 345"/>
              <a:gd name="T59" fmla="*/ 505 h 560"/>
              <a:gd name="T60" fmla="*/ 57 w 345"/>
              <a:gd name="T61" fmla="*/ 513 h 560"/>
              <a:gd name="T62" fmla="*/ 55 w 345"/>
              <a:gd name="T63" fmla="*/ 547 h 560"/>
              <a:gd name="T64" fmla="*/ 34 w 345"/>
              <a:gd name="T65" fmla="*/ 545 h 560"/>
              <a:gd name="T66" fmla="*/ 27 w 345"/>
              <a:gd name="T67" fmla="*/ 543 h 560"/>
              <a:gd name="T68" fmla="*/ 10 w 345"/>
              <a:gd name="T69" fmla="*/ 34 h 560"/>
              <a:gd name="T70" fmla="*/ 0 w 345"/>
              <a:gd name="T71" fmla="*/ 2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 h="560">
                <a:moveTo>
                  <a:pt x="0" y="25"/>
                </a:moveTo>
                <a:lnTo>
                  <a:pt x="0" y="23"/>
                </a:lnTo>
                <a:lnTo>
                  <a:pt x="132" y="13"/>
                </a:lnTo>
                <a:lnTo>
                  <a:pt x="234" y="0"/>
                </a:lnTo>
                <a:lnTo>
                  <a:pt x="268" y="106"/>
                </a:lnTo>
                <a:lnTo>
                  <a:pt x="302" y="230"/>
                </a:lnTo>
                <a:lnTo>
                  <a:pt x="304" y="234"/>
                </a:lnTo>
                <a:lnTo>
                  <a:pt x="306" y="240"/>
                </a:lnTo>
                <a:lnTo>
                  <a:pt x="311" y="249"/>
                </a:lnTo>
                <a:lnTo>
                  <a:pt x="315" y="262"/>
                </a:lnTo>
                <a:lnTo>
                  <a:pt x="326" y="270"/>
                </a:lnTo>
                <a:lnTo>
                  <a:pt x="326" y="274"/>
                </a:lnTo>
                <a:lnTo>
                  <a:pt x="330" y="283"/>
                </a:lnTo>
                <a:lnTo>
                  <a:pt x="328" y="294"/>
                </a:lnTo>
                <a:lnTo>
                  <a:pt x="336" y="296"/>
                </a:lnTo>
                <a:lnTo>
                  <a:pt x="336" y="304"/>
                </a:lnTo>
                <a:lnTo>
                  <a:pt x="330" y="309"/>
                </a:lnTo>
                <a:lnTo>
                  <a:pt x="326" y="315"/>
                </a:lnTo>
                <a:lnTo>
                  <a:pt x="326" y="330"/>
                </a:lnTo>
                <a:lnTo>
                  <a:pt x="323" y="338"/>
                </a:lnTo>
                <a:lnTo>
                  <a:pt x="321" y="351"/>
                </a:lnTo>
                <a:lnTo>
                  <a:pt x="326" y="366"/>
                </a:lnTo>
                <a:lnTo>
                  <a:pt x="332" y="372"/>
                </a:lnTo>
                <a:lnTo>
                  <a:pt x="336" y="383"/>
                </a:lnTo>
                <a:lnTo>
                  <a:pt x="334" y="389"/>
                </a:lnTo>
                <a:lnTo>
                  <a:pt x="334" y="398"/>
                </a:lnTo>
                <a:lnTo>
                  <a:pt x="332" y="413"/>
                </a:lnTo>
                <a:lnTo>
                  <a:pt x="334" y="421"/>
                </a:lnTo>
                <a:lnTo>
                  <a:pt x="338" y="428"/>
                </a:lnTo>
                <a:lnTo>
                  <a:pt x="345" y="438"/>
                </a:lnTo>
                <a:lnTo>
                  <a:pt x="345" y="443"/>
                </a:lnTo>
                <a:lnTo>
                  <a:pt x="196" y="460"/>
                </a:lnTo>
                <a:lnTo>
                  <a:pt x="106" y="468"/>
                </a:lnTo>
                <a:lnTo>
                  <a:pt x="100" y="475"/>
                </a:lnTo>
                <a:lnTo>
                  <a:pt x="98" y="483"/>
                </a:lnTo>
                <a:lnTo>
                  <a:pt x="108" y="498"/>
                </a:lnTo>
                <a:lnTo>
                  <a:pt x="115" y="502"/>
                </a:lnTo>
                <a:lnTo>
                  <a:pt x="121" y="509"/>
                </a:lnTo>
                <a:lnTo>
                  <a:pt x="119" y="519"/>
                </a:lnTo>
                <a:lnTo>
                  <a:pt x="121" y="526"/>
                </a:lnTo>
                <a:lnTo>
                  <a:pt x="119" y="539"/>
                </a:lnTo>
                <a:lnTo>
                  <a:pt x="113" y="545"/>
                </a:lnTo>
                <a:lnTo>
                  <a:pt x="104" y="545"/>
                </a:lnTo>
                <a:lnTo>
                  <a:pt x="106" y="547"/>
                </a:lnTo>
                <a:lnTo>
                  <a:pt x="104" y="553"/>
                </a:lnTo>
                <a:lnTo>
                  <a:pt x="96" y="556"/>
                </a:lnTo>
                <a:lnTo>
                  <a:pt x="68" y="560"/>
                </a:lnTo>
                <a:lnTo>
                  <a:pt x="72" y="558"/>
                </a:lnTo>
                <a:lnTo>
                  <a:pt x="79" y="558"/>
                </a:lnTo>
                <a:lnTo>
                  <a:pt x="87" y="556"/>
                </a:lnTo>
                <a:lnTo>
                  <a:pt x="89" y="549"/>
                </a:lnTo>
                <a:lnTo>
                  <a:pt x="83" y="541"/>
                </a:lnTo>
                <a:lnTo>
                  <a:pt x="81" y="543"/>
                </a:lnTo>
                <a:lnTo>
                  <a:pt x="74" y="539"/>
                </a:lnTo>
                <a:lnTo>
                  <a:pt x="70" y="530"/>
                </a:lnTo>
                <a:lnTo>
                  <a:pt x="72" y="524"/>
                </a:lnTo>
                <a:lnTo>
                  <a:pt x="72" y="517"/>
                </a:lnTo>
                <a:lnTo>
                  <a:pt x="68" y="511"/>
                </a:lnTo>
                <a:lnTo>
                  <a:pt x="64" y="509"/>
                </a:lnTo>
                <a:lnTo>
                  <a:pt x="59" y="505"/>
                </a:lnTo>
                <a:lnTo>
                  <a:pt x="61" y="507"/>
                </a:lnTo>
                <a:lnTo>
                  <a:pt x="57" y="513"/>
                </a:lnTo>
                <a:lnTo>
                  <a:pt x="57" y="522"/>
                </a:lnTo>
                <a:lnTo>
                  <a:pt x="55" y="547"/>
                </a:lnTo>
                <a:lnTo>
                  <a:pt x="49" y="547"/>
                </a:lnTo>
                <a:lnTo>
                  <a:pt x="34" y="545"/>
                </a:lnTo>
                <a:lnTo>
                  <a:pt x="27" y="545"/>
                </a:lnTo>
                <a:lnTo>
                  <a:pt x="27" y="543"/>
                </a:lnTo>
                <a:lnTo>
                  <a:pt x="4" y="375"/>
                </a:lnTo>
                <a:lnTo>
                  <a:pt x="10" y="34"/>
                </a:lnTo>
                <a:lnTo>
                  <a:pt x="4" y="30"/>
                </a:lnTo>
                <a:lnTo>
                  <a:pt x="0" y="25"/>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21" name="Freeform 727"/>
          <p:cNvSpPr>
            <a:spLocks/>
          </p:cNvSpPr>
          <p:nvPr/>
        </p:nvSpPr>
        <p:spPr bwMode="auto">
          <a:xfrm>
            <a:off x="5524500" y="4187825"/>
            <a:ext cx="547688" cy="889000"/>
          </a:xfrm>
          <a:custGeom>
            <a:avLst/>
            <a:gdLst>
              <a:gd name="T0" fmla="*/ 0 w 345"/>
              <a:gd name="T1" fmla="*/ 23 h 560"/>
              <a:gd name="T2" fmla="*/ 234 w 345"/>
              <a:gd name="T3" fmla="*/ 0 h 560"/>
              <a:gd name="T4" fmla="*/ 302 w 345"/>
              <a:gd name="T5" fmla="*/ 230 h 560"/>
              <a:gd name="T6" fmla="*/ 306 w 345"/>
              <a:gd name="T7" fmla="*/ 240 h 560"/>
              <a:gd name="T8" fmla="*/ 315 w 345"/>
              <a:gd name="T9" fmla="*/ 262 h 560"/>
              <a:gd name="T10" fmla="*/ 326 w 345"/>
              <a:gd name="T11" fmla="*/ 274 h 560"/>
              <a:gd name="T12" fmla="*/ 328 w 345"/>
              <a:gd name="T13" fmla="*/ 294 h 560"/>
              <a:gd name="T14" fmla="*/ 336 w 345"/>
              <a:gd name="T15" fmla="*/ 304 h 560"/>
              <a:gd name="T16" fmla="*/ 326 w 345"/>
              <a:gd name="T17" fmla="*/ 315 h 560"/>
              <a:gd name="T18" fmla="*/ 323 w 345"/>
              <a:gd name="T19" fmla="*/ 338 h 560"/>
              <a:gd name="T20" fmla="*/ 326 w 345"/>
              <a:gd name="T21" fmla="*/ 366 h 560"/>
              <a:gd name="T22" fmla="*/ 336 w 345"/>
              <a:gd name="T23" fmla="*/ 383 h 560"/>
              <a:gd name="T24" fmla="*/ 334 w 345"/>
              <a:gd name="T25" fmla="*/ 398 h 560"/>
              <a:gd name="T26" fmla="*/ 334 w 345"/>
              <a:gd name="T27" fmla="*/ 421 h 560"/>
              <a:gd name="T28" fmla="*/ 345 w 345"/>
              <a:gd name="T29" fmla="*/ 438 h 560"/>
              <a:gd name="T30" fmla="*/ 196 w 345"/>
              <a:gd name="T31" fmla="*/ 460 h 560"/>
              <a:gd name="T32" fmla="*/ 100 w 345"/>
              <a:gd name="T33" fmla="*/ 475 h 560"/>
              <a:gd name="T34" fmla="*/ 108 w 345"/>
              <a:gd name="T35" fmla="*/ 498 h 560"/>
              <a:gd name="T36" fmla="*/ 121 w 345"/>
              <a:gd name="T37" fmla="*/ 509 h 560"/>
              <a:gd name="T38" fmla="*/ 121 w 345"/>
              <a:gd name="T39" fmla="*/ 526 h 560"/>
              <a:gd name="T40" fmla="*/ 113 w 345"/>
              <a:gd name="T41" fmla="*/ 545 h 560"/>
              <a:gd name="T42" fmla="*/ 106 w 345"/>
              <a:gd name="T43" fmla="*/ 547 h 560"/>
              <a:gd name="T44" fmla="*/ 96 w 345"/>
              <a:gd name="T45" fmla="*/ 556 h 560"/>
              <a:gd name="T46" fmla="*/ 72 w 345"/>
              <a:gd name="T47" fmla="*/ 558 h 560"/>
              <a:gd name="T48" fmla="*/ 87 w 345"/>
              <a:gd name="T49" fmla="*/ 556 h 560"/>
              <a:gd name="T50" fmla="*/ 83 w 345"/>
              <a:gd name="T51" fmla="*/ 541 h 560"/>
              <a:gd name="T52" fmla="*/ 74 w 345"/>
              <a:gd name="T53" fmla="*/ 539 h 560"/>
              <a:gd name="T54" fmla="*/ 72 w 345"/>
              <a:gd name="T55" fmla="*/ 524 h 560"/>
              <a:gd name="T56" fmla="*/ 68 w 345"/>
              <a:gd name="T57" fmla="*/ 511 h 560"/>
              <a:gd name="T58" fmla="*/ 59 w 345"/>
              <a:gd name="T59" fmla="*/ 505 h 560"/>
              <a:gd name="T60" fmla="*/ 57 w 345"/>
              <a:gd name="T61" fmla="*/ 513 h 560"/>
              <a:gd name="T62" fmla="*/ 55 w 345"/>
              <a:gd name="T63" fmla="*/ 547 h 560"/>
              <a:gd name="T64" fmla="*/ 34 w 345"/>
              <a:gd name="T65" fmla="*/ 545 h 560"/>
              <a:gd name="T66" fmla="*/ 27 w 345"/>
              <a:gd name="T67" fmla="*/ 543 h 560"/>
              <a:gd name="T68" fmla="*/ 10 w 345"/>
              <a:gd name="T69" fmla="*/ 34 h 560"/>
              <a:gd name="T70" fmla="*/ 0 w 345"/>
              <a:gd name="T71" fmla="*/ 2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 h="560">
                <a:moveTo>
                  <a:pt x="0" y="25"/>
                </a:moveTo>
                <a:lnTo>
                  <a:pt x="0" y="23"/>
                </a:lnTo>
                <a:lnTo>
                  <a:pt x="132" y="13"/>
                </a:lnTo>
                <a:lnTo>
                  <a:pt x="234" y="0"/>
                </a:lnTo>
                <a:lnTo>
                  <a:pt x="268" y="106"/>
                </a:lnTo>
                <a:lnTo>
                  <a:pt x="302" y="230"/>
                </a:lnTo>
                <a:lnTo>
                  <a:pt x="304" y="234"/>
                </a:lnTo>
                <a:lnTo>
                  <a:pt x="306" y="240"/>
                </a:lnTo>
                <a:lnTo>
                  <a:pt x="311" y="249"/>
                </a:lnTo>
                <a:lnTo>
                  <a:pt x="315" y="262"/>
                </a:lnTo>
                <a:lnTo>
                  <a:pt x="326" y="270"/>
                </a:lnTo>
                <a:lnTo>
                  <a:pt x="326" y="274"/>
                </a:lnTo>
                <a:lnTo>
                  <a:pt x="330" y="283"/>
                </a:lnTo>
                <a:lnTo>
                  <a:pt x="328" y="294"/>
                </a:lnTo>
                <a:lnTo>
                  <a:pt x="336" y="296"/>
                </a:lnTo>
                <a:lnTo>
                  <a:pt x="336" y="304"/>
                </a:lnTo>
                <a:lnTo>
                  <a:pt x="330" y="309"/>
                </a:lnTo>
                <a:lnTo>
                  <a:pt x="326" y="315"/>
                </a:lnTo>
                <a:lnTo>
                  <a:pt x="326" y="330"/>
                </a:lnTo>
                <a:lnTo>
                  <a:pt x="323" y="338"/>
                </a:lnTo>
                <a:lnTo>
                  <a:pt x="321" y="351"/>
                </a:lnTo>
                <a:lnTo>
                  <a:pt x="326" y="366"/>
                </a:lnTo>
                <a:lnTo>
                  <a:pt x="332" y="372"/>
                </a:lnTo>
                <a:lnTo>
                  <a:pt x="336" y="383"/>
                </a:lnTo>
                <a:lnTo>
                  <a:pt x="334" y="389"/>
                </a:lnTo>
                <a:lnTo>
                  <a:pt x="334" y="398"/>
                </a:lnTo>
                <a:lnTo>
                  <a:pt x="332" y="413"/>
                </a:lnTo>
                <a:lnTo>
                  <a:pt x="334" y="421"/>
                </a:lnTo>
                <a:lnTo>
                  <a:pt x="338" y="428"/>
                </a:lnTo>
                <a:lnTo>
                  <a:pt x="345" y="438"/>
                </a:lnTo>
                <a:lnTo>
                  <a:pt x="345" y="443"/>
                </a:lnTo>
                <a:lnTo>
                  <a:pt x="196" y="460"/>
                </a:lnTo>
                <a:lnTo>
                  <a:pt x="106" y="468"/>
                </a:lnTo>
                <a:lnTo>
                  <a:pt x="100" y="475"/>
                </a:lnTo>
                <a:lnTo>
                  <a:pt x="98" y="483"/>
                </a:lnTo>
                <a:lnTo>
                  <a:pt x="108" y="498"/>
                </a:lnTo>
                <a:lnTo>
                  <a:pt x="115" y="502"/>
                </a:lnTo>
                <a:lnTo>
                  <a:pt x="121" y="509"/>
                </a:lnTo>
                <a:lnTo>
                  <a:pt x="119" y="519"/>
                </a:lnTo>
                <a:lnTo>
                  <a:pt x="121" y="526"/>
                </a:lnTo>
                <a:lnTo>
                  <a:pt x="119" y="539"/>
                </a:lnTo>
                <a:lnTo>
                  <a:pt x="113" y="545"/>
                </a:lnTo>
                <a:lnTo>
                  <a:pt x="104" y="545"/>
                </a:lnTo>
                <a:lnTo>
                  <a:pt x="106" y="547"/>
                </a:lnTo>
                <a:lnTo>
                  <a:pt x="104" y="553"/>
                </a:lnTo>
                <a:lnTo>
                  <a:pt x="96" y="556"/>
                </a:lnTo>
                <a:lnTo>
                  <a:pt x="68" y="560"/>
                </a:lnTo>
                <a:lnTo>
                  <a:pt x="72" y="558"/>
                </a:lnTo>
                <a:lnTo>
                  <a:pt x="79" y="558"/>
                </a:lnTo>
                <a:lnTo>
                  <a:pt x="87" y="556"/>
                </a:lnTo>
                <a:lnTo>
                  <a:pt x="89" y="549"/>
                </a:lnTo>
                <a:lnTo>
                  <a:pt x="83" y="541"/>
                </a:lnTo>
                <a:lnTo>
                  <a:pt x="81" y="543"/>
                </a:lnTo>
                <a:lnTo>
                  <a:pt x="74" y="539"/>
                </a:lnTo>
                <a:lnTo>
                  <a:pt x="70" y="530"/>
                </a:lnTo>
                <a:lnTo>
                  <a:pt x="72" y="524"/>
                </a:lnTo>
                <a:lnTo>
                  <a:pt x="72" y="517"/>
                </a:lnTo>
                <a:lnTo>
                  <a:pt x="68" y="511"/>
                </a:lnTo>
                <a:lnTo>
                  <a:pt x="64" y="509"/>
                </a:lnTo>
                <a:lnTo>
                  <a:pt x="59" y="505"/>
                </a:lnTo>
                <a:lnTo>
                  <a:pt x="61" y="507"/>
                </a:lnTo>
                <a:lnTo>
                  <a:pt x="57" y="513"/>
                </a:lnTo>
                <a:lnTo>
                  <a:pt x="57" y="522"/>
                </a:lnTo>
                <a:lnTo>
                  <a:pt x="55" y="547"/>
                </a:lnTo>
                <a:lnTo>
                  <a:pt x="49" y="547"/>
                </a:lnTo>
                <a:lnTo>
                  <a:pt x="34" y="545"/>
                </a:lnTo>
                <a:lnTo>
                  <a:pt x="27" y="545"/>
                </a:lnTo>
                <a:lnTo>
                  <a:pt x="27" y="543"/>
                </a:lnTo>
                <a:lnTo>
                  <a:pt x="4" y="375"/>
                </a:lnTo>
                <a:lnTo>
                  <a:pt x="10" y="34"/>
                </a:lnTo>
                <a:lnTo>
                  <a:pt x="4" y="30"/>
                </a:lnTo>
                <a:lnTo>
                  <a:pt x="0" y="2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2" name="Freeform 728"/>
          <p:cNvSpPr>
            <a:spLocks/>
          </p:cNvSpPr>
          <p:nvPr/>
        </p:nvSpPr>
        <p:spPr bwMode="auto">
          <a:xfrm>
            <a:off x="6619875" y="5618163"/>
            <a:ext cx="23813" cy="12700"/>
          </a:xfrm>
          <a:custGeom>
            <a:avLst/>
            <a:gdLst>
              <a:gd name="T0" fmla="*/ 2 w 15"/>
              <a:gd name="T1" fmla="*/ 0 h 8"/>
              <a:gd name="T2" fmla="*/ 0 w 15"/>
              <a:gd name="T3" fmla="*/ 0 h 8"/>
              <a:gd name="T4" fmla="*/ 6 w 15"/>
              <a:gd name="T5" fmla="*/ 8 h 8"/>
              <a:gd name="T6" fmla="*/ 8 w 15"/>
              <a:gd name="T7" fmla="*/ 8 h 8"/>
              <a:gd name="T8" fmla="*/ 15 w 15"/>
              <a:gd name="T9" fmla="*/ 4 h 8"/>
              <a:gd name="T10" fmla="*/ 8 w 15"/>
              <a:gd name="T11" fmla="*/ 6 h 8"/>
              <a:gd name="T12" fmla="*/ 2 w 1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5" h="8">
                <a:moveTo>
                  <a:pt x="2" y="0"/>
                </a:moveTo>
                <a:lnTo>
                  <a:pt x="0" y="0"/>
                </a:lnTo>
                <a:lnTo>
                  <a:pt x="6" y="8"/>
                </a:lnTo>
                <a:lnTo>
                  <a:pt x="8" y="8"/>
                </a:lnTo>
                <a:lnTo>
                  <a:pt x="15" y="4"/>
                </a:lnTo>
                <a:lnTo>
                  <a:pt x="8" y="6"/>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729"/>
          <p:cNvSpPr>
            <a:spLocks/>
          </p:cNvSpPr>
          <p:nvPr/>
        </p:nvSpPr>
        <p:spPr bwMode="auto">
          <a:xfrm>
            <a:off x="6619875" y="5618163"/>
            <a:ext cx="23813" cy="12700"/>
          </a:xfrm>
          <a:custGeom>
            <a:avLst/>
            <a:gdLst>
              <a:gd name="T0" fmla="*/ 2 w 15"/>
              <a:gd name="T1" fmla="*/ 0 h 8"/>
              <a:gd name="T2" fmla="*/ 0 w 15"/>
              <a:gd name="T3" fmla="*/ 0 h 8"/>
              <a:gd name="T4" fmla="*/ 6 w 15"/>
              <a:gd name="T5" fmla="*/ 8 h 8"/>
              <a:gd name="T6" fmla="*/ 8 w 15"/>
              <a:gd name="T7" fmla="*/ 8 h 8"/>
              <a:gd name="T8" fmla="*/ 15 w 15"/>
              <a:gd name="T9" fmla="*/ 4 h 8"/>
              <a:gd name="T10" fmla="*/ 8 w 15"/>
              <a:gd name="T11" fmla="*/ 6 h 8"/>
              <a:gd name="T12" fmla="*/ 2 w 1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5" h="8">
                <a:moveTo>
                  <a:pt x="2" y="0"/>
                </a:moveTo>
                <a:lnTo>
                  <a:pt x="0" y="0"/>
                </a:lnTo>
                <a:lnTo>
                  <a:pt x="6" y="8"/>
                </a:lnTo>
                <a:lnTo>
                  <a:pt x="8" y="8"/>
                </a:lnTo>
                <a:lnTo>
                  <a:pt x="15" y="4"/>
                </a:lnTo>
                <a:lnTo>
                  <a:pt x="8" y="6"/>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4" name="Freeform 730"/>
          <p:cNvSpPr>
            <a:spLocks/>
          </p:cNvSpPr>
          <p:nvPr/>
        </p:nvSpPr>
        <p:spPr bwMode="auto">
          <a:xfrm>
            <a:off x="6734175" y="5948363"/>
            <a:ext cx="14288" cy="7938"/>
          </a:xfrm>
          <a:custGeom>
            <a:avLst/>
            <a:gdLst>
              <a:gd name="T0" fmla="*/ 2 w 9"/>
              <a:gd name="T1" fmla="*/ 0 h 5"/>
              <a:gd name="T2" fmla="*/ 0 w 9"/>
              <a:gd name="T3" fmla="*/ 5 h 5"/>
              <a:gd name="T4" fmla="*/ 9 w 9"/>
              <a:gd name="T5" fmla="*/ 0 h 5"/>
              <a:gd name="T6" fmla="*/ 2 w 9"/>
              <a:gd name="T7" fmla="*/ 0 h 5"/>
            </a:gdLst>
            <a:ahLst/>
            <a:cxnLst>
              <a:cxn ang="0">
                <a:pos x="T0" y="T1"/>
              </a:cxn>
              <a:cxn ang="0">
                <a:pos x="T2" y="T3"/>
              </a:cxn>
              <a:cxn ang="0">
                <a:pos x="T4" y="T5"/>
              </a:cxn>
              <a:cxn ang="0">
                <a:pos x="T6" y="T7"/>
              </a:cxn>
            </a:cxnLst>
            <a:rect l="0" t="0" r="r" b="b"/>
            <a:pathLst>
              <a:path w="9" h="5">
                <a:moveTo>
                  <a:pt x="2" y="0"/>
                </a:moveTo>
                <a:lnTo>
                  <a:pt x="0" y="5"/>
                </a:lnTo>
                <a:lnTo>
                  <a:pt x="9" y="0"/>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731"/>
          <p:cNvSpPr>
            <a:spLocks/>
          </p:cNvSpPr>
          <p:nvPr/>
        </p:nvSpPr>
        <p:spPr bwMode="auto">
          <a:xfrm>
            <a:off x="6734175" y="5948363"/>
            <a:ext cx="14288" cy="7938"/>
          </a:xfrm>
          <a:custGeom>
            <a:avLst/>
            <a:gdLst>
              <a:gd name="T0" fmla="*/ 2 w 9"/>
              <a:gd name="T1" fmla="*/ 0 h 5"/>
              <a:gd name="T2" fmla="*/ 0 w 9"/>
              <a:gd name="T3" fmla="*/ 5 h 5"/>
              <a:gd name="T4" fmla="*/ 9 w 9"/>
              <a:gd name="T5" fmla="*/ 0 h 5"/>
              <a:gd name="T6" fmla="*/ 2 w 9"/>
              <a:gd name="T7" fmla="*/ 0 h 5"/>
            </a:gdLst>
            <a:ahLst/>
            <a:cxnLst>
              <a:cxn ang="0">
                <a:pos x="T0" y="T1"/>
              </a:cxn>
              <a:cxn ang="0">
                <a:pos x="T2" y="T3"/>
              </a:cxn>
              <a:cxn ang="0">
                <a:pos x="T4" y="T5"/>
              </a:cxn>
              <a:cxn ang="0">
                <a:pos x="T6" y="T7"/>
              </a:cxn>
            </a:cxnLst>
            <a:rect l="0" t="0" r="r" b="b"/>
            <a:pathLst>
              <a:path w="9" h="5">
                <a:moveTo>
                  <a:pt x="2" y="0"/>
                </a:moveTo>
                <a:lnTo>
                  <a:pt x="0" y="5"/>
                </a:lnTo>
                <a:lnTo>
                  <a:pt x="9" y="0"/>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6" name="Freeform 732"/>
          <p:cNvSpPr>
            <a:spLocks/>
          </p:cNvSpPr>
          <p:nvPr/>
        </p:nvSpPr>
        <p:spPr bwMode="auto">
          <a:xfrm>
            <a:off x="6751637" y="5942013"/>
            <a:ext cx="9525" cy="3175"/>
          </a:xfrm>
          <a:custGeom>
            <a:avLst/>
            <a:gdLst>
              <a:gd name="T0" fmla="*/ 2 w 6"/>
              <a:gd name="T1" fmla="*/ 0 h 2"/>
              <a:gd name="T2" fmla="*/ 0 w 6"/>
              <a:gd name="T3" fmla="*/ 2 h 2"/>
              <a:gd name="T4" fmla="*/ 6 w 6"/>
              <a:gd name="T5" fmla="*/ 0 h 2"/>
              <a:gd name="T6" fmla="*/ 2 w 6"/>
              <a:gd name="T7" fmla="*/ 0 h 2"/>
            </a:gdLst>
            <a:ahLst/>
            <a:cxnLst>
              <a:cxn ang="0">
                <a:pos x="T0" y="T1"/>
              </a:cxn>
              <a:cxn ang="0">
                <a:pos x="T2" y="T3"/>
              </a:cxn>
              <a:cxn ang="0">
                <a:pos x="T4" y="T5"/>
              </a:cxn>
              <a:cxn ang="0">
                <a:pos x="T6" y="T7"/>
              </a:cxn>
            </a:cxnLst>
            <a:rect l="0" t="0" r="r" b="b"/>
            <a:pathLst>
              <a:path w="6" h="2">
                <a:moveTo>
                  <a:pt x="2" y="0"/>
                </a:moveTo>
                <a:lnTo>
                  <a:pt x="0" y="2"/>
                </a:lnTo>
                <a:lnTo>
                  <a:pt x="6" y="0"/>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733"/>
          <p:cNvSpPr>
            <a:spLocks/>
          </p:cNvSpPr>
          <p:nvPr/>
        </p:nvSpPr>
        <p:spPr bwMode="auto">
          <a:xfrm>
            <a:off x="6751637" y="5942013"/>
            <a:ext cx="9525" cy="3175"/>
          </a:xfrm>
          <a:custGeom>
            <a:avLst/>
            <a:gdLst>
              <a:gd name="T0" fmla="*/ 2 w 6"/>
              <a:gd name="T1" fmla="*/ 0 h 2"/>
              <a:gd name="T2" fmla="*/ 0 w 6"/>
              <a:gd name="T3" fmla="*/ 2 h 2"/>
              <a:gd name="T4" fmla="*/ 6 w 6"/>
              <a:gd name="T5" fmla="*/ 0 h 2"/>
              <a:gd name="T6" fmla="*/ 2 w 6"/>
              <a:gd name="T7" fmla="*/ 0 h 2"/>
            </a:gdLst>
            <a:ahLst/>
            <a:cxnLst>
              <a:cxn ang="0">
                <a:pos x="T0" y="T1"/>
              </a:cxn>
              <a:cxn ang="0">
                <a:pos x="T2" y="T3"/>
              </a:cxn>
              <a:cxn ang="0">
                <a:pos x="T4" y="T5"/>
              </a:cxn>
              <a:cxn ang="0">
                <a:pos x="T6" y="T7"/>
              </a:cxn>
            </a:cxnLst>
            <a:rect l="0" t="0" r="r" b="b"/>
            <a:pathLst>
              <a:path w="6" h="2">
                <a:moveTo>
                  <a:pt x="2" y="0"/>
                </a:moveTo>
                <a:lnTo>
                  <a:pt x="0" y="2"/>
                </a:lnTo>
                <a:lnTo>
                  <a:pt x="6" y="0"/>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8" name="Freeform 734"/>
          <p:cNvSpPr>
            <a:spLocks/>
          </p:cNvSpPr>
          <p:nvPr/>
        </p:nvSpPr>
        <p:spPr bwMode="auto">
          <a:xfrm>
            <a:off x="6764337" y="5929313"/>
            <a:ext cx="17463" cy="12700"/>
          </a:xfrm>
          <a:custGeom>
            <a:avLst/>
            <a:gdLst>
              <a:gd name="T0" fmla="*/ 4 w 11"/>
              <a:gd name="T1" fmla="*/ 4 h 8"/>
              <a:gd name="T2" fmla="*/ 0 w 11"/>
              <a:gd name="T3" fmla="*/ 8 h 8"/>
              <a:gd name="T4" fmla="*/ 4 w 11"/>
              <a:gd name="T5" fmla="*/ 6 h 8"/>
              <a:gd name="T6" fmla="*/ 11 w 11"/>
              <a:gd name="T7" fmla="*/ 0 h 8"/>
              <a:gd name="T8" fmla="*/ 4 w 11"/>
              <a:gd name="T9" fmla="*/ 4 h 8"/>
            </a:gdLst>
            <a:ahLst/>
            <a:cxnLst>
              <a:cxn ang="0">
                <a:pos x="T0" y="T1"/>
              </a:cxn>
              <a:cxn ang="0">
                <a:pos x="T2" y="T3"/>
              </a:cxn>
              <a:cxn ang="0">
                <a:pos x="T4" y="T5"/>
              </a:cxn>
              <a:cxn ang="0">
                <a:pos x="T6" y="T7"/>
              </a:cxn>
              <a:cxn ang="0">
                <a:pos x="T8" y="T9"/>
              </a:cxn>
            </a:cxnLst>
            <a:rect l="0" t="0" r="r" b="b"/>
            <a:pathLst>
              <a:path w="11" h="8">
                <a:moveTo>
                  <a:pt x="4" y="4"/>
                </a:moveTo>
                <a:lnTo>
                  <a:pt x="0" y="8"/>
                </a:lnTo>
                <a:lnTo>
                  <a:pt x="4" y="6"/>
                </a:lnTo>
                <a:lnTo>
                  <a:pt x="11" y="0"/>
                </a:lnTo>
                <a:lnTo>
                  <a:pt x="4" y="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735"/>
          <p:cNvSpPr>
            <a:spLocks/>
          </p:cNvSpPr>
          <p:nvPr/>
        </p:nvSpPr>
        <p:spPr bwMode="auto">
          <a:xfrm>
            <a:off x="6764337" y="5929313"/>
            <a:ext cx="17463" cy="12700"/>
          </a:xfrm>
          <a:custGeom>
            <a:avLst/>
            <a:gdLst>
              <a:gd name="T0" fmla="*/ 4 w 11"/>
              <a:gd name="T1" fmla="*/ 4 h 8"/>
              <a:gd name="T2" fmla="*/ 0 w 11"/>
              <a:gd name="T3" fmla="*/ 8 h 8"/>
              <a:gd name="T4" fmla="*/ 4 w 11"/>
              <a:gd name="T5" fmla="*/ 6 h 8"/>
              <a:gd name="T6" fmla="*/ 11 w 11"/>
              <a:gd name="T7" fmla="*/ 0 h 8"/>
              <a:gd name="T8" fmla="*/ 4 w 11"/>
              <a:gd name="T9" fmla="*/ 4 h 8"/>
            </a:gdLst>
            <a:ahLst/>
            <a:cxnLst>
              <a:cxn ang="0">
                <a:pos x="T0" y="T1"/>
              </a:cxn>
              <a:cxn ang="0">
                <a:pos x="T2" y="T3"/>
              </a:cxn>
              <a:cxn ang="0">
                <a:pos x="T4" y="T5"/>
              </a:cxn>
              <a:cxn ang="0">
                <a:pos x="T6" y="T7"/>
              </a:cxn>
              <a:cxn ang="0">
                <a:pos x="T8" y="T9"/>
              </a:cxn>
            </a:cxnLst>
            <a:rect l="0" t="0" r="r" b="b"/>
            <a:pathLst>
              <a:path w="11" h="8">
                <a:moveTo>
                  <a:pt x="4" y="4"/>
                </a:moveTo>
                <a:lnTo>
                  <a:pt x="0" y="8"/>
                </a:lnTo>
                <a:lnTo>
                  <a:pt x="4" y="6"/>
                </a:lnTo>
                <a:lnTo>
                  <a:pt x="11" y="0"/>
                </a:lnTo>
                <a:lnTo>
                  <a:pt x="4" y="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0" name="Freeform 736"/>
          <p:cNvSpPr>
            <a:spLocks/>
          </p:cNvSpPr>
          <p:nvPr/>
        </p:nvSpPr>
        <p:spPr bwMode="auto">
          <a:xfrm>
            <a:off x="6778625" y="5921375"/>
            <a:ext cx="9525" cy="3175"/>
          </a:xfrm>
          <a:custGeom>
            <a:avLst/>
            <a:gdLst>
              <a:gd name="T0" fmla="*/ 0 w 6"/>
              <a:gd name="T1" fmla="*/ 0 h 2"/>
              <a:gd name="T2" fmla="*/ 4 w 6"/>
              <a:gd name="T3" fmla="*/ 2 h 2"/>
              <a:gd name="T4" fmla="*/ 6 w 6"/>
              <a:gd name="T5" fmla="*/ 2 h 2"/>
              <a:gd name="T6" fmla="*/ 0 w 6"/>
              <a:gd name="T7" fmla="*/ 0 h 2"/>
            </a:gdLst>
            <a:ahLst/>
            <a:cxnLst>
              <a:cxn ang="0">
                <a:pos x="T0" y="T1"/>
              </a:cxn>
              <a:cxn ang="0">
                <a:pos x="T2" y="T3"/>
              </a:cxn>
              <a:cxn ang="0">
                <a:pos x="T4" y="T5"/>
              </a:cxn>
              <a:cxn ang="0">
                <a:pos x="T6" y="T7"/>
              </a:cxn>
            </a:cxnLst>
            <a:rect l="0" t="0" r="r" b="b"/>
            <a:pathLst>
              <a:path w="6" h="2">
                <a:moveTo>
                  <a:pt x="0" y="0"/>
                </a:moveTo>
                <a:lnTo>
                  <a:pt x="4" y="2"/>
                </a:lnTo>
                <a:lnTo>
                  <a:pt x="6" y="2"/>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737"/>
          <p:cNvSpPr>
            <a:spLocks/>
          </p:cNvSpPr>
          <p:nvPr/>
        </p:nvSpPr>
        <p:spPr bwMode="auto">
          <a:xfrm>
            <a:off x="6778625" y="5921375"/>
            <a:ext cx="9525" cy="3175"/>
          </a:xfrm>
          <a:custGeom>
            <a:avLst/>
            <a:gdLst>
              <a:gd name="T0" fmla="*/ 0 w 6"/>
              <a:gd name="T1" fmla="*/ 0 h 2"/>
              <a:gd name="T2" fmla="*/ 4 w 6"/>
              <a:gd name="T3" fmla="*/ 2 h 2"/>
              <a:gd name="T4" fmla="*/ 6 w 6"/>
              <a:gd name="T5" fmla="*/ 2 h 2"/>
              <a:gd name="T6" fmla="*/ 0 w 6"/>
              <a:gd name="T7" fmla="*/ 0 h 2"/>
            </a:gdLst>
            <a:ahLst/>
            <a:cxnLst>
              <a:cxn ang="0">
                <a:pos x="T0" y="T1"/>
              </a:cxn>
              <a:cxn ang="0">
                <a:pos x="T2" y="T3"/>
              </a:cxn>
              <a:cxn ang="0">
                <a:pos x="T4" y="T5"/>
              </a:cxn>
              <a:cxn ang="0">
                <a:pos x="T6" y="T7"/>
              </a:cxn>
            </a:cxnLst>
            <a:rect l="0" t="0" r="r" b="b"/>
            <a:pathLst>
              <a:path w="6" h="2">
                <a:moveTo>
                  <a:pt x="0" y="0"/>
                </a:moveTo>
                <a:lnTo>
                  <a:pt x="4" y="2"/>
                </a:lnTo>
                <a:lnTo>
                  <a:pt x="6" y="2"/>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2" name="Freeform 738"/>
          <p:cNvSpPr>
            <a:spLocks/>
          </p:cNvSpPr>
          <p:nvPr/>
        </p:nvSpPr>
        <p:spPr bwMode="auto">
          <a:xfrm>
            <a:off x="6794500" y="5908675"/>
            <a:ext cx="14288" cy="12700"/>
          </a:xfrm>
          <a:custGeom>
            <a:avLst/>
            <a:gdLst>
              <a:gd name="T0" fmla="*/ 0 w 9"/>
              <a:gd name="T1" fmla="*/ 0 h 8"/>
              <a:gd name="T2" fmla="*/ 7 w 9"/>
              <a:gd name="T3" fmla="*/ 8 h 8"/>
              <a:gd name="T4" fmla="*/ 9 w 9"/>
              <a:gd name="T5" fmla="*/ 8 h 8"/>
              <a:gd name="T6" fmla="*/ 7 w 9"/>
              <a:gd name="T7" fmla="*/ 4 h 8"/>
              <a:gd name="T8" fmla="*/ 0 w 9"/>
              <a:gd name="T9" fmla="*/ 0 h 8"/>
            </a:gdLst>
            <a:ahLst/>
            <a:cxnLst>
              <a:cxn ang="0">
                <a:pos x="T0" y="T1"/>
              </a:cxn>
              <a:cxn ang="0">
                <a:pos x="T2" y="T3"/>
              </a:cxn>
              <a:cxn ang="0">
                <a:pos x="T4" y="T5"/>
              </a:cxn>
              <a:cxn ang="0">
                <a:pos x="T6" y="T7"/>
              </a:cxn>
              <a:cxn ang="0">
                <a:pos x="T8" y="T9"/>
              </a:cxn>
            </a:cxnLst>
            <a:rect l="0" t="0" r="r" b="b"/>
            <a:pathLst>
              <a:path w="9" h="8">
                <a:moveTo>
                  <a:pt x="0" y="0"/>
                </a:moveTo>
                <a:lnTo>
                  <a:pt x="7" y="8"/>
                </a:lnTo>
                <a:lnTo>
                  <a:pt x="9" y="8"/>
                </a:lnTo>
                <a:lnTo>
                  <a:pt x="7" y="4"/>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739"/>
          <p:cNvSpPr>
            <a:spLocks/>
          </p:cNvSpPr>
          <p:nvPr/>
        </p:nvSpPr>
        <p:spPr bwMode="auto">
          <a:xfrm>
            <a:off x="6794500" y="5908675"/>
            <a:ext cx="14288" cy="12700"/>
          </a:xfrm>
          <a:custGeom>
            <a:avLst/>
            <a:gdLst>
              <a:gd name="T0" fmla="*/ 0 w 9"/>
              <a:gd name="T1" fmla="*/ 0 h 8"/>
              <a:gd name="T2" fmla="*/ 7 w 9"/>
              <a:gd name="T3" fmla="*/ 8 h 8"/>
              <a:gd name="T4" fmla="*/ 9 w 9"/>
              <a:gd name="T5" fmla="*/ 8 h 8"/>
              <a:gd name="T6" fmla="*/ 7 w 9"/>
              <a:gd name="T7" fmla="*/ 4 h 8"/>
              <a:gd name="T8" fmla="*/ 0 w 9"/>
              <a:gd name="T9" fmla="*/ 0 h 8"/>
            </a:gdLst>
            <a:ahLst/>
            <a:cxnLst>
              <a:cxn ang="0">
                <a:pos x="T0" y="T1"/>
              </a:cxn>
              <a:cxn ang="0">
                <a:pos x="T2" y="T3"/>
              </a:cxn>
              <a:cxn ang="0">
                <a:pos x="T4" y="T5"/>
              </a:cxn>
              <a:cxn ang="0">
                <a:pos x="T6" y="T7"/>
              </a:cxn>
              <a:cxn ang="0">
                <a:pos x="T8" y="T9"/>
              </a:cxn>
            </a:cxnLst>
            <a:rect l="0" t="0" r="r" b="b"/>
            <a:pathLst>
              <a:path w="9" h="8">
                <a:moveTo>
                  <a:pt x="0" y="0"/>
                </a:moveTo>
                <a:lnTo>
                  <a:pt x="7" y="8"/>
                </a:lnTo>
                <a:lnTo>
                  <a:pt x="9" y="8"/>
                </a:lnTo>
                <a:lnTo>
                  <a:pt x="7" y="4"/>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4" name="Freeform 740"/>
          <p:cNvSpPr>
            <a:spLocks/>
          </p:cNvSpPr>
          <p:nvPr/>
        </p:nvSpPr>
        <p:spPr bwMode="auto">
          <a:xfrm>
            <a:off x="6859587" y="5891213"/>
            <a:ext cx="12700" cy="11113"/>
          </a:xfrm>
          <a:custGeom>
            <a:avLst/>
            <a:gdLst>
              <a:gd name="T0" fmla="*/ 6 w 8"/>
              <a:gd name="T1" fmla="*/ 0 h 7"/>
              <a:gd name="T2" fmla="*/ 8 w 8"/>
              <a:gd name="T3" fmla="*/ 0 h 7"/>
              <a:gd name="T4" fmla="*/ 6 w 8"/>
              <a:gd name="T5" fmla="*/ 0 h 7"/>
              <a:gd name="T6" fmla="*/ 0 w 8"/>
              <a:gd name="T7" fmla="*/ 7 h 7"/>
              <a:gd name="T8" fmla="*/ 6 w 8"/>
              <a:gd name="T9" fmla="*/ 0 h 7"/>
            </a:gdLst>
            <a:ahLst/>
            <a:cxnLst>
              <a:cxn ang="0">
                <a:pos x="T0" y="T1"/>
              </a:cxn>
              <a:cxn ang="0">
                <a:pos x="T2" y="T3"/>
              </a:cxn>
              <a:cxn ang="0">
                <a:pos x="T4" y="T5"/>
              </a:cxn>
              <a:cxn ang="0">
                <a:pos x="T6" y="T7"/>
              </a:cxn>
              <a:cxn ang="0">
                <a:pos x="T8" y="T9"/>
              </a:cxn>
            </a:cxnLst>
            <a:rect l="0" t="0" r="r" b="b"/>
            <a:pathLst>
              <a:path w="8" h="7">
                <a:moveTo>
                  <a:pt x="6" y="0"/>
                </a:moveTo>
                <a:lnTo>
                  <a:pt x="8" y="0"/>
                </a:lnTo>
                <a:lnTo>
                  <a:pt x="6" y="0"/>
                </a:lnTo>
                <a:lnTo>
                  <a:pt x="0" y="7"/>
                </a:lnTo>
                <a:lnTo>
                  <a:pt x="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741"/>
          <p:cNvSpPr>
            <a:spLocks/>
          </p:cNvSpPr>
          <p:nvPr/>
        </p:nvSpPr>
        <p:spPr bwMode="auto">
          <a:xfrm>
            <a:off x="6859587" y="5891213"/>
            <a:ext cx="12700" cy="11113"/>
          </a:xfrm>
          <a:custGeom>
            <a:avLst/>
            <a:gdLst>
              <a:gd name="T0" fmla="*/ 6 w 8"/>
              <a:gd name="T1" fmla="*/ 0 h 7"/>
              <a:gd name="T2" fmla="*/ 8 w 8"/>
              <a:gd name="T3" fmla="*/ 0 h 7"/>
              <a:gd name="T4" fmla="*/ 6 w 8"/>
              <a:gd name="T5" fmla="*/ 0 h 7"/>
              <a:gd name="T6" fmla="*/ 0 w 8"/>
              <a:gd name="T7" fmla="*/ 7 h 7"/>
              <a:gd name="T8" fmla="*/ 6 w 8"/>
              <a:gd name="T9" fmla="*/ 0 h 7"/>
            </a:gdLst>
            <a:ahLst/>
            <a:cxnLst>
              <a:cxn ang="0">
                <a:pos x="T0" y="T1"/>
              </a:cxn>
              <a:cxn ang="0">
                <a:pos x="T2" y="T3"/>
              </a:cxn>
              <a:cxn ang="0">
                <a:pos x="T4" y="T5"/>
              </a:cxn>
              <a:cxn ang="0">
                <a:pos x="T6" y="T7"/>
              </a:cxn>
              <a:cxn ang="0">
                <a:pos x="T8" y="T9"/>
              </a:cxn>
            </a:cxnLst>
            <a:rect l="0" t="0" r="r" b="b"/>
            <a:pathLst>
              <a:path w="8" h="7">
                <a:moveTo>
                  <a:pt x="6" y="0"/>
                </a:moveTo>
                <a:lnTo>
                  <a:pt x="8" y="0"/>
                </a:lnTo>
                <a:lnTo>
                  <a:pt x="6" y="0"/>
                </a:lnTo>
                <a:lnTo>
                  <a:pt x="0" y="7"/>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6" name="Freeform 742"/>
          <p:cNvSpPr>
            <a:spLocks/>
          </p:cNvSpPr>
          <p:nvPr/>
        </p:nvSpPr>
        <p:spPr bwMode="auto">
          <a:xfrm>
            <a:off x="6883400" y="5878513"/>
            <a:ext cx="9525" cy="3175"/>
          </a:xfrm>
          <a:custGeom>
            <a:avLst/>
            <a:gdLst>
              <a:gd name="T0" fmla="*/ 6 w 6"/>
              <a:gd name="T1" fmla="*/ 0 h 2"/>
              <a:gd name="T2" fmla="*/ 6 w 6"/>
              <a:gd name="T3" fmla="*/ 0 h 2"/>
              <a:gd name="T4" fmla="*/ 0 w 6"/>
              <a:gd name="T5" fmla="*/ 2 h 2"/>
              <a:gd name="T6" fmla="*/ 6 w 6"/>
              <a:gd name="T7" fmla="*/ 0 h 2"/>
            </a:gdLst>
            <a:ahLst/>
            <a:cxnLst>
              <a:cxn ang="0">
                <a:pos x="T0" y="T1"/>
              </a:cxn>
              <a:cxn ang="0">
                <a:pos x="T2" y="T3"/>
              </a:cxn>
              <a:cxn ang="0">
                <a:pos x="T4" y="T5"/>
              </a:cxn>
              <a:cxn ang="0">
                <a:pos x="T6" y="T7"/>
              </a:cxn>
            </a:cxnLst>
            <a:rect l="0" t="0" r="r" b="b"/>
            <a:pathLst>
              <a:path w="6" h="2">
                <a:moveTo>
                  <a:pt x="6" y="0"/>
                </a:moveTo>
                <a:lnTo>
                  <a:pt x="6" y="0"/>
                </a:lnTo>
                <a:lnTo>
                  <a:pt x="0" y="2"/>
                </a:lnTo>
                <a:lnTo>
                  <a:pt x="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743"/>
          <p:cNvSpPr>
            <a:spLocks/>
          </p:cNvSpPr>
          <p:nvPr/>
        </p:nvSpPr>
        <p:spPr bwMode="auto">
          <a:xfrm>
            <a:off x="6883400" y="5878513"/>
            <a:ext cx="9525" cy="3175"/>
          </a:xfrm>
          <a:custGeom>
            <a:avLst/>
            <a:gdLst>
              <a:gd name="T0" fmla="*/ 6 w 6"/>
              <a:gd name="T1" fmla="*/ 0 h 2"/>
              <a:gd name="T2" fmla="*/ 6 w 6"/>
              <a:gd name="T3" fmla="*/ 0 h 2"/>
              <a:gd name="T4" fmla="*/ 0 w 6"/>
              <a:gd name="T5" fmla="*/ 2 h 2"/>
              <a:gd name="T6" fmla="*/ 6 w 6"/>
              <a:gd name="T7" fmla="*/ 0 h 2"/>
            </a:gdLst>
            <a:ahLst/>
            <a:cxnLst>
              <a:cxn ang="0">
                <a:pos x="T0" y="T1"/>
              </a:cxn>
              <a:cxn ang="0">
                <a:pos x="T2" y="T3"/>
              </a:cxn>
              <a:cxn ang="0">
                <a:pos x="T4" y="T5"/>
              </a:cxn>
              <a:cxn ang="0">
                <a:pos x="T6" y="T7"/>
              </a:cxn>
            </a:cxnLst>
            <a:rect l="0" t="0" r="r" b="b"/>
            <a:pathLst>
              <a:path w="6" h="2">
                <a:moveTo>
                  <a:pt x="6" y="0"/>
                </a:moveTo>
                <a:lnTo>
                  <a:pt x="6" y="0"/>
                </a:lnTo>
                <a:lnTo>
                  <a:pt x="0" y="2"/>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8" name="Freeform 744"/>
          <p:cNvSpPr>
            <a:spLocks/>
          </p:cNvSpPr>
          <p:nvPr/>
        </p:nvSpPr>
        <p:spPr bwMode="auto">
          <a:xfrm>
            <a:off x="6899275" y="5864225"/>
            <a:ext cx="7938" cy="6350"/>
          </a:xfrm>
          <a:custGeom>
            <a:avLst/>
            <a:gdLst>
              <a:gd name="T0" fmla="*/ 5 w 5"/>
              <a:gd name="T1" fmla="*/ 2 h 4"/>
              <a:gd name="T2" fmla="*/ 5 w 5"/>
              <a:gd name="T3" fmla="*/ 0 h 4"/>
              <a:gd name="T4" fmla="*/ 0 w 5"/>
              <a:gd name="T5" fmla="*/ 4 h 4"/>
              <a:gd name="T6" fmla="*/ 5 w 5"/>
              <a:gd name="T7" fmla="*/ 2 h 4"/>
            </a:gdLst>
            <a:ahLst/>
            <a:cxnLst>
              <a:cxn ang="0">
                <a:pos x="T0" y="T1"/>
              </a:cxn>
              <a:cxn ang="0">
                <a:pos x="T2" y="T3"/>
              </a:cxn>
              <a:cxn ang="0">
                <a:pos x="T4" y="T5"/>
              </a:cxn>
              <a:cxn ang="0">
                <a:pos x="T6" y="T7"/>
              </a:cxn>
            </a:cxnLst>
            <a:rect l="0" t="0" r="r" b="b"/>
            <a:pathLst>
              <a:path w="5" h="4">
                <a:moveTo>
                  <a:pt x="5" y="2"/>
                </a:moveTo>
                <a:lnTo>
                  <a:pt x="5" y="0"/>
                </a:lnTo>
                <a:lnTo>
                  <a:pt x="0" y="4"/>
                </a:lnTo>
                <a:lnTo>
                  <a:pt x="5"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745"/>
          <p:cNvSpPr>
            <a:spLocks/>
          </p:cNvSpPr>
          <p:nvPr/>
        </p:nvSpPr>
        <p:spPr bwMode="auto">
          <a:xfrm>
            <a:off x="6899275" y="5864225"/>
            <a:ext cx="7938" cy="6350"/>
          </a:xfrm>
          <a:custGeom>
            <a:avLst/>
            <a:gdLst>
              <a:gd name="T0" fmla="*/ 5 w 5"/>
              <a:gd name="T1" fmla="*/ 2 h 4"/>
              <a:gd name="T2" fmla="*/ 5 w 5"/>
              <a:gd name="T3" fmla="*/ 0 h 4"/>
              <a:gd name="T4" fmla="*/ 0 w 5"/>
              <a:gd name="T5" fmla="*/ 4 h 4"/>
              <a:gd name="T6" fmla="*/ 5 w 5"/>
              <a:gd name="T7" fmla="*/ 2 h 4"/>
            </a:gdLst>
            <a:ahLst/>
            <a:cxnLst>
              <a:cxn ang="0">
                <a:pos x="T0" y="T1"/>
              </a:cxn>
              <a:cxn ang="0">
                <a:pos x="T2" y="T3"/>
              </a:cxn>
              <a:cxn ang="0">
                <a:pos x="T4" y="T5"/>
              </a:cxn>
              <a:cxn ang="0">
                <a:pos x="T6" y="T7"/>
              </a:cxn>
            </a:cxnLst>
            <a:rect l="0" t="0" r="r" b="b"/>
            <a:pathLst>
              <a:path w="5" h="4">
                <a:moveTo>
                  <a:pt x="5" y="2"/>
                </a:moveTo>
                <a:lnTo>
                  <a:pt x="5" y="0"/>
                </a:lnTo>
                <a:lnTo>
                  <a:pt x="0" y="4"/>
                </a:lnTo>
                <a:lnTo>
                  <a:pt x="5"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0" name="Freeform 746"/>
          <p:cNvSpPr>
            <a:spLocks/>
          </p:cNvSpPr>
          <p:nvPr/>
        </p:nvSpPr>
        <p:spPr bwMode="auto">
          <a:xfrm>
            <a:off x="6919912" y="5773738"/>
            <a:ext cx="41275" cy="77788"/>
          </a:xfrm>
          <a:custGeom>
            <a:avLst/>
            <a:gdLst>
              <a:gd name="T0" fmla="*/ 26 w 26"/>
              <a:gd name="T1" fmla="*/ 0 h 49"/>
              <a:gd name="T2" fmla="*/ 19 w 26"/>
              <a:gd name="T3" fmla="*/ 6 h 49"/>
              <a:gd name="T4" fmla="*/ 19 w 26"/>
              <a:gd name="T5" fmla="*/ 15 h 49"/>
              <a:gd name="T6" fmla="*/ 15 w 26"/>
              <a:gd name="T7" fmla="*/ 27 h 49"/>
              <a:gd name="T8" fmla="*/ 4 w 26"/>
              <a:gd name="T9" fmla="*/ 40 h 49"/>
              <a:gd name="T10" fmla="*/ 4 w 26"/>
              <a:gd name="T11" fmla="*/ 42 h 49"/>
              <a:gd name="T12" fmla="*/ 0 w 26"/>
              <a:gd name="T13" fmla="*/ 49 h 49"/>
              <a:gd name="T14" fmla="*/ 17 w 26"/>
              <a:gd name="T15" fmla="*/ 27 h 49"/>
              <a:gd name="T16" fmla="*/ 26 w 26"/>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9">
                <a:moveTo>
                  <a:pt x="26" y="0"/>
                </a:moveTo>
                <a:lnTo>
                  <a:pt x="19" y="6"/>
                </a:lnTo>
                <a:lnTo>
                  <a:pt x="19" y="15"/>
                </a:lnTo>
                <a:lnTo>
                  <a:pt x="15" y="27"/>
                </a:lnTo>
                <a:lnTo>
                  <a:pt x="4" y="40"/>
                </a:lnTo>
                <a:lnTo>
                  <a:pt x="4" y="42"/>
                </a:lnTo>
                <a:lnTo>
                  <a:pt x="0" y="49"/>
                </a:lnTo>
                <a:lnTo>
                  <a:pt x="17" y="27"/>
                </a:lnTo>
                <a:lnTo>
                  <a:pt x="2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747"/>
          <p:cNvSpPr>
            <a:spLocks/>
          </p:cNvSpPr>
          <p:nvPr/>
        </p:nvSpPr>
        <p:spPr bwMode="auto">
          <a:xfrm>
            <a:off x="6919912" y="5773738"/>
            <a:ext cx="41275" cy="77788"/>
          </a:xfrm>
          <a:custGeom>
            <a:avLst/>
            <a:gdLst>
              <a:gd name="T0" fmla="*/ 26 w 26"/>
              <a:gd name="T1" fmla="*/ 0 h 49"/>
              <a:gd name="T2" fmla="*/ 19 w 26"/>
              <a:gd name="T3" fmla="*/ 6 h 49"/>
              <a:gd name="T4" fmla="*/ 19 w 26"/>
              <a:gd name="T5" fmla="*/ 15 h 49"/>
              <a:gd name="T6" fmla="*/ 15 w 26"/>
              <a:gd name="T7" fmla="*/ 27 h 49"/>
              <a:gd name="T8" fmla="*/ 4 w 26"/>
              <a:gd name="T9" fmla="*/ 40 h 49"/>
              <a:gd name="T10" fmla="*/ 4 w 26"/>
              <a:gd name="T11" fmla="*/ 42 h 49"/>
              <a:gd name="T12" fmla="*/ 0 w 26"/>
              <a:gd name="T13" fmla="*/ 49 h 49"/>
              <a:gd name="T14" fmla="*/ 17 w 26"/>
              <a:gd name="T15" fmla="*/ 27 h 49"/>
              <a:gd name="T16" fmla="*/ 26 w 26"/>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9">
                <a:moveTo>
                  <a:pt x="26" y="0"/>
                </a:moveTo>
                <a:lnTo>
                  <a:pt x="19" y="6"/>
                </a:lnTo>
                <a:lnTo>
                  <a:pt x="19" y="15"/>
                </a:lnTo>
                <a:lnTo>
                  <a:pt x="15" y="27"/>
                </a:lnTo>
                <a:lnTo>
                  <a:pt x="4" y="40"/>
                </a:lnTo>
                <a:lnTo>
                  <a:pt x="4" y="42"/>
                </a:lnTo>
                <a:lnTo>
                  <a:pt x="0" y="49"/>
                </a:lnTo>
                <a:lnTo>
                  <a:pt x="17" y="27"/>
                </a:lnTo>
                <a:lnTo>
                  <a:pt x="2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2" name="Freeform 748"/>
          <p:cNvSpPr>
            <a:spLocks/>
          </p:cNvSpPr>
          <p:nvPr/>
        </p:nvSpPr>
        <p:spPr bwMode="auto">
          <a:xfrm>
            <a:off x="6967537" y="5746750"/>
            <a:ext cx="3175" cy="12700"/>
          </a:xfrm>
          <a:custGeom>
            <a:avLst/>
            <a:gdLst>
              <a:gd name="T0" fmla="*/ 2 w 2"/>
              <a:gd name="T1" fmla="*/ 0 h 8"/>
              <a:gd name="T2" fmla="*/ 0 w 2"/>
              <a:gd name="T3" fmla="*/ 0 h 8"/>
              <a:gd name="T4" fmla="*/ 0 w 2"/>
              <a:gd name="T5" fmla="*/ 8 h 8"/>
              <a:gd name="T6" fmla="*/ 2 w 2"/>
              <a:gd name="T7" fmla="*/ 0 h 8"/>
            </a:gdLst>
            <a:ahLst/>
            <a:cxnLst>
              <a:cxn ang="0">
                <a:pos x="T0" y="T1"/>
              </a:cxn>
              <a:cxn ang="0">
                <a:pos x="T2" y="T3"/>
              </a:cxn>
              <a:cxn ang="0">
                <a:pos x="T4" y="T5"/>
              </a:cxn>
              <a:cxn ang="0">
                <a:pos x="T6" y="T7"/>
              </a:cxn>
            </a:cxnLst>
            <a:rect l="0" t="0" r="r" b="b"/>
            <a:pathLst>
              <a:path w="2" h="8">
                <a:moveTo>
                  <a:pt x="2" y="0"/>
                </a:moveTo>
                <a:lnTo>
                  <a:pt x="0" y="0"/>
                </a:lnTo>
                <a:lnTo>
                  <a:pt x="0" y="8"/>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749"/>
          <p:cNvSpPr>
            <a:spLocks/>
          </p:cNvSpPr>
          <p:nvPr/>
        </p:nvSpPr>
        <p:spPr bwMode="auto">
          <a:xfrm>
            <a:off x="6967537" y="5746750"/>
            <a:ext cx="3175" cy="12700"/>
          </a:xfrm>
          <a:custGeom>
            <a:avLst/>
            <a:gdLst>
              <a:gd name="T0" fmla="*/ 2 w 2"/>
              <a:gd name="T1" fmla="*/ 0 h 8"/>
              <a:gd name="T2" fmla="*/ 0 w 2"/>
              <a:gd name="T3" fmla="*/ 0 h 8"/>
              <a:gd name="T4" fmla="*/ 0 w 2"/>
              <a:gd name="T5" fmla="*/ 8 h 8"/>
              <a:gd name="T6" fmla="*/ 2 w 2"/>
              <a:gd name="T7" fmla="*/ 0 h 8"/>
            </a:gdLst>
            <a:ahLst/>
            <a:cxnLst>
              <a:cxn ang="0">
                <a:pos x="T0" y="T1"/>
              </a:cxn>
              <a:cxn ang="0">
                <a:pos x="T2" y="T3"/>
              </a:cxn>
              <a:cxn ang="0">
                <a:pos x="T4" y="T5"/>
              </a:cxn>
              <a:cxn ang="0">
                <a:pos x="T6" y="T7"/>
              </a:cxn>
            </a:cxnLst>
            <a:rect l="0" t="0" r="r" b="b"/>
            <a:pathLst>
              <a:path w="2" h="8">
                <a:moveTo>
                  <a:pt x="2" y="0"/>
                </a:moveTo>
                <a:lnTo>
                  <a:pt x="0" y="0"/>
                </a:lnTo>
                <a:lnTo>
                  <a:pt x="0" y="8"/>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4" name="Freeform 750"/>
          <p:cNvSpPr>
            <a:spLocks/>
          </p:cNvSpPr>
          <p:nvPr/>
        </p:nvSpPr>
        <p:spPr bwMode="auto">
          <a:xfrm>
            <a:off x="5680075" y="4852988"/>
            <a:ext cx="1287463" cy="981075"/>
          </a:xfrm>
          <a:custGeom>
            <a:avLst/>
            <a:gdLst>
              <a:gd name="T0" fmla="*/ 10 w 811"/>
              <a:gd name="T1" fmla="*/ 79 h 618"/>
              <a:gd name="T2" fmla="*/ 247 w 811"/>
              <a:gd name="T3" fmla="*/ 24 h 618"/>
              <a:gd name="T4" fmla="*/ 519 w 811"/>
              <a:gd name="T5" fmla="*/ 41 h 618"/>
              <a:gd name="T6" fmla="*/ 538 w 811"/>
              <a:gd name="T7" fmla="*/ 28 h 618"/>
              <a:gd name="T8" fmla="*/ 545 w 811"/>
              <a:gd name="T9" fmla="*/ 0 h 618"/>
              <a:gd name="T10" fmla="*/ 585 w 811"/>
              <a:gd name="T11" fmla="*/ 7 h 618"/>
              <a:gd name="T12" fmla="*/ 598 w 811"/>
              <a:gd name="T13" fmla="*/ 34 h 618"/>
              <a:gd name="T14" fmla="*/ 626 w 811"/>
              <a:gd name="T15" fmla="*/ 103 h 618"/>
              <a:gd name="T16" fmla="*/ 717 w 811"/>
              <a:gd name="T17" fmla="*/ 235 h 618"/>
              <a:gd name="T18" fmla="*/ 726 w 811"/>
              <a:gd name="T19" fmla="*/ 284 h 618"/>
              <a:gd name="T20" fmla="*/ 715 w 811"/>
              <a:gd name="T21" fmla="*/ 239 h 618"/>
              <a:gd name="T22" fmla="*/ 694 w 811"/>
              <a:gd name="T23" fmla="*/ 215 h 618"/>
              <a:gd name="T24" fmla="*/ 702 w 811"/>
              <a:gd name="T25" fmla="*/ 254 h 618"/>
              <a:gd name="T26" fmla="*/ 773 w 811"/>
              <a:gd name="T27" fmla="*/ 373 h 618"/>
              <a:gd name="T28" fmla="*/ 794 w 811"/>
              <a:gd name="T29" fmla="*/ 403 h 618"/>
              <a:gd name="T30" fmla="*/ 809 w 811"/>
              <a:gd name="T31" fmla="*/ 494 h 618"/>
              <a:gd name="T32" fmla="*/ 807 w 811"/>
              <a:gd name="T33" fmla="*/ 524 h 618"/>
              <a:gd name="T34" fmla="*/ 798 w 811"/>
              <a:gd name="T35" fmla="*/ 558 h 618"/>
              <a:gd name="T36" fmla="*/ 796 w 811"/>
              <a:gd name="T37" fmla="*/ 599 h 618"/>
              <a:gd name="T38" fmla="*/ 773 w 811"/>
              <a:gd name="T39" fmla="*/ 605 h 618"/>
              <a:gd name="T40" fmla="*/ 726 w 811"/>
              <a:gd name="T41" fmla="*/ 618 h 618"/>
              <a:gd name="T42" fmla="*/ 739 w 811"/>
              <a:gd name="T43" fmla="*/ 607 h 618"/>
              <a:gd name="T44" fmla="*/ 709 w 811"/>
              <a:gd name="T45" fmla="*/ 578 h 618"/>
              <a:gd name="T46" fmla="*/ 675 w 811"/>
              <a:gd name="T47" fmla="*/ 539 h 618"/>
              <a:gd name="T48" fmla="*/ 656 w 811"/>
              <a:gd name="T49" fmla="*/ 533 h 618"/>
              <a:gd name="T50" fmla="*/ 615 w 811"/>
              <a:gd name="T51" fmla="*/ 484 h 618"/>
              <a:gd name="T52" fmla="*/ 619 w 811"/>
              <a:gd name="T53" fmla="*/ 462 h 618"/>
              <a:gd name="T54" fmla="*/ 602 w 811"/>
              <a:gd name="T55" fmla="*/ 465 h 618"/>
              <a:gd name="T56" fmla="*/ 602 w 811"/>
              <a:gd name="T57" fmla="*/ 431 h 618"/>
              <a:gd name="T58" fmla="*/ 590 w 811"/>
              <a:gd name="T59" fmla="*/ 443 h 618"/>
              <a:gd name="T60" fmla="*/ 564 w 811"/>
              <a:gd name="T61" fmla="*/ 435 h 618"/>
              <a:gd name="T62" fmla="*/ 526 w 811"/>
              <a:gd name="T63" fmla="*/ 386 h 618"/>
              <a:gd name="T64" fmla="*/ 538 w 811"/>
              <a:gd name="T65" fmla="*/ 365 h 618"/>
              <a:gd name="T66" fmla="*/ 534 w 811"/>
              <a:gd name="T67" fmla="*/ 330 h 618"/>
              <a:gd name="T68" fmla="*/ 526 w 811"/>
              <a:gd name="T69" fmla="*/ 339 h 618"/>
              <a:gd name="T70" fmla="*/ 509 w 811"/>
              <a:gd name="T71" fmla="*/ 347 h 618"/>
              <a:gd name="T72" fmla="*/ 509 w 811"/>
              <a:gd name="T73" fmla="*/ 318 h 618"/>
              <a:gd name="T74" fmla="*/ 511 w 811"/>
              <a:gd name="T75" fmla="*/ 237 h 618"/>
              <a:gd name="T76" fmla="*/ 496 w 811"/>
              <a:gd name="T77" fmla="*/ 209 h 618"/>
              <a:gd name="T78" fmla="*/ 451 w 811"/>
              <a:gd name="T79" fmla="*/ 188 h 618"/>
              <a:gd name="T80" fmla="*/ 404 w 811"/>
              <a:gd name="T81" fmla="*/ 145 h 618"/>
              <a:gd name="T82" fmla="*/ 353 w 811"/>
              <a:gd name="T83" fmla="*/ 111 h 618"/>
              <a:gd name="T84" fmla="*/ 323 w 811"/>
              <a:gd name="T85" fmla="*/ 130 h 618"/>
              <a:gd name="T86" fmla="*/ 313 w 811"/>
              <a:gd name="T87" fmla="*/ 139 h 618"/>
              <a:gd name="T88" fmla="*/ 268 w 811"/>
              <a:gd name="T89" fmla="*/ 162 h 618"/>
              <a:gd name="T90" fmla="*/ 236 w 811"/>
              <a:gd name="T91" fmla="*/ 173 h 618"/>
              <a:gd name="T92" fmla="*/ 230 w 811"/>
              <a:gd name="T93" fmla="*/ 171 h 618"/>
              <a:gd name="T94" fmla="*/ 217 w 811"/>
              <a:gd name="T95" fmla="*/ 145 h 618"/>
              <a:gd name="T96" fmla="*/ 196 w 811"/>
              <a:gd name="T97" fmla="*/ 128 h 618"/>
              <a:gd name="T98" fmla="*/ 210 w 811"/>
              <a:gd name="T99" fmla="*/ 126 h 618"/>
              <a:gd name="T100" fmla="*/ 202 w 811"/>
              <a:gd name="T101" fmla="*/ 105 h 618"/>
              <a:gd name="T102" fmla="*/ 187 w 811"/>
              <a:gd name="T103" fmla="*/ 122 h 618"/>
              <a:gd name="T104" fmla="*/ 121 w 811"/>
              <a:gd name="T105" fmla="*/ 107 h 618"/>
              <a:gd name="T106" fmla="*/ 144 w 811"/>
              <a:gd name="T107" fmla="*/ 105 h 618"/>
              <a:gd name="T108" fmla="*/ 121 w 811"/>
              <a:gd name="T109" fmla="*/ 100 h 618"/>
              <a:gd name="T110" fmla="*/ 59 w 811"/>
              <a:gd name="T111" fmla="*/ 115 h 618"/>
              <a:gd name="T112" fmla="*/ 61 w 811"/>
              <a:gd name="T113" fmla="*/ 98 h 618"/>
              <a:gd name="T114" fmla="*/ 47 w 811"/>
              <a:gd name="T115" fmla="*/ 100 h 618"/>
              <a:gd name="T116" fmla="*/ 32 w 811"/>
              <a:gd name="T117" fmla="*/ 126 h 618"/>
              <a:gd name="T118" fmla="*/ 29 w 811"/>
              <a:gd name="T119" fmla="*/ 109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1" h="618">
                <a:moveTo>
                  <a:pt x="23" y="107"/>
                </a:moveTo>
                <a:lnTo>
                  <a:pt x="21" y="100"/>
                </a:lnTo>
                <a:lnTo>
                  <a:pt x="23" y="90"/>
                </a:lnTo>
                <a:lnTo>
                  <a:pt x="17" y="83"/>
                </a:lnTo>
                <a:lnTo>
                  <a:pt x="10" y="79"/>
                </a:lnTo>
                <a:lnTo>
                  <a:pt x="0" y="64"/>
                </a:lnTo>
                <a:lnTo>
                  <a:pt x="2" y="56"/>
                </a:lnTo>
                <a:lnTo>
                  <a:pt x="8" y="49"/>
                </a:lnTo>
                <a:lnTo>
                  <a:pt x="98" y="41"/>
                </a:lnTo>
                <a:lnTo>
                  <a:pt x="247" y="24"/>
                </a:lnTo>
                <a:lnTo>
                  <a:pt x="257" y="39"/>
                </a:lnTo>
                <a:lnTo>
                  <a:pt x="259" y="45"/>
                </a:lnTo>
                <a:lnTo>
                  <a:pt x="266" y="54"/>
                </a:lnTo>
                <a:lnTo>
                  <a:pt x="513" y="34"/>
                </a:lnTo>
                <a:lnTo>
                  <a:pt x="519" y="41"/>
                </a:lnTo>
                <a:lnTo>
                  <a:pt x="526" y="54"/>
                </a:lnTo>
                <a:lnTo>
                  <a:pt x="532" y="56"/>
                </a:lnTo>
                <a:lnTo>
                  <a:pt x="538" y="49"/>
                </a:lnTo>
                <a:lnTo>
                  <a:pt x="541" y="34"/>
                </a:lnTo>
                <a:lnTo>
                  <a:pt x="538" y="28"/>
                </a:lnTo>
                <a:lnTo>
                  <a:pt x="534" y="22"/>
                </a:lnTo>
                <a:lnTo>
                  <a:pt x="534" y="13"/>
                </a:lnTo>
                <a:lnTo>
                  <a:pt x="536" y="7"/>
                </a:lnTo>
                <a:lnTo>
                  <a:pt x="538" y="7"/>
                </a:lnTo>
                <a:lnTo>
                  <a:pt x="545" y="0"/>
                </a:lnTo>
                <a:lnTo>
                  <a:pt x="553" y="5"/>
                </a:lnTo>
                <a:lnTo>
                  <a:pt x="570" y="9"/>
                </a:lnTo>
                <a:lnTo>
                  <a:pt x="579" y="9"/>
                </a:lnTo>
                <a:lnTo>
                  <a:pt x="581" y="9"/>
                </a:lnTo>
                <a:lnTo>
                  <a:pt x="585" y="7"/>
                </a:lnTo>
                <a:lnTo>
                  <a:pt x="594" y="11"/>
                </a:lnTo>
                <a:lnTo>
                  <a:pt x="592" y="24"/>
                </a:lnTo>
                <a:lnTo>
                  <a:pt x="587" y="19"/>
                </a:lnTo>
                <a:lnTo>
                  <a:pt x="592" y="28"/>
                </a:lnTo>
                <a:lnTo>
                  <a:pt x="598" y="34"/>
                </a:lnTo>
                <a:lnTo>
                  <a:pt x="602" y="41"/>
                </a:lnTo>
                <a:lnTo>
                  <a:pt x="604" y="54"/>
                </a:lnTo>
                <a:lnTo>
                  <a:pt x="613" y="68"/>
                </a:lnTo>
                <a:lnTo>
                  <a:pt x="615" y="77"/>
                </a:lnTo>
                <a:lnTo>
                  <a:pt x="626" y="103"/>
                </a:lnTo>
                <a:lnTo>
                  <a:pt x="636" y="124"/>
                </a:lnTo>
                <a:lnTo>
                  <a:pt x="660" y="162"/>
                </a:lnTo>
                <a:lnTo>
                  <a:pt x="700" y="213"/>
                </a:lnTo>
                <a:lnTo>
                  <a:pt x="713" y="228"/>
                </a:lnTo>
                <a:lnTo>
                  <a:pt x="717" y="235"/>
                </a:lnTo>
                <a:lnTo>
                  <a:pt x="722" y="243"/>
                </a:lnTo>
                <a:lnTo>
                  <a:pt x="717" y="250"/>
                </a:lnTo>
                <a:lnTo>
                  <a:pt x="717" y="264"/>
                </a:lnTo>
                <a:lnTo>
                  <a:pt x="722" y="277"/>
                </a:lnTo>
                <a:lnTo>
                  <a:pt x="726" y="284"/>
                </a:lnTo>
                <a:lnTo>
                  <a:pt x="741" y="305"/>
                </a:lnTo>
                <a:lnTo>
                  <a:pt x="734" y="298"/>
                </a:lnTo>
                <a:lnTo>
                  <a:pt x="719" y="275"/>
                </a:lnTo>
                <a:lnTo>
                  <a:pt x="715" y="254"/>
                </a:lnTo>
                <a:lnTo>
                  <a:pt x="715" y="239"/>
                </a:lnTo>
                <a:lnTo>
                  <a:pt x="715" y="230"/>
                </a:lnTo>
                <a:lnTo>
                  <a:pt x="709" y="226"/>
                </a:lnTo>
                <a:lnTo>
                  <a:pt x="700" y="228"/>
                </a:lnTo>
                <a:lnTo>
                  <a:pt x="694" y="222"/>
                </a:lnTo>
                <a:lnTo>
                  <a:pt x="694" y="215"/>
                </a:lnTo>
                <a:lnTo>
                  <a:pt x="687" y="211"/>
                </a:lnTo>
                <a:lnTo>
                  <a:pt x="685" y="211"/>
                </a:lnTo>
                <a:lnTo>
                  <a:pt x="690" y="226"/>
                </a:lnTo>
                <a:lnTo>
                  <a:pt x="698" y="247"/>
                </a:lnTo>
                <a:lnTo>
                  <a:pt x="702" y="254"/>
                </a:lnTo>
                <a:lnTo>
                  <a:pt x="724" y="288"/>
                </a:lnTo>
                <a:lnTo>
                  <a:pt x="751" y="328"/>
                </a:lnTo>
                <a:lnTo>
                  <a:pt x="764" y="354"/>
                </a:lnTo>
                <a:lnTo>
                  <a:pt x="773" y="367"/>
                </a:lnTo>
                <a:lnTo>
                  <a:pt x="773" y="373"/>
                </a:lnTo>
                <a:lnTo>
                  <a:pt x="773" y="377"/>
                </a:lnTo>
                <a:lnTo>
                  <a:pt x="775" y="375"/>
                </a:lnTo>
                <a:lnTo>
                  <a:pt x="781" y="379"/>
                </a:lnTo>
                <a:lnTo>
                  <a:pt x="792" y="394"/>
                </a:lnTo>
                <a:lnTo>
                  <a:pt x="794" y="403"/>
                </a:lnTo>
                <a:lnTo>
                  <a:pt x="798" y="405"/>
                </a:lnTo>
                <a:lnTo>
                  <a:pt x="807" y="431"/>
                </a:lnTo>
                <a:lnTo>
                  <a:pt x="807" y="465"/>
                </a:lnTo>
                <a:lnTo>
                  <a:pt x="809" y="473"/>
                </a:lnTo>
                <a:lnTo>
                  <a:pt x="809" y="494"/>
                </a:lnTo>
                <a:lnTo>
                  <a:pt x="809" y="509"/>
                </a:lnTo>
                <a:lnTo>
                  <a:pt x="811" y="518"/>
                </a:lnTo>
                <a:lnTo>
                  <a:pt x="811" y="524"/>
                </a:lnTo>
                <a:lnTo>
                  <a:pt x="809" y="518"/>
                </a:lnTo>
                <a:lnTo>
                  <a:pt x="807" y="524"/>
                </a:lnTo>
                <a:lnTo>
                  <a:pt x="807" y="531"/>
                </a:lnTo>
                <a:lnTo>
                  <a:pt x="802" y="537"/>
                </a:lnTo>
                <a:lnTo>
                  <a:pt x="800" y="546"/>
                </a:lnTo>
                <a:lnTo>
                  <a:pt x="798" y="552"/>
                </a:lnTo>
                <a:lnTo>
                  <a:pt x="798" y="558"/>
                </a:lnTo>
                <a:lnTo>
                  <a:pt x="796" y="563"/>
                </a:lnTo>
                <a:lnTo>
                  <a:pt x="802" y="578"/>
                </a:lnTo>
                <a:lnTo>
                  <a:pt x="796" y="584"/>
                </a:lnTo>
                <a:lnTo>
                  <a:pt x="794" y="592"/>
                </a:lnTo>
                <a:lnTo>
                  <a:pt x="796" y="599"/>
                </a:lnTo>
                <a:lnTo>
                  <a:pt x="788" y="595"/>
                </a:lnTo>
                <a:lnTo>
                  <a:pt x="792" y="599"/>
                </a:lnTo>
                <a:lnTo>
                  <a:pt x="783" y="595"/>
                </a:lnTo>
                <a:lnTo>
                  <a:pt x="777" y="599"/>
                </a:lnTo>
                <a:lnTo>
                  <a:pt x="773" y="605"/>
                </a:lnTo>
                <a:lnTo>
                  <a:pt x="764" y="609"/>
                </a:lnTo>
                <a:lnTo>
                  <a:pt x="758" y="609"/>
                </a:lnTo>
                <a:lnTo>
                  <a:pt x="749" y="607"/>
                </a:lnTo>
                <a:lnTo>
                  <a:pt x="741" y="614"/>
                </a:lnTo>
                <a:lnTo>
                  <a:pt x="726" y="618"/>
                </a:lnTo>
                <a:lnTo>
                  <a:pt x="719" y="609"/>
                </a:lnTo>
                <a:lnTo>
                  <a:pt x="717" y="603"/>
                </a:lnTo>
                <a:lnTo>
                  <a:pt x="722" y="597"/>
                </a:lnTo>
                <a:lnTo>
                  <a:pt x="730" y="603"/>
                </a:lnTo>
                <a:lnTo>
                  <a:pt x="739" y="607"/>
                </a:lnTo>
                <a:lnTo>
                  <a:pt x="743" y="599"/>
                </a:lnTo>
                <a:lnTo>
                  <a:pt x="736" y="595"/>
                </a:lnTo>
                <a:lnTo>
                  <a:pt x="728" y="595"/>
                </a:lnTo>
                <a:lnTo>
                  <a:pt x="722" y="592"/>
                </a:lnTo>
                <a:lnTo>
                  <a:pt x="709" y="578"/>
                </a:lnTo>
                <a:lnTo>
                  <a:pt x="707" y="571"/>
                </a:lnTo>
                <a:lnTo>
                  <a:pt x="696" y="558"/>
                </a:lnTo>
                <a:lnTo>
                  <a:pt x="690" y="552"/>
                </a:lnTo>
                <a:lnTo>
                  <a:pt x="687" y="546"/>
                </a:lnTo>
                <a:lnTo>
                  <a:pt x="675" y="539"/>
                </a:lnTo>
                <a:lnTo>
                  <a:pt x="670" y="539"/>
                </a:lnTo>
                <a:lnTo>
                  <a:pt x="662" y="539"/>
                </a:lnTo>
                <a:lnTo>
                  <a:pt x="656" y="541"/>
                </a:lnTo>
                <a:lnTo>
                  <a:pt x="647" y="537"/>
                </a:lnTo>
                <a:lnTo>
                  <a:pt x="656" y="533"/>
                </a:lnTo>
                <a:lnTo>
                  <a:pt x="649" y="533"/>
                </a:lnTo>
                <a:lnTo>
                  <a:pt x="636" y="520"/>
                </a:lnTo>
                <a:lnTo>
                  <a:pt x="630" y="492"/>
                </a:lnTo>
                <a:lnTo>
                  <a:pt x="624" y="486"/>
                </a:lnTo>
                <a:lnTo>
                  <a:pt x="615" y="484"/>
                </a:lnTo>
                <a:lnTo>
                  <a:pt x="615" y="480"/>
                </a:lnTo>
                <a:lnTo>
                  <a:pt x="621" y="473"/>
                </a:lnTo>
                <a:lnTo>
                  <a:pt x="621" y="465"/>
                </a:lnTo>
                <a:lnTo>
                  <a:pt x="630" y="454"/>
                </a:lnTo>
                <a:lnTo>
                  <a:pt x="619" y="462"/>
                </a:lnTo>
                <a:lnTo>
                  <a:pt x="619" y="469"/>
                </a:lnTo>
                <a:lnTo>
                  <a:pt x="611" y="477"/>
                </a:lnTo>
                <a:lnTo>
                  <a:pt x="604" y="477"/>
                </a:lnTo>
                <a:lnTo>
                  <a:pt x="604" y="473"/>
                </a:lnTo>
                <a:lnTo>
                  <a:pt x="602" y="465"/>
                </a:lnTo>
                <a:lnTo>
                  <a:pt x="600" y="458"/>
                </a:lnTo>
                <a:lnTo>
                  <a:pt x="600" y="443"/>
                </a:lnTo>
                <a:lnTo>
                  <a:pt x="596" y="437"/>
                </a:lnTo>
                <a:lnTo>
                  <a:pt x="604" y="431"/>
                </a:lnTo>
                <a:lnTo>
                  <a:pt x="602" y="431"/>
                </a:lnTo>
                <a:lnTo>
                  <a:pt x="590" y="437"/>
                </a:lnTo>
                <a:lnTo>
                  <a:pt x="585" y="433"/>
                </a:lnTo>
                <a:lnTo>
                  <a:pt x="579" y="431"/>
                </a:lnTo>
                <a:lnTo>
                  <a:pt x="585" y="437"/>
                </a:lnTo>
                <a:lnTo>
                  <a:pt x="590" y="443"/>
                </a:lnTo>
                <a:lnTo>
                  <a:pt x="592" y="450"/>
                </a:lnTo>
                <a:lnTo>
                  <a:pt x="590" y="450"/>
                </a:lnTo>
                <a:lnTo>
                  <a:pt x="581" y="450"/>
                </a:lnTo>
                <a:lnTo>
                  <a:pt x="575" y="448"/>
                </a:lnTo>
                <a:lnTo>
                  <a:pt x="564" y="435"/>
                </a:lnTo>
                <a:lnTo>
                  <a:pt x="560" y="428"/>
                </a:lnTo>
                <a:lnTo>
                  <a:pt x="543" y="403"/>
                </a:lnTo>
                <a:lnTo>
                  <a:pt x="545" y="401"/>
                </a:lnTo>
                <a:lnTo>
                  <a:pt x="541" y="392"/>
                </a:lnTo>
                <a:lnTo>
                  <a:pt x="526" y="386"/>
                </a:lnTo>
                <a:lnTo>
                  <a:pt x="521" y="379"/>
                </a:lnTo>
                <a:lnTo>
                  <a:pt x="528" y="384"/>
                </a:lnTo>
                <a:lnTo>
                  <a:pt x="528" y="379"/>
                </a:lnTo>
                <a:lnTo>
                  <a:pt x="536" y="377"/>
                </a:lnTo>
                <a:lnTo>
                  <a:pt x="538" y="365"/>
                </a:lnTo>
                <a:lnTo>
                  <a:pt x="549" y="343"/>
                </a:lnTo>
                <a:lnTo>
                  <a:pt x="549" y="337"/>
                </a:lnTo>
                <a:lnTo>
                  <a:pt x="543" y="330"/>
                </a:lnTo>
                <a:lnTo>
                  <a:pt x="536" y="337"/>
                </a:lnTo>
                <a:lnTo>
                  <a:pt x="534" y="330"/>
                </a:lnTo>
                <a:lnTo>
                  <a:pt x="517" y="322"/>
                </a:lnTo>
                <a:lnTo>
                  <a:pt x="517" y="324"/>
                </a:lnTo>
                <a:lnTo>
                  <a:pt x="523" y="330"/>
                </a:lnTo>
                <a:lnTo>
                  <a:pt x="523" y="337"/>
                </a:lnTo>
                <a:lnTo>
                  <a:pt x="526" y="339"/>
                </a:lnTo>
                <a:lnTo>
                  <a:pt x="532" y="339"/>
                </a:lnTo>
                <a:lnTo>
                  <a:pt x="528" y="352"/>
                </a:lnTo>
                <a:lnTo>
                  <a:pt x="523" y="360"/>
                </a:lnTo>
                <a:lnTo>
                  <a:pt x="523" y="356"/>
                </a:lnTo>
                <a:lnTo>
                  <a:pt x="509" y="347"/>
                </a:lnTo>
                <a:lnTo>
                  <a:pt x="517" y="358"/>
                </a:lnTo>
                <a:lnTo>
                  <a:pt x="509" y="352"/>
                </a:lnTo>
                <a:lnTo>
                  <a:pt x="504" y="343"/>
                </a:lnTo>
                <a:lnTo>
                  <a:pt x="509" y="333"/>
                </a:lnTo>
                <a:lnTo>
                  <a:pt x="509" y="318"/>
                </a:lnTo>
                <a:lnTo>
                  <a:pt x="506" y="311"/>
                </a:lnTo>
                <a:lnTo>
                  <a:pt x="513" y="275"/>
                </a:lnTo>
                <a:lnTo>
                  <a:pt x="513" y="267"/>
                </a:lnTo>
                <a:lnTo>
                  <a:pt x="511" y="258"/>
                </a:lnTo>
                <a:lnTo>
                  <a:pt x="511" y="237"/>
                </a:lnTo>
                <a:lnTo>
                  <a:pt x="509" y="235"/>
                </a:lnTo>
                <a:lnTo>
                  <a:pt x="509" y="226"/>
                </a:lnTo>
                <a:lnTo>
                  <a:pt x="500" y="222"/>
                </a:lnTo>
                <a:lnTo>
                  <a:pt x="496" y="215"/>
                </a:lnTo>
                <a:lnTo>
                  <a:pt x="496" y="209"/>
                </a:lnTo>
                <a:lnTo>
                  <a:pt x="483" y="198"/>
                </a:lnTo>
                <a:lnTo>
                  <a:pt x="470" y="201"/>
                </a:lnTo>
                <a:lnTo>
                  <a:pt x="462" y="198"/>
                </a:lnTo>
                <a:lnTo>
                  <a:pt x="457" y="192"/>
                </a:lnTo>
                <a:lnTo>
                  <a:pt x="451" y="188"/>
                </a:lnTo>
                <a:lnTo>
                  <a:pt x="445" y="179"/>
                </a:lnTo>
                <a:lnTo>
                  <a:pt x="423" y="166"/>
                </a:lnTo>
                <a:lnTo>
                  <a:pt x="423" y="160"/>
                </a:lnTo>
                <a:lnTo>
                  <a:pt x="419" y="152"/>
                </a:lnTo>
                <a:lnTo>
                  <a:pt x="404" y="145"/>
                </a:lnTo>
                <a:lnTo>
                  <a:pt x="394" y="130"/>
                </a:lnTo>
                <a:lnTo>
                  <a:pt x="381" y="122"/>
                </a:lnTo>
                <a:lnTo>
                  <a:pt x="372" y="120"/>
                </a:lnTo>
                <a:lnTo>
                  <a:pt x="357" y="111"/>
                </a:lnTo>
                <a:lnTo>
                  <a:pt x="353" y="111"/>
                </a:lnTo>
                <a:lnTo>
                  <a:pt x="345" y="113"/>
                </a:lnTo>
                <a:lnTo>
                  <a:pt x="332" y="115"/>
                </a:lnTo>
                <a:lnTo>
                  <a:pt x="325" y="120"/>
                </a:lnTo>
                <a:lnTo>
                  <a:pt x="321" y="128"/>
                </a:lnTo>
                <a:lnTo>
                  <a:pt x="323" y="130"/>
                </a:lnTo>
                <a:lnTo>
                  <a:pt x="315" y="128"/>
                </a:lnTo>
                <a:lnTo>
                  <a:pt x="323" y="132"/>
                </a:lnTo>
                <a:lnTo>
                  <a:pt x="325" y="139"/>
                </a:lnTo>
                <a:lnTo>
                  <a:pt x="319" y="137"/>
                </a:lnTo>
                <a:lnTo>
                  <a:pt x="313" y="139"/>
                </a:lnTo>
                <a:lnTo>
                  <a:pt x="306" y="141"/>
                </a:lnTo>
                <a:lnTo>
                  <a:pt x="285" y="160"/>
                </a:lnTo>
                <a:lnTo>
                  <a:pt x="276" y="160"/>
                </a:lnTo>
                <a:lnTo>
                  <a:pt x="276" y="156"/>
                </a:lnTo>
                <a:lnTo>
                  <a:pt x="268" y="162"/>
                </a:lnTo>
                <a:lnTo>
                  <a:pt x="268" y="166"/>
                </a:lnTo>
                <a:lnTo>
                  <a:pt x="259" y="166"/>
                </a:lnTo>
                <a:lnTo>
                  <a:pt x="245" y="171"/>
                </a:lnTo>
                <a:lnTo>
                  <a:pt x="242" y="173"/>
                </a:lnTo>
                <a:lnTo>
                  <a:pt x="236" y="173"/>
                </a:lnTo>
                <a:lnTo>
                  <a:pt x="228" y="171"/>
                </a:lnTo>
                <a:lnTo>
                  <a:pt x="225" y="164"/>
                </a:lnTo>
                <a:lnTo>
                  <a:pt x="225" y="156"/>
                </a:lnTo>
                <a:lnTo>
                  <a:pt x="228" y="162"/>
                </a:lnTo>
                <a:lnTo>
                  <a:pt x="230" y="171"/>
                </a:lnTo>
                <a:lnTo>
                  <a:pt x="236" y="169"/>
                </a:lnTo>
                <a:lnTo>
                  <a:pt x="236" y="162"/>
                </a:lnTo>
                <a:lnTo>
                  <a:pt x="232" y="154"/>
                </a:lnTo>
                <a:lnTo>
                  <a:pt x="223" y="147"/>
                </a:lnTo>
                <a:lnTo>
                  <a:pt x="217" y="145"/>
                </a:lnTo>
                <a:lnTo>
                  <a:pt x="210" y="141"/>
                </a:lnTo>
                <a:lnTo>
                  <a:pt x="213" y="141"/>
                </a:lnTo>
                <a:lnTo>
                  <a:pt x="210" y="139"/>
                </a:lnTo>
                <a:lnTo>
                  <a:pt x="202" y="134"/>
                </a:lnTo>
                <a:lnTo>
                  <a:pt x="196" y="128"/>
                </a:lnTo>
                <a:lnTo>
                  <a:pt x="210" y="132"/>
                </a:lnTo>
                <a:lnTo>
                  <a:pt x="217" y="139"/>
                </a:lnTo>
                <a:lnTo>
                  <a:pt x="221" y="132"/>
                </a:lnTo>
                <a:lnTo>
                  <a:pt x="215" y="134"/>
                </a:lnTo>
                <a:lnTo>
                  <a:pt x="210" y="126"/>
                </a:lnTo>
                <a:lnTo>
                  <a:pt x="202" y="128"/>
                </a:lnTo>
                <a:lnTo>
                  <a:pt x="191" y="122"/>
                </a:lnTo>
                <a:lnTo>
                  <a:pt x="196" y="115"/>
                </a:lnTo>
                <a:lnTo>
                  <a:pt x="202" y="113"/>
                </a:lnTo>
                <a:lnTo>
                  <a:pt x="202" y="105"/>
                </a:lnTo>
                <a:lnTo>
                  <a:pt x="191" y="113"/>
                </a:lnTo>
                <a:lnTo>
                  <a:pt x="185" y="111"/>
                </a:lnTo>
                <a:lnTo>
                  <a:pt x="179" y="111"/>
                </a:lnTo>
                <a:lnTo>
                  <a:pt x="181" y="117"/>
                </a:lnTo>
                <a:lnTo>
                  <a:pt x="187" y="122"/>
                </a:lnTo>
                <a:lnTo>
                  <a:pt x="189" y="128"/>
                </a:lnTo>
                <a:lnTo>
                  <a:pt x="174" y="120"/>
                </a:lnTo>
                <a:lnTo>
                  <a:pt x="157" y="113"/>
                </a:lnTo>
                <a:lnTo>
                  <a:pt x="127" y="107"/>
                </a:lnTo>
                <a:lnTo>
                  <a:pt x="121" y="107"/>
                </a:lnTo>
                <a:lnTo>
                  <a:pt x="115" y="105"/>
                </a:lnTo>
                <a:lnTo>
                  <a:pt x="127" y="107"/>
                </a:lnTo>
                <a:lnTo>
                  <a:pt x="130" y="103"/>
                </a:lnTo>
                <a:lnTo>
                  <a:pt x="136" y="100"/>
                </a:lnTo>
                <a:lnTo>
                  <a:pt x="144" y="105"/>
                </a:lnTo>
                <a:lnTo>
                  <a:pt x="151" y="105"/>
                </a:lnTo>
                <a:lnTo>
                  <a:pt x="147" y="100"/>
                </a:lnTo>
                <a:lnTo>
                  <a:pt x="134" y="94"/>
                </a:lnTo>
                <a:lnTo>
                  <a:pt x="127" y="96"/>
                </a:lnTo>
                <a:lnTo>
                  <a:pt x="121" y="100"/>
                </a:lnTo>
                <a:lnTo>
                  <a:pt x="119" y="94"/>
                </a:lnTo>
                <a:lnTo>
                  <a:pt x="104" y="107"/>
                </a:lnTo>
                <a:lnTo>
                  <a:pt x="100" y="107"/>
                </a:lnTo>
                <a:lnTo>
                  <a:pt x="81" y="109"/>
                </a:lnTo>
                <a:lnTo>
                  <a:pt x="59" y="115"/>
                </a:lnTo>
                <a:lnTo>
                  <a:pt x="51" y="115"/>
                </a:lnTo>
                <a:lnTo>
                  <a:pt x="53" y="113"/>
                </a:lnTo>
                <a:lnTo>
                  <a:pt x="64" y="111"/>
                </a:lnTo>
                <a:lnTo>
                  <a:pt x="70" y="105"/>
                </a:lnTo>
                <a:lnTo>
                  <a:pt x="61" y="98"/>
                </a:lnTo>
                <a:lnTo>
                  <a:pt x="61" y="90"/>
                </a:lnTo>
                <a:lnTo>
                  <a:pt x="59" y="98"/>
                </a:lnTo>
                <a:lnTo>
                  <a:pt x="55" y="105"/>
                </a:lnTo>
                <a:lnTo>
                  <a:pt x="51" y="96"/>
                </a:lnTo>
                <a:lnTo>
                  <a:pt x="47" y="100"/>
                </a:lnTo>
                <a:lnTo>
                  <a:pt x="47" y="100"/>
                </a:lnTo>
                <a:lnTo>
                  <a:pt x="49" y="103"/>
                </a:lnTo>
                <a:lnTo>
                  <a:pt x="44" y="111"/>
                </a:lnTo>
                <a:lnTo>
                  <a:pt x="38" y="122"/>
                </a:lnTo>
                <a:lnTo>
                  <a:pt x="32" y="126"/>
                </a:lnTo>
                <a:lnTo>
                  <a:pt x="25" y="128"/>
                </a:lnTo>
                <a:lnTo>
                  <a:pt x="21" y="128"/>
                </a:lnTo>
                <a:lnTo>
                  <a:pt x="23" y="120"/>
                </a:lnTo>
                <a:lnTo>
                  <a:pt x="32" y="113"/>
                </a:lnTo>
                <a:lnTo>
                  <a:pt x="29" y="109"/>
                </a:lnTo>
                <a:lnTo>
                  <a:pt x="23" y="107"/>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751"/>
          <p:cNvSpPr>
            <a:spLocks/>
          </p:cNvSpPr>
          <p:nvPr/>
        </p:nvSpPr>
        <p:spPr bwMode="auto">
          <a:xfrm>
            <a:off x="5680075" y="4852988"/>
            <a:ext cx="1287463" cy="981075"/>
          </a:xfrm>
          <a:custGeom>
            <a:avLst/>
            <a:gdLst>
              <a:gd name="T0" fmla="*/ 10 w 811"/>
              <a:gd name="T1" fmla="*/ 79 h 618"/>
              <a:gd name="T2" fmla="*/ 247 w 811"/>
              <a:gd name="T3" fmla="*/ 24 h 618"/>
              <a:gd name="T4" fmla="*/ 519 w 811"/>
              <a:gd name="T5" fmla="*/ 41 h 618"/>
              <a:gd name="T6" fmla="*/ 538 w 811"/>
              <a:gd name="T7" fmla="*/ 28 h 618"/>
              <a:gd name="T8" fmla="*/ 545 w 811"/>
              <a:gd name="T9" fmla="*/ 0 h 618"/>
              <a:gd name="T10" fmla="*/ 585 w 811"/>
              <a:gd name="T11" fmla="*/ 7 h 618"/>
              <a:gd name="T12" fmla="*/ 598 w 811"/>
              <a:gd name="T13" fmla="*/ 34 h 618"/>
              <a:gd name="T14" fmla="*/ 626 w 811"/>
              <a:gd name="T15" fmla="*/ 103 h 618"/>
              <a:gd name="T16" fmla="*/ 717 w 811"/>
              <a:gd name="T17" fmla="*/ 235 h 618"/>
              <a:gd name="T18" fmla="*/ 726 w 811"/>
              <a:gd name="T19" fmla="*/ 284 h 618"/>
              <a:gd name="T20" fmla="*/ 715 w 811"/>
              <a:gd name="T21" fmla="*/ 239 h 618"/>
              <a:gd name="T22" fmla="*/ 694 w 811"/>
              <a:gd name="T23" fmla="*/ 215 h 618"/>
              <a:gd name="T24" fmla="*/ 702 w 811"/>
              <a:gd name="T25" fmla="*/ 254 h 618"/>
              <a:gd name="T26" fmla="*/ 773 w 811"/>
              <a:gd name="T27" fmla="*/ 373 h 618"/>
              <a:gd name="T28" fmla="*/ 794 w 811"/>
              <a:gd name="T29" fmla="*/ 403 h 618"/>
              <a:gd name="T30" fmla="*/ 809 w 811"/>
              <a:gd name="T31" fmla="*/ 494 h 618"/>
              <a:gd name="T32" fmla="*/ 807 w 811"/>
              <a:gd name="T33" fmla="*/ 524 h 618"/>
              <a:gd name="T34" fmla="*/ 798 w 811"/>
              <a:gd name="T35" fmla="*/ 558 h 618"/>
              <a:gd name="T36" fmla="*/ 796 w 811"/>
              <a:gd name="T37" fmla="*/ 599 h 618"/>
              <a:gd name="T38" fmla="*/ 773 w 811"/>
              <a:gd name="T39" fmla="*/ 605 h 618"/>
              <a:gd name="T40" fmla="*/ 726 w 811"/>
              <a:gd name="T41" fmla="*/ 618 h 618"/>
              <a:gd name="T42" fmla="*/ 739 w 811"/>
              <a:gd name="T43" fmla="*/ 607 h 618"/>
              <a:gd name="T44" fmla="*/ 709 w 811"/>
              <a:gd name="T45" fmla="*/ 578 h 618"/>
              <a:gd name="T46" fmla="*/ 675 w 811"/>
              <a:gd name="T47" fmla="*/ 539 h 618"/>
              <a:gd name="T48" fmla="*/ 656 w 811"/>
              <a:gd name="T49" fmla="*/ 533 h 618"/>
              <a:gd name="T50" fmla="*/ 615 w 811"/>
              <a:gd name="T51" fmla="*/ 484 h 618"/>
              <a:gd name="T52" fmla="*/ 619 w 811"/>
              <a:gd name="T53" fmla="*/ 462 h 618"/>
              <a:gd name="T54" fmla="*/ 602 w 811"/>
              <a:gd name="T55" fmla="*/ 465 h 618"/>
              <a:gd name="T56" fmla="*/ 602 w 811"/>
              <a:gd name="T57" fmla="*/ 431 h 618"/>
              <a:gd name="T58" fmla="*/ 590 w 811"/>
              <a:gd name="T59" fmla="*/ 443 h 618"/>
              <a:gd name="T60" fmla="*/ 564 w 811"/>
              <a:gd name="T61" fmla="*/ 435 h 618"/>
              <a:gd name="T62" fmla="*/ 526 w 811"/>
              <a:gd name="T63" fmla="*/ 386 h 618"/>
              <a:gd name="T64" fmla="*/ 538 w 811"/>
              <a:gd name="T65" fmla="*/ 365 h 618"/>
              <a:gd name="T66" fmla="*/ 534 w 811"/>
              <a:gd name="T67" fmla="*/ 330 h 618"/>
              <a:gd name="T68" fmla="*/ 526 w 811"/>
              <a:gd name="T69" fmla="*/ 339 h 618"/>
              <a:gd name="T70" fmla="*/ 509 w 811"/>
              <a:gd name="T71" fmla="*/ 347 h 618"/>
              <a:gd name="T72" fmla="*/ 509 w 811"/>
              <a:gd name="T73" fmla="*/ 318 h 618"/>
              <a:gd name="T74" fmla="*/ 511 w 811"/>
              <a:gd name="T75" fmla="*/ 237 h 618"/>
              <a:gd name="T76" fmla="*/ 496 w 811"/>
              <a:gd name="T77" fmla="*/ 209 h 618"/>
              <a:gd name="T78" fmla="*/ 451 w 811"/>
              <a:gd name="T79" fmla="*/ 188 h 618"/>
              <a:gd name="T80" fmla="*/ 404 w 811"/>
              <a:gd name="T81" fmla="*/ 145 h 618"/>
              <a:gd name="T82" fmla="*/ 353 w 811"/>
              <a:gd name="T83" fmla="*/ 111 h 618"/>
              <a:gd name="T84" fmla="*/ 323 w 811"/>
              <a:gd name="T85" fmla="*/ 130 h 618"/>
              <a:gd name="T86" fmla="*/ 313 w 811"/>
              <a:gd name="T87" fmla="*/ 139 h 618"/>
              <a:gd name="T88" fmla="*/ 268 w 811"/>
              <a:gd name="T89" fmla="*/ 162 h 618"/>
              <a:gd name="T90" fmla="*/ 236 w 811"/>
              <a:gd name="T91" fmla="*/ 173 h 618"/>
              <a:gd name="T92" fmla="*/ 230 w 811"/>
              <a:gd name="T93" fmla="*/ 171 h 618"/>
              <a:gd name="T94" fmla="*/ 217 w 811"/>
              <a:gd name="T95" fmla="*/ 145 h 618"/>
              <a:gd name="T96" fmla="*/ 196 w 811"/>
              <a:gd name="T97" fmla="*/ 128 h 618"/>
              <a:gd name="T98" fmla="*/ 210 w 811"/>
              <a:gd name="T99" fmla="*/ 126 h 618"/>
              <a:gd name="T100" fmla="*/ 202 w 811"/>
              <a:gd name="T101" fmla="*/ 105 h 618"/>
              <a:gd name="T102" fmla="*/ 187 w 811"/>
              <a:gd name="T103" fmla="*/ 122 h 618"/>
              <a:gd name="T104" fmla="*/ 121 w 811"/>
              <a:gd name="T105" fmla="*/ 107 h 618"/>
              <a:gd name="T106" fmla="*/ 144 w 811"/>
              <a:gd name="T107" fmla="*/ 105 h 618"/>
              <a:gd name="T108" fmla="*/ 121 w 811"/>
              <a:gd name="T109" fmla="*/ 100 h 618"/>
              <a:gd name="T110" fmla="*/ 59 w 811"/>
              <a:gd name="T111" fmla="*/ 115 h 618"/>
              <a:gd name="T112" fmla="*/ 61 w 811"/>
              <a:gd name="T113" fmla="*/ 98 h 618"/>
              <a:gd name="T114" fmla="*/ 47 w 811"/>
              <a:gd name="T115" fmla="*/ 100 h 618"/>
              <a:gd name="T116" fmla="*/ 32 w 811"/>
              <a:gd name="T117" fmla="*/ 126 h 618"/>
              <a:gd name="T118" fmla="*/ 29 w 811"/>
              <a:gd name="T119" fmla="*/ 109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1" h="618">
                <a:moveTo>
                  <a:pt x="23" y="107"/>
                </a:moveTo>
                <a:lnTo>
                  <a:pt x="21" y="100"/>
                </a:lnTo>
                <a:lnTo>
                  <a:pt x="23" y="90"/>
                </a:lnTo>
                <a:lnTo>
                  <a:pt x="17" y="83"/>
                </a:lnTo>
                <a:lnTo>
                  <a:pt x="10" y="79"/>
                </a:lnTo>
                <a:lnTo>
                  <a:pt x="0" y="64"/>
                </a:lnTo>
                <a:lnTo>
                  <a:pt x="2" y="56"/>
                </a:lnTo>
                <a:lnTo>
                  <a:pt x="8" y="49"/>
                </a:lnTo>
                <a:lnTo>
                  <a:pt x="98" y="41"/>
                </a:lnTo>
                <a:lnTo>
                  <a:pt x="247" y="24"/>
                </a:lnTo>
                <a:lnTo>
                  <a:pt x="257" y="39"/>
                </a:lnTo>
                <a:lnTo>
                  <a:pt x="259" y="45"/>
                </a:lnTo>
                <a:lnTo>
                  <a:pt x="266" y="54"/>
                </a:lnTo>
                <a:lnTo>
                  <a:pt x="513" y="34"/>
                </a:lnTo>
                <a:lnTo>
                  <a:pt x="519" y="41"/>
                </a:lnTo>
                <a:lnTo>
                  <a:pt x="526" y="54"/>
                </a:lnTo>
                <a:lnTo>
                  <a:pt x="532" y="56"/>
                </a:lnTo>
                <a:lnTo>
                  <a:pt x="538" y="49"/>
                </a:lnTo>
                <a:lnTo>
                  <a:pt x="541" y="34"/>
                </a:lnTo>
                <a:lnTo>
                  <a:pt x="538" y="28"/>
                </a:lnTo>
                <a:lnTo>
                  <a:pt x="534" y="22"/>
                </a:lnTo>
                <a:lnTo>
                  <a:pt x="534" y="13"/>
                </a:lnTo>
                <a:lnTo>
                  <a:pt x="536" y="7"/>
                </a:lnTo>
                <a:lnTo>
                  <a:pt x="538" y="7"/>
                </a:lnTo>
                <a:lnTo>
                  <a:pt x="545" y="0"/>
                </a:lnTo>
                <a:lnTo>
                  <a:pt x="553" y="5"/>
                </a:lnTo>
                <a:lnTo>
                  <a:pt x="570" y="9"/>
                </a:lnTo>
                <a:lnTo>
                  <a:pt x="579" y="9"/>
                </a:lnTo>
                <a:lnTo>
                  <a:pt x="581" y="9"/>
                </a:lnTo>
                <a:lnTo>
                  <a:pt x="585" y="7"/>
                </a:lnTo>
                <a:lnTo>
                  <a:pt x="594" y="11"/>
                </a:lnTo>
                <a:lnTo>
                  <a:pt x="592" y="24"/>
                </a:lnTo>
                <a:lnTo>
                  <a:pt x="587" y="19"/>
                </a:lnTo>
                <a:lnTo>
                  <a:pt x="592" y="28"/>
                </a:lnTo>
                <a:lnTo>
                  <a:pt x="598" y="34"/>
                </a:lnTo>
                <a:lnTo>
                  <a:pt x="602" y="41"/>
                </a:lnTo>
                <a:lnTo>
                  <a:pt x="604" y="54"/>
                </a:lnTo>
                <a:lnTo>
                  <a:pt x="613" y="68"/>
                </a:lnTo>
                <a:lnTo>
                  <a:pt x="615" y="77"/>
                </a:lnTo>
                <a:lnTo>
                  <a:pt x="626" y="103"/>
                </a:lnTo>
                <a:lnTo>
                  <a:pt x="636" y="124"/>
                </a:lnTo>
                <a:lnTo>
                  <a:pt x="660" y="162"/>
                </a:lnTo>
                <a:lnTo>
                  <a:pt x="700" y="213"/>
                </a:lnTo>
                <a:lnTo>
                  <a:pt x="713" y="228"/>
                </a:lnTo>
                <a:lnTo>
                  <a:pt x="717" y="235"/>
                </a:lnTo>
                <a:lnTo>
                  <a:pt x="722" y="243"/>
                </a:lnTo>
                <a:lnTo>
                  <a:pt x="717" y="250"/>
                </a:lnTo>
                <a:lnTo>
                  <a:pt x="717" y="264"/>
                </a:lnTo>
                <a:lnTo>
                  <a:pt x="722" y="277"/>
                </a:lnTo>
                <a:lnTo>
                  <a:pt x="726" y="284"/>
                </a:lnTo>
                <a:lnTo>
                  <a:pt x="741" y="305"/>
                </a:lnTo>
                <a:lnTo>
                  <a:pt x="734" y="298"/>
                </a:lnTo>
                <a:lnTo>
                  <a:pt x="719" y="275"/>
                </a:lnTo>
                <a:lnTo>
                  <a:pt x="715" y="254"/>
                </a:lnTo>
                <a:lnTo>
                  <a:pt x="715" y="239"/>
                </a:lnTo>
                <a:lnTo>
                  <a:pt x="715" y="230"/>
                </a:lnTo>
                <a:lnTo>
                  <a:pt x="709" y="226"/>
                </a:lnTo>
                <a:lnTo>
                  <a:pt x="700" y="228"/>
                </a:lnTo>
                <a:lnTo>
                  <a:pt x="694" y="222"/>
                </a:lnTo>
                <a:lnTo>
                  <a:pt x="694" y="215"/>
                </a:lnTo>
                <a:lnTo>
                  <a:pt x="687" y="211"/>
                </a:lnTo>
                <a:lnTo>
                  <a:pt x="685" y="211"/>
                </a:lnTo>
                <a:lnTo>
                  <a:pt x="690" y="226"/>
                </a:lnTo>
                <a:lnTo>
                  <a:pt x="698" y="247"/>
                </a:lnTo>
                <a:lnTo>
                  <a:pt x="702" y="254"/>
                </a:lnTo>
                <a:lnTo>
                  <a:pt x="724" y="288"/>
                </a:lnTo>
                <a:lnTo>
                  <a:pt x="751" y="328"/>
                </a:lnTo>
                <a:lnTo>
                  <a:pt x="764" y="354"/>
                </a:lnTo>
                <a:lnTo>
                  <a:pt x="773" y="367"/>
                </a:lnTo>
                <a:lnTo>
                  <a:pt x="773" y="373"/>
                </a:lnTo>
                <a:lnTo>
                  <a:pt x="773" y="377"/>
                </a:lnTo>
                <a:lnTo>
                  <a:pt x="775" y="375"/>
                </a:lnTo>
                <a:lnTo>
                  <a:pt x="781" y="379"/>
                </a:lnTo>
                <a:lnTo>
                  <a:pt x="792" y="394"/>
                </a:lnTo>
                <a:lnTo>
                  <a:pt x="794" y="403"/>
                </a:lnTo>
                <a:lnTo>
                  <a:pt x="798" y="405"/>
                </a:lnTo>
                <a:lnTo>
                  <a:pt x="807" y="431"/>
                </a:lnTo>
                <a:lnTo>
                  <a:pt x="807" y="465"/>
                </a:lnTo>
                <a:lnTo>
                  <a:pt x="809" y="473"/>
                </a:lnTo>
                <a:lnTo>
                  <a:pt x="809" y="494"/>
                </a:lnTo>
                <a:lnTo>
                  <a:pt x="809" y="509"/>
                </a:lnTo>
                <a:lnTo>
                  <a:pt x="811" y="518"/>
                </a:lnTo>
                <a:lnTo>
                  <a:pt x="811" y="524"/>
                </a:lnTo>
                <a:lnTo>
                  <a:pt x="809" y="518"/>
                </a:lnTo>
                <a:lnTo>
                  <a:pt x="807" y="524"/>
                </a:lnTo>
                <a:lnTo>
                  <a:pt x="807" y="531"/>
                </a:lnTo>
                <a:lnTo>
                  <a:pt x="802" y="537"/>
                </a:lnTo>
                <a:lnTo>
                  <a:pt x="800" y="546"/>
                </a:lnTo>
                <a:lnTo>
                  <a:pt x="798" y="552"/>
                </a:lnTo>
                <a:lnTo>
                  <a:pt x="798" y="558"/>
                </a:lnTo>
                <a:lnTo>
                  <a:pt x="796" y="563"/>
                </a:lnTo>
                <a:lnTo>
                  <a:pt x="802" y="578"/>
                </a:lnTo>
                <a:lnTo>
                  <a:pt x="796" y="584"/>
                </a:lnTo>
                <a:lnTo>
                  <a:pt x="794" y="592"/>
                </a:lnTo>
                <a:lnTo>
                  <a:pt x="796" y="599"/>
                </a:lnTo>
                <a:lnTo>
                  <a:pt x="788" y="595"/>
                </a:lnTo>
                <a:lnTo>
                  <a:pt x="792" y="599"/>
                </a:lnTo>
                <a:lnTo>
                  <a:pt x="783" y="595"/>
                </a:lnTo>
                <a:lnTo>
                  <a:pt x="777" y="599"/>
                </a:lnTo>
                <a:lnTo>
                  <a:pt x="773" y="605"/>
                </a:lnTo>
                <a:lnTo>
                  <a:pt x="764" y="609"/>
                </a:lnTo>
                <a:lnTo>
                  <a:pt x="758" y="609"/>
                </a:lnTo>
                <a:lnTo>
                  <a:pt x="749" y="607"/>
                </a:lnTo>
                <a:lnTo>
                  <a:pt x="741" y="614"/>
                </a:lnTo>
                <a:lnTo>
                  <a:pt x="726" y="618"/>
                </a:lnTo>
                <a:lnTo>
                  <a:pt x="719" y="609"/>
                </a:lnTo>
                <a:lnTo>
                  <a:pt x="717" y="603"/>
                </a:lnTo>
                <a:lnTo>
                  <a:pt x="722" y="597"/>
                </a:lnTo>
                <a:lnTo>
                  <a:pt x="730" y="603"/>
                </a:lnTo>
                <a:lnTo>
                  <a:pt x="739" y="607"/>
                </a:lnTo>
                <a:lnTo>
                  <a:pt x="743" y="599"/>
                </a:lnTo>
                <a:lnTo>
                  <a:pt x="736" y="595"/>
                </a:lnTo>
                <a:lnTo>
                  <a:pt x="728" y="595"/>
                </a:lnTo>
                <a:lnTo>
                  <a:pt x="722" y="592"/>
                </a:lnTo>
                <a:lnTo>
                  <a:pt x="709" y="578"/>
                </a:lnTo>
                <a:lnTo>
                  <a:pt x="707" y="571"/>
                </a:lnTo>
                <a:lnTo>
                  <a:pt x="696" y="558"/>
                </a:lnTo>
                <a:lnTo>
                  <a:pt x="690" y="552"/>
                </a:lnTo>
                <a:lnTo>
                  <a:pt x="687" y="546"/>
                </a:lnTo>
                <a:lnTo>
                  <a:pt x="675" y="539"/>
                </a:lnTo>
                <a:lnTo>
                  <a:pt x="670" y="539"/>
                </a:lnTo>
                <a:lnTo>
                  <a:pt x="662" y="539"/>
                </a:lnTo>
                <a:lnTo>
                  <a:pt x="656" y="541"/>
                </a:lnTo>
                <a:lnTo>
                  <a:pt x="647" y="537"/>
                </a:lnTo>
                <a:lnTo>
                  <a:pt x="656" y="533"/>
                </a:lnTo>
                <a:lnTo>
                  <a:pt x="649" y="533"/>
                </a:lnTo>
                <a:lnTo>
                  <a:pt x="636" y="520"/>
                </a:lnTo>
                <a:lnTo>
                  <a:pt x="630" y="492"/>
                </a:lnTo>
                <a:lnTo>
                  <a:pt x="624" y="486"/>
                </a:lnTo>
                <a:lnTo>
                  <a:pt x="615" y="484"/>
                </a:lnTo>
                <a:lnTo>
                  <a:pt x="615" y="480"/>
                </a:lnTo>
                <a:lnTo>
                  <a:pt x="621" y="473"/>
                </a:lnTo>
                <a:lnTo>
                  <a:pt x="621" y="465"/>
                </a:lnTo>
                <a:lnTo>
                  <a:pt x="630" y="454"/>
                </a:lnTo>
                <a:lnTo>
                  <a:pt x="619" y="462"/>
                </a:lnTo>
                <a:lnTo>
                  <a:pt x="619" y="469"/>
                </a:lnTo>
                <a:lnTo>
                  <a:pt x="611" y="477"/>
                </a:lnTo>
                <a:lnTo>
                  <a:pt x="604" y="477"/>
                </a:lnTo>
                <a:lnTo>
                  <a:pt x="604" y="473"/>
                </a:lnTo>
                <a:lnTo>
                  <a:pt x="602" y="465"/>
                </a:lnTo>
                <a:lnTo>
                  <a:pt x="600" y="458"/>
                </a:lnTo>
                <a:lnTo>
                  <a:pt x="600" y="443"/>
                </a:lnTo>
                <a:lnTo>
                  <a:pt x="596" y="437"/>
                </a:lnTo>
                <a:lnTo>
                  <a:pt x="604" y="431"/>
                </a:lnTo>
                <a:lnTo>
                  <a:pt x="602" y="431"/>
                </a:lnTo>
                <a:lnTo>
                  <a:pt x="590" y="437"/>
                </a:lnTo>
                <a:lnTo>
                  <a:pt x="585" y="433"/>
                </a:lnTo>
                <a:lnTo>
                  <a:pt x="579" y="431"/>
                </a:lnTo>
                <a:lnTo>
                  <a:pt x="585" y="437"/>
                </a:lnTo>
                <a:lnTo>
                  <a:pt x="590" y="443"/>
                </a:lnTo>
                <a:lnTo>
                  <a:pt x="592" y="450"/>
                </a:lnTo>
                <a:lnTo>
                  <a:pt x="590" y="450"/>
                </a:lnTo>
                <a:lnTo>
                  <a:pt x="581" y="450"/>
                </a:lnTo>
                <a:lnTo>
                  <a:pt x="575" y="448"/>
                </a:lnTo>
                <a:lnTo>
                  <a:pt x="564" y="435"/>
                </a:lnTo>
                <a:lnTo>
                  <a:pt x="560" y="428"/>
                </a:lnTo>
                <a:lnTo>
                  <a:pt x="543" y="403"/>
                </a:lnTo>
                <a:lnTo>
                  <a:pt x="545" y="401"/>
                </a:lnTo>
                <a:lnTo>
                  <a:pt x="541" y="392"/>
                </a:lnTo>
                <a:lnTo>
                  <a:pt x="526" y="386"/>
                </a:lnTo>
                <a:lnTo>
                  <a:pt x="521" y="379"/>
                </a:lnTo>
                <a:lnTo>
                  <a:pt x="528" y="384"/>
                </a:lnTo>
                <a:lnTo>
                  <a:pt x="528" y="379"/>
                </a:lnTo>
                <a:lnTo>
                  <a:pt x="536" y="377"/>
                </a:lnTo>
                <a:lnTo>
                  <a:pt x="538" y="365"/>
                </a:lnTo>
                <a:lnTo>
                  <a:pt x="549" y="343"/>
                </a:lnTo>
                <a:lnTo>
                  <a:pt x="549" y="337"/>
                </a:lnTo>
                <a:lnTo>
                  <a:pt x="543" y="330"/>
                </a:lnTo>
                <a:lnTo>
                  <a:pt x="536" y="337"/>
                </a:lnTo>
                <a:lnTo>
                  <a:pt x="534" y="330"/>
                </a:lnTo>
                <a:lnTo>
                  <a:pt x="517" y="322"/>
                </a:lnTo>
                <a:lnTo>
                  <a:pt x="517" y="324"/>
                </a:lnTo>
                <a:lnTo>
                  <a:pt x="523" y="330"/>
                </a:lnTo>
                <a:lnTo>
                  <a:pt x="523" y="337"/>
                </a:lnTo>
                <a:lnTo>
                  <a:pt x="526" y="339"/>
                </a:lnTo>
                <a:lnTo>
                  <a:pt x="532" y="339"/>
                </a:lnTo>
                <a:lnTo>
                  <a:pt x="528" y="352"/>
                </a:lnTo>
                <a:lnTo>
                  <a:pt x="523" y="360"/>
                </a:lnTo>
                <a:lnTo>
                  <a:pt x="523" y="356"/>
                </a:lnTo>
                <a:lnTo>
                  <a:pt x="509" y="347"/>
                </a:lnTo>
                <a:lnTo>
                  <a:pt x="517" y="358"/>
                </a:lnTo>
                <a:lnTo>
                  <a:pt x="509" y="352"/>
                </a:lnTo>
                <a:lnTo>
                  <a:pt x="504" y="343"/>
                </a:lnTo>
                <a:lnTo>
                  <a:pt x="509" y="333"/>
                </a:lnTo>
                <a:lnTo>
                  <a:pt x="509" y="318"/>
                </a:lnTo>
                <a:lnTo>
                  <a:pt x="506" y="311"/>
                </a:lnTo>
                <a:lnTo>
                  <a:pt x="513" y="275"/>
                </a:lnTo>
                <a:lnTo>
                  <a:pt x="513" y="267"/>
                </a:lnTo>
                <a:lnTo>
                  <a:pt x="511" y="258"/>
                </a:lnTo>
                <a:lnTo>
                  <a:pt x="511" y="237"/>
                </a:lnTo>
                <a:lnTo>
                  <a:pt x="509" y="235"/>
                </a:lnTo>
                <a:lnTo>
                  <a:pt x="509" y="226"/>
                </a:lnTo>
                <a:lnTo>
                  <a:pt x="500" y="222"/>
                </a:lnTo>
                <a:lnTo>
                  <a:pt x="496" y="215"/>
                </a:lnTo>
                <a:lnTo>
                  <a:pt x="496" y="209"/>
                </a:lnTo>
                <a:lnTo>
                  <a:pt x="483" y="198"/>
                </a:lnTo>
                <a:lnTo>
                  <a:pt x="470" y="201"/>
                </a:lnTo>
                <a:lnTo>
                  <a:pt x="462" y="198"/>
                </a:lnTo>
                <a:lnTo>
                  <a:pt x="457" y="192"/>
                </a:lnTo>
                <a:lnTo>
                  <a:pt x="451" y="188"/>
                </a:lnTo>
                <a:lnTo>
                  <a:pt x="445" y="179"/>
                </a:lnTo>
                <a:lnTo>
                  <a:pt x="423" y="166"/>
                </a:lnTo>
                <a:lnTo>
                  <a:pt x="423" y="160"/>
                </a:lnTo>
                <a:lnTo>
                  <a:pt x="419" y="152"/>
                </a:lnTo>
                <a:lnTo>
                  <a:pt x="404" y="145"/>
                </a:lnTo>
                <a:lnTo>
                  <a:pt x="394" y="130"/>
                </a:lnTo>
                <a:lnTo>
                  <a:pt x="381" y="122"/>
                </a:lnTo>
                <a:lnTo>
                  <a:pt x="372" y="120"/>
                </a:lnTo>
                <a:lnTo>
                  <a:pt x="357" y="111"/>
                </a:lnTo>
                <a:lnTo>
                  <a:pt x="353" y="111"/>
                </a:lnTo>
                <a:lnTo>
                  <a:pt x="345" y="113"/>
                </a:lnTo>
                <a:lnTo>
                  <a:pt x="332" y="115"/>
                </a:lnTo>
                <a:lnTo>
                  <a:pt x="325" y="120"/>
                </a:lnTo>
                <a:lnTo>
                  <a:pt x="321" y="128"/>
                </a:lnTo>
                <a:lnTo>
                  <a:pt x="323" y="130"/>
                </a:lnTo>
                <a:lnTo>
                  <a:pt x="315" y="128"/>
                </a:lnTo>
                <a:lnTo>
                  <a:pt x="323" y="132"/>
                </a:lnTo>
                <a:lnTo>
                  <a:pt x="325" y="139"/>
                </a:lnTo>
                <a:lnTo>
                  <a:pt x="319" y="137"/>
                </a:lnTo>
                <a:lnTo>
                  <a:pt x="313" y="139"/>
                </a:lnTo>
                <a:lnTo>
                  <a:pt x="306" y="141"/>
                </a:lnTo>
                <a:lnTo>
                  <a:pt x="285" y="160"/>
                </a:lnTo>
                <a:lnTo>
                  <a:pt x="276" y="160"/>
                </a:lnTo>
                <a:lnTo>
                  <a:pt x="276" y="156"/>
                </a:lnTo>
                <a:lnTo>
                  <a:pt x="268" y="162"/>
                </a:lnTo>
                <a:lnTo>
                  <a:pt x="268" y="166"/>
                </a:lnTo>
                <a:lnTo>
                  <a:pt x="259" y="166"/>
                </a:lnTo>
                <a:lnTo>
                  <a:pt x="245" y="171"/>
                </a:lnTo>
                <a:lnTo>
                  <a:pt x="242" y="173"/>
                </a:lnTo>
                <a:lnTo>
                  <a:pt x="236" y="173"/>
                </a:lnTo>
                <a:lnTo>
                  <a:pt x="228" y="171"/>
                </a:lnTo>
                <a:lnTo>
                  <a:pt x="225" y="164"/>
                </a:lnTo>
                <a:lnTo>
                  <a:pt x="225" y="156"/>
                </a:lnTo>
                <a:lnTo>
                  <a:pt x="228" y="162"/>
                </a:lnTo>
                <a:lnTo>
                  <a:pt x="230" y="171"/>
                </a:lnTo>
                <a:lnTo>
                  <a:pt x="236" y="169"/>
                </a:lnTo>
                <a:lnTo>
                  <a:pt x="236" y="162"/>
                </a:lnTo>
                <a:lnTo>
                  <a:pt x="232" y="154"/>
                </a:lnTo>
                <a:lnTo>
                  <a:pt x="223" y="147"/>
                </a:lnTo>
                <a:lnTo>
                  <a:pt x="217" y="145"/>
                </a:lnTo>
                <a:lnTo>
                  <a:pt x="210" y="141"/>
                </a:lnTo>
                <a:lnTo>
                  <a:pt x="213" y="141"/>
                </a:lnTo>
                <a:lnTo>
                  <a:pt x="210" y="139"/>
                </a:lnTo>
                <a:lnTo>
                  <a:pt x="202" y="134"/>
                </a:lnTo>
                <a:lnTo>
                  <a:pt x="196" y="128"/>
                </a:lnTo>
                <a:lnTo>
                  <a:pt x="210" y="132"/>
                </a:lnTo>
                <a:lnTo>
                  <a:pt x="217" y="139"/>
                </a:lnTo>
                <a:lnTo>
                  <a:pt x="221" y="132"/>
                </a:lnTo>
                <a:lnTo>
                  <a:pt x="215" y="134"/>
                </a:lnTo>
                <a:lnTo>
                  <a:pt x="210" y="126"/>
                </a:lnTo>
                <a:lnTo>
                  <a:pt x="202" y="128"/>
                </a:lnTo>
                <a:lnTo>
                  <a:pt x="191" y="122"/>
                </a:lnTo>
                <a:lnTo>
                  <a:pt x="196" y="115"/>
                </a:lnTo>
                <a:lnTo>
                  <a:pt x="202" y="113"/>
                </a:lnTo>
                <a:lnTo>
                  <a:pt x="202" y="105"/>
                </a:lnTo>
                <a:lnTo>
                  <a:pt x="191" y="113"/>
                </a:lnTo>
                <a:lnTo>
                  <a:pt x="185" y="111"/>
                </a:lnTo>
                <a:lnTo>
                  <a:pt x="179" y="111"/>
                </a:lnTo>
                <a:lnTo>
                  <a:pt x="181" y="117"/>
                </a:lnTo>
                <a:lnTo>
                  <a:pt x="187" y="122"/>
                </a:lnTo>
                <a:lnTo>
                  <a:pt x="189" y="128"/>
                </a:lnTo>
                <a:lnTo>
                  <a:pt x="174" y="120"/>
                </a:lnTo>
                <a:lnTo>
                  <a:pt x="157" y="113"/>
                </a:lnTo>
                <a:lnTo>
                  <a:pt x="127" y="107"/>
                </a:lnTo>
                <a:lnTo>
                  <a:pt x="121" y="107"/>
                </a:lnTo>
                <a:lnTo>
                  <a:pt x="115" y="105"/>
                </a:lnTo>
                <a:lnTo>
                  <a:pt x="127" y="107"/>
                </a:lnTo>
                <a:lnTo>
                  <a:pt x="130" y="103"/>
                </a:lnTo>
                <a:lnTo>
                  <a:pt x="136" y="100"/>
                </a:lnTo>
                <a:lnTo>
                  <a:pt x="144" y="105"/>
                </a:lnTo>
                <a:lnTo>
                  <a:pt x="151" y="105"/>
                </a:lnTo>
                <a:lnTo>
                  <a:pt x="147" y="100"/>
                </a:lnTo>
                <a:lnTo>
                  <a:pt x="134" y="94"/>
                </a:lnTo>
                <a:lnTo>
                  <a:pt x="127" y="96"/>
                </a:lnTo>
                <a:lnTo>
                  <a:pt x="121" y="100"/>
                </a:lnTo>
                <a:lnTo>
                  <a:pt x="119" y="94"/>
                </a:lnTo>
                <a:lnTo>
                  <a:pt x="104" y="107"/>
                </a:lnTo>
                <a:lnTo>
                  <a:pt x="100" y="107"/>
                </a:lnTo>
                <a:lnTo>
                  <a:pt x="81" y="109"/>
                </a:lnTo>
                <a:lnTo>
                  <a:pt x="59" y="115"/>
                </a:lnTo>
                <a:lnTo>
                  <a:pt x="51" y="115"/>
                </a:lnTo>
                <a:lnTo>
                  <a:pt x="53" y="113"/>
                </a:lnTo>
                <a:lnTo>
                  <a:pt x="64" y="111"/>
                </a:lnTo>
                <a:lnTo>
                  <a:pt x="70" y="105"/>
                </a:lnTo>
                <a:lnTo>
                  <a:pt x="61" y="98"/>
                </a:lnTo>
                <a:lnTo>
                  <a:pt x="61" y="90"/>
                </a:lnTo>
                <a:lnTo>
                  <a:pt x="59" y="98"/>
                </a:lnTo>
                <a:lnTo>
                  <a:pt x="55" y="105"/>
                </a:lnTo>
                <a:lnTo>
                  <a:pt x="51" y="96"/>
                </a:lnTo>
                <a:lnTo>
                  <a:pt x="47" y="100"/>
                </a:lnTo>
                <a:lnTo>
                  <a:pt x="47" y="100"/>
                </a:lnTo>
                <a:lnTo>
                  <a:pt x="49" y="103"/>
                </a:lnTo>
                <a:lnTo>
                  <a:pt x="44" y="111"/>
                </a:lnTo>
                <a:lnTo>
                  <a:pt x="38" y="122"/>
                </a:lnTo>
                <a:lnTo>
                  <a:pt x="32" y="126"/>
                </a:lnTo>
                <a:lnTo>
                  <a:pt x="25" y="128"/>
                </a:lnTo>
                <a:lnTo>
                  <a:pt x="21" y="128"/>
                </a:lnTo>
                <a:lnTo>
                  <a:pt x="23" y="120"/>
                </a:lnTo>
                <a:lnTo>
                  <a:pt x="32" y="113"/>
                </a:lnTo>
                <a:lnTo>
                  <a:pt x="29" y="109"/>
                </a:lnTo>
                <a:lnTo>
                  <a:pt x="23" y="10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6" name="Freeform 752"/>
          <p:cNvSpPr>
            <a:spLocks/>
          </p:cNvSpPr>
          <p:nvPr/>
        </p:nvSpPr>
        <p:spPr bwMode="auto">
          <a:xfrm>
            <a:off x="5740400" y="5022850"/>
            <a:ext cx="107950" cy="26988"/>
          </a:xfrm>
          <a:custGeom>
            <a:avLst/>
            <a:gdLst>
              <a:gd name="T0" fmla="*/ 62 w 68"/>
              <a:gd name="T1" fmla="*/ 0 h 17"/>
              <a:gd name="T2" fmla="*/ 68 w 68"/>
              <a:gd name="T3" fmla="*/ 0 h 17"/>
              <a:gd name="T4" fmla="*/ 53 w 68"/>
              <a:gd name="T5" fmla="*/ 2 h 17"/>
              <a:gd name="T6" fmla="*/ 6 w 68"/>
              <a:gd name="T7" fmla="*/ 17 h 17"/>
              <a:gd name="T8" fmla="*/ 0 w 68"/>
              <a:gd name="T9" fmla="*/ 17 h 17"/>
              <a:gd name="T10" fmla="*/ 17 w 68"/>
              <a:gd name="T11" fmla="*/ 13 h 17"/>
              <a:gd name="T12" fmla="*/ 23 w 68"/>
              <a:gd name="T13" fmla="*/ 8 h 17"/>
              <a:gd name="T14" fmla="*/ 30 w 68"/>
              <a:gd name="T15" fmla="*/ 8 h 17"/>
              <a:gd name="T16" fmla="*/ 47 w 68"/>
              <a:gd name="T17" fmla="*/ 2 h 17"/>
              <a:gd name="T18" fmla="*/ 62 w 68"/>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7">
                <a:moveTo>
                  <a:pt x="62" y="0"/>
                </a:moveTo>
                <a:lnTo>
                  <a:pt x="68" y="0"/>
                </a:lnTo>
                <a:lnTo>
                  <a:pt x="53" y="2"/>
                </a:lnTo>
                <a:lnTo>
                  <a:pt x="6" y="17"/>
                </a:lnTo>
                <a:lnTo>
                  <a:pt x="0" y="17"/>
                </a:lnTo>
                <a:lnTo>
                  <a:pt x="17" y="13"/>
                </a:lnTo>
                <a:lnTo>
                  <a:pt x="23" y="8"/>
                </a:lnTo>
                <a:lnTo>
                  <a:pt x="30" y="8"/>
                </a:lnTo>
                <a:lnTo>
                  <a:pt x="47" y="2"/>
                </a:lnTo>
                <a:lnTo>
                  <a:pt x="6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753"/>
          <p:cNvSpPr>
            <a:spLocks/>
          </p:cNvSpPr>
          <p:nvPr/>
        </p:nvSpPr>
        <p:spPr bwMode="auto">
          <a:xfrm>
            <a:off x="5740400" y="5022850"/>
            <a:ext cx="107950" cy="26988"/>
          </a:xfrm>
          <a:custGeom>
            <a:avLst/>
            <a:gdLst>
              <a:gd name="T0" fmla="*/ 62 w 68"/>
              <a:gd name="T1" fmla="*/ 0 h 17"/>
              <a:gd name="T2" fmla="*/ 68 w 68"/>
              <a:gd name="T3" fmla="*/ 0 h 17"/>
              <a:gd name="T4" fmla="*/ 53 w 68"/>
              <a:gd name="T5" fmla="*/ 2 h 17"/>
              <a:gd name="T6" fmla="*/ 6 w 68"/>
              <a:gd name="T7" fmla="*/ 17 h 17"/>
              <a:gd name="T8" fmla="*/ 0 w 68"/>
              <a:gd name="T9" fmla="*/ 17 h 17"/>
              <a:gd name="T10" fmla="*/ 17 w 68"/>
              <a:gd name="T11" fmla="*/ 13 h 17"/>
              <a:gd name="T12" fmla="*/ 23 w 68"/>
              <a:gd name="T13" fmla="*/ 8 h 17"/>
              <a:gd name="T14" fmla="*/ 30 w 68"/>
              <a:gd name="T15" fmla="*/ 8 h 17"/>
              <a:gd name="T16" fmla="*/ 47 w 68"/>
              <a:gd name="T17" fmla="*/ 2 h 17"/>
              <a:gd name="T18" fmla="*/ 62 w 68"/>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7">
                <a:moveTo>
                  <a:pt x="62" y="0"/>
                </a:moveTo>
                <a:lnTo>
                  <a:pt x="68" y="0"/>
                </a:lnTo>
                <a:lnTo>
                  <a:pt x="53" y="2"/>
                </a:lnTo>
                <a:lnTo>
                  <a:pt x="6" y="17"/>
                </a:lnTo>
                <a:lnTo>
                  <a:pt x="0" y="17"/>
                </a:lnTo>
                <a:lnTo>
                  <a:pt x="17" y="13"/>
                </a:lnTo>
                <a:lnTo>
                  <a:pt x="23" y="8"/>
                </a:lnTo>
                <a:lnTo>
                  <a:pt x="30" y="8"/>
                </a:lnTo>
                <a:lnTo>
                  <a:pt x="47" y="2"/>
                </a:lnTo>
                <a:lnTo>
                  <a:pt x="6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8" name="Freeform 754"/>
          <p:cNvSpPr>
            <a:spLocks/>
          </p:cNvSpPr>
          <p:nvPr/>
        </p:nvSpPr>
        <p:spPr bwMode="auto">
          <a:xfrm>
            <a:off x="5862637" y="2841625"/>
            <a:ext cx="590550" cy="679450"/>
          </a:xfrm>
          <a:custGeom>
            <a:avLst/>
            <a:gdLst>
              <a:gd name="T0" fmla="*/ 74 w 372"/>
              <a:gd name="T1" fmla="*/ 72 h 428"/>
              <a:gd name="T2" fmla="*/ 110 w 372"/>
              <a:gd name="T3" fmla="*/ 68 h 428"/>
              <a:gd name="T4" fmla="*/ 134 w 372"/>
              <a:gd name="T5" fmla="*/ 75 h 428"/>
              <a:gd name="T6" fmla="*/ 151 w 372"/>
              <a:gd name="T7" fmla="*/ 83 h 428"/>
              <a:gd name="T8" fmla="*/ 166 w 372"/>
              <a:gd name="T9" fmla="*/ 77 h 428"/>
              <a:gd name="T10" fmla="*/ 159 w 372"/>
              <a:gd name="T11" fmla="*/ 87 h 428"/>
              <a:gd name="T12" fmla="*/ 159 w 372"/>
              <a:gd name="T13" fmla="*/ 94 h 428"/>
              <a:gd name="T14" fmla="*/ 183 w 372"/>
              <a:gd name="T15" fmla="*/ 87 h 428"/>
              <a:gd name="T16" fmla="*/ 198 w 372"/>
              <a:gd name="T17" fmla="*/ 94 h 428"/>
              <a:gd name="T18" fmla="*/ 213 w 372"/>
              <a:gd name="T19" fmla="*/ 85 h 428"/>
              <a:gd name="T20" fmla="*/ 234 w 372"/>
              <a:gd name="T21" fmla="*/ 72 h 428"/>
              <a:gd name="T22" fmla="*/ 255 w 372"/>
              <a:gd name="T23" fmla="*/ 72 h 428"/>
              <a:gd name="T24" fmla="*/ 276 w 372"/>
              <a:gd name="T25" fmla="*/ 49 h 428"/>
              <a:gd name="T26" fmla="*/ 289 w 372"/>
              <a:gd name="T27" fmla="*/ 36 h 428"/>
              <a:gd name="T28" fmla="*/ 347 w 372"/>
              <a:gd name="T29" fmla="*/ 0 h 428"/>
              <a:gd name="T30" fmla="*/ 372 w 372"/>
              <a:gd name="T31" fmla="*/ 151 h 428"/>
              <a:gd name="T32" fmla="*/ 364 w 372"/>
              <a:gd name="T33" fmla="*/ 153 h 428"/>
              <a:gd name="T34" fmla="*/ 366 w 372"/>
              <a:gd name="T35" fmla="*/ 168 h 428"/>
              <a:gd name="T36" fmla="*/ 368 w 372"/>
              <a:gd name="T37" fmla="*/ 196 h 428"/>
              <a:gd name="T38" fmla="*/ 366 w 372"/>
              <a:gd name="T39" fmla="*/ 226 h 428"/>
              <a:gd name="T40" fmla="*/ 364 w 372"/>
              <a:gd name="T41" fmla="*/ 234 h 428"/>
              <a:gd name="T42" fmla="*/ 364 w 372"/>
              <a:gd name="T43" fmla="*/ 249 h 428"/>
              <a:gd name="T44" fmla="*/ 362 w 372"/>
              <a:gd name="T45" fmla="*/ 271 h 428"/>
              <a:gd name="T46" fmla="*/ 342 w 372"/>
              <a:gd name="T47" fmla="*/ 294 h 428"/>
              <a:gd name="T48" fmla="*/ 317 w 372"/>
              <a:gd name="T49" fmla="*/ 300 h 428"/>
              <a:gd name="T50" fmla="*/ 311 w 372"/>
              <a:gd name="T51" fmla="*/ 317 h 428"/>
              <a:gd name="T52" fmla="*/ 298 w 372"/>
              <a:gd name="T53" fmla="*/ 330 h 428"/>
              <a:gd name="T54" fmla="*/ 291 w 372"/>
              <a:gd name="T55" fmla="*/ 345 h 428"/>
              <a:gd name="T56" fmla="*/ 294 w 372"/>
              <a:gd name="T57" fmla="*/ 358 h 428"/>
              <a:gd name="T58" fmla="*/ 283 w 372"/>
              <a:gd name="T59" fmla="*/ 356 h 428"/>
              <a:gd name="T60" fmla="*/ 272 w 372"/>
              <a:gd name="T61" fmla="*/ 360 h 428"/>
              <a:gd name="T62" fmla="*/ 268 w 372"/>
              <a:gd name="T63" fmla="*/ 375 h 428"/>
              <a:gd name="T64" fmla="*/ 264 w 372"/>
              <a:gd name="T65" fmla="*/ 386 h 428"/>
              <a:gd name="T66" fmla="*/ 268 w 372"/>
              <a:gd name="T67" fmla="*/ 403 h 428"/>
              <a:gd name="T68" fmla="*/ 262 w 372"/>
              <a:gd name="T69" fmla="*/ 415 h 428"/>
              <a:gd name="T70" fmla="*/ 245 w 372"/>
              <a:gd name="T71" fmla="*/ 428 h 428"/>
              <a:gd name="T72" fmla="*/ 238 w 372"/>
              <a:gd name="T73" fmla="*/ 428 h 428"/>
              <a:gd name="T74" fmla="*/ 225 w 372"/>
              <a:gd name="T75" fmla="*/ 415 h 428"/>
              <a:gd name="T76" fmla="*/ 210 w 372"/>
              <a:gd name="T77" fmla="*/ 407 h 428"/>
              <a:gd name="T78" fmla="*/ 198 w 372"/>
              <a:gd name="T79" fmla="*/ 398 h 428"/>
              <a:gd name="T80" fmla="*/ 185 w 372"/>
              <a:gd name="T81" fmla="*/ 413 h 428"/>
              <a:gd name="T82" fmla="*/ 172 w 372"/>
              <a:gd name="T83" fmla="*/ 415 h 428"/>
              <a:gd name="T84" fmla="*/ 155 w 372"/>
              <a:gd name="T85" fmla="*/ 409 h 428"/>
              <a:gd name="T86" fmla="*/ 144 w 372"/>
              <a:gd name="T87" fmla="*/ 415 h 428"/>
              <a:gd name="T88" fmla="*/ 121 w 372"/>
              <a:gd name="T89" fmla="*/ 405 h 428"/>
              <a:gd name="T90" fmla="*/ 102 w 372"/>
              <a:gd name="T91" fmla="*/ 407 h 428"/>
              <a:gd name="T92" fmla="*/ 85 w 372"/>
              <a:gd name="T93" fmla="*/ 390 h 428"/>
              <a:gd name="T94" fmla="*/ 64 w 372"/>
              <a:gd name="T95" fmla="*/ 375 h 428"/>
              <a:gd name="T96" fmla="*/ 44 w 372"/>
              <a:gd name="T97" fmla="*/ 373 h 428"/>
              <a:gd name="T98" fmla="*/ 12 w 372"/>
              <a:gd name="T99" fmla="*/ 19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428">
                <a:moveTo>
                  <a:pt x="0" y="85"/>
                </a:moveTo>
                <a:lnTo>
                  <a:pt x="74" y="72"/>
                </a:lnTo>
                <a:lnTo>
                  <a:pt x="108" y="66"/>
                </a:lnTo>
                <a:lnTo>
                  <a:pt x="110" y="68"/>
                </a:lnTo>
                <a:lnTo>
                  <a:pt x="125" y="70"/>
                </a:lnTo>
                <a:lnTo>
                  <a:pt x="134" y="75"/>
                </a:lnTo>
                <a:lnTo>
                  <a:pt x="144" y="77"/>
                </a:lnTo>
                <a:lnTo>
                  <a:pt x="151" y="83"/>
                </a:lnTo>
                <a:lnTo>
                  <a:pt x="157" y="83"/>
                </a:lnTo>
                <a:lnTo>
                  <a:pt x="166" y="77"/>
                </a:lnTo>
                <a:lnTo>
                  <a:pt x="172" y="83"/>
                </a:lnTo>
                <a:lnTo>
                  <a:pt x="159" y="87"/>
                </a:lnTo>
                <a:lnTo>
                  <a:pt x="153" y="94"/>
                </a:lnTo>
                <a:lnTo>
                  <a:pt x="159" y="94"/>
                </a:lnTo>
                <a:lnTo>
                  <a:pt x="168" y="87"/>
                </a:lnTo>
                <a:lnTo>
                  <a:pt x="183" y="87"/>
                </a:lnTo>
                <a:lnTo>
                  <a:pt x="189" y="92"/>
                </a:lnTo>
                <a:lnTo>
                  <a:pt x="198" y="94"/>
                </a:lnTo>
                <a:lnTo>
                  <a:pt x="204" y="87"/>
                </a:lnTo>
                <a:lnTo>
                  <a:pt x="213" y="85"/>
                </a:lnTo>
                <a:lnTo>
                  <a:pt x="219" y="81"/>
                </a:lnTo>
                <a:lnTo>
                  <a:pt x="234" y="72"/>
                </a:lnTo>
                <a:lnTo>
                  <a:pt x="240" y="75"/>
                </a:lnTo>
                <a:lnTo>
                  <a:pt x="255" y="72"/>
                </a:lnTo>
                <a:lnTo>
                  <a:pt x="270" y="60"/>
                </a:lnTo>
                <a:lnTo>
                  <a:pt x="276" y="49"/>
                </a:lnTo>
                <a:lnTo>
                  <a:pt x="283" y="43"/>
                </a:lnTo>
                <a:lnTo>
                  <a:pt x="289" y="36"/>
                </a:lnTo>
                <a:lnTo>
                  <a:pt x="304" y="26"/>
                </a:lnTo>
                <a:lnTo>
                  <a:pt x="347" y="0"/>
                </a:lnTo>
                <a:lnTo>
                  <a:pt x="347" y="4"/>
                </a:lnTo>
                <a:lnTo>
                  <a:pt x="372" y="151"/>
                </a:lnTo>
                <a:lnTo>
                  <a:pt x="368" y="153"/>
                </a:lnTo>
                <a:lnTo>
                  <a:pt x="364" y="153"/>
                </a:lnTo>
                <a:lnTo>
                  <a:pt x="362" y="162"/>
                </a:lnTo>
                <a:lnTo>
                  <a:pt x="366" y="168"/>
                </a:lnTo>
                <a:lnTo>
                  <a:pt x="372" y="190"/>
                </a:lnTo>
                <a:lnTo>
                  <a:pt x="368" y="196"/>
                </a:lnTo>
                <a:lnTo>
                  <a:pt x="366" y="217"/>
                </a:lnTo>
                <a:lnTo>
                  <a:pt x="366" y="226"/>
                </a:lnTo>
                <a:lnTo>
                  <a:pt x="366" y="234"/>
                </a:lnTo>
                <a:lnTo>
                  <a:pt x="364" y="234"/>
                </a:lnTo>
                <a:lnTo>
                  <a:pt x="364" y="243"/>
                </a:lnTo>
                <a:lnTo>
                  <a:pt x="364" y="249"/>
                </a:lnTo>
                <a:lnTo>
                  <a:pt x="364" y="258"/>
                </a:lnTo>
                <a:lnTo>
                  <a:pt x="362" y="271"/>
                </a:lnTo>
                <a:lnTo>
                  <a:pt x="351" y="279"/>
                </a:lnTo>
                <a:lnTo>
                  <a:pt x="342" y="294"/>
                </a:lnTo>
                <a:lnTo>
                  <a:pt x="330" y="307"/>
                </a:lnTo>
                <a:lnTo>
                  <a:pt x="317" y="300"/>
                </a:lnTo>
                <a:lnTo>
                  <a:pt x="311" y="311"/>
                </a:lnTo>
                <a:lnTo>
                  <a:pt x="311" y="317"/>
                </a:lnTo>
                <a:lnTo>
                  <a:pt x="300" y="324"/>
                </a:lnTo>
                <a:lnTo>
                  <a:pt x="298" y="330"/>
                </a:lnTo>
                <a:lnTo>
                  <a:pt x="298" y="337"/>
                </a:lnTo>
                <a:lnTo>
                  <a:pt x="291" y="345"/>
                </a:lnTo>
                <a:lnTo>
                  <a:pt x="298" y="351"/>
                </a:lnTo>
                <a:lnTo>
                  <a:pt x="294" y="358"/>
                </a:lnTo>
                <a:lnTo>
                  <a:pt x="291" y="366"/>
                </a:lnTo>
                <a:lnTo>
                  <a:pt x="283" y="356"/>
                </a:lnTo>
                <a:lnTo>
                  <a:pt x="276" y="354"/>
                </a:lnTo>
                <a:lnTo>
                  <a:pt x="272" y="360"/>
                </a:lnTo>
                <a:lnTo>
                  <a:pt x="268" y="366"/>
                </a:lnTo>
                <a:lnTo>
                  <a:pt x="268" y="375"/>
                </a:lnTo>
                <a:lnTo>
                  <a:pt x="266" y="377"/>
                </a:lnTo>
                <a:lnTo>
                  <a:pt x="264" y="386"/>
                </a:lnTo>
                <a:lnTo>
                  <a:pt x="268" y="390"/>
                </a:lnTo>
                <a:lnTo>
                  <a:pt x="268" y="403"/>
                </a:lnTo>
                <a:lnTo>
                  <a:pt x="262" y="409"/>
                </a:lnTo>
                <a:lnTo>
                  <a:pt x="262" y="415"/>
                </a:lnTo>
                <a:lnTo>
                  <a:pt x="255" y="422"/>
                </a:lnTo>
                <a:lnTo>
                  <a:pt x="245" y="428"/>
                </a:lnTo>
                <a:lnTo>
                  <a:pt x="238" y="428"/>
                </a:lnTo>
                <a:lnTo>
                  <a:pt x="238" y="428"/>
                </a:lnTo>
                <a:lnTo>
                  <a:pt x="232" y="422"/>
                </a:lnTo>
                <a:lnTo>
                  <a:pt x="225" y="415"/>
                </a:lnTo>
                <a:lnTo>
                  <a:pt x="217" y="413"/>
                </a:lnTo>
                <a:lnTo>
                  <a:pt x="210" y="407"/>
                </a:lnTo>
                <a:lnTo>
                  <a:pt x="206" y="394"/>
                </a:lnTo>
                <a:lnTo>
                  <a:pt x="198" y="398"/>
                </a:lnTo>
                <a:lnTo>
                  <a:pt x="189" y="407"/>
                </a:lnTo>
                <a:lnTo>
                  <a:pt x="185" y="413"/>
                </a:lnTo>
                <a:lnTo>
                  <a:pt x="179" y="413"/>
                </a:lnTo>
                <a:lnTo>
                  <a:pt x="172" y="415"/>
                </a:lnTo>
                <a:lnTo>
                  <a:pt x="164" y="411"/>
                </a:lnTo>
                <a:lnTo>
                  <a:pt x="155" y="409"/>
                </a:lnTo>
                <a:lnTo>
                  <a:pt x="149" y="409"/>
                </a:lnTo>
                <a:lnTo>
                  <a:pt x="144" y="415"/>
                </a:lnTo>
                <a:lnTo>
                  <a:pt x="136" y="417"/>
                </a:lnTo>
                <a:lnTo>
                  <a:pt x="121" y="405"/>
                </a:lnTo>
                <a:lnTo>
                  <a:pt x="117" y="405"/>
                </a:lnTo>
                <a:lnTo>
                  <a:pt x="102" y="407"/>
                </a:lnTo>
                <a:lnTo>
                  <a:pt x="95" y="405"/>
                </a:lnTo>
                <a:lnTo>
                  <a:pt x="85" y="390"/>
                </a:lnTo>
                <a:lnTo>
                  <a:pt x="81" y="381"/>
                </a:lnTo>
                <a:lnTo>
                  <a:pt x="64" y="375"/>
                </a:lnTo>
                <a:lnTo>
                  <a:pt x="51" y="379"/>
                </a:lnTo>
                <a:lnTo>
                  <a:pt x="44" y="373"/>
                </a:lnTo>
                <a:lnTo>
                  <a:pt x="34" y="379"/>
                </a:lnTo>
                <a:lnTo>
                  <a:pt x="12" y="190"/>
                </a:lnTo>
                <a:lnTo>
                  <a:pt x="0" y="8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755"/>
          <p:cNvSpPr>
            <a:spLocks/>
          </p:cNvSpPr>
          <p:nvPr/>
        </p:nvSpPr>
        <p:spPr bwMode="auto">
          <a:xfrm>
            <a:off x="5862637" y="2841625"/>
            <a:ext cx="590550" cy="679450"/>
          </a:xfrm>
          <a:custGeom>
            <a:avLst/>
            <a:gdLst>
              <a:gd name="T0" fmla="*/ 74 w 372"/>
              <a:gd name="T1" fmla="*/ 72 h 428"/>
              <a:gd name="T2" fmla="*/ 110 w 372"/>
              <a:gd name="T3" fmla="*/ 68 h 428"/>
              <a:gd name="T4" fmla="*/ 134 w 372"/>
              <a:gd name="T5" fmla="*/ 75 h 428"/>
              <a:gd name="T6" fmla="*/ 151 w 372"/>
              <a:gd name="T7" fmla="*/ 83 h 428"/>
              <a:gd name="T8" fmla="*/ 166 w 372"/>
              <a:gd name="T9" fmla="*/ 77 h 428"/>
              <a:gd name="T10" fmla="*/ 159 w 372"/>
              <a:gd name="T11" fmla="*/ 87 h 428"/>
              <a:gd name="T12" fmla="*/ 159 w 372"/>
              <a:gd name="T13" fmla="*/ 94 h 428"/>
              <a:gd name="T14" fmla="*/ 183 w 372"/>
              <a:gd name="T15" fmla="*/ 87 h 428"/>
              <a:gd name="T16" fmla="*/ 198 w 372"/>
              <a:gd name="T17" fmla="*/ 94 h 428"/>
              <a:gd name="T18" fmla="*/ 213 w 372"/>
              <a:gd name="T19" fmla="*/ 85 h 428"/>
              <a:gd name="T20" fmla="*/ 234 w 372"/>
              <a:gd name="T21" fmla="*/ 72 h 428"/>
              <a:gd name="T22" fmla="*/ 255 w 372"/>
              <a:gd name="T23" fmla="*/ 72 h 428"/>
              <a:gd name="T24" fmla="*/ 276 w 372"/>
              <a:gd name="T25" fmla="*/ 49 h 428"/>
              <a:gd name="T26" fmla="*/ 289 w 372"/>
              <a:gd name="T27" fmla="*/ 36 h 428"/>
              <a:gd name="T28" fmla="*/ 347 w 372"/>
              <a:gd name="T29" fmla="*/ 0 h 428"/>
              <a:gd name="T30" fmla="*/ 372 w 372"/>
              <a:gd name="T31" fmla="*/ 151 h 428"/>
              <a:gd name="T32" fmla="*/ 364 w 372"/>
              <a:gd name="T33" fmla="*/ 153 h 428"/>
              <a:gd name="T34" fmla="*/ 366 w 372"/>
              <a:gd name="T35" fmla="*/ 168 h 428"/>
              <a:gd name="T36" fmla="*/ 368 w 372"/>
              <a:gd name="T37" fmla="*/ 196 h 428"/>
              <a:gd name="T38" fmla="*/ 366 w 372"/>
              <a:gd name="T39" fmla="*/ 226 h 428"/>
              <a:gd name="T40" fmla="*/ 364 w 372"/>
              <a:gd name="T41" fmla="*/ 234 h 428"/>
              <a:gd name="T42" fmla="*/ 364 w 372"/>
              <a:gd name="T43" fmla="*/ 249 h 428"/>
              <a:gd name="T44" fmla="*/ 362 w 372"/>
              <a:gd name="T45" fmla="*/ 271 h 428"/>
              <a:gd name="T46" fmla="*/ 342 w 372"/>
              <a:gd name="T47" fmla="*/ 294 h 428"/>
              <a:gd name="T48" fmla="*/ 317 w 372"/>
              <a:gd name="T49" fmla="*/ 300 h 428"/>
              <a:gd name="T50" fmla="*/ 311 w 372"/>
              <a:gd name="T51" fmla="*/ 317 h 428"/>
              <a:gd name="T52" fmla="*/ 298 w 372"/>
              <a:gd name="T53" fmla="*/ 330 h 428"/>
              <a:gd name="T54" fmla="*/ 291 w 372"/>
              <a:gd name="T55" fmla="*/ 345 h 428"/>
              <a:gd name="T56" fmla="*/ 294 w 372"/>
              <a:gd name="T57" fmla="*/ 358 h 428"/>
              <a:gd name="T58" fmla="*/ 283 w 372"/>
              <a:gd name="T59" fmla="*/ 356 h 428"/>
              <a:gd name="T60" fmla="*/ 272 w 372"/>
              <a:gd name="T61" fmla="*/ 360 h 428"/>
              <a:gd name="T62" fmla="*/ 268 w 372"/>
              <a:gd name="T63" fmla="*/ 375 h 428"/>
              <a:gd name="T64" fmla="*/ 264 w 372"/>
              <a:gd name="T65" fmla="*/ 386 h 428"/>
              <a:gd name="T66" fmla="*/ 268 w 372"/>
              <a:gd name="T67" fmla="*/ 403 h 428"/>
              <a:gd name="T68" fmla="*/ 262 w 372"/>
              <a:gd name="T69" fmla="*/ 415 h 428"/>
              <a:gd name="T70" fmla="*/ 245 w 372"/>
              <a:gd name="T71" fmla="*/ 428 h 428"/>
              <a:gd name="T72" fmla="*/ 238 w 372"/>
              <a:gd name="T73" fmla="*/ 428 h 428"/>
              <a:gd name="T74" fmla="*/ 225 w 372"/>
              <a:gd name="T75" fmla="*/ 415 h 428"/>
              <a:gd name="T76" fmla="*/ 210 w 372"/>
              <a:gd name="T77" fmla="*/ 407 h 428"/>
              <a:gd name="T78" fmla="*/ 198 w 372"/>
              <a:gd name="T79" fmla="*/ 398 h 428"/>
              <a:gd name="T80" fmla="*/ 185 w 372"/>
              <a:gd name="T81" fmla="*/ 413 h 428"/>
              <a:gd name="T82" fmla="*/ 172 w 372"/>
              <a:gd name="T83" fmla="*/ 415 h 428"/>
              <a:gd name="T84" fmla="*/ 155 w 372"/>
              <a:gd name="T85" fmla="*/ 409 h 428"/>
              <a:gd name="T86" fmla="*/ 144 w 372"/>
              <a:gd name="T87" fmla="*/ 415 h 428"/>
              <a:gd name="T88" fmla="*/ 121 w 372"/>
              <a:gd name="T89" fmla="*/ 405 h 428"/>
              <a:gd name="T90" fmla="*/ 102 w 372"/>
              <a:gd name="T91" fmla="*/ 407 h 428"/>
              <a:gd name="T92" fmla="*/ 85 w 372"/>
              <a:gd name="T93" fmla="*/ 390 h 428"/>
              <a:gd name="T94" fmla="*/ 64 w 372"/>
              <a:gd name="T95" fmla="*/ 375 h 428"/>
              <a:gd name="T96" fmla="*/ 44 w 372"/>
              <a:gd name="T97" fmla="*/ 373 h 428"/>
              <a:gd name="T98" fmla="*/ 12 w 372"/>
              <a:gd name="T99" fmla="*/ 19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428">
                <a:moveTo>
                  <a:pt x="0" y="85"/>
                </a:moveTo>
                <a:lnTo>
                  <a:pt x="74" y="72"/>
                </a:lnTo>
                <a:lnTo>
                  <a:pt x="108" y="66"/>
                </a:lnTo>
                <a:lnTo>
                  <a:pt x="110" y="68"/>
                </a:lnTo>
                <a:lnTo>
                  <a:pt x="125" y="70"/>
                </a:lnTo>
                <a:lnTo>
                  <a:pt x="134" y="75"/>
                </a:lnTo>
                <a:lnTo>
                  <a:pt x="144" y="77"/>
                </a:lnTo>
                <a:lnTo>
                  <a:pt x="151" y="83"/>
                </a:lnTo>
                <a:lnTo>
                  <a:pt x="157" y="83"/>
                </a:lnTo>
                <a:lnTo>
                  <a:pt x="166" y="77"/>
                </a:lnTo>
                <a:lnTo>
                  <a:pt x="172" y="83"/>
                </a:lnTo>
                <a:lnTo>
                  <a:pt x="159" y="87"/>
                </a:lnTo>
                <a:lnTo>
                  <a:pt x="153" y="94"/>
                </a:lnTo>
                <a:lnTo>
                  <a:pt x="159" y="94"/>
                </a:lnTo>
                <a:lnTo>
                  <a:pt x="168" y="87"/>
                </a:lnTo>
                <a:lnTo>
                  <a:pt x="183" y="87"/>
                </a:lnTo>
                <a:lnTo>
                  <a:pt x="189" y="92"/>
                </a:lnTo>
                <a:lnTo>
                  <a:pt x="198" y="94"/>
                </a:lnTo>
                <a:lnTo>
                  <a:pt x="204" y="87"/>
                </a:lnTo>
                <a:lnTo>
                  <a:pt x="213" y="85"/>
                </a:lnTo>
                <a:lnTo>
                  <a:pt x="219" y="81"/>
                </a:lnTo>
                <a:lnTo>
                  <a:pt x="234" y="72"/>
                </a:lnTo>
                <a:lnTo>
                  <a:pt x="240" y="75"/>
                </a:lnTo>
                <a:lnTo>
                  <a:pt x="255" y="72"/>
                </a:lnTo>
                <a:lnTo>
                  <a:pt x="270" y="60"/>
                </a:lnTo>
                <a:lnTo>
                  <a:pt x="276" y="49"/>
                </a:lnTo>
                <a:lnTo>
                  <a:pt x="283" y="43"/>
                </a:lnTo>
                <a:lnTo>
                  <a:pt x="289" y="36"/>
                </a:lnTo>
                <a:lnTo>
                  <a:pt x="304" y="26"/>
                </a:lnTo>
                <a:lnTo>
                  <a:pt x="347" y="0"/>
                </a:lnTo>
                <a:lnTo>
                  <a:pt x="347" y="4"/>
                </a:lnTo>
                <a:lnTo>
                  <a:pt x="372" y="151"/>
                </a:lnTo>
                <a:lnTo>
                  <a:pt x="368" y="153"/>
                </a:lnTo>
                <a:lnTo>
                  <a:pt x="364" y="153"/>
                </a:lnTo>
                <a:lnTo>
                  <a:pt x="362" y="162"/>
                </a:lnTo>
                <a:lnTo>
                  <a:pt x="366" y="168"/>
                </a:lnTo>
                <a:lnTo>
                  <a:pt x="372" y="190"/>
                </a:lnTo>
                <a:lnTo>
                  <a:pt x="368" y="196"/>
                </a:lnTo>
                <a:lnTo>
                  <a:pt x="366" y="217"/>
                </a:lnTo>
                <a:lnTo>
                  <a:pt x="366" y="226"/>
                </a:lnTo>
                <a:lnTo>
                  <a:pt x="366" y="234"/>
                </a:lnTo>
                <a:lnTo>
                  <a:pt x="364" y="234"/>
                </a:lnTo>
                <a:lnTo>
                  <a:pt x="364" y="243"/>
                </a:lnTo>
                <a:lnTo>
                  <a:pt x="364" y="249"/>
                </a:lnTo>
                <a:lnTo>
                  <a:pt x="364" y="258"/>
                </a:lnTo>
                <a:lnTo>
                  <a:pt x="362" y="271"/>
                </a:lnTo>
                <a:lnTo>
                  <a:pt x="351" y="279"/>
                </a:lnTo>
                <a:lnTo>
                  <a:pt x="342" y="294"/>
                </a:lnTo>
                <a:lnTo>
                  <a:pt x="330" y="307"/>
                </a:lnTo>
                <a:lnTo>
                  <a:pt x="317" y="300"/>
                </a:lnTo>
                <a:lnTo>
                  <a:pt x="311" y="311"/>
                </a:lnTo>
                <a:lnTo>
                  <a:pt x="311" y="317"/>
                </a:lnTo>
                <a:lnTo>
                  <a:pt x="300" y="324"/>
                </a:lnTo>
                <a:lnTo>
                  <a:pt x="298" y="330"/>
                </a:lnTo>
                <a:lnTo>
                  <a:pt x="298" y="337"/>
                </a:lnTo>
                <a:lnTo>
                  <a:pt x="291" y="345"/>
                </a:lnTo>
                <a:lnTo>
                  <a:pt x="298" y="351"/>
                </a:lnTo>
                <a:lnTo>
                  <a:pt x="294" y="358"/>
                </a:lnTo>
                <a:lnTo>
                  <a:pt x="291" y="366"/>
                </a:lnTo>
                <a:lnTo>
                  <a:pt x="283" y="356"/>
                </a:lnTo>
                <a:lnTo>
                  <a:pt x="276" y="354"/>
                </a:lnTo>
                <a:lnTo>
                  <a:pt x="272" y="360"/>
                </a:lnTo>
                <a:lnTo>
                  <a:pt x="268" y="366"/>
                </a:lnTo>
                <a:lnTo>
                  <a:pt x="268" y="375"/>
                </a:lnTo>
                <a:lnTo>
                  <a:pt x="266" y="377"/>
                </a:lnTo>
                <a:lnTo>
                  <a:pt x="264" y="386"/>
                </a:lnTo>
                <a:lnTo>
                  <a:pt x="268" y="390"/>
                </a:lnTo>
                <a:lnTo>
                  <a:pt x="268" y="403"/>
                </a:lnTo>
                <a:lnTo>
                  <a:pt x="262" y="409"/>
                </a:lnTo>
                <a:lnTo>
                  <a:pt x="262" y="415"/>
                </a:lnTo>
                <a:lnTo>
                  <a:pt x="255" y="422"/>
                </a:lnTo>
                <a:lnTo>
                  <a:pt x="245" y="428"/>
                </a:lnTo>
                <a:lnTo>
                  <a:pt x="238" y="428"/>
                </a:lnTo>
                <a:lnTo>
                  <a:pt x="238" y="428"/>
                </a:lnTo>
                <a:lnTo>
                  <a:pt x="232" y="422"/>
                </a:lnTo>
                <a:lnTo>
                  <a:pt x="225" y="415"/>
                </a:lnTo>
                <a:lnTo>
                  <a:pt x="217" y="413"/>
                </a:lnTo>
                <a:lnTo>
                  <a:pt x="210" y="407"/>
                </a:lnTo>
                <a:lnTo>
                  <a:pt x="206" y="394"/>
                </a:lnTo>
                <a:lnTo>
                  <a:pt x="198" y="398"/>
                </a:lnTo>
                <a:lnTo>
                  <a:pt x="189" y="407"/>
                </a:lnTo>
                <a:lnTo>
                  <a:pt x="185" y="413"/>
                </a:lnTo>
                <a:lnTo>
                  <a:pt x="179" y="413"/>
                </a:lnTo>
                <a:lnTo>
                  <a:pt x="172" y="415"/>
                </a:lnTo>
                <a:lnTo>
                  <a:pt x="164" y="411"/>
                </a:lnTo>
                <a:lnTo>
                  <a:pt x="155" y="409"/>
                </a:lnTo>
                <a:lnTo>
                  <a:pt x="149" y="409"/>
                </a:lnTo>
                <a:lnTo>
                  <a:pt x="144" y="415"/>
                </a:lnTo>
                <a:lnTo>
                  <a:pt x="136" y="417"/>
                </a:lnTo>
                <a:lnTo>
                  <a:pt x="121" y="405"/>
                </a:lnTo>
                <a:lnTo>
                  <a:pt x="117" y="405"/>
                </a:lnTo>
                <a:lnTo>
                  <a:pt x="102" y="407"/>
                </a:lnTo>
                <a:lnTo>
                  <a:pt x="95" y="405"/>
                </a:lnTo>
                <a:lnTo>
                  <a:pt x="85" y="390"/>
                </a:lnTo>
                <a:lnTo>
                  <a:pt x="81" y="381"/>
                </a:lnTo>
                <a:lnTo>
                  <a:pt x="64" y="375"/>
                </a:lnTo>
                <a:lnTo>
                  <a:pt x="51" y="379"/>
                </a:lnTo>
                <a:lnTo>
                  <a:pt x="44" y="373"/>
                </a:lnTo>
                <a:lnTo>
                  <a:pt x="34" y="379"/>
                </a:lnTo>
                <a:lnTo>
                  <a:pt x="12" y="190"/>
                </a:lnTo>
                <a:lnTo>
                  <a:pt x="0" y="8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0" name="Freeform 756"/>
          <p:cNvSpPr>
            <a:spLocks/>
          </p:cNvSpPr>
          <p:nvPr/>
        </p:nvSpPr>
        <p:spPr bwMode="auto">
          <a:xfrm>
            <a:off x="5895975" y="4140200"/>
            <a:ext cx="777875" cy="801688"/>
          </a:xfrm>
          <a:custGeom>
            <a:avLst/>
            <a:gdLst>
              <a:gd name="T0" fmla="*/ 117 w 490"/>
              <a:gd name="T1" fmla="*/ 17 h 505"/>
              <a:gd name="T2" fmla="*/ 213 w 490"/>
              <a:gd name="T3" fmla="*/ 25 h 505"/>
              <a:gd name="T4" fmla="*/ 221 w 490"/>
              <a:gd name="T5" fmla="*/ 45 h 505"/>
              <a:gd name="T6" fmla="*/ 253 w 490"/>
              <a:gd name="T7" fmla="*/ 55 h 505"/>
              <a:gd name="T8" fmla="*/ 270 w 490"/>
              <a:gd name="T9" fmla="*/ 77 h 505"/>
              <a:gd name="T10" fmla="*/ 307 w 490"/>
              <a:gd name="T11" fmla="*/ 117 h 505"/>
              <a:gd name="T12" fmla="*/ 332 w 490"/>
              <a:gd name="T13" fmla="*/ 138 h 505"/>
              <a:gd name="T14" fmla="*/ 356 w 490"/>
              <a:gd name="T15" fmla="*/ 153 h 505"/>
              <a:gd name="T16" fmla="*/ 364 w 490"/>
              <a:gd name="T17" fmla="*/ 168 h 505"/>
              <a:gd name="T18" fmla="*/ 381 w 490"/>
              <a:gd name="T19" fmla="*/ 183 h 505"/>
              <a:gd name="T20" fmla="*/ 394 w 490"/>
              <a:gd name="T21" fmla="*/ 194 h 505"/>
              <a:gd name="T22" fmla="*/ 419 w 490"/>
              <a:gd name="T23" fmla="*/ 219 h 505"/>
              <a:gd name="T24" fmla="*/ 424 w 490"/>
              <a:gd name="T25" fmla="*/ 243 h 505"/>
              <a:gd name="T26" fmla="*/ 447 w 490"/>
              <a:gd name="T27" fmla="*/ 258 h 505"/>
              <a:gd name="T28" fmla="*/ 456 w 490"/>
              <a:gd name="T29" fmla="*/ 281 h 505"/>
              <a:gd name="T30" fmla="*/ 477 w 490"/>
              <a:gd name="T31" fmla="*/ 296 h 505"/>
              <a:gd name="T32" fmla="*/ 490 w 490"/>
              <a:gd name="T33" fmla="*/ 300 h 505"/>
              <a:gd name="T34" fmla="*/ 479 w 490"/>
              <a:gd name="T35" fmla="*/ 319 h 505"/>
              <a:gd name="T36" fmla="*/ 464 w 490"/>
              <a:gd name="T37" fmla="*/ 324 h 505"/>
              <a:gd name="T38" fmla="*/ 460 w 490"/>
              <a:gd name="T39" fmla="*/ 339 h 505"/>
              <a:gd name="T40" fmla="*/ 468 w 490"/>
              <a:gd name="T41" fmla="*/ 347 h 505"/>
              <a:gd name="T42" fmla="*/ 462 w 490"/>
              <a:gd name="T43" fmla="*/ 356 h 505"/>
              <a:gd name="T44" fmla="*/ 464 w 490"/>
              <a:gd name="T45" fmla="*/ 364 h 505"/>
              <a:gd name="T46" fmla="*/ 456 w 490"/>
              <a:gd name="T47" fmla="*/ 385 h 505"/>
              <a:gd name="T48" fmla="*/ 439 w 490"/>
              <a:gd name="T49" fmla="*/ 383 h 505"/>
              <a:gd name="T50" fmla="*/ 462 w 490"/>
              <a:gd name="T51" fmla="*/ 390 h 505"/>
              <a:gd name="T52" fmla="*/ 445 w 490"/>
              <a:gd name="T53" fmla="*/ 402 h 505"/>
              <a:gd name="T54" fmla="*/ 449 w 490"/>
              <a:gd name="T55" fmla="*/ 419 h 505"/>
              <a:gd name="T56" fmla="*/ 445 w 490"/>
              <a:gd name="T57" fmla="*/ 428 h 505"/>
              <a:gd name="T58" fmla="*/ 445 w 490"/>
              <a:gd name="T59" fmla="*/ 441 h 505"/>
              <a:gd name="T60" fmla="*/ 445 w 490"/>
              <a:gd name="T61" fmla="*/ 458 h 505"/>
              <a:gd name="T62" fmla="*/ 417 w 490"/>
              <a:gd name="T63" fmla="*/ 454 h 505"/>
              <a:gd name="T64" fmla="*/ 400 w 490"/>
              <a:gd name="T65" fmla="*/ 456 h 505"/>
              <a:gd name="T66" fmla="*/ 402 w 490"/>
              <a:gd name="T67" fmla="*/ 477 h 505"/>
              <a:gd name="T68" fmla="*/ 396 w 490"/>
              <a:gd name="T69" fmla="*/ 505 h 505"/>
              <a:gd name="T70" fmla="*/ 377 w 490"/>
              <a:gd name="T71" fmla="*/ 483 h 505"/>
              <a:gd name="T72" fmla="*/ 121 w 490"/>
              <a:gd name="T73" fmla="*/ 488 h 505"/>
              <a:gd name="T74" fmla="*/ 104 w 490"/>
              <a:gd name="T75" fmla="*/ 458 h 505"/>
              <a:gd name="T76" fmla="*/ 100 w 490"/>
              <a:gd name="T77" fmla="*/ 428 h 505"/>
              <a:gd name="T78" fmla="*/ 98 w 490"/>
              <a:gd name="T79" fmla="*/ 402 h 505"/>
              <a:gd name="T80" fmla="*/ 89 w 490"/>
              <a:gd name="T81" fmla="*/ 368 h 505"/>
              <a:gd name="T82" fmla="*/ 96 w 490"/>
              <a:gd name="T83" fmla="*/ 339 h 505"/>
              <a:gd name="T84" fmla="*/ 94 w 490"/>
              <a:gd name="T85" fmla="*/ 324 h 505"/>
              <a:gd name="T86" fmla="*/ 92 w 490"/>
              <a:gd name="T87" fmla="*/ 300 h 505"/>
              <a:gd name="T88" fmla="*/ 72 w 490"/>
              <a:gd name="T89" fmla="*/ 270 h 505"/>
              <a:gd name="T90" fmla="*/ 34 w 490"/>
              <a:gd name="T91" fmla="*/ 13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505">
                <a:moveTo>
                  <a:pt x="0" y="30"/>
                </a:moveTo>
                <a:lnTo>
                  <a:pt x="81" y="19"/>
                </a:lnTo>
                <a:lnTo>
                  <a:pt x="117" y="17"/>
                </a:lnTo>
                <a:lnTo>
                  <a:pt x="228" y="0"/>
                </a:lnTo>
                <a:lnTo>
                  <a:pt x="226" y="6"/>
                </a:lnTo>
                <a:lnTo>
                  <a:pt x="213" y="25"/>
                </a:lnTo>
                <a:lnTo>
                  <a:pt x="211" y="34"/>
                </a:lnTo>
                <a:lnTo>
                  <a:pt x="215" y="40"/>
                </a:lnTo>
                <a:lnTo>
                  <a:pt x="221" y="45"/>
                </a:lnTo>
                <a:lnTo>
                  <a:pt x="228" y="45"/>
                </a:lnTo>
                <a:lnTo>
                  <a:pt x="243" y="57"/>
                </a:lnTo>
                <a:lnTo>
                  <a:pt x="253" y="55"/>
                </a:lnTo>
                <a:lnTo>
                  <a:pt x="260" y="62"/>
                </a:lnTo>
                <a:lnTo>
                  <a:pt x="264" y="68"/>
                </a:lnTo>
                <a:lnTo>
                  <a:pt x="270" y="77"/>
                </a:lnTo>
                <a:lnTo>
                  <a:pt x="275" y="83"/>
                </a:lnTo>
                <a:lnTo>
                  <a:pt x="292" y="106"/>
                </a:lnTo>
                <a:lnTo>
                  <a:pt x="307" y="117"/>
                </a:lnTo>
                <a:lnTo>
                  <a:pt x="321" y="123"/>
                </a:lnTo>
                <a:lnTo>
                  <a:pt x="328" y="132"/>
                </a:lnTo>
                <a:lnTo>
                  <a:pt x="332" y="138"/>
                </a:lnTo>
                <a:lnTo>
                  <a:pt x="339" y="143"/>
                </a:lnTo>
                <a:lnTo>
                  <a:pt x="345" y="145"/>
                </a:lnTo>
                <a:lnTo>
                  <a:pt x="356" y="153"/>
                </a:lnTo>
                <a:lnTo>
                  <a:pt x="362" y="158"/>
                </a:lnTo>
                <a:lnTo>
                  <a:pt x="362" y="162"/>
                </a:lnTo>
                <a:lnTo>
                  <a:pt x="364" y="168"/>
                </a:lnTo>
                <a:lnTo>
                  <a:pt x="373" y="172"/>
                </a:lnTo>
                <a:lnTo>
                  <a:pt x="373" y="179"/>
                </a:lnTo>
                <a:lnTo>
                  <a:pt x="381" y="183"/>
                </a:lnTo>
                <a:lnTo>
                  <a:pt x="381" y="183"/>
                </a:lnTo>
                <a:lnTo>
                  <a:pt x="387" y="192"/>
                </a:lnTo>
                <a:lnTo>
                  <a:pt x="394" y="194"/>
                </a:lnTo>
                <a:lnTo>
                  <a:pt x="409" y="202"/>
                </a:lnTo>
                <a:lnTo>
                  <a:pt x="411" y="209"/>
                </a:lnTo>
                <a:lnTo>
                  <a:pt x="419" y="219"/>
                </a:lnTo>
                <a:lnTo>
                  <a:pt x="422" y="228"/>
                </a:lnTo>
                <a:lnTo>
                  <a:pt x="422" y="234"/>
                </a:lnTo>
                <a:lnTo>
                  <a:pt x="424" y="243"/>
                </a:lnTo>
                <a:lnTo>
                  <a:pt x="432" y="247"/>
                </a:lnTo>
                <a:lnTo>
                  <a:pt x="441" y="251"/>
                </a:lnTo>
                <a:lnTo>
                  <a:pt x="447" y="258"/>
                </a:lnTo>
                <a:lnTo>
                  <a:pt x="451" y="266"/>
                </a:lnTo>
                <a:lnTo>
                  <a:pt x="456" y="275"/>
                </a:lnTo>
                <a:lnTo>
                  <a:pt x="456" y="281"/>
                </a:lnTo>
                <a:lnTo>
                  <a:pt x="458" y="287"/>
                </a:lnTo>
                <a:lnTo>
                  <a:pt x="462" y="294"/>
                </a:lnTo>
                <a:lnTo>
                  <a:pt x="477" y="296"/>
                </a:lnTo>
                <a:lnTo>
                  <a:pt x="479" y="298"/>
                </a:lnTo>
                <a:lnTo>
                  <a:pt x="483" y="300"/>
                </a:lnTo>
                <a:lnTo>
                  <a:pt x="490" y="300"/>
                </a:lnTo>
                <a:lnTo>
                  <a:pt x="485" y="309"/>
                </a:lnTo>
                <a:lnTo>
                  <a:pt x="479" y="313"/>
                </a:lnTo>
                <a:lnTo>
                  <a:pt x="479" y="319"/>
                </a:lnTo>
                <a:lnTo>
                  <a:pt x="473" y="319"/>
                </a:lnTo>
                <a:lnTo>
                  <a:pt x="464" y="317"/>
                </a:lnTo>
                <a:lnTo>
                  <a:pt x="464" y="324"/>
                </a:lnTo>
                <a:lnTo>
                  <a:pt x="473" y="330"/>
                </a:lnTo>
                <a:lnTo>
                  <a:pt x="466" y="339"/>
                </a:lnTo>
                <a:lnTo>
                  <a:pt x="460" y="339"/>
                </a:lnTo>
                <a:lnTo>
                  <a:pt x="460" y="345"/>
                </a:lnTo>
                <a:lnTo>
                  <a:pt x="466" y="343"/>
                </a:lnTo>
                <a:lnTo>
                  <a:pt x="468" y="347"/>
                </a:lnTo>
                <a:lnTo>
                  <a:pt x="464" y="353"/>
                </a:lnTo>
                <a:lnTo>
                  <a:pt x="458" y="349"/>
                </a:lnTo>
                <a:lnTo>
                  <a:pt x="462" y="356"/>
                </a:lnTo>
                <a:lnTo>
                  <a:pt x="454" y="362"/>
                </a:lnTo>
                <a:lnTo>
                  <a:pt x="458" y="366"/>
                </a:lnTo>
                <a:lnTo>
                  <a:pt x="464" y="364"/>
                </a:lnTo>
                <a:lnTo>
                  <a:pt x="460" y="377"/>
                </a:lnTo>
                <a:lnTo>
                  <a:pt x="456" y="377"/>
                </a:lnTo>
                <a:lnTo>
                  <a:pt x="456" y="385"/>
                </a:lnTo>
                <a:lnTo>
                  <a:pt x="449" y="385"/>
                </a:lnTo>
                <a:lnTo>
                  <a:pt x="441" y="383"/>
                </a:lnTo>
                <a:lnTo>
                  <a:pt x="439" y="383"/>
                </a:lnTo>
                <a:lnTo>
                  <a:pt x="447" y="388"/>
                </a:lnTo>
                <a:lnTo>
                  <a:pt x="454" y="388"/>
                </a:lnTo>
                <a:lnTo>
                  <a:pt x="462" y="390"/>
                </a:lnTo>
                <a:lnTo>
                  <a:pt x="460" y="396"/>
                </a:lnTo>
                <a:lnTo>
                  <a:pt x="454" y="407"/>
                </a:lnTo>
                <a:lnTo>
                  <a:pt x="445" y="402"/>
                </a:lnTo>
                <a:lnTo>
                  <a:pt x="443" y="411"/>
                </a:lnTo>
                <a:lnTo>
                  <a:pt x="454" y="411"/>
                </a:lnTo>
                <a:lnTo>
                  <a:pt x="449" y="419"/>
                </a:lnTo>
                <a:lnTo>
                  <a:pt x="443" y="415"/>
                </a:lnTo>
                <a:lnTo>
                  <a:pt x="449" y="422"/>
                </a:lnTo>
                <a:lnTo>
                  <a:pt x="445" y="428"/>
                </a:lnTo>
                <a:lnTo>
                  <a:pt x="449" y="428"/>
                </a:lnTo>
                <a:lnTo>
                  <a:pt x="447" y="434"/>
                </a:lnTo>
                <a:lnTo>
                  <a:pt x="445" y="441"/>
                </a:lnTo>
                <a:lnTo>
                  <a:pt x="449" y="449"/>
                </a:lnTo>
                <a:lnTo>
                  <a:pt x="449" y="456"/>
                </a:lnTo>
                <a:lnTo>
                  <a:pt x="445" y="458"/>
                </a:lnTo>
                <a:lnTo>
                  <a:pt x="443" y="458"/>
                </a:lnTo>
                <a:lnTo>
                  <a:pt x="434" y="458"/>
                </a:lnTo>
                <a:lnTo>
                  <a:pt x="417" y="454"/>
                </a:lnTo>
                <a:lnTo>
                  <a:pt x="409" y="449"/>
                </a:lnTo>
                <a:lnTo>
                  <a:pt x="402" y="456"/>
                </a:lnTo>
                <a:lnTo>
                  <a:pt x="400" y="456"/>
                </a:lnTo>
                <a:lnTo>
                  <a:pt x="398" y="462"/>
                </a:lnTo>
                <a:lnTo>
                  <a:pt x="398" y="471"/>
                </a:lnTo>
                <a:lnTo>
                  <a:pt x="402" y="477"/>
                </a:lnTo>
                <a:lnTo>
                  <a:pt x="405" y="483"/>
                </a:lnTo>
                <a:lnTo>
                  <a:pt x="402" y="498"/>
                </a:lnTo>
                <a:lnTo>
                  <a:pt x="396" y="505"/>
                </a:lnTo>
                <a:lnTo>
                  <a:pt x="390" y="503"/>
                </a:lnTo>
                <a:lnTo>
                  <a:pt x="383" y="490"/>
                </a:lnTo>
                <a:lnTo>
                  <a:pt x="377" y="483"/>
                </a:lnTo>
                <a:lnTo>
                  <a:pt x="130" y="503"/>
                </a:lnTo>
                <a:lnTo>
                  <a:pt x="123" y="494"/>
                </a:lnTo>
                <a:lnTo>
                  <a:pt x="121" y="488"/>
                </a:lnTo>
                <a:lnTo>
                  <a:pt x="111" y="473"/>
                </a:lnTo>
                <a:lnTo>
                  <a:pt x="111" y="468"/>
                </a:lnTo>
                <a:lnTo>
                  <a:pt x="104" y="458"/>
                </a:lnTo>
                <a:lnTo>
                  <a:pt x="100" y="451"/>
                </a:lnTo>
                <a:lnTo>
                  <a:pt x="98" y="443"/>
                </a:lnTo>
                <a:lnTo>
                  <a:pt x="100" y="428"/>
                </a:lnTo>
                <a:lnTo>
                  <a:pt x="100" y="419"/>
                </a:lnTo>
                <a:lnTo>
                  <a:pt x="102" y="413"/>
                </a:lnTo>
                <a:lnTo>
                  <a:pt x="98" y="402"/>
                </a:lnTo>
                <a:lnTo>
                  <a:pt x="92" y="396"/>
                </a:lnTo>
                <a:lnTo>
                  <a:pt x="87" y="381"/>
                </a:lnTo>
                <a:lnTo>
                  <a:pt x="89" y="368"/>
                </a:lnTo>
                <a:lnTo>
                  <a:pt x="92" y="360"/>
                </a:lnTo>
                <a:lnTo>
                  <a:pt x="92" y="345"/>
                </a:lnTo>
                <a:lnTo>
                  <a:pt x="96" y="339"/>
                </a:lnTo>
                <a:lnTo>
                  <a:pt x="102" y="334"/>
                </a:lnTo>
                <a:lnTo>
                  <a:pt x="102" y="326"/>
                </a:lnTo>
                <a:lnTo>
                  <a:pt x="94" y="324"/>
                </a:lnTo>
                <a:lnTo>
                  <a:pt x="96" y="313"/>
                </a:lnTo>
                <a:lnTo>
                  <a:pt x="92" y="304"/>
                </a:lnTo>
                <a:lnTo>
                  <a:pt x="92" y="300"/>
                </a:lnTo>
                <a:lnTo>
                  <a:pt x="81" y="292"/>
                </a:lnTo>
                <a:lnTo>
                  <a:pt x="77" y="279"/>
                </a:lnTo>
                <a:lnTo>
                  <a:pt x="72" y="270"/>
                </a:lnTo>
                <a:lnTo>
                  <a:pt x="70" y="264"/>
                </a:lnTo>
                <a:lnTo>
                  <a:pt x="68" y="260"/>
                </a:lnTo>
                <a:lnTo>
                  <a:pt x="34" y="136"/>
                </a:lnTo>
                <a:lnTo>
                  <a:pt x="0" y="30"/>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51" name="Freeform 757"/>
          <p:cNvSpPr>
            <a:spLocks/>
          </p:cNvSpPr>
          <p:nvPr/>
        </p:nvSpPr>
        <p:spPr bwMode="auto">
          <a:xfrm>
            <a:off x="5895975" y="4140200"/>
            <a:ext cx="777875" cy="801688"/>
          </a:xfrm>
          <a:custGeom>
            <a:avLst/>
            <a:gdLst>
              <a:gd name="T0" fmla="*/ 117 w 490"/>
              <a:gd name="T1" fmla="*/ 17 h 505"/>
              <a:gd name="T2" fmla="*/ 213 w 490"/>
              <a:gd name="T3" fmla="*/ 25 h 505"/>
              <a:gd name="T4" fmla="*/ 221 w 490"/>
              <a:gd name="T5" fmla="*/ 45 h 505"/>
              <a:gd name="T6" fmla="*/ 253 w 490"/>
              <a:gd name="T7" fmla="*/ 55 h 505"/>
              <a:gd name="T8" fmla="*/ 270 w 490"/>
              <a:gd name="T9" fmla="*/ 77 h 505"/>
              <a:gd name="T10" fmla="*/ 307 w 490"/>
              <a:gd name="T11" fmla="*/ 117 h 505"/>
              <a:gd name="T12" fmla="*/ 332 w 490"/>
              <a:gd name="T13" fmla="*/ 138 h 505"/>
              <a:gd name="T14" fmla="*/ 356 w 490"/>
              <a:gd name="T15" fmla="*/ 153 h 505"/>
              <a:gd name="T16" fmla="*/ 364 w 490"/>
              <a:gd name="T17" fmla="*/ 168 h 505"/>
              <a:gd name="T18" fmla="*/ 381 w 490"/>
              <a:gd name="T19" fmla="*/ 183 h 505"/>
              <a:gd name="T20" fmla="*/ 394 w 490"/>
              <a:gd name="T21" fmla="*/ 194 h 505"/>
              <a:gd name="T22" fmla="*/ 419 w 490"/>
              <a:gd name="T23" fmla="*/ 219 h 505"/>
              <a:gd name="T24" fmla="*/ 424 w 490"/>
              <a:gd name="T25" fmla="*/ 243 h 505"/>
              <a:gd name="T26" fmla="*/ 447 w 490"/>
              <a:gd name="T27" fmla="*/ 258 h 505"/>
              <a:gd name="T28" fmla="*/ 456 w 490"/>
              <a:gd name="T29" fmla="*/ 281 h 505"/>
              <a:gd name="T30" fmla="*/ 477 w 490"/>
              <a:gd name="T31" fmla="*/ 296 h 505"/>
              <a:gd name="T32" fmla="*/ 490 w 490"/>
              <a:gd name="T33" fmla="*/ 300 h 505"/>
              <a:gd name="T34" fmla="*/ 479 w 490"/>
              <a:gd name="T35" fmla="*/ 319 h 505"/>
              <a:gd name="T36" fmla="*/ 464 w 490"/>
              <a:gd name="T37" fmla="*/ 324 h 505"/>
              <a:gd name="T38" fmla="*/ 460 w 490"/>
              <a:gd name="T39" fmla="*/ 339 h 505"/>
              <a:gd name="T40" fmla="*/ 468 w 490"/>
              <a:gd name="T41" fmla="*/ 347 h 505"/>
              <a:gd name="T42" fmla="*/ 462 w 490"/>
              <a:gd name="T43" fmla="*/ 356 h 505"/>
              <a:gd name="T44" fmla="*/ 464 w 490"/>
              <a:gd name="T45" fmla="*/ 364 h 505"/>
              <a:gd name="T46" fmla="*/ 456 w 490"/>
              <a:gd name="T47" fmla="*/ 385 h 505"/>
              <a:gd name="T48" fmla="*/ 439 w 490"/>
              <a:gd name="T49" fmla="*/ 383 h 505"/>
              <a:gd name="T50" fmla="*/ 462 w 490"/>
              <a:gd name="T51" fmla="*/ 390 h 505"/>
              <a:gd name="T52" fmla="*/ 445 w 490"/>
              <a:gd name="T53" fmla="*/ 402 h 505"/>
              <a:gd name="T54" fmla="*/ 449 w 490"/>
              <a:gd name="T55" fmla="*/ 419 h 505"/>
              <a:gd name="T56" fmla="*/ 445 w 490"/>
              <a:gd name="T57" fmla="*/ 428 h 505"/>
              <a:gd name="T58" fmla="*/ 445 w 490"/>
              <a:gd name="T59" fmla="*/ 441 h 505"/>
              <a:gd name="T60" fmla="*/ 445 w 490"/>
              <a:gd name="T61" fmla="*/ 458 h 505"/>
              <a:gd name="T62" fmla="*/ 417 w 490"/>
              <a:gd name="T63" fmla="*/ 454 h 505"/>
              <a:gd name="T64" fmla="*/ 400 w 490"/>
              <a:gd name="T65" fmla="*/ 456 h 505"/>
              <a:gd name="T66" fmla="*/ 402 w 490"/>
              <a:gd name="T67" fmla="*/ 477 h 505"/>
              <a:gd name="T68" fmla="*/ 396 w 490"/>
              <a:gd name="T69" fmla="*/ 505 h 505"/>
              <a:gd name="T70" fmla="*/ 377 w 490"/>
              <a:gd name="T71" fmla="*/ 483 h 505"/>
              <a:gd name="T72" fmla="*/ 121 w 490"/>
              <a:gd name="T73" fmla="*/ 488 h 505"/>
              <a:gd name="T74" fmla="*/ 104 w 490"/>
              <a:gd name="T75" fmla="*/ 458 h 505"/>
              <a:gd name="T76" fmla="*/ 100 w 490"/>
              <a:gd name="T77" fmla="*/ 428 h 505"/>
              <a:gd name="T78" fmla="*/ 98 w 490"/>
              <a:gd name="T79" fmla="*/ 402 h 505"/>
              <a:gd name="T80" fmla="*/ 89 w 490"/>
              <a:gd name="T81" fmla="*/ 368 h 505"/>
              <a:gd name="T82" fmla="*/ 96 w 490"/>
              <a:gd name="T83" fmla="*/ 339 h 505"/>
              <a:gd name="T84" fmla="*/ 94 w 490"/>
              <a:gd name="T85" fmla="*/ 324 h 505"/>
              <a:gd name="T86" fmla="*/ 92 w 490"/>
              <a:gd name="T87" fmla="*/ 300 h 505"/>
              <a:gd name="T88" fmla="*/ 72 w 490"/>
              <a:gd name="T89" fmla="*/ 270 h 505"/>
              <a:gd name="T90" fmla="*/ 34 w 490"/>
              <a:gd name="T91" fmla="*/ 13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505">
                <a:moveTo>
                  <a:pt x="0" y="30"/>
                </a:moveTo>
                <a:lnTo>
                  <a:pt x="81" y="19"/>
                </a:lnTo>
                <a:lnTo>
                  <a:pt x="117" y="17"/>
                </a:lnTo>
                <a:lnTo>
                  <a:pt x="228" y="0"/>
                </a:lnTo>
                <a:lnTo>
                  <a:pt x="226" y="6"/>
                </a:lnTo>
                <a:lnTo>
                  <a:pt x="213" y="25"/>
                </a:lnTo>
                <a:lnTo>
                  <a:pt x="211" y="34"/>
                </a:lnTo>
                <a:lnTo>
                  <a:pt x="215" y="40"/>
                </a:lnTo>
                <a:lnTo>
                  <a:pt x="221" y="45"/>
                </a:lnTo>
                <a:lnTo>
                  <a:pt x="228" y="45"/>
                </a:lnTo>
                <a:lnTo>
                  <a:pt x="243" y="57"/>
                </a:lnTo>
                <a:lnTo>
                  <a:pt x="253" y="55"/>
                </a:lnTo>
                <a:lnTo>
                  <a:pt x="260" y="62"/>
                </a:lnTo>
                <a:lnTo>
                  <a:pt x="264" y="68"/>
                </a:lnTo>
                <a:lnTo>
                  <a:pt x="270" y="77"/>
                </a:lnTo>
                <a:lnTo>
                  <a:pt x="275" y="83"/>
                </a:lnTo>
                <a:lnTo>
                  <a:pt x="292" y="106"/>
                </a:lnTo>
                <a:lnTo>
                  <a:pt x="307" y="117"/>
                </a:lnTo>
                <a:lnTo>
                  <a:pt x="321" y="123"/>
                </a:lnTo>
                <a:lnTo>
                  <a:pt x="328" y="132"/>
                </a:lnTo>
                <a:lnTo>
                  <a:pt x="332" y="138"/>
                </a:lnTo>
                <a:lnTo>
                  <a:pt x="339" y="143"/>
                </a:lnTo>
                <a:lnTo>
                  <a:pt x="345" y="145"/>
                </a:lnTo>
                <a:lnTo>
                  <a:pt x="356" y="153"/>
                </a:lnTo>
                <a:lnTo>
                  <a:pt x="362" y="158"/>
                </a:lnTo>
                <a:lnTo>
                  <a:pt x="362" y="162"/>
                </a:lnTo>
                <a:lnTo>
                  <a:pt x="364" y="168"/>
                </a:lnTo>
                <a:lnTo>
                  <a:pt x="373" y="172"/>
                </a:lnTo>
                <a:lnTo>
                  <a:pt x="373" y="179"/>
                </a:lnTo>
                <a:lnTo>
                  <a:pt x="381" y="183"/>
                </a:lnTo>
                <a:lnTo>
                  <a:pt x="381" y="183"/>
                </a:lnTo>
                <a:lnTo>
                  <a:pt x="387" y="192"/>
                </a:lnTo>
                <a:lnTo>
                  <a:pt x="394" y="194"/>
                </a:lnTo>
                <a:lnTo>
                  <a:pt x="409" y="202"/>
                </a:lnTo>
                <a:lnTo>
                  <a:pt x="411" y="209"/>
                </a:lnTo>
                <a:lnTo>
                  <a:pt x="419" y="219"/>
                </a:lnTo>
                <a:lnTo>
                  <a:pt x="422" y="228"/>
                </a:lnTo>
                <a:lnTo>
                  <a:pt x="422" y="234"/>
                </a:lnTo>
                <a:lnTo>
                  <a:pt x="424" y="243"/>
                </a:lnTo>
                <a:lnTo>
                  <a:pt x="432" y="247"/>
                </a:lnTo>
                <a:lnTo>
                  <a:pt x="441" y="251"/>
                </a:lnTo>
                <a:lnTo>
                  <a:pt x="447" y="258"/>
                </a:lnTo>
                <a:lnTo>
                  <a:pt x="451" y="266"/>
                </a:lnTo>
                <a:lnTo>
                  <a:pt x="456" y="275"/>
                </a:lnTo>
                <a:lnTo>
                  <a:pt x="456" y="281"/>
                </a:lnTo>
                <a:lnTo>
                  <a:pt x="458" y="287"/>
                </a:lnTo>
                <a:lnTo>
                  <a:pt x="462" y="294"/>
                </a:lnTo>
                <a:lnTo>
                  <a:pt x="477" y="296"/>
                </a:lnTo>
                <a:lnTo>
                  <a:pt x="479" y="298"/>
                </a:lnTo>
                <a:lnTo>
                  <a:pt x="483" y="300"/>
                </a:lnTo>
                <a:lnTo>
                  <a:pt x="490" y="300"/>
                </a:lnTo>
                <a:lnTo>
                  <a:pt x="485" y="309"/>
                </a:lnTo>
                <a:lnTo>
                  <a:pt x="479" y="313"/>
                </a:lnTo>
                <a:lnTo>
                  <a:pt x="479" y="319"/>
                </a:lnTo>
                <a:lnTo>
                  <a:pt x="473" y="319"/>
                </a:lnTo>
                <a:lnTo>
                  <a:pt x="464" y="317"/>
                </a:lnTo>
                <a:lnTo>
                  <a:pt x="464" y="324"/>
                </a:lnTo>
                <a:lnTo>
                  <a:pt x="473" y="330"/>
                </a:lnTo>
                <a:lnTo>
                  <a:pt x="466" y="339"/>
                </a:lnTo>
                <a:lnTo>
                  <a:pt x="460" y="339"/>
                </a:lnTo>
                <a:lnTo>
                  <a:pt x="460" y="345"/>
                </a:lnTo>
                <a:lnTo>
                  <a:pt x="466" y="343"/>
                </a:lnTo>
                <a:lnTo>
                  <a:pt x="468" y="347"/>
                </a:lnTo>
                <a:lnTo>
                  <a:pt x="464" y="353"/>
                </a:lnTo>
                <a:lnTo>
                  <a:pt x="458" y="349"/>
                </a:lnTo>
                <a:lnTo>
                  <a:pt x="462" y="356"/>
                </a:lnTo>
                <a:lnTo>
                  <a:pt x="454" y="362"/>
                </a:lnTo>
                <a:lnTo>
                  <a:pt x="458" y="366"/>
                </a:lnTo>
                <a:lnTo>
                  <a:pt x="464" y="364"/>
                </a:lnTo>
                <a:lnTo>
                  <a:pt x="460" y="377"/>
                </a:lnTo>
                <a:lnTo>
                  <a:pt x="456" y="377"/>
                </a:lnTo>
                <a:lnTo>
                  <a:pt x="456" y="385"/>
                </a:lnTo>
                <a:lnTo>
                  <a:pt x="449" y="385"/>
                </a:lnTo>
                <a:lnTo>
                  <a:pt x="441" y="383"/>
                </a:lnTo>
                <a:lnTo>
                  <a:pt x="439" y="383"/>
                </a:lnTo>
                <a:lnTo>
                  <a:pt x="447" y="388"/>
                </a:lnTo>
                <a:lnTo>
                  <a:pt x="454" y="388"/>
                </a:lnTo>
                <a:lnTo>
                  <a:pt x="462" y="390"/>
                </a:lnTo>
                <a:lnTo>
                  <a:pt x="460" y="396"/>
                </a:lnTo>
                <a:lnTo>
                  <a:pt x="454" y="407"/>
                </a:lnTo>
                <a:lnTo>
                  <a:pt x="445" y="402"/>
                </a:lnTo>
                <a:lnTo>
                  <a:pt x="443" y="411"/>
                </a:lnTo>
                <a:lnTo>
                  <a:pt x="454" y="411"/>
                </a:lnTo>
                <a:lnTo>
                  <a:pt x="449" y="419"/>
                </a:lnTo>
                <a:lnTo>
                  <a:pt x="443" y="415"/>
                </a:lnTo>
                <a:lnTo>
                  <a:pt x="449" y="422"/>
                </a:lnTo>
                <a:lnTo>
                  <a:pt x="445" y="428"/>
                </a:lnTo>
                <a:lnTo>
                  <a:pt x="449" y="428"/>
                </a:lnTo>
                <a:lnTo>
                  <a:pt x="447" y="434"/>
                </a:lnTo>
                <a:lnTo>
                  <a:pt x="445" y="441"/>
                </a:lnTo>
                <a:lnTo>
                  <a:pt x="449" y="449"/>
                </a:lnTo>
                <a:lnTo>
                  <a:pt x="449" y="456"/>
                </a:lnTo>
                <a:lnTo>
                  <a:pt x="445" y="458"/>
                </a:lnTo>
                <a:lnTo>
                  <a:pt x="443" y="458"/>
                </a:lnTo>
                <a:lnTo>
                  <a:pt x="434" y="458"/>
                </a:lnTo>
                <a:lnTo>
                  <a:pt x="417" y="454"/>
                </a:lnTo>
                <a:lnTo>
                  <a:pt x="409" y="449"/>
                </a:lnTo>
                <a:lnTo>
                  <a:pt x="402" y="456"/>
                </a:lnTo>
                <a:lnTo>
                  <a:pt x="400" y="456"/>
                </a:lnTo>
                <a:lnTo>
                  <a:pt x="398" y="462"/>
                </a:lnTo>
                <a:lnTo>
                  <a:pt x="398" y="471"/>
                </a:lnTo>
                <a:lnTo>
                  <a:pt x="402" y="477"/>
                </a:lnTo>
                <a:lnTo>
                  <a:pt x="405" y="483"/>
                </a:lnTo>
                <a:lnTo>
                  <a:pt x="402" y="498"/>
                </a:lnTo>
                <a:lnTo>
                  <a:pt x="396" y="505"/>
                </a:lnTo>
                <a:lnTo>
                  <a:pt x="390" y="503"/>
                </a:lnTo>
                <a:lnTo>
                  <a:pt x="383" y="490"/>
                </a:lnTo>
                <a:lnTo>
                  <a:pt x="377" y="483"/>
                </a:lnTo>
                <a:lnTo>
                  <a:pt x="130" y="503"/>
                </a:lnTo>
                <a:lnTo>
                  <a:pt x="123" y="494"/>
                </a:lnTo>
                <a:lnTo>
                  <a:pt x="121" y="488"/>
                </a:lnTo>
                <a:lnTo>
                  <a:pt x="111" y="473"/>
                </a:lnTo>
                <a:lnTo>
                  <a:pt x="111" y="468"/>
                </a:lnTo>
                <a:lnTo>
                  <a:pt x="104" y="458"/>
                </a:lnTo>
                <a:lnTo>
                  <a:pt x="100" y="451"/>
                </a:lnTo>
                <a:lnTo>
                  <a:pt x="98" y="443"/>
                </a:lnTo>
                <a:lnTo>
                  <a:pt x="100" y="428"/>
                </a:lnTo>
                <a:lnTo>
                  <a:pt x="100" y="419"/>
                </a:lnTo>
                <a:lnTo>
                  <a:pt x="102" y="413"/>
                </a:lnTo>
                <a:lnTo>
                  <a:pt x="98" y="402"/>
                </a:lnTo>
                <a:lnTo>
                  <a:pt x="92" y="396"/>
                </a:lnTo>
                <a:lnTo>
                  <a:pt x="87" y="381"/>
                </a:lnTo>
                <a:lnTo>
                  <a:pt x="89" y="368"/>
                </a:lnTo>
                <a:lnTo>
                  <a:pt x="92" y="360"/>
                </a:lnTo>
                <a:lnTo>
                  <a:pt x="92" y="345"/>
                </a:lnTo>
                <a:lnTo>
                  <a:pt x="96" y="339"/>
                </a:lnTo>
                <a:lnTo>
                  <a:pt x="102" y="334"/>
                </a:lnTo>
                <a:lnTo>
                  <a:pt x="102" y="326"/>
                </a:lnTo>
                <a:lnTo>
                  <a:pt x="94" y="324"/>
                </a:lnTo>
                <a:lnTo>
                  <a:pt x="96" y="313"/>
                </a:lnTo>
                <a:lnTo>
                  <a:pt x="92" y="304"/>
                </a:lnTo>
                <a:lnTo>
                  <a:pt x="92" y="300"/>
                </a:lnTo>
                <a:lnTo>
                  <a:pt x="81" y="292"/>
                </a:lnTo>
                <a:lnTo>
                  <a:pt x="77" y="279"/>
                </a:lnTo>
                <a:lnTo>
                  <a:pt x="72" y="270"/>
                </a:lnTo>
                <a:lnTo>
                  <a:pt x="70" y="264"/>
                </a:lnTo>
                <a:lnTo>
                  <a:pt x="68" y="260"/>
                </a:lnTo>
                <a:lnTo>
                  <a:pt x="34" y="136"/>
                </a:lnTo>
                <a:lnTo>
                  <a:pt x="0" y="3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2" name="Freeform 758"/>
          <p:cNvSpPr>
            <a:spLocks/>
          </p:cNvSpPr>
          <p:nvPr/>
        </p:nvSpPr>
        <p:spPr bwMode="auto">
          <a:xfrm>
            <a:off x="6240462" y="3081338"/>
            <a:ext cx="628650" cy="633413"/>
          </a:xfrm>
          <a:custGeom>
            <a:avLst/>
            <a:gdLst>
              <a:gd name="T0" fmla="*/ 7 w 396"/>
              <a:gd name="T1" fmla="*/ 277 h 399"/>
              <a:gd name="T2" fmla="*/ 24 w 396"/>
              <a:gd name="T3" fmla="*/ 258 h 399"/>
              <a:gd name="T4" fmla="*/ 26 w 396"/>
              <a:gd name="T5" fmla="*/ 235 h 399"/>
              <a:gd name="T6" fmla="*/ 30 w 396"/>
              <a:gd name="T7" fmla="*/ 215 h 399"/>
              <a:gd name="T8" fmla="*/ 45 w 396"/>
              <a:gd name="T9" fmla="*/ 205 h 399"/>
              <a:gd name="T10" fmla="*/ 60 w 396"/>
              <a:gd name="T11" fmla="*/ 200 h 399"/>
              <a:gd name="T12" fmla="*/ 60 w 396"/>
              <a:gd name="T13" fmla="*/ 179 h 399"/>
              <a:gd name="T14" fmla="*/ 73 w 396"/>
              <a:gd name="T15" fmla="*/ 160 h 399"/>
              <a:gd name="T16" fmla="*/ 104 w 396"/>
              <a:gd name="T17" fmla="*/ 143 h 399"/>
              <a:gd name="T18" fmla="*/ 126 w 396"/>
              <a:gd name="T19" fmla="*/ 107 h 399"/>
              <a:gd name="T20" fmla="*/ 126 w 396"/>
              <a:gd name="T21" fmla="*/ 83 h 399"/>
              <a:gd name="T22" fmla="*/ 128 w 396"/>
              <a:gd name="T23" fmla="*/ 66 h 399"/>
              <a:gd name="T24" fmla="*/ 128 w 396"/>
              <a:gd name="T25" fmla="*/ 17 h 399"/>
              <a:gd name="T26" fmla="*/ 130 w 396"/>
              <a:gd name="T27" fmla="*/ 2 h 399"/>
              <a:gd name="T28" fmla="*/ 241 w 396"/>
              <a:gd name="T29" fmla="*/ 85 h 399"/>
              <a:gd name="T30" fmla="*/ 264 w 396"/>
              <a:gd name="T31" fmla="*/ 130 h 399"/>
              <a:gd name="T32" fmla="*/ 277 w 396"/>
              <a:gd name="T33" fmla="*/ 109 h 399"/>
              <a:gd name="T34" fmla="*/ 300 w 396"/>
              <a:gd name="T35" fmla="*/ 94 h 399"/>
              <a:gd name="T36" fmla="*/ 311 w 396"/>
              <a:gd name="T37" fmla="*/ 92 h 399"/>
              <a:gd name="T38" fmla="*/ 330 w 396"/>
              <a:gd name="T39" fmla="*/ 85 h 399"/>
              <a:gd name="T40" fmla="*/ 347 w 396"/>
              <a:gd name="T41" fmla="*/ 71 h 399"/>
              <a:gd name="T42" fmla="*/ 366 w 396"/>
              <a:gd name="T43" fmla="*/ 75 h 399"/>
              <a:gd name="T44" fmla="*/ 381 w 396"/>
              <a:gd name="T45" fmla="*/ 83 h 399"/>
              <a:gd name="T46" fmla="*/ 394 w 396"/>
              <a:gd name="T47" fmla="*/ 98 h 399"/>
              <a:gd name="T48" fmla="*/ 390 w 396"/>
              <a:gd name="T49" fmla="*/ 122 h 399"/>
              <a:gd name="T50" fmla="*/ 343 w 396"/>
              <a:gd name="T51" fmla="*/ 111 h 399"/>
              <a:gd name="T52" fmla="*/ 337 w 396"/>
              <a:gd name="T53" fmla="*/ 141 h 399"/>
              <a:gd name="T54" fmla="*/ 320 w 396"/>
              <a:gd name="T55" fmla="*/ 162 h 399"/>
              <a:gd name="T56" fmla="*/ 298 w 396"/>
              <a:gd name="T57" fmla="*/ 179 h 399"/>
              <a:gd name="T58" fmla="*/ 292 w 396"/>
              <a:gd name="T59" fmla="*/ 203 h 399"/>
              <a:gd name="T60" fmla="*/ 277 w 396"/>
              <a:gd name="T61" fmla="*/ 228 h 399"/>
              <a:gd name="T62" fmla="*/ 256 w 396"/>
              <a:gd name="T63" fmla="*/ 215 h 399"/>
              <a:gd name="T64" fmla="*/ 247 w 396"/>
              <a:gd name="T65" fmla="*/ 241 h 399"/>
              <a:gd name="T66" fmla="*/ 234 w 396"/>
              <a:gd name="T67" fmla="*/ 264 h 399"/>
              <a:gd name="T68" fmla="*/ 224 w 396"/>
              <a:gd name="T69" fmla="*/ 296 h 399"/>
              <a:gd name="T70" fmla="*/ 219 w 396"/>
              <a:gd name="T71" fmla="*/ 333 h 399"/>
              <a:gd name="T72" fmla="*/ 215 w 396"/>
              <a:gd name="T73" fmla="*/ 347 h 399"/>
              <a:gd name="T74" fmla="*/ 179 w 396"/>
              <a:gd name="T75" fmla="*/ 367 h 399"/>
              <a:gd name="T76" fmla="*/ 166 w 396"/>
              <a:gd name="T77" fmla="*/ 377 h 399"/>
              <a:gd name="T78" fmla="*/ 136 w 396"/>
              <a:gd name="T79" fmla="*/ 388 h 399"/>
              <a:gd name="T80" fmla="*/ 107 w 396"/>
              <a:gd name="T81" fmla="*/ 399 h 399"/>
              <a:gd name="T82" fmla="*/ 75 w 396"/>
              <a:gd name="T83" fmla="*/ 382 h 399"/>
              <a:gd name="T84" fmla="*/ 53 w 396"/>
              <a:gd name="T85" fmla="*/ 367 h 399"/>
              <a:gd name="T86" fmla="*/ 17 w 396"/>
              <a:gd name="T87" fmla="*/ 330 h 399"/>
              <a:gd name="T88" fmla="*/ 4 w 396"/>
              <a:gd name="T89" fmla="*/ 294 h 399"/>
              <a:gd name="T90" fmla="*/ 0 w 396"/>
              <a:gd name="T91" fmla="*/ 2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6" h="399">
                <a:moveTo>
                  <a:pt x="0" y="277"/>
                </a:moveTo>
                <a:lnTo>
                  <a:pt x="0" y="277"/>
                </a:lnTo>
                <a:lnTo>
                  <a:pt x="7" y="277"/>
                </a:lnTo>
                <a:lnTo>
                  <a:pt x="17" y="271"/>
                </a:lnTo>
                <a:lnTo>
                  <a:pt x="24" y="264"/>
                </a:lnTo>
                <a:lnTo>
                  <a:pt x="24" y="258"/>
                </a:lnTo>
                <a:lnTo>
                  <a:pt x="30" y="252"/>
                </a:lnTo>
                <a:lnTo>
                  <a:pt x="30" y="239"/>
                </a:lnTo>
                <a:lnTo>
                  <a:pt x="26" y="235"/>
                </a:lnTo>
                <a:lnTo>
                  <a:pt x="28" y="226"/>
                </a:lnTo>
                <a:lnTo>
                  <a:pt x="30" y="224"/>
                </a:lnTo>
                <a:lnTo>
                  <a:pt x="30" y="215"/>
                </a:lnTo>
                <a:lnTo>
                  <a:pt x="34" y="209"/>
                </a:lnTo>
                <a:lnTo>
                  <a:pt x="38" y="203"/>
                </a:lnTo>
                <a:lnTo>
                  <a:pt x="45" y="205"/>
                </a:lnTo>
                <a:lnTo>
                  <a:pt x="53" y="215"/>
                </a:lnTo>
                <a:lnTo>
                  <a:pt x="56" y="207"/>
                </a:lnTo>
                <a:lnTo>
                  <a:pt x="60" y="200"/>
                </a:lnTo>
                <a:lnTo>
                  <a:pt x="53" y="194"/>
                </a:lnTo>
                <a:lnTo>
                  <a:pt x="60" y="186"/>
                </a:lnTo>
                <a:lnTo>
                  <a:pt x="60" y="179"/>
                </a:lnTo>
                <a:lnTo>
                  <a:pt x="62" y="173"/>
                </a:lnTo>
                <a:lnTo>
                  <a:pt x="73" y="166"/>
                </a:lnTo>
                <a:lnTo>
                  <a:pt x="73" y="160"/>
                </a:lnTo>
                <a:lnTo>
                  <a:pt x="79" y="149"/>
                </a:lnTo>
                <a:lnTo>
                  <a:pt x="92" y="156"/>
                </a:lnTo>
                <a:lnTo>
                  <a:pt x="104" y="143"/>
                </a:lnTo>
                <a:lnTo>
                  <a:pt x="113" y="128"/>
                </a:lnTo>
                <a:lnTo>
                  <a:pt x="124" y="120"/>
                </a:lnTo>
                <a:lnTo>
                  <a:pt x="126" y="107"/>
                </a:lnTo>
                <a:lnTo>
                  <a:pt x="126" y="98"/>
                </a:lnTo>
                <a:lnTo>
                  <a:pt x="126" y="92"/>
                </a:lnTo>
                <a:lnTo>
                  <a:pt x="126" y="83"/>
                </a:lnTo>
                <a:lnTo>
                  <a:pt x="128" y="83"/>
                </a:lnTo>
                <a:lnTo>
                  <a:pt x="128" y="75"/>
                </a:lnTo>
                <a:lnTo>
                  <a:pt x="128" y="66"/>
                </a:lnTo>
                <a:lnTo>
                  <a:pt x="130" y="45"/>
                </a:lnTo>
                <a:lnTo>
                  <a:pt x="134" y="39"/>
                </a:lnTo>
                <a:lnTo>
                  <a:pt x="128" y="17"/>
                </a:lnTo>
                <a:lnTo>
                  <a:pt x="124" y="11"/>
                </a:lnTo>
                <a:lnTo>
                  <a:pt x="126" y="2"/>
                </a:lnTo>
                <a:lnTo>
                  <a:pt x="130" y="2"/>
                </a:lnTo>
                <a:lnTo>
                  <a:pt x="134" y="0"/>
                </a:lnTo>
                <a:lnTo>
                  <a:pt x="153" y="102"/>
                </a:lnTo>
                <a:lnTo>
                  <a:pt x="241" y="85"/>
                </a:lnTo>
                <a:lnTo>
                  <a:pt x="249" y="145"/>
                </a:lnTo>
                <a:lnTo>
                  <a:pt x="256" y="137"/>
                </a:lnTo>
                <a:lnTo>
                  <a:pt x="264" y="130"/>
                </a:lnTo>
                <a:lnTo>
                  <a:pt x="268" y="124"/>
                </a:lnTo>
                <a:lnTo>
                  <a:pt x="275" y="115"/>
                </a:lnTo>
                <a:lnTo>
                  <a:pt x="277" y="109"/>
                </a:lnTo>
                <a:lnTo>
                  <a:pt x="283" y="107"/>
                </a:lnTo>
                <a:lnTo>
                  <a:pt x="290" y="109"/>
                </a:lnTo>
                <a:lnTo>
                  <a:pt x="300" y="94"/>
                </a:lnTo>
                <a:lnTo>
                  <a:pt x="300" y="85"/>
                </a:lnTo>
                <a:lnTo>
                  <a:pt x="303" y="85"/>
                </a:lnTo>
                <a:lnTo>
                  <a:pt x="311" y="92"/>
                </a:lnTo>
                <a:lnTo>
                  <a:pt x="317" y="94"/>
                </a:lnTo>
                <a:lnTo>
                  <a:pt x="328" y="92"/>
                </a:lnTo>
                <a:lnTo>
                  <a:pt x="330" y="85"/>
                </a:lnTo>
                <a:lnTo>
                  <a:pt x="337" y="79"/>
                </a:lnTo>
                <a:lnTo>
                  <a:pt x="343" y="79"/>
                </a:lnTo>
                <a:lnTo>
                  <a:pt x="347" y="71"/>
                </a:lnTo>
                <a:lnTo>
                  <a:pt x="354" y="68"/>
                </a:lnTo>
                <a:lnTo>
                  <a:pt x="360" y="71"/>
                </a:lnTo>
                <a:lnTo>
                  <a:pt x="366" y="75"/>
                </a:lnTo>
                <a:lnTo>
                  <a:pt x="381" y="75"/>
                </a:lnTo>
                <a:lnTo>
                  <a:pt x="383" y="75"/>
                </a:lnTo>
                <a:lnTo>
                  <a:pt x="381" y="83"/>
                </a:lnTo>
                <a:lnTo>
                  <a:pt x="388" y="83"/>
                </a:lnTo>
                <a:lnTo>
                  <a:pt x="388" y="92"/>
                </a:lnTo>
                <a:lnTo>
                  <a:pt x="394" y="98"/>
                </a:lnTo>
                <a:lnTo>
                  <a:pt x="396" y="102"/>
                </a:lnTo>
                <a:lnTo>
                  <a:pt x="394" y="115"/>
                </a:lnTo>
                <a:lnTo>
                  <a:pt x="390" y="122"/>
                </a:lnTo>
                <a:lnTo>
                  <a:pt x="349" y="100"/>
                </a:lnTo>
                <a:lnTo>
                  <a:pt x="341" y="105"/>
                </a:lnTo>
                <a:lnTo>
                  <a:pt x="343" y="111"/>
                </a:lnTo>
                <a:lnTo>
                  <a:pt x="341" y="120"/>
                </a:lnTo>
                <a:lnTo>
                  <a:pt x="341" y="134"/>
                </a:lnTo>
                <a:lnTo>
                  <a:pt x="337" y="141"/>
                </a:lnTo>
                <a:lnTo>
                  <a:pt x="332" y="156"/>
                </a:lnTo>
                <a:lnTo>
                  <a:pt x="326" y="162"/>
                </a:lnTo>
                <a:lnTo>
                  <a:pt x="320" y="162"/>
                </a:lnTo>
                <a:lnTo>
                  <a:pt x="313" y="177"/>
                </a:lnTo>
                <a:lnTo>
                  <a:pt x="307" y="179"/>
                </a:lnTo>
                <a:lnTo>
                  <a:pt x="298" y="179"/>
                </a:lnTo>
                <a:lnTo>
                  <a:pt x="296" y="186"/>
                </a:lnTo>
                <a:lnTo>
                  <a:pt x="294" y="196"/>
                </a:lnTo>
                <a:lnTo>
                  <a:pt x="292" y="203"/>
                </a:lnTo>
                <a:lnTo>
                  <a:pt x="288" y="218"/>
                </a:lnTo>
                <a:lnTo>
                  <a:pt x="285" y="226"/>
                </a:lnTo>
                <a:lnTo>
                  <a:pt x="277" y="228"/>
                </a:lnTo>
                <a:lnTo>
                  <a:pt x="264" y="226"/>
                </a:lnTo>
                <a:lnTo>
                  <a:pt x="262" y="222"/>
                </a:lnTo>
                <a:lnTo>
                  <a:pt x="256" y="215"/>
                </a:lnTo>
                <a:lnTo>
                  <a:pt x="247" y="218"/>
                </a:lnTo>
                <a:lnTo>
                  <a:pt x="247" y="232"/>
                </a:lnTo>
                <a:lnTo>
                  <a:pt x="247" y="241"/>
                </a:lnTo>
                <a:lnTo>
                  <a:pt x="245" y="243"/>
                </a:lnTo>
                <a:lnTo>
                  <a:pt x="241" y="258"/>
                </a:lnTo>
                <a:lnTo>
                  <a:pt x="234" y="264"/>
                </a:lnTo>
                <a:lnTo>
                  <a:pt x="234" y="273"/>
                </a:lnTo>
                <a:lnTo>
                  <a:pt x="230" y="288"/>
                </a:lnTo>
                <a:lnTo>
                  <a:pt x="224" y="296"/>
                </a:lnTo>
                <a:lnTo>
                  <a:pt x="215" y="311"/>
                </a:lnTo>
                <a:lnTo>
                  <a:pt x="213" y="324"/>
                </a:lnTo>
                <a:lnTo>
                  <a:pt x="219" y="333"/>
                </a:lnTo>
                <a:lnTo>
                  <a:pt x="213" y="339"/>
                </a:lnTo>
                <a:lnTo>
                  <a:pt x="215" y="345"/>
                </a:lnTo>
                <a:lnTo>
                  <a:pt x="215" y="347"/>
                </a:lnTo>
                <a:lnTo>
                  <a:pt x="200" y="356"/>
                </a:lnTo>
                <a:lnTo>
                  <a:pt x="192" y="356"/>
                </a:lnTo>
                <a:lnTo>
                  <a:pt x="179" y="367"/>
                </a:lnTo>
                <a:lnTo>
                  <a:pt x="168" y="364"/>
                </a:lnTo>
                <a:lnTo>
                  <a:pt x="168" y="371"/>
                </a:lnTo>
                <a:lnTo>
                  <a:pt x="166" y="377"/>
                </a:lnTo>
                <a:lnTo>
                  <a:pt x="158" y="379"/>
                </a:lnTo>
                <a:lnTo>
                  <a:pt x="143" y="386"/>
                </a:lnTo>
                <a:lnTo>
                  <a:pt x="136" y="388"/>
                </a:lnTo>
                <a:lnTo>
                  <a:pt x="124" y="384"/>
                </a:lnTo>
                <a:lnTo>
                  <a:pt x="122" y="390"/>
                </a:lnTo>
                <a:lnTo>
                  <a:pt x="107" y="399"/>
                </a:lnTo>
                <a:lnTo>
                  <a:pt x="96" y="396"/>
                </a:lnTo>
                <a:lnTo>
                  <a:pt x="81" y="388"/>
                </a:lnTo>
                <a:lnTo>
                  <a:pt x="75" y="382"/>
                </a:lnTo>
                <a:lnTo>
                  <a:pt x="68" y="375"/>
                </a:lnTo>
                <a:lnTo>
                  <a:pt x="68" y="367"/>
                </a:lnTo>
                <a:lnTo>
                  <a:pt x="53" y="367"/>
                </a:lnTo>
                <a:lnTo>
                  <a:pt x="38" y="356"/>
                </a:lnTo>
                <a:lnTo>
                  <a:pt x="24" y="337"/>
                </a:lnTo>
                <a:lnTo>
                  <a:pt x="17" y="330"/>
                </a:lnTo>
                <a:lnTo>
                  <a:pt x="15" y="324"/>
                </a:lnTo>
                <a:lnTo>
                  <a:pt x="0" y="307"/>
                </a:lnTo>
                <a:lnTo>
                  <a:pt x="4" y="294"/>
                </a:lnTo>
                <a:lnTo>
                  <a:pt x="2" y="286"/>
                </a:lnTo>
                <a:lnTo>
                  <a:pt x="0" y="281"/>
                </a:lnTo>
                <a:lnTo>
                  <a:pt x="0" y="27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353" name="Freeform 759"/>
          <p:cNvSpPr>
            <a:spLocks/>
          </p:cNvSpPr>
          <p:nvPr/>
        </p:nvSpPr>
        <p:spPr bwMode="auto">
          <a:xfrm>
            <a:off x="6240462" y="3081338"/>
            <a:ext cx="628650" cy="633413"/>
          </a:xfrm>
          <a:custGeom>
            <a:avLst/>
            <a:gdLst>
              <a:gd name="T0" fmla="*/ 7 w 396"/>
              <a:gd name="T1" fmla="*/ 277 h 399"/>
              <a:gd name="T2" fmla="*/ 24 w 396"/>
              <a:gd name="T3" fmla="*/ 258 h 399"/>
              <a:gd name="T4" fmla="*/ 26 w 396"/>
              <a:gd name="T5" fmla="*/ 235 h 399"/>
              <a:gd name="T6" fmla="*/ 30 w 396"/>
              <a:gd name="T7" fmla="*/ 215 h 399"/>
              <a:gd name="T8" fmla="*/ 45 w 396"/>
              <a:gd name="T9" fmla="*/ 205 h 399"/>
              <a:gd name="T10" fmla="*/ 60 w 396"/>
              <a:gd name="T11" fmla="*/ 200 h 399"/>
              <a:gd name="T12" fmla="*/ 60 w 396"/>
              <a:gd name="T13" fmla="*/ 179 h 399"/>
              <a:gd name="T14" fmla="*/ 73 w 396"/>
              <a:gd name="T15" fmla="*/ 160 h 399"/>
              <a:gd name="T16" fmla="*/ 104 w 396"/>
              <a:gd name="T17" fmla="*/ 143 h 399"/>
              <a:gd name="T18" fmla="*/ 126 w 396"/>
              <a:gd name="T19" fmla="*/ 107 h 399"/>
              <a:gd name="T20" fmla="*/ 126 w 396"/>
              <a:gd name="T21" fmla="*/ 83 h 399"/>
              <a:gd name="T22" fmla="*/ 128 w 396"/>
              <a:gd name="T23" fmla="*/ 66 h 399"/>
              <a:gd name="T24" fmla="*/ 128 w 396"/>
              <a:gd name="T25" fmla="*/ 17 h 399"/>
              <a:gd name="T26" fmla="*/ 130 w 396"/>
              <a:gd name="T27" fmla="*/ 2 h 399"/>
              <a:gd name="T28" fmla="*/ 241 w 396"/>
              <a:gd name="T29" fmla="*/ 85 h 399"/>
              <a:gd name="T30" fmla="*/ 264 w 396"/>
              <a:gd name="T31" fmla="*/ 130 h 399"/>
              <a:gd name="T32" fmla="*/ 277 w 396"/>
              <a:gd name="T33" fmla="*/ 109 h 399"/>
              <a:gd name="T34" fmla="*/ 300 w 396"/>
              <a:gd name="T35" fmla="*/ 94 h 399"/>
              <a:gd name="T36" fmla="*/ 311 w 396"/>
              <a:gd name="T37" fmla="*/ 92 h 399"/>
              <a:gd name="T38" fmla="*/ 330 w 396"/>
              <a:gd name="T39" fmla="*/ 85 h 399"/>
              <a:gd name="T40" fmla="*/ 347 w 396"/>
              <a:gd name="T41" fmla="*/ 71 h 399"/>
              <a:gd name="T42" fmla="*/ 366 w 396"/>
              <a:gd name="T43" fmla="*/ 75 h 399"/>
              <a:gd name="T44" fmla="*/ 381 w 396"/>
              <a:gd name="T45" fmla="*/ 83 h 399"/>
              <a:gd name="T46" fmla="*/ 394 w 396"/>
              <a:gd name="T47" fmla="*/ 98 h 399"/>
              <a:gd name="T48" fmla="*/ 390 w 396"/>
              <a:gd name="T49" fmla="*/ 122 h 399"/>
              <a:gd name="T50" fmla="*/ 343 w 396"/>
              <a:gd name="T51" fmla="*/ 111 h 399"/>
              <a:gd name="T52" fmla="*/ 337 w 396"/>
              <a:gd name="T53" fmla="*/ 141 h 399"/>
              <a:gd name="T54" fmla="*/ 320 w 396"/>
              <a:gd name="T55" fmla="*/ 162 h 399"/>
              <a:gd name="T56" fmla="*/ 298 w 396"/>
              <a:gd name="T57" fmla="*/ 179 h 399"/>
              <a:gd name="T58" fmla="*/ 292 w 396"/>
              <a:gd name="T59" fmla="*/ 203 h 399"/>
              <a:gd name="T60" fmla="*/ 277 w 396"/>
              <a:gd name="T61" fmla="*/ 228 h 399"/>
              <a:gd name="T62" fmla="*/ 256 w 396"/>
              <a:gd name="T63" fmla="*/ 215 h 399"/>
              <a:gd name="T64" fmla="*/ 247 w 396"/>
              <a:gd name="T65" fmla="*/ 241 h 399"/>
              <a:gd name="T66" fmla="*/ 234 w 396"/>
              <a:gd name="T67" fmla="*/ 264 h 399"/>
              <a:gd name="T68" fmla="*/ 224 w 396"/>
              <a:gd name="T69" fmla="*/ 296 h 399"/>
              <a:gd name="T70" fmla="*/ 219 w 396"/>
              <a:gd name="T71" fmla="*/ 333 h 399"/>
              <a:gd name="T72" fmla="*/ 215 w 396"/>
              <a:gd name="T73" fmla="*/ 347 h 399"/>
              <a:gd name="T74" fmla="*/ 179 w 396"/>
              <a:gd name="T75" fmla="*/ 367 h 399"/>
              <a:gd name="T76" fmla="*/ 166 w 396"/>
              <a:gd name="T77" fmla="*/ 377 h 399"/>
              <a:gd name="T78" fmla="*/ 136 w 396"/>
              <a:gd name="T79" fmla="*/ 388 h 399"/>
              <a:gd name="T80" fmla="*/ 107 w 396"/>
              <a:gd name="T81" fmla="*/ 399 h 399"/>
              <a:gd name="T82" fmla="*/ 75 w 396"/>
              <a:gd name="T83" fmla="*/ 382 h 399"/>
              <a:gd name="T84" fmla="*/ 53 w 396"/>
              <a:gd name="T85" fmla="*/ 367 h 399"/>
              <a:gd name="T86" fmla="*/ 17 w 396"/>
              <a:gd name="T87" fmla="*/ 330 h 399"/>
              <a:gd name="T88" fmla="*/ 4 w 396"/>
              <a:gd name="T89" fmla="*/ 294 h 399"/>
              <a:gd name="T90" fmla="*/ 0 w 396"/>
              <a:gd name="T91" fmla="*/ 2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6" h="399">
                <a:moveTo>
                  <a:pt x="0" y="277"/>
                </a:moveTo>
                <a:lnTo>
                  <a:pt x="0" y="277"/>
                </a:lnTo>
                <a:lnTo>
                  <a:pt x="7" y="277"/>
                </a:lnTo>
                <a:lnTo>
                  <a:pt x="17" y="271"/>
                </a:lnTo>
                <a:lnTo>
                  <a:pt x="24" y="264"/>
                </a:lnTo>
                <a:lnTo>
                  <a:pt x="24" y="258"/>
                </a:lnTo>
                <a:lnTo>
                  <a:pt x="30" y="252"/>
                </a:lnTo>
                <a:lnTo>
                  <a:pt x="30" y="239"/>
                </a:lnTo>
                <a:lnTo>
                  <a:pt x="26" y="235"/>
                </a:lnTo>
                <a:lnTo>
                  <a:pt x="28" y="226"/>
                </a:lnTo>
                <a:lnTo>
                  <a:pt x="30" y="224"/>
                </a:lnTo>
                <a:lnTo>
                  <a:pt x="30" y="215"/>
                </a:lnTo>
                <a:lnTo>
                  <a:pt x="34" y="209"/>
                </a:lnTo>
                <a:lnTo>
                  <a:pt x="38" y="203"/>
                </a:lnTo>
                <a:lnTo>
                  <a:pt x="45" y="205"/>
                </a:lnTo>
                <a:lnTo>
                  <a:pt x="53" y="215"/>
                </a:lnTo>
                <a:lnTo>
                  <a:pt x="56" y="207"/>
                </a:lnTo>
                <a:lnTo>
                  <a:pt x="60" y="200"/>
                </a:lnTo>
                <a:lnTo>
                  <a:pt x="53" y="194"/>
                </a:lnTo>
                <a:lnTo>
                  <a:pt x="60" y="186"/>
                </a:lnTo>
                <a:lnTo>
                  <a:pt x="60" y="179"/>
                </a:lnTo>
                <a:lnTo>
                  <a:pt x="62" y="173"/>
                </a:lnTo>
                <a:lnTo>
                  <a:pt x="73" y="166"/>
                </a:lnTo>
                <a:lnTo>
                  <a:pt x="73" y="160"/>
                </a:lnTo>
                <a:lnTo>
                  <a:pt x="79" y="149"/>
                </a:lnTo>
                <a:lnTo>
                  <a:pt x="92" y="156"/>
                </a:lnTo>
                <a:lnTo>
                  <a:pt x="104" y="143"/>
                </a:lnTo>
                <a:lnTo>
                  <a:pt x="113" y="128"/>
                </a:lnTo>
                <a:lnTo>
                  <a:pt x="124" y="120"/>
                </a:lnTo>
                <a:lnTo>
                  <a:pt x="126" y="107"/>
                </a:lnTo>
                <a:lnTo>
                  <a:pt x="126" y="98"/>
                </a:lnTo>
                <a:lnTo>
                  <a:pt x="126" y="92"/>
                </a:lnTo>
                <a:lnTo>
                  <a:pt x="126" y="83"/>
                </a:lnTo>
                <a:lnTo>
                  <a:pt x="128" y="83"/>
                </a:lnTo>
                <a:lnTo>
                  <a:pt x="128" y="75"/>
                </a:lnTo>
                <a:lnTo>
                  <a:pt x="128" y="66"/>
                </a:lnTo>
                <a:lnTo>
                  <a:pt x="130" y="45"/>
                </a:lnTo>
                <a:lnTo>
                  <a:pt x="134" y="39"/>
                </a:lnTo>
                <a:lnTo>
                  <a:pt x="128" y="17"/>
                </a:lnTo>
                <a:lnTo>
                  <a:pt x="124" y="11"/>
                </a:lnTo>
                <a:lnTo>
                  <a:pt x="126" y="2"/>
                </a:lnTo>
                <a:lnTo>
                  <a:pt x="130" y="2"/>
                </a:lnTo>
                <a:lnTo>
                  <a:pt x="134" y="0"/>
                </a:lnTo>
                <a:lnTo>
                  <a:pt x="153" y="102"/>
                </a:lnTo>
                <a:lnTo>
                  <a:pt x="241" y="85"/>
                </a:lnTo>
                <a:lnTo>
                  <a:pt x="249" y="145"/>
                </a:lnTo>
                <a:lnTo>
                  <a:pt x="256" y="137"/>
                </a:lnTo>
                <a:lnTo>
                  <a:pt x="264" y="130"/>
                </a:lnTo>
                <a:lnTo>
                  <a:pt x="268" y="124"/>
                </a:lnTo>
                <a:lnTo>
                  <a:pt x="275" y="115"/>
                </a:lnTo>
                <a:lnTo>
                  <a:pt x="277" y="109"/>
                </a:lnTo>
                <a:lnTo>
                  <a:pt x="283" y="107"/>
                </a:lnTo>
                <a:lnTo>
                  <a:pt x="290" y="109"/>
                </a:lnTo>
                <a:lnTo>
                  <a:pt x="300" y="94"/>
                </a:lnTo>
                <a:lnTo>
                  <a:pt x="300" y="85"/>
                </a:lnTo>
                <a:lnTo>
                  <a:pt x="303" y="85"/>
                </a:lnTo>
                <a:lnTo>
                  <a:pt x="311" y="92"/>
                </a:lnTo>
                <a:lnTo>
                  <a:pt x="317" y="94"/>
                </a:lnTo>
                <a:lnTo>
                  <a:pt x="328" y="92"/>
                </a:lnTo>
                <a:lnTo>
                  <a:pt x="330" y="85"/>
                </a:lnTo>
                <a:lnTo>
                  <a:pt x="337" y="79"/>
                </a:lnTo>
                <a:lnTo>
                  <a:pt x="343" y="79"/>
                </a:lnTo>
                <a:lnTo>
                  <a:pt x="347" y="71"/>
                </a:lnTo>
                <a:lnTo>
                  <a:pt x="354" y="68"/>
                </a:lnTo>
                <a:lnTo>
                  <a:pt x="360" y="71"/>
                </a:lnTo>
                <a:lnTo>
                  <a:pt x="366" y="75"/>
                </a:lnTo>
                <a:lnTo>
                  <a:pt x="381" y="75"/>
                </a:lnTo>
                <a:lnTo>
                  <a:pt x="383" y="75"/>
                </a:lnTo>
                <a:lnTo>
                  <a:pt x="381" y="83"/>
                </a:lnTo>
                <a:lnTo>
                  <a:pt x="388" y="83"/>
                </a:lnTo>
                <a:lnTo>
                  <a:pt x="388" y="92"/>
                </a:lnTo>
                <a:lnTo>
                  <a:pt x="394" y="98"/>
                </a:lnTo>
                <a:lnTo>
                  <a:pt x="396" y="102"/>
                </a:lnTo>
                <a:lnTo>
                  <a:pt x="394" y="115"/>
                </a:lnTo>
                <a:lnTo>
                  <a:pt x="390" y="122"/>
                </a:lnTo>
                <a:lnTo>
                  <a:pt x="349" y="100"/>
                </a:lnTo>
                <a:lnTo>
                  <a:pt x="341" y="105"/>
                </a:lnTo>
                <a:lnTo>
                  <a:pt x="343" y="111"/>
                </a:lnTo>
                <a:lnTo>
                  <a:pt x="341" y="120"/>
                </a:lnTo>
                <a:lnTo>
                  <a:pt x="341" y="134"/>
                </a:lnTo>
                <a:lnTo>
                  <a:pt x="337" y="141"/>
                </a:lnTo>
                <a:lnTo>
                  <a:pt x="332" y="156"/>
                </a:lnTo>
                <a:lnTo>
                  <a:pt x="326" y="162"/>
                </a:lnTo>
                <a:lnTo>
                  <a:pt x="320" y="162"/>
                </a:lnTo>
                <a:lnTo>
                  <a:pt x="313" y="177"/>
                </a:lnTo>
                <a:lnTo>
                  <a:pt x="307" y="179"/>
                </a:lnTo>
                <a:lnTo>
                  <a:pt x="298" y="179"/>
                </a:lnTo>
                <a:lnTo>
                  <a:pt x="296" y="186"/>
                </a:lnTo>
                <a:lnTo>
                  <a:pt x="294" y="196"/>
                </a:lnTo>
                <a:lnTo>
                  <a:pt x="292" y="203"/>
                </a:lnTo>
                <a:lnTo>
                  <a:pt x="288" y="218"/>
                </a:lnTo>
                <a:lnTo>
                  <a:pt x="285" y="226"/>
                </a:lnTo>
                <a:lnTo>
                  <a:pt x="277" y="228"/>
                </a:lnTo>
                <a:lnTo>
                  <a:pt x="264" y="226"/>
                </a:lnTo>
                <a:lnTo>
                  <a:pt x="262" y="222"/>
                </a:lnTo>
                <a:lnTo>
                  <a:pt x="256" y="215"/>
                </a:lnTo>
                <a:lnTo>
                  <a:pt x="247" y="218"/>
                </a:lnTo>
                <a:lnTo>
                  <a:pt x="247" y="232"/>
                </a:lnTo>
                <a:lnTo>
                  <a:pt x="247" y="241"/>
                </a:lnTo>
                <a:lnTo>
                  <a:pt x="245" y="243"/>
                </a:lnTo>
                <a:lnTo>
                  <a:pt x="241" y="258"/>
                </a:lnTo>
                <a:lnTo>
                  <a:pt x="234" y="264"/>
                </a:lnTo>
                <a:lnTo>
                  <a:pt x="234" y="273"/>
                </a:lnTo>
                <a:lnTo>
                  <a:pt x="230" y="288"/>
                </a:lnTo>
                <a:lnTo>
                  <a:pt x="224" y="296"/>
                </a:lnTo>
                <a:lnTo>
                  <a:pt x="215" y="311"/>
                </a:lnTo>
                <a:lnTo>
                  <a:pt x="213" y="324"/>
                </a:lnTo>
                <a:lnTo>
                  <a:pt x="219" y="333"/>
                </a:lnTo>
                <a:lnTo>
                  <a:pt x="213" y="339"/>
                </a:lnTo>
                <a:lnTo>
                  <a:pt x="215" y="345"/>
                </a:lnTo>
                <a:lnTo>
                  <a:pt x="215" y="347"/>
                </a:lnTo>
                <a:lnTo>
                  <a:pt x="200" y="356"/>
                </a:lnTo>
                <a:lnTo>
                  <a:pt x="192" y="356"/>
                </a:lnTo>
                <a:lnTo>
                  <a:pt x="179" y="367"/>
                </a:lnTo>
                <a:lnTo>
                  <a:pt x="168" y="364"/>
                </a:lnTo>
                <a:lnTo>
                  <a:pt x="168" y="371"/>
                </a:lnTo>
                <a:lnTo>
                  <a:pt x="166" y="377"/>
                </a:lnTo>
                <a:lnTo>
                  <a:pt x="158" y="379"/>
                </a:lnTo>
                <a:lnTo>
                  <a:pt x="143" y="386"/>
                </a:lnTo>
                <a:lnTo>
                  <a:pt x="136" y="388"/>
                </a:lnTo>
                <a:lnTo>
                  <a:pt x="124" y="384"/>
                </a:lnTo>
                <a:lnTo>
                  <a:pt x="122" y="390"/>
                </a:lnTo>
                <a:lnTo>
                  <a:pt x="107" y="399"/>
                </a:lnTo>
                <a:lnTo>
                  <a:pt x="96" y="396"/>
                </a:lnTo>
                <a:lnTo>
                  <a:pt x="81" y="388"/>
                </a:lnTo>
                <a:lnTo>
                  <a:pt x="75" y="382"/>
                </a:lnTo>
                <a:lnTo>
                  <a:pt x="68" y="375"/>
                </a:lnTo>
                <a:lnTo>
                  <a:pt x="68" y="367"/>
                </a:lnTo>
                <a:lnTo>
                  <a:pt x="53" y="367"/>
                </a:lnTo>
                <a:lnTo>
                  <a:pt x="38" y="356"/>
                </a:lnTo>
                <a:lnTo>
                  <a:pt x="24" y="337"/>
                </a:lnTo>
                <a:lnTo>
                  <a:pt x="17" y="330"/>
                </a:lnTo>
                <a:lnTo>
                  <a:pt x="15" y="324"/>
                </a:lnTo>
                <a:lnTo>
                  <a:pt x="0" y="307"/>
                </a:lnTo>
                <a:lnTo>
                  <a:pt x="4" y="294"/>
                </a:lnTo>
                <a:lnTo>
                  <a:pt x="2" y="286"/>
                </a:lnTo>
                <a:lnTo>
                  <a:pt x="0" y="281"/>
                </a:lnTo>
                <a:lnTo>
                  <a:pt x="0" y="27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4" name="Freeform 760"/>
          <p:cNvSpPr>
            <a:spLocks/>
          </p:cNvSpPr>
          <p:nvPr/>
        </p:nvSpPr>
        <p:spPr bwMode="auto">
          <a:xfrm>
            <a:off x="6230937" y="4068763"/>
            <a:ext cx="712788" cy="547688"/>
          </a:xfrm>
          <a:custGeom>
            <a:avLst/>
            <a:gdLst>
              <a:gd name="T0" fmla="*/ 47 w 449"/>
              <a:gd name="T1" fmla="*/ 32 h 345"/>
              <a:gd name="T2" fmla="*/ 81 w 449"/>
              <a:gd name="T3" fmla="*/ 13 h 345"/>
              <a:gd name="T4" fmla="*/ 198 w 449"/>
              <a:gd name="T5" fmla="*/ 0 h 345"/>
              <a:gd name="T6" fmla="*/ 223 w 449"/>
              <a:gd name="T7" fmla="*/ 15 h 345"/>
              <a:gd name="T8" fmla="*/ 230 w 449"/>
              <a:gd name="T9" fmla="*/ 32 h 345"/>
              <a:gd name="T10" fmla="*/ 449 w 449"/>
              <a:gd name="T11" fmla="*/ 100 h 345"/>
              <a:gd name="T12" fmla="*/ 426 w 449"/>
              <a:gd name="T13" fmla="*/ 126 h 345"/>
              <a:gd name="T14" fmla="*/ 406 w 449"/>
              <a:gd name="T15" fmla="*/ 185 h 345"/>
              <a:gd name="T16" fmla="*/ 402 w 449"/>
              <a:gd name="T17" fmla="*/ 160 h 345"/>
              <a:gd name="T18" fmla="*/ 396 w 449"/>
              <a:gd name="T19" fmla="*/ 179 h 345"/>
              <a:gd name="T20" fmla="*/ 400 w 449"/>
              <a:gd name="T21" fmla="*/ 196 h 345"/>
              <a:gd name="T22" fmla="*/ 394 w 449"/>
              <a:gd name="T23" fmla="*/ 205 h 345"/>
              <a:gd name="T24" fmla="*/ 377 w 449"/>
              <a:gd name="T25" fmla="*/ 211 h 345"/>
              <a:gd name="T26" fmla="*/ 370 w 449"/>
              <a:gd name="T27" fmla="*/ 230 h 345"/>
              <a:gd name="T28" fmla="*/ 353 w 449"/>
              <a:gd name="T29" fmla="*/ 245 h 345"/>
              <a:gd name="T30" fmla="*/ 347 w 449"/>
              <a:gd name="T31" fmla="*/ 249 h 345"/>
              <a:gd name="T32" fmla="*/ 343 w 449"/>
              <a:gd name="T33" fmla="*/ 262 h 345"/>
              <a:gd name="T34" fmla="*/ 330 w 449"/>
              <a:gd name="T35" fmla="*/ 275 h 345"/>
              <a:gd name="T36" fmla="*/ 319 w 449"/>
              <a:gd name="T37" fmla="*/ 281 h 345"/>
              <a:gd name="T38" fmla="*/ 298 w 449"/>
              <a:gd name="T39" fmla="*/ 283 h 345"/>
              <a:gd name="T40" fmla="*/ 296 w 449"/>
              <a:gd name="T41" fmla="*/ 292 h 345"/>
              <a:gd name="T42" fmla="*/ 302 w 449"/>
              <a:gd name="T43" fmla="*/ 303 h 345"/>
              <a:gd name="T44" fmla="*/ 298 w 449"/>
              <a:gd name="T45" fmla="*/ 313 h 345"/>
              <a:gd name="T46" fmla="*/ 285 w 449"/>
              <a:gd name="T47" fmla="*/ 311 h 345"/>
              <a:gd name="T48" fmla="*/ 268 w 449"/>
              <a:gd name="T49" fmla="*/ 292 h 345"/>
              <a:gd name="T50" fmla="*/ 281 w 449"/>
              <a:gd name="T51" fmla="*/ 318 h 345"/>
              <a:gd name="T52" fmla="*/ 279 w 449"/>
              <a:gd name="T53" fmla="*/ 330 h 345"/>
              <a:gd name="T54" fmla="*/ 272 w 449"/>
              <a:gd name="T55" fmla="*/ 345 h 345"/>
              <a:gd name="T56" fmla="*/ 251 w 449"/>
              <a:gd name="T57" fmla="*/ 339 h 345"/>
              <a:gd name="T58" fmla="*/ 245 w 449"/>
              <a:gd name="T59" fmla="*/ 320 h 345"/>
              <a:gd name="T60" fmla="*/ 230 w 449"/>
              <a:gd name="T61" fmla="*/ 296 h 345"/>
              <a:gd name="T62" fmla="*/ 211 w 449"/>
              <a:gd name="T63" fmla="*/ 279 h 345"/>
              <a:gd name="T64" fmla="*/ 200 w 449"/>
              <a:gd name="T65" fmla="*/ 254 h 345"/>
              <a:gd name="T66" fmla="*/ 176 w 449"/>
              <a:gd name="T67" fmla="*/ 237 h 345"/>
              <a:gd name="T68" fmla="*/ 162 w 449"/>
              <a:gd name="T69" fmla="*/ 224 h 345"/>
              <a:gd name="T70" fmla="*/ 151 w 449"/>
              <a:gd name="T71" fmla="*/ 207 h 345"/>
              <a:gd name="T72" fmla="*/ 134 w 449"/>
              <a:gd name="T73" fmla="*/ 190 h 345"/>
              <a:gd name="T74" fmla="*/ 117 w 449"/>
              <a:gd name="T75" fmla="*/ 177 h 345"/>
              <a:gd name="T76" fmla="*/ 81 w 449"/>
              <a:gd name="T77" fmla="*/ 151 h 345"/>
              <a:gd name="T78" fmla="*/ 53 w 449"/>
              <a:gd name="T79" fmla="*/ 113 h 345"/>
              <a:gd name="T80" fmla="*/ 32 w 449"/>
              <a:gd name="T81" fmla="*/ 102 h 345"/>
              <a:gd name="T82" fmla="*/ 4 w 449"/>
              <a:gd name="T83" fmla="*/ 85 h 345"/>
              <a:gd name="T84" fmla="*/ 15 w 449"/>
              <a:gd name="T85" fmla="*/ 5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9" h="345">
                <a:moveTo>
                  <a:pt x="17" y="45"/>
                </a:moveTo>
                <a:lnTo>
                  <a:pt x="40" y="32"/>
                </a:lnTo>
                <a:lnTo>
                  <a:pt x="47" y="32"/>
                </a:lnTo>
                <a:lnTo>
                  <a:pt x="59" y="21"/>
                </a:lnTo>
                <a:lnTo>
                  <a:pt x="72" y="17"/>
                </a:lnTo>
                <a:lnTo>
                  <a:pt x="81" y="13"/>
                </a:lnTo>
                <a:lnTo>
                  <a:pt x="87" y="11"/>
                </a:lnTo>
                <a:lnTo>
                  <a:pt x="168" y="2"/>
                </a:lnTo>
                <a:lnTo>
                  <a:pt x="198" y="0"/>
                </a:lnTo>
                <a:lnTo>
                  <a:pt x="206" y="7"/>
                </a:lnTo>
                <a:lnTo>
                  <a:pt x="213" y="4"/>
                </a:lnTo>
                <a:lnTo>
                  <a:pt x="223" y="15"/>
                </a:lnTo>
                <a:lnTo>
                  <a:pt x="228" y="24"/>
                </a:lnTo>
                <a:lnTo>
                  <a:pt x="228" y="30"/>
                </a:lnTo>
                <a:lnTo>
                  <a:pt x="230" y="32"/>
                </a:lnTo>
                <a:lnTo>
                  <a:pt x="330" y="15"/>
                </a:lnTo>
                <a:lnTo>
                  <a:pt x="445" y="98"/>
                </a:lnTo>
                <a:lnTo>
                  <a:pt x="449" y="100"/>
                </a:lnTo>
                <a:lnTo>
                  <a:pt x="449" y="105"/>
                </a:lnTo>
                <a:lnTo>
                  <a:pt x="443" y="109"/>
                </a:lnTo>
                <a:lnTo>
                  <a:pt x="426" y="126"/>
                </a:lnTo>
                <a:lnTo>
                  <a:pt x="411" y="154"/>
                </a:lnTo>
                <a:lnTo>
                  <a:pt x="406" y="162"/>
                </a:lnTo>
                <a:lnTo>
                  <a:pt x="406" y="185"/>
                </a:lnTo>
                <a:lnTo>
                  <a:pt x="404" y="179"/>
                </a:lnTo>
                <a:lnTo>
                  <a:pt x="398" y="175"/>
                </a:lnTo>
                <a:lnTo>
                  <a:pt x="402" y="160"/>
                </a:lnTo>
                <a:lnTo>
                  <a:pt x="400" y="162"/>
                </a:lnTo>
                <a:lnTo>
                  <a:pt x="396" y="171"/>
                </a:lnTo>
                <a:lnTo>
                  <a:pt x="396" y="179"/>
                </a:lnTo>
                <a:lnTo>
                  <a:pt x="402" y="183"/>
                </a:lnTo>
                <a:lnTo>
                  <a:pt x="406" y="190"/>
                </a:lnTo>
                <a:lnTo>
                  <a:pt x="400" y="196"/>
                </a:lnTo>
                <a:lnTo>
                  <a:pt x="394" y="194"/>
                </a:lnTo>
                <a:lnTo>
                  <a:pt x="400" y="198"/>
                </a:lnTo>
                <a:lnTo>
                  <a:pt x="394" y="205"/>
                </a:lnTo>
                <a:lnTo>
                  <a:pt x="392" y="211"/>
                </a:lnTo>
                <a:lnTo>
                  <a:pt x="385" y="213"/>
                </a:lnTo>
                <a:lnTo>
                  <a:pt x="377" y="211"/>
                </a:lnTo>
                <a:lnTo>
                  <a:pt x="372" y="220"/>
                </a:lnTo>
                <a:lnTo>
                  <a:pt x="375" y="226"/>
                </a:lnTo>
                <a:lnTo>
                  <a:pt x="370" y="230"/>
                </a:lnTo>
                <a:lnTo>
                  <a:pt x="366" y="237"/>
                </a:lnTo>
                <a:lnTo>
                  <a:pt x="360" y="243"/>
                </a:lnTo>
                <a:lnTo>
                  <a:pt x="353" y="245"/>
                </a:lnTo>
                <a:lnTo>
                  <a:pt x="351" y="239"/>
                </a:lnTo>
                <a:lnTo>
                  <a:pt x="345" y="239"/>
                </a:lnTo>
                <a:lnTo>
                  <a:pt x="347" y="249"/>
                </a:lnTo>
                <a:lnTo>
                  <a:pt x="353" y="252"/>
                </a:lnTo>
                <a:lnTo>
                  <a:pt x="351" y="260"/>
                </a:lnTo>
                <a:lnTo>
                  <a:pt x="343" y="262"/>
                </a:lnTo>
                <a:lnTo>
                  <a:pt x="345" y="266"/>
                </a:lnTo>
                <a:lnTo>
                  <a:pt x="336" y="269"/>
                </a:lnTo>
                <a:lnTo>
                  <a:pt x="330" y="275"/>
                </a:lnTo>
                <a:lnTo>
                  <a:pt x="321" y="271"/>
                </a:lnTo>
                <a:lnTo>
                  <a:pt x="328" y="275"/>
                </a:lnTo>
                <a:lnTo>
                  <a:pt x="319" y="281"/>
                </a:lnTo>
                <a:lnTo>
                  <a:pt x="313" y="281"/>
                </a:lnTo>
                <a:lnTo>
                  <a:pt x="306" y="286"/>
                </a:lnTo>
                <a:lnTo>
                  <a:pt x="298" y="283"/>
                </a:lnTo>
                <a:lnTo>
                  <a:pt x="283" y="290"/>
                </a:lnTo>
                <a:lnTo>
                  <a:pt x="289" y="290"/>
                </a:lnTo>
                <a:lnTo>
                  <a:pt x="296" y="292"/>
                </a:lnTo>
                <a:lnTo>
                  <a:pt x="304" y="292"/>
                </a:lnTo>
                <a:lnTo>
                  <a:pt x="306" y="296"/>
                </a:lnTo>
                <a:lnTo>
                  <a:pt x="302" y="303"/>
                </a:lnTo>
                <a:lnTo>
                  <a:pt x="309" y="296"/>
                </a:lnTo>
                <a:lnTo>
                  <a:pt x="304" y="307"/>
                </a:lnTo>
                <a:lnTo>
                  <a:pt x="298" y="313"/>
                </a:lnTo>
                <a:lnTo>
                  <a:pt x="289" y="309"/>
                </a:lnTo>
                <a:lnTo>
                  <a:pt x="285" y="296"/>
                </a:lnTo>
                <a:lnTo>
                  <a:pt x="285" y="311"/>
                </a:lnTo>
                <a:lnTo>
                  <a:pt x="279" y="305"/>
                </a:lnTo>
                <a:lnTo>
                  <a:pt x="274" y="298"/>
                </a:lnTo>
                <a:lnTo>
                  <a:pt x="268" y="292"/>
                </a:lnTo>
                <a:lnTo>
                  <a:pt x="277" y="305"/>
                </a:lnTo>
                <a:lnTo>
                  <a:pt x="279" y="313"/>
                </a:lnTo>
                <a:lnTo>
                  <a:pt x="281" y="318"/>
                </a:lnTo>
                <a:lnTo>
                  <a:pt x="287" y="324"/>
                </a:lnTo>
                <a:lnTo>
                  <a:pt x="283" y="330"/>
                </a:lnTo>
                <a:lnTo>
                  <a:pt x="279" y="330"/>
                </a:lnTo>
                <a:lnTo>
                  <a:pt x="279" y="324"/>
                </a:lnTo>
                <a:lnTo>
                  <a:pt x="277" y="330"/>
                </a:lnTo>
                <a:lnTo>
                  <a:pt x="272" y="345"/>
                </a:lnTo>
                <a:lnTo>
                  <a:pt x="268" y="343"/>
                </a:lnTo>
                <a:lnTo>
                  <a:pt x="266" y="341"/>
                </a:lnTo>
                <a:lnTo>
                  <a:pt x="251" y="339"/>
                </a:lnTo>
                <a:lnTo>
                  <a:pt x="247" y="332"/>
                </a:lnTo>
                <a:lnTo>
                  <a:pt x="245" y="326"/>
                </a:lnTo>
                <a:lnTo>
                  <a:pt x="245" y="320"/>
                </a:lnTo>
                <a:lnTo>
                  <a:pt x="240" y="311"/>
                </a:lnTo>
                <a:lnTo>
                  <a:pt x="236" y="303"/>
                </a:lnTo>
                <a:lnTo>
                  <a:pt x="230" y="296"/>
                </a:lnTo>
                <a:lnTo>
                  <a:pt x="221" y="292"/>
                </a:lnTo>
                <a:lnTo>
                  <a:pt x="213" y="288"/>
                </a:lnTo>
                <a:lnTo>
                  <a:pt x="211" y="279"/>
                </a:lnTo>
                <a:lnTo>
                  <a:pt x="211" y="273"/>
                </a:lnTo>
                <a:lnTo>
                  <a:pt x="208" y="264"/>
                </a:lnTo>
                <a:lnTo>
                  <a:pt x="200" y="254"/>
                </a:lnTo>
                <a:lnTo>
                  <a:pt x="198" y="247"/>
                </a:lnTo>
                <a:lnTo>
                  <a:pt x="183" y="239"/>
                </a:lnTo>
                <a:lnTo>
                  <a:pt x="176" y="237"/>
                </a:lnTo>
                <a:lnTo>
                  <a:pt x="170" y="228"/>
                </a:lnTo>
                <a:lnTo>
                  <a:pt x="170" y="228"/>
                </a:lnTo>
                <a:lnTo>
                  <a:pt x="162" y="224"/>
                </a:lnTo>
                <a:lnTo>
                  <a:pt x="162" y="217"/>
                </a:lnTo>
                <a:lnTo>
                  <a:pt x="153" y="213"/>
                </a:lnTo>
                <a:lnTo>
                  <a:pt x="151" y="207"/>
                </a:lnTo>
                <a:lnTo>
                  <a:pt x="151" y="203"/>
                </a:lnTo>
                <a:lnTo>
                  <a:pt x="145" y="198"/>
                </a:lnTo>
                <a:lnTo>
                  <a:pt x="134" y="190"/>
                </a:lnTo>
                <a:lnTo>
                  <a:pt x="128" y="188"/>
                </a:lnTo>
                <a:lnTo>
                  <a:pt x="121" y="183"/>
                </a:lnTo>
                <a:lnTo>
                  <a:pt x="117" y="177"/>
                </a:lnTo>
                <a:lnTo>
                  <a:pt x="110" y="168"/>
                </a:lnTo>
                <a:lnTo>
                  <a:pt x="96" y="162"/>
                </a:lnTo>
                <a:lnTo>
                  <a:pt x="81" y="151"/>
                </a:lnTo>
                <a:lnTo>
                  <a:pt x="64" y="128"/>
                </a:lnTo>
                <a:lnTo>
                  <a:pt x="59" y="122"/>
                </a:lnTo>
                <a:lnTo>
                  <a:pt x="53" y="113"/>
                </a:lnTo>
                <a:lnTo>
                  <a:pt x="49" y="107"/>
                </a:lnTo>
                <a:lnTo>
                  <a:pt x="42" y="100"/>
                </a:lnTo>
                <a:lnTo>
                  <a:pt x="32" y="102"/>
                </a:lnTo>
                <a:lnTo>
                  <a:pt x="17" y="90"/>
                </a:lnTo>
                <a:lnTo>
                  <a:pt x="10" y="90"/>
                </a:lnTo>
                <a:lnTo>
                  <a:pt x="4" y="85"/>
                </a:lnTo>
                <a:lnTo>
                  <a:pt x="0" y="79"/>
                </a:lnTo>
                <a:lnTo>
                  <a:pt x="2" y="70"/>
                </a:lnTo>
                <a:lnTo>
                  <a:pt x="15" y="51"/>
                </a:lnTo>
                <a:lnTo>
                  <a:pt x="17" y="45"/>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55" name="Freeform 761"/>
          <p:cNvSpPr>
            <a:spLocks/>
          </p:cNvSpPr>
          <p:nvPr/>
        </p:nvSpPr>
        <p:spPr bwMode="auto">
          <a:xfrm>
            <a:off x="6230937" y="4068763"/>
            <a:ext cx="712788" cy="547688"/>
          </a:xfrm>
          <a:custGeom>
            <a:avLst/>
            <a:gdLst>
              <a:gd name="T0" fmla="*/ 47 w 449"/>
              <a:gd name="T1" fmla="*/ 32 h 345"/>
              <a:gd name="T2" fmla="*/ 81 w 449"/>
              <a:gd name="T3" fmla="*/ 13 h 345"/>
              <a:gd name="T4" fmla="*/ 198 w 449"/>
              <a:gd name="T5" fmla="*/ 0 h 345"/>
              <a:gd name="T6" fmla="*/ 223 w 449"/>
              <a:gd name="T7" fmla="*/ 15 h 345"/>
              <a:gd name="T8" fmla="*/ 230 w 449"/>
              <a:gd name="T9" fmla="*/ 32 h 345"/>
              <a:gd name="T10" fmla="*/ 449 w 449"/>
              <a:gd name="T11" fmla="*/ 100 h 345"/>
              <a:gd name="T12" fmla="*/ 426 w 449"/>
              <a:gd name="T13" fmla="*/ 126 h 345"/>
              <a:gd name="T14" fmla="*/ 406 w 449"/>
              <a:gd name="T15" fmla="*/ 185 h 345"/>
              <a:gd name="T16" fmla="*/ 402 w 449"/>
              <a:gd name="T17" fmla="*/ 160 h 345"/>
              <a:gd name="T18" fmla="*/ 396 w 449"/>
              <a:gd name="T19" fmla="*/ 179 h 345"/>
              <a:gd name="T20" fmla="*/ 400 w 449"/>
              <a:gd name="T21" fmla="*/ 196 h 345"/>
              <a:gd name="T22" fmla="*/ 394 w 449"/>
              <a:gd name="T23" fmla="*/ 205 h 345"/>
              <a:gd name="T24" fmla="*/ 377 w 449"/>
              <a:gd name="T25" fmla="*/ 211 h 345"/>
              <a:gd name="T26" fmla="*/ 370 w 449"/>
              <a:gd name="T27" fmla="*/ 230 h 345"/>
              <a:gd name="T28" fmla="*/ 353 w 449"/>
              <a:gd name="T29" fmla="*/ 245 h 345"/>
              <a:gd name="T30" fmla="*/ 347 w 449"/>
              <a:gd name="T31" fmla="*/ 249 h 345"/>
              <a:gd name="T32" fmla="*/ 343 w 449"/>
              <a:gd name="T33" fmla="*/ 262 h 345"/>
              <a:gd name="T34" fmla="*/ 330 w 449"/>
              <a:gd name="T35" fmla="*/ 275 h 345"/>
              <a:gd name="T36" fmla="*/ 319 w 449"/>
              <a:gd name="T37" fmla="*/ 281 h 345"/>
              <a:gd name="T38" fmla="*/ 298 w 449"/>
              <a:gd name="T39" fmla="*/ 283 h 345"/>
              <a:gd name="T40" fmla="*/ 296 w 449"/>
              <a:gd name="T41" fmla="*/ 292 h 345"/>
              <a:gd name="T42" fmla="*/ 302 w 449"/>
              <a:gd name="T43" fmla="*/ 303 h 345"/>
              <a:gd name="T44" fmla="*/ 298 w 449"/>
              <a:gd name="T45" fmla="*/ 313 h 345"/>
              <a:gd name="T46" fmla="*/ 285 w 449"/>
              <a:gd name="T47" fmla="*/ 311 h 345"/>
              <a:gd name="T48" fmla="*/ 268 w 449"/>
              <a:gd name="T49" fmla="*/ 292 h 345"/>
              <a:gd name="T50" fmla="*/ 281 w 449"/>
              <a:gd name="T51" fmla="*/ 318 h 345"/>
              <a:gd name="T52" fmla="*/ 279 w 449"/>
              <a:gd name="T53" fmla="*/ 330 h 345"/>
              <a:gd name="T54" fmla="*/ 272 w 449"/>
              <a:gd name="T55" fmla="*/ 345 h 345"/>
              <a:gd name="T56" fmla="*/ 251 w 449"/>
              <a:gd name="T57" fmla="*/ 339 h 345"/>
              <a:gd name="T58" fmla="*/ 245 w 449"/>
              <a:gd name="T59" fmla="*/ 320 h 345"/>
              <a:gd name="T60" fmla="*/ 230 w 449"/>
              <a:gd name="T61" fmla="*/ 296 h 345"/>
              <a:gd name="T62" fmla="*/ 211 w 449"/>
              <a:gd name="T63" fmla="*/ 279 h 345"/>
              <a:gd name="T64" fmla="*/ 200 w 449"/>
              <a:gd name="T65" fmla="*/ 254 h 345"/>
              <a:gd name="T66" fmla="*/ 176 w 449"/>
              <a:gd name="T67" fmla="*/ 237 h 345"/>
              <a:gd name="T68" fmla="*/ 162 w 449"/>
              <a:gd name="T69" fmla="*/ 224 h 345"/>
              <a:gd name="T70" fmla="*/ 151 w 449"/>
              <a:gd name="T71" fmla="*/ 207 h 345"/>
              <a:gd name="T72" fmla="*/ 134 w 449"/>
              <a:gd name="T73" fmla="*/ 190 h 345"/>
              <a:gd name="T74" fmla="*/ 117 w 449"/>
              <a:gd name="T75" fmla="*/ 177 h 345"/>
              <a:gd name="T76" fmla="*/ 81 w 449"/>
              <a:gd name="T77" fmla="*/ 151 h 345"/>
              <a:gd name="T78" fmla="*/ 53 w 449"/>
              <a:gd name="T79" fmla="*/ 113 h 345"/>
              <a:gd name="T80" fmla="*/ 32 w 449"/>
              <a:gd name="T81" fmla="*/ 102 h 345"/>
              <a:gd name="T82" fmla="*/ 4 w 449"/>
              <a:gd name="T83" fmla="*/ 85 h 345"/>
              <a:gd name="T84" fmla="*/ 15 w 449"/>
              <a:gd name="T85" fmla="*/ 5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9" h="345">
                <a:moveTo>
                  <a:pt x="17" y="45"/>
                </a:moveTo>
                <a:lnTo>
                  <a:pt x="40" y="32"/>
                </a:lnTo>
                <a:lnTo>
                  <a:pt x="47" y="32"/>
                </a:lnTo>
                <a:lnTo>
                  <a:pt x="59" y="21"/>
                </a:lnTo>
                <a:lnTo>
                  <a:pt x="72" y="17"/>
                </a:lnTo>
                <a:lnTo>
                  <a:pt x="81" y="13"/>
                </a:lnTo>
                <a:lnTo>
                  <a:pt x="87" y="11"/>
                </a:lnTo>
                <a:lnTo>
                  <a:pt x="168" y="2"/>
                </a:lnTo>
                <a:lnTo>
                  <a:pt x="198" y="0"/>
                </a:lnTo>
                <a:lnTo>
                  <a:pt x="206" y="7"/>
                </a:lnTo>
                <a:lnTo>
                  <a:pt x="213" y="4"/>
                </a:lnTo>
                <a:lnTo>
                  <a:pt x="223" y="15"/>
                </a:lnTo>
                <a:lnTo>
                  <a:pt x="228" y="24"/>
                </a:lnTo>
                <a:lnTo>
                  <a:pt x="228" y="30"/>
                </a:lnTo>
                <a:lnTo>
                  <a:pt x="230" y="32"/>
                </a:lnTo>
                <a:lnTo>
                  <a:pt x="330" y="15"/>
                </a:lnTo>
                <a:lnTo>
                  <a:pt x="445" y="98"/>
                </a:lnTo>
                <a:lnTo>
                  <a:pt x="449" y="100"/>
                </a:lnTo>
                <a:lnTo>
                  <a:pt x="449" y="105"/>
                </a:lnTo>
                <a:lnTo>
                  <a:pt x="443" y="109"/>
                </a:lnTo>
                <a:lnTo>
                  <a:pt x="426" y="126"/>
                </a:lnTo>
                <a:lnTo>
                  <a:pt x="411" y="154"/>
                </a:lnTo>
                <a:lnTo>
                  <a:pt x="406" y="162"/>
                </a:lnTo>
                <a:lnTo>
                  <a:pt x="406" y="185"/>
                </a:lnTo>
                <a:lnTo>
                  <a:pt x="404" y="179"/>
                </a:lnTo>
                <a:lnTo>
                  <a:pt x="398" y="175"/>
                </a:lnTo>
                <a:lnTo>
                  <a:pt x="402" y="160"/>
                </a:lnTo>
                <a:lnTo>
                  <a:pt x="400" y="162"/>
                </a:lnTo>
                <a:lnTo>
                  <a:pt x="396" y="171"/>
                </a:lnTo>
                <a:lnTo>
                  <a:pt x="396" y="179"/>
                </a:lnTo>
                <a:lnTo>
                  <a:pt x="402" y="183"/>
                </a:lnTo>
                <a:lnTo>
                  <a:pt x="406" y="190"/>
                </a:lnTo>
                <a:lnTo>
                  <a:pt x="400" y="196"/>
                </a:lnTo>
                <a:lnTo>
                  <a:pt x="394" y="194"/>
                </a:lnTo>
                <a:lnTo>
                  <a:pt x="400" y="198"/>
                </a:lnTo>
                <a:lnTo>
                  <a:pt x="394" y="205"/>
                </a:lnTo>
                <a:lnTo>
                  <a:pt x="392" y="211"/>
                </a:lnTo>
                <a:lnTo>
                  <a:pt x="385" y="213"/>
                </a:lnTo>
                <a:lnTo>
                  <a:pt x="377" y="211"/>
                </a:lnTo>
                <a:lnTo>
                  <a:pt x="372" y="220"/>
                </a:lnTo>
                <a:lnTo>
                  <a:pt x="375" y="226"/>
                </a:lnTo>
                <a:lnTo>
                  <a:pt x="370" y="230"/>
                </a:lnTo>
                <a:lnTo>
                  <a:pt x="366" y="237"/>
                </a:lnTo>
                <a:lnTo>
                  <a:pt x="360" y="243"/>
                </a:lnTo>
                <a:lnTo>
                  <a:pt x="353" y="245"/>
                </a:lnTo>
                <a:lnTo>
                  <a:pt x="351" y="239"/>
                </a:lnTo>
                <a:lnTo>
                  <a:pt x="345" y="239"/>
                </a:lnTo>
                <a:lnTo>
                  <a:pt x="347" y="249"/>
                </a:lnTo>
                <a:lnTo>
                  <a:pt x="353" y="252"/>
                </a:lnTo>
                <a:lnTo>
                  <a:pt x="351" y="260"/>
                </a:lnTo>
                <a:lnTo>
                  <a:pt x="343" y="262"/>
                </a:lnTo>
                <a:lnTo>
                  <a:pt x="345" y="266"/>
                </a:lnTo>
                <a:lnTo>
                  <a:pt x="336" y="269"/>
                </a:lnTo>
                <a:lnTo>
                  <a:pt x="330" y="275"/>
                </a:lnTo>
                <a:lnTo>
                  <a:pt x="321" y="271"/>
                </a:lnTo>
                <a:lnTo>
                  <a:pt x="328" y="275"/>
                </a:lnTo>
                <a:lnTo>
                  <a:pt x="319" y="281"/>
                </a:lnTo>
                <a:lnTo>
                  <a:pt x="313" y="281"/>
                </a:lnTo>
                <a:lnTo>
                  <a:pt x="306" y="286"/>
                </a:lnTo>
                <a:lnTo>
                  <a:pt x="298" y="283"/>
                </a:lnTo>
                <a:lnTo>
                  <a:pt x="283" y="290"/>
                </a:lnTo>
                <a:lnTo>
                  <a:pt x="289" y="290"/>
                </a:lnTo>
                <a:lnTo>
                  <a:pt x="296" y="292"/>
                </a:lnTo>
                <a:lnTo>
                  <a:pt x="304" y="292"/>
                </a:lnTo>
                <a:lnTo>
                  <a:pt x="306" y="296"/>
                </a:lnTo>
                <a:lnTo>
                  <a:pt x="302" y="303"/>
                </a:lnTo>
                <a:lnTo>
                  <a:pt x="309" y="296"/>
                </a:lnTo>
                <a:lnTo>
                  <a:pt x="304" y="307"/>
                </a:lnTo>
                <a:lnTo>
                  <a:pt x="298" y="313"/>
                </a:lnTo>
                <a:lnTo>
                  <a:pt x="289" y="309"/>
                </a:lnTo>
                <a:lnTo>
                  <a:pt x="285" y="296"/>
                </a:lnTo>
                <a:lnTo>
                  <a:pt x="285" y="311"/>
                </a:lnTo>
                <a:lnTo>
                  <a:pt x="279" y="305"/>
                </a:lnTo>
                <a:lnTo>
                  <a:pt x="274" y="298"/>
                </a:lnTo>
                <a:lnTo>
                  <a:pt x="268" y="292"/>
                </a:lnTo>
                <a:lnTo>
                  <a:pt x="277" y="305"/>
                </a:lnTo>
                <a:lnTo>
                  <a:pt x="279" y="313"/>
                </a:lnTo>
                <a:lnTo>
                  <a:pt x="281" y="318"/>
                </a:lnTo>
                <a:lnTo>
                  <a:pt x="287" y="324"/>
                </a:lnTo>
                <a:lnTo>
                  <a:pt x="283" y="330"/>
                </a:lnTo>
                <a:lnTo>
                  <a:pt x="279" y="330"/>
                </a:lnTo>
                <a:lnTo>
                  <a:pt x="279" y="324"/>
                </a:lnTo>
                <a:lnTo>
                  <a:pt x="277" y="330"/>
                </a:lnTo>
                <a:lnTo>
                  <a:pt x="272" y="345"/>
                </a:lnTo>
                <a:lnTo>
                  <a:pt x="268" y="343"/>
                </a:lnTo>
                <a:lnTo>
                  <a:pt x="266" y="341"/>
                </a:lnTo>
                <a:lnTo>
                  <a:pt x="251" y="339"/>
                </a:lnTo>
                <a:lnTo>
                  <a:pt x="247" y="332"/>
                </a:lnTo>
                <a:lnTo>
                  <a:pt x="245" y="326"/>
                </a:lnTo>
                <a:lnTo>
                  <a:pt x="245" y="320"/>
                </a:lnTo>
                <a:lnTo>
                  <a:pt x="240" y="311"/>
                </a:lnTo>
                <a:lnTo>
                  <a:pt x="236" y="303"/>
                </a:lnTo>
                <a:lnTo>
                  <a:pt x="230" y="296"/>
                </a:lnTo>
                <a:lnTo>
                  <a:pt x="221" y="292"/>
                </a:lnTo>
                <a:lnTo>
                  <a:pt x="213" y="288"/>
                </a:lnTo>
                <a:lnTo>
                  <a:pt x="211" y="279"/>
                </a:lnTo>
                <a:lnTo>
                  <a:pt x="211" y="273"/>
                </a:lnTo>
                <a:lnTo>
                  <a:pt x="208" y="264"/>
                </a:lnTo>
                <a:lnTo>
                  <a:pt x="200" y="254"/>
                </a:lnTo>
                <a:lnTo>
                  <a:pt x="198" y="247"/>
                </a:lnTo>
                <a:lnTo>
                  <a:pt x="183" y="239"/>
                </a:lnTo>
                <a:lnTo>
                  <a:pt x="176" y="237"/>
                </a:lnTo>
                <a:lnTo>
                  <a:pt x="170" y="228"/>
                </a:lnTo>
                <a:lnTo>
                  <a:pt x="170" y="228"/>
                </a:lnTo>
                <a:lnTo>
                  <a:pt x="162" y="224"/>
                </a:lnTo>
                <a:lnTo>
                  <a:pt x="162" y="217"/>
                </a:lnTo>
                <a:lnTo>
                  <a:pt x="153" y="213"/>
                </a:lnTo>
                <a:lnTo>
                  <a:pt x="151" y="207"/>
                </a:lnTo>
                <a:lnTo>
                  <a:pt x="151" y="203"/>
                </a:lnTo>
                <a:lnTo>
                  <a:pt x="145" y="198"/>
                </a:lnTo>
                <a:lnTo>
                  <a:pt x="134" y="190"/>
                </a:lnTo>
                <a:lnTo>
                  <a:pt x="128" y="188"/>
                </a:lnTo>
                <a:lnTo>
                  <a:pt x="121" y="183"/>
                </a:lnTo>
                <a:lnTo>
                  <a:pt x="117" y="177"/>
                </a:lnTo>
                <a:lnTo>
                  <a:pt x="110" y="168"/>
                </a:lnTo>
                <a:lnTo>
                  <a:pt x="96" y="162"/>
                </a:lnTo>
                <a:lnTo>
                  <a:pt x="81" y="151"/>
                </a:lnTo>
                <a:lnTo>
                  <a:pt x="64" y="128"/>
                </a:lnTo>
                <a:lnTo>
                  <a:pt x="59" y="122"/>
                </a:lnTo>
                <a:lnTo>
                  <a:pt x="53" y="113"/>
                </a:lnTo>
                <a:lnTo>
                  <a:pt x="49" y="107"/>
                </a:lnTo>
                <a:lnTo>
                  <a:pt x="42" y="100"/>
                </a:lnTo>
                <a:lnTo>
                  <a:pt x="32" y="102"/>
                </a:lnTo>
                <a:lnTo>
                  <a:pt x="17" y="90"/>
                </a:lnTo>
                <a:lnTo>
                  <a:pt x="10" y="90"/>
                </a:lnTo>
                <a:lnTo>
                  <a:pt x="4" y="85"/>
                </a:lnTo>
                <a:lnTo>
                  <a:pt x="0" y="79"/>
                </a:lnTo>
                <a:lnTo>
                  <a:pt x="2" y="70"/>
                </a:lnTo>
                <a:lnTo>
                  <a:pt x="15" y="51"/>
                </a:lnTo>
                <a:lnTo>
                  <a:pt x="17" y="4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6" name="Freeform 762"/>
          <p:cNvSpPr>
            <a:spLocks/>
          </p:cNvSpPr>
          <p:nvPr/>
        </p:nvSpPr>
        <p:spPr bwMode="auto">
          <a:xfrm>
            <a:off x="6413500" y="2706688"/>
            <a:ext cx="820738" cy="536575"/>
          </a:xfrm>
          <a:custGeom>
            <a:avLst/>
            <a:gdLst>
              <a:gd name="T0" fmla="*/ 10 w 517"/>
              <a:gd name="T1" fmla="*/ 81 h 338"/>
              <a:gd name="T2" fmla="*/ 32 w 517"/>
              <a:gd name="T3" fmla="*/ 62 h 338"/>
              <a:gd name="T4" fmla="*/ 55 w 517"/>
              <a:gd name="T5" fmla="*/ 45 h 338"/>
              <a:gd name="T6" fmla="*/ 61 w 517"/>
              <a:gd name="T7" fmla="*/ 72 h 338"/>
              <a:gd name="T8" fmla="*/ 230 w 517"/>
              <a:gd name="T9" fmla="*/ 40 h 338"/>
              <a:gd name="T10" fmla="*/ 421 w 517"/>
              <a:gd name="T11" fmla="*/ 0 h 338"/>
              <a:gd name="T12" fmla="*/ 430 w 517"/>
              <a:gd name="T13" fmla="*/ 4 h 338"/>
              <a:gd name="T14" fmla="*/ 438 w 517"/>
              <a:gd name="T15" fmla="*/ 10 h 338"/>
              <a:gd name="T16" fmla="*/ 453 w 517"/>
              <a:gd name="T17" fmla="*/ 32 h 338"/>
              <a:gd name="T18" fmla="*/ 462 w 517"/>
              <a:gd name="T19" fmla="*/ 47 h 338"/>
              <a:gd name="T20" fmla="*/ 481 w 517"/>
              <a:gd name="T21" fmla="*/ 51 h 338"/>
              <a:gd name="T22" fmla="*/ 489 w 517"/>
              <a:gd name="T23" fmla="*/ 57 h 338"/>
              <a:gd name="T24" fmla="*/ 479 w 517"/>
              <a:gd name="T25" fmla="*/ 74 h 338"/>
              <a:gd name="T26" fmla="*/ 470 w 517"/>
              <a:gd name="T27" fmla="*/ 100 h 338"/>
              <a:gd name="T28" fmla="*/ 466 w 517"/>
              <a:gd name="T29" fmla="*/ 113 h 338"/>
              <a:gd name="T30" fmla="*/ 472 w 517"/>
              <a:gd name="T31" fmla="*/ 121 h 338"/>
              <a:gd name="T32" fmla="*/ 466 w 517"/>
              <a:gd name="T33" fmla="*/ 134 h 338"/>
              <a:gd name="T34" fmla="*/ 475 w 517"/>
              <a:gd name="T35" fmla="*/ 153 h 338"/>
              <a:gd name="T36" fmla="*/ 483 w 517"/>
              <a:gd name="T37" fmla="*/ 164 h 338"/>
              <a:gd name="T38" fmla="*/ 494 w 517"/>
              <a:gd name="T39" fmla="*/ 170 h 338"/>
              <a:gd name="T40" fmla="*/ 517 w 517"/>
              <a:gd name="T41" fmla="*/ 189 h 338"/>
              <a:gd name="T42" fmla="*/ 504 w 517"/>
              <a:gd name="T43" fmla="*/ 204 h 338"/>
              <a:gd name="T44" fmla="*/ 498 w 517"/>
              <a:gd name="T45" fmla="*/ 213 h 338"/>
              <a:gd name="T46" fmla="*/ 496 w 517"/>
              <a:gd name="T47" fmla="*/ 213 h 338"/>
              <a:gd name="T48" fmla="*/ 492 w 517"/>
              <a:gd name="T49" fmla="*/ 228 h 338"/>
              <a:gd name="T50" fmla="*/ 477 w 517"/>
              <a:gd name="T51" fmla="*/ 234 h 338"/>
              <a:gd name="T52" fmla="*/ 468 w 517"/>
              <a:gd name="T53" fmla="*/ 241 h 338"/>
              <a:gd name="T54" fmla="*/ 455 w 517"/>
              <a:gd name="T55" fmla="*/ 241 h 338"/>
              <a:gd name="T56" fmla="*/ 445 w 517"/>
              <a:gd name="T57" fmla="*/ 253 h 338"/>
              <a:gd name="T58" fmla="*/ 277 w 517"/>
              <a:gd name="T59" fmla="*/ 294 h 338"/>
              <a:gd name="T60" fmla="*/ 44 w 517"/>
              <a:gd name="T61" fmla="*/ 338 h 338"/>
              <a:gd name="T62" fmla="*/ 0 w 517"/>
              <a:gd name="T63" fmla="*/ 8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7" h="338">
                <a:moveTo>
                  <a:pt x="0" y="85"/>
                </a:moveTo>
                <a:lnTo>
                  <a:pt x="10" y="81"/>
                </a:lnTo>
                <a:lnTo>
                  <a:pt x="23" y="68"/>
                </a:lnTo>
                <a:lnTo>
                  <a:pt x="32" y="62"/>
                </a:lnTo>
                <a:lnTo>
                  <a:pt x="32" y="64"/>
                </a:lnTo>
                <a:lnTo>
                  <a:pt x="55" y="45"/>
                </a:lnTo>
                <a:lnTo>
                  <a:pt x="57" y="47"/>
                </a:lnTo>
                <a:lnTo>
                  <a:pt x="61" y="72"/>
                </a:lnTo>
                <a:lnTo>
                  <a:pt x="128" y="62"/>
                </a:lnTo>
                <a:lnTo>
                  <a:pt x="230" y="40"/>
                </a:lnTo>
                <a:lnTo>
                  <a:pt x="345" y="17"/>
                </a:lnTo>
                <a:lnTo>
                  <a:pt x="421" y="0"/>
                </a:lnTo>
                <a:lnTo>
                  <a:pt x="421" y="0"/>
                </a:lnTo>
                <a:lnTo>
                  <a:pt x="430" y="4"/>
                </a:lnTo>
                <a:lnTo>
                  <a:pt x="432" y="10"/>
                </a:lnTo>
                <a:lnTo>
                  <a:pt x="438" y="10"/>
                </a:lnTo>
                <a:lnTo>
                  <a:pt x="447" y="17"/>
                </a:lnTo>
                <a:lnTo>
                  <a:pt x="453" y="32"/>
                </a:lnTo>
                <a:lnTo>
                  <a:pt x="455" y="38"/>
                </a:lnTo>
                <a:lnTo>
                  <a:pt x="462" y="47"/>
                </a:lnTo>
                <a:lnTo>
                  <a:pt x="475" y="51"/>
                </a:lnTo>
                <a:lnTo>
                  <a:pt x="481" y="51"/>
                </a:lnTo>
                <a:lnTo>
                  <a:pt x="489" y="55"/>
                </a:lnTo>
                <a:lnTo>
                  <a:pt x="489" y="57"/>
                </a:lnTo>
                <a:lnTo>
                  <a:pt x="483" y="68"/>
                </a:lnTo>
                <a:lnTo>
                  <a:pt x="479" y="74"/>
                </a:lnTo>
                <a:lnTo>
                  <a:pt x="479" y="81"/>
                </a:lnTo>
                <a:lnTo>
                  <a:pt x="470" y="100"/>
                </a:lnTo>
                <a:lnTo>
                  <a:pt x="464" y="106"/>
                </a:lnTo>
                <a:lnTo>
                  <a:pt x="466" y="113"/>
                </a:lnTo>
                <a:lnTo>
                  <a:pt x="470" y="113"/>
                </a:lnTo>
                <a:lnTo>
                  <a:pt x="472" y="121"/>
                </a:lnTo>
                <a:lnTo>
                  <a:pt x="470" y="128"/>
                </a:lnTo>
                <a:lnTo>
                  <a:pt x="466" y="134"/>
                </a:lnTo>
                <a:lnTo>
                  <a:pt x="468" y="147"/>
                </a:lnTo>
                <a:lnTo>
                  <a:pt x="475" y="153"/>
                </a:lnTo>
                <a:lnTo>
                  <a:pt x="481" y="157"/>
                </a:lnTo>
                <a:lnTo>
                  <a:pt x="483" y="164"/>
                </a:lnTo>
                <a:lnTo>
                  <a:pt x="489" y="168"/>
                </a:lnTo>
                <a:lnTo>
                  <a:pt x="494" y="170"/>
                </a:lnTo>
                <a:lnTo>
                  <a:pt x="500" y="177"/>
                </a:lnTo>
                <a:lnTo>
                  <a:pt x="517" y="189"/>
                </a:lnTo>
                <a:lnTo>
                  <a:pt x="513" y="196"/>
                </a:lnTo>
                <a:lnTo>
                  <a:pt x="504" y="204"/>
                </a:lnTo>
                <a:lnTo>
                  <a:pt x="500" y="211"/>
                </a:lnTo>
                <a:lnTo>
                  <a:pt x="498" y="213"/>
                </a:lnTo>
                <a:lnTo>
                  <a:pt x="498" y="213"/>
                </a:lnTo>
                <a:lnTo>
                  <a:pt x="496" y="213"/>
                </a:lnTo>
                <a:lnTo>
                  <a:pt x="492" y="219"/>
                </a:lnTo>
                <a:lnTo>
                  <a:pt x="492" y="228"/>
                </a:lnTo>
                <a:lnTo>
                  <a:pt x="485" y="232"/>
                </a:lnTo>
                <a:lnTo>
                  <a:pt x="477" y="234"/>
                </a:lnTo>
                <a:lnTo>
                  <a:pt x="470" y="243"/>
                </a:lnTo>
                <a:lnTo>
                  <a:pt x="468" y="241"/>
                </a:lnTo>
                <a:lnTo>
                  <a:pt x="462" y="241"/>
                </a:lnTo>
                <a:lnTo>
                  <a:pt x="455" y="241"/>
                </a:lnTo>
                <a:lnTo>
                  <a:pt x="449" y="245"/>
                </a:lnTo>
                <a:lnTo>
                  <a:pt x="445" y="253"/>
                </a:lnTo>
                <a:lnTo>
                  <a:pt x="443" y="260"/>
                </a:lnTo>
                <a:lnTo>
                  <a:pt x="277" y="294"/>
                </a:lnTo>
                <a:lnTo>
                  <a:pt x="132" y="321"/>
                </a:lnTo>
                <a:lnTo>
                  <a:pt x="44" y="338"/>
                </a:lnTo>
                <a:lnTo>
                  <a:pt x="25" y="236"/>
                </a:lnTo>
                <a:lnTo>
                  <a:pt x="0" y="89"/>
                </a:lnTo>
                <a:lnTo>
                  <a:pt x="0" y="8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763"/>
          <p:cNvSpPr>
            <a:spLocks/>
          </p:cNvSpPr>
          <p:nvPr/>
        </p:nvSpPr>
        <p:spPr bwMode="auto">
          <a:xfrm>
            <a:off x="6413500" y="2706688"/>
            <a:ext cx="820738" cy="536575"/>
          </a:xfrm>
          <a:custGeom>
            <a:avLst/>
            <a:gdLst>
              <a:gd name="T0" fmla="*/ 10 w 517"/>
              <a:gd name="T1" fmla="*/ 81 h 338"/>
              <a:gd name="T2" fmla="*/ 32 w 517"/>
              <a:gd name="T3" fmla="*/ 62 h 338"/>
              <a:gd name="T4" fmla="*/ 55 w 517"/>
              <a:gd name="T5" fmla="*/ 45 h 338"/>
              <a:gd name="T6" fmla="*/ 61 w 517"/>
              <a:gd name="T7" fmla="*/ 72 h 338"/>
              <a:gd name="T8" fmla="*/ 230 w 517"/>
              <a:gd name="T9" fmla="*/ 40 h 338"/>
              <a:gd name="T10" fmla="*/ 421 w 517"/>
              <a:gd name="T11" fmla="*/ 0 h 338"/>
              <a:gd name="T12" fmla="*/ 430 w 517"/>
              <a:gd name="T13" fmla="*/ 4 h 338"/>
              <a:gd name="T14" fmla="*/ 438 w 517"/>
              <a:gd name="T15" fmla="*/ 10 h 338"/>
              <a:gd name="T16" fmla="*/ 453 w 517"/>
              <a:gd name="T17" fmla="*/ 32 h 338"/>
              <a:gd name="T18" fmla="*/ 462 w 517"/>
              <a:gd name="T19" fmla="*/ 47 h 338"/>
              <a:gd name="T20" fmla="*/ 481 w 517"/>
              <a:gd name="T21" fmla="*/ 51 h 338"/>
              <a:gd name="T22" fmla="*/ 489 w 517"/>
              <a:gd name="T23" fmla="*/ 57 h 338"/>
              <a:gd name="T24" fmla="*/ 479 w 517"/>
              <a:gd name="T25" fmla="*/ 74 h 338"/>
              <a:gd name="T26" fmla="*/ 470 w 517"/>
              <a:gd name="T27" fmla="*/ 100 h 338"/>
              <a:gd name="T28" fmla="*/ 466 w 517"/>
              <a:gd name="T29" fmla="*/ 113 h 338"/>
              <a:gd name="T30" fmla="*/ 472 w 517"/>
              <a:gd name="T31" fmla="*/ 121 h 338"/>
              <a:gd name="T32" fmla="*/ 466 w 517"/>
              <a:gd name="T33" fmla="*/ 134 h 338"/>
              <a:gd name="T34" fmla="*/ 475 w 517"/>
              <a:gd name="T35" fmla="*/ 153 h 338"/>
              <a:gd name="T36" fmla="*/ 483 w 517"/>
              <a:gd name="T37" fmla="*/ 164 h 338"/>
              <a:gd name="T38" fmla="*/ 494 w 517"/>
              <a:gd name="T39" fmla="*/ 170 h 338"/>
              <a:gd name="T40" fmla="*/ 517 w 517"/>
              <a:gd name="T41" fmla="*/ 189 h 338"/>
              <a:gd name="T42" fmla="*/ 504 w 517"/>
              <a:gd name="T43" fmla="*/ 204 h 338"/>
              <a:gd name="T44" fmla="*/ 498 w 517"/>
              <a:gd name="T45" fmla="*/ 213 h 338"/>
              <a:gd name="T46" fmla="*/ 496 w 517"/>
              <a:gd name="T47" fmla="*/ 213 h 338"/>
              <a:gd name="T48" fmla="*/ 492 w 517"/>
              <a:gd name="T49" fmla="*/ 228 h 338"/>
              <a:gd name="T50" fmla="*/ 477 w 517"/>
              <a:gd name="T51" fmla="*/ 234 h 338"/>
              <a:gd name="T52" fmla="*/ 468 w 517"/>
              <a:gd name="T53" fmla="*/ 241 h 338"/>
              <a:gd name="T54" fmla="*/ 455 w 517"/>
              <a:gd name="T55" fmla="*/ 241 h 338"/>
              <a:gd name="T56" fmla="*/ 445 w 517"/>
              <a:gd name="T57" fmla="*/ 253 h 338"/>
              <a:gd name="T58" fmla="*/ 277 w 517"/>
              <a:gd name="T59" fmla="*/ 294 h 338"/>
              <a:gd name="T60" fmla="*/ 44 w 517"/>
              <a:gd name="T61" fmla="*/ 338 h 338"/>
              <a:gd name="T62" fmla="*/ 0 w 517"/>
              <a:gd name="T63" fmla="*/ 8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7" h="338">
                <a:moveTo>
                  <a:pt x="0" y="85"/>
                </a:moveTo>
                <a:lnTo>
                  <a:pt x="10" y="81"/>
                </a:lnTo>
                <a:lnTo>
                  <a:pt x="23" y="68"/>
                </a:lnTo>
                <a:lnTo>
                  <a:pt x="32" y="62"/>
                </a:lnTo>
                <a:lnTo>
                  <a:pt x="32" y="64"/>
                </a:lnTo>
                <a:lnTo>
                  <a:pt x="55" y="45"/>
                </a:lnTo>
                <a:lnTo>
                  <a:pt x="57" y="47"/>
                </a:lnTo>
                <a:lnTo>
                  <a:pt x="61" y="72"/>
                </a:lnTo>
                <a:lnTo>
                  <a:pt x="128" y="62"/>
                </a:lnTo>
                <a:lnTo>
                  <a:pt x="230" y="40"/>
                </a:lnTo>
                <a:lnTo>
                  <a:pt x="345" y="17"/>
                </a:lnTo>
                <a:lnTo>
                  <a:pt x="421" y="0"/>
                </a:lnTo>
                <a:lnTo>
                  <a:pt x="421" y="0"/>
                </a:lnTo>
                <a:lnTo>
                  <a:pt x="430" y="4"/>
                </a:lnTo>
                <a:lnTo>
                  <a:pt x="432" y="10"/>
                </a:lnTo>
                <a:lnTo>
                  <a:pt x="438" y="10"/>
                </a:lnTo>
                <a:lnTo>
                  <a:pt x="447" y="17"/>
                </a:lnTo>
                <a:lnTo>
                  <a:pt x="453" y="32"/>
                </a:lnTo>
                <a:lnTo>
                  <a:pt x="455" y="38"/>
                </a:lnTo>
                <a:lnTo>
                  <a:pt x="462" y="47"/>
                </a:lnTo>
                <a:lnTo>
                  <a:pt x="475" y="51"/>
                </a:lnTo>
                <a:lnTo>
                  <a:pt x="481" y="51"/>
                </a:lnTo>
                <a:lnTo>
                  <a:pt x="489" y="55"/>
                </a:lnTo>
                <a:lnTo>
                  <a:pt x="489" y="57"/>
                </a:lnTo>
                <a:lnTo>
                  <a:pt x="483" y="68"/>
                </a:lnTo>
                <a:lnTo>
                  <a:pt x="479" y="74"/>
                </a:lnTo>
                <a:lnTo>
                  <a:pt x="479" y="81"/>
                </a:lnTo>
                <a:lnTo>
                  <a:pt x="470" y="100"/>
                </a:lnTo>
                <a:lnTo>
                  <a:pt x="464" y="106"/>
                </a:lnTo>
                <a:lnTo>
                  <a:pt x="466" y="113"/>
                </a:lnTo>
                <a:lnTo>
                  <a:pt x="470" y="113"/>
                </a:lnTo>
                <a:lnTo>
                  <a:pt x="472" y="121"/>
                </a:lnTo>
                <a:lnTo>
                  <a:pt x="470" y="128"/>
                </a:lnTo>
                <a:lnTo>
                  <a:pt x="466" y="134"/>
                </a:lnTo>
                <a:lnTo>
                  <a:pt x="468" y="147"/>
                </a:lnTo>
                <a:lnTo>
                  <a:pt x="475" y="153"/>
                </a:lnTo>
                <a:lnTo>
                  <a:pt x="481" y="157"/>
                </a:lnTo>
                <a:lnTo>
                  <a:pt x="483" y="164"/>
                </a:lnTo>
                <a:lnTo>
                  <a:pt x="489" y="168"/>
                </a:lnTo>
                <a:lnTo>
                  <a:pt x="494" y="170"/>
                </a:lnTo>
                <a:lnTo>
                  <a:pt x="500" y="177"/>
                </a:lnTo>
                <a:lnTo>
                  <a:pt x="517" y="189"/>
                </a:lnTo>
                <a:lnTo>
                  <a:pt x="513" y="196"/>
                </a:lnTo>
                <a:lnTo>
                  <a:pt x="504" y="204"/>
                </a:lnTo>
                <a:lnTo>
                  <a:pt x="500" y="211"/>
                </a:lnTo>
                <a:lnTo>
                  <a:pt x="498" y="213"/>
                </a:lnTo>
                <a:lnTo>
                  <a:pt x="498" y="213"/>
                </a:lnTo>
                <a:lnTo>
                  <a:pt x="496" y="213"/>
                </a:lnTo>
                <a:lnTo>
                  <a:pt x="492" y="219"/>
                </a:lnTo>
                <a:lnTo>
                  <a:pt x="492" y="228"/>
                </a:lnTo>
                <a:lnTo>
                  <a:pt x="485" y="232"/>
                </a:lnTo>
                <a:lnTo>
                  <a:pt x="477" y="234"/>
                </a:lnTo>
                <a:lnTo>
                  <a:pt x="470" y="243"/>
                </a:lnTo>
                <a:lnTo>
                  <a:pt x="468" y="241"/>
                </a:lnTo>
                <a:lnTo>
                  <a:pt x="462" y="241"/>
                </a:lnTo>
                <a:lnTo>
                  <a:pt x="455" y="241"/>
                </a:lnTo>
                <a:lnTo>
                  <a:pt x="449" y="245"/>
                </a:lnTo>
                <a:lnTo>
                  <a:pt x="445" y="253"/>
                </a:lnTo>
                <a:lnTo>
                  <a:pt x="443" y="260"/>
                </a:lnTo>
                <a:lnTo>
                  <a:pt x="277" y="294"/>
                </a:lnTo>
                <a:lnTo>
                  <a:pt x="132" y="321"/>
                </a:lnTo>
                <a:lnTo>
                  <a:pt x="44" y="338"/>
                </a:lnTo>
                <a:lnTo>
                  <a:pt x="25" y="236"/>
                </a:lnTo>
                <a:lnTo>
                  <a:pt x="0" y="89"/>
                </a:lnTo>
                <a:lnTo>
                  <a:pt x="0" y="8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8" name="Freeform 764"/>
          <p:cNvSpPr>
            <a:spLocks/>
          </p:cNvSpPr>
          <p:nvPr/>
        </p:nvSpPr>
        <p:spPr bwMode="auto">
          <a:xfrm>
            <a:off x="6565900" y="2611438"/>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765"/>
          <p:cNvSpPr>
            <a:spLocks/>
          </p:cNvSpPr>
          <p:nvPr/>
        </p:nvSpPr>
        <p:spPr bwMode="auto">
          <a:xfrm>
            <a:off x="6565900" y="2611438"/>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0" name="Freeform 766"/>
          <p:cNvSpPr>
            <a:spLocks/>
          </p:cNvSpPr>
          <p:nvPr/>
        </p:nvSpPr>
        <p:spPr bwMode="auto">
          <a:xfrm>
            <a:off x="6575425" y="2628900"/>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767"/>
          <p:cNvSpPr>
            <a:spLocks/>
          </p:cNvSpPr>
          <p:nvPr/>
        </p:nvSpPr>
        <p:spPr bwMode="auto">
          <a:xfrm>
            <a:off x="6575425" y="2628900"/>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2" name="Freeform 768"/>
          <p:cNvSpPr>
            <a:spLocks/>
          </p:cNvSpPr>
          <p:nvPr/>
        </p:nvSpPr>
        <p:spPr bwMode="auto">
          <a:xfrm>
            <a:off x="6964362" y="3284538"/>
            <a:ext cx="30163" cy="30163"/>
          </a:xfrm>
          <a:custGeom>
            <a:avLst/>
            <a:gdLst>
              <a:gd name="T0" fmla="*/ 0 w 19"/>
              <a:gd name="T1" fmla="*/ 6 h 19"/>
              <a:gd name="T2" fmla="*/ 10 w 19"/>
              <a:gd name="T3" fmla="*/ 0 h 19"/>
              <a:gd name="T4" fmla="*/ 19 w 19"/>
              <a:gd name="T5" fmla="*/ 6 h 19"/>
              <a:gd name="T6" fmla="*/ 17 w 19"/>
              <a:gd name="T7" fmla="*/ 13 h 19"/>
              <a:gd name="T8" fmla="*/ 13 w 19"/>
              <a:gd name="T9" fmla="*/ 19 h 19"/>
              <a:gd name="T10" fmla="*/ 13 w 19"/>
              <a:gd name="T11" fmla="*/ 13 h 19"/>
              <a:gd name="T12" fmla="*/ 6 w 19"/>
              <a:gd name="T13" fmla="*/ 9 h 19"/>
              <a:gd name="T14" fmla="*/ 0 w 19"/>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0" y="6"/>
                </a:moveTo>
                <a:lnTo>
                  <a:pt x="10" y="0"/>
                </a:lnTo>
                <a:lnTo>
                  <a:pt x="19" y="6"/>
                </a:lnTo>
                <a:lnTo>
                  <a:pt x="17" y="13"/>
                </a:lnTo>
                <a:lnTo>
                  <a:pt x="13" y="19"/>
                </a:lnTo>
                <a:lnTo>
                  <a:pt x="13" y="13"/>
                </a:lnTo>
                <a:lnTo>
                  <a:pt x="6" y="9"/>
                </a:lnTo>
                <a:lnTo>
                  <a:pt x="0" y="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769"/>
          <p:cNvSpPr>
            <a:spLocks/>
          </p:cNvSpPr>
          <p:nvPr/>
        </p:nvSpPr>
        <p:spPr bwMode="auto">
          <a:xfrm>
            <a:off x="6964362" y="3284538"/>
            <a:ext cx="30163" cy="30163"/>
          </a:xfrm>
          <a:custGeom>
            <a:avLst/>
            <a:gdLst>
              <a:gd name="T0" fmla="*/ 0 w 19"/>
              <a:gd name="T1" fmla="*/ 6 h 19"/>
              <a:gd name="T2" fmla="*/ 10 w 19"/>
              <a:gd name="T3" fmla="*/ 0 h 19"/>
              <a:gd name="T4" fmla="*/ 19 w 19"/>
              <a:gd name="T5" fmla="*/ 6 h 19"/>
              <a:gd name="T6" fmla="*/ 17 w 19"/>
              <a:gd name="T7" fmla="*/ 13 h 19"/>
              <a:gd name="T8" fmla="*/ 13 w 19"/>
              <a:gd name="T9" fmla="*/ 19 h 19"/>
              <a:gd name="T10" fmla="*/ 13 w 19"/>
              <a:gd name="T11" fmla="*/ 13 h 19"/>
              <a:gd name="T12" fmla="*/ 6 w 19"/>
              <a:gd name="T13" fmla="*/ 9 h 19"/>
              <a:gd name="T14" fmla="*/ 0 w 19"/>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0" y="6"/>
                </a:moveTo>
                <a:lnTo>
                  <a:pt x="10" y="0"/>
                </a:lnTo>
                <a:lnTo>
                  <a:pt x="19" y="6"/>
                </a:lnTo>
                <a:lnTo>
                  <a:pt x="17" y="13"/>
                </a:lnTo>
                <a:lnTo>
                  <a:pt x="13" y="19"/>
                </a:lnTo>
                <a:lnTo>
                  <a:pt x="13" y="13"/>
                </a:lnTo>
                <a:lnTo>
                  <a:pt x="6" y="9"/>
                </a:lnTo>
                <a:lnTo>
                  <a:pt x="0" y="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4" name="Freeform 770"/>
          <p:cNvSpPr>
            <a:spLocks/>
          </p:cNvSpPr>
          <p:nvPr/>
        </p:nvSpPr>
        <p:spPr bwMode="auto">
          <a:xfrm>
            <a:off x="7116762" y="3089275"/>
            <a:ext cx="147638" cy="249238"/>
          </a:xfrm>
          <a:custGeom>
            <a:avLst/>
            <a:gdLst>
              <a:gd name="T0" fmla="*/ 0 w 93"/>
              <a:gd name="T1" fmla="*/ 19 h 157"/>
              <a:gd name="T2" fmla="*/ 2 w 93"/>
              <a:gd name="T3" fmla="*/ 12 h 157"/>
              <a:gd name="T4" fmla="*/ 6 w 93"/>
              <a:gd name="T5" fmla="*/ 4 h 157"/>
              <a:gd name="T6" fmla="*/ 12 w 93"/>
              <a:gd name="T7" fmla="*/ 0 h 157"/>
              <a:gd name="T8" fmla="*/ 19 w 93"/>
              <a:gd name="T9" fmla="*/ 0 h 157"/>
              <a:gd name="T10" fmla="*/ 25 w 93"/>
              <a:gd name="T11" fmla="*/ 0 h 157"/>
              <a:gd name="T12" fmla="*/ 27 w 93"/>
              <a:gd name="T13" fmla="*/ 2 h 157"/>
              <a:gd name="T14" fmla="*/ 23 w 93"/>
              <a:gd name="T15" fmla="*/ 6 h 157"/>
              <a:gd name="T16" fmla="*/ 23 w 93"/>
              <a:gd name="T17" fmla="*/ 12 h 157"/>
              <a:gd name="T18" fmla="*/ 21 w 93"/>
              <a:gd name="T19" fmla="*/ 19 h 157"/>
              <a:gd name="T20" fmla="*/ 17 w 93"/>
              <a:gd name="T21" fmla="*/ 25 h 157"/>
              <a:gd name="T22" fmla="*/ 23 w 93"/>
              <a:gd name="T23" fmla="*/ 31 h 157"/>
              <a:gd name="T24" fmla="*/ 21 w 93"/>
              <a:gd name="T25" fmla="*/ 38 h 157"/>
              <a:gd name="T26" fmla="*/ 25 w 93"/>
              <a:gd name="T27" fmla="*/ 46 h 157"/>
              <a:gd name="T28" fmla="*/ 32 w 93"/>
              <a:gd name="T29" fmla="*/ 53 h 157"/>
              <a:gd name="T30" fmla="*/ 40 w 93"/>
              <a:gd name="T31" fmla="*/ 57 h 157"/>
              <a:gd name="T32" fmla="*/ 44 w 93"/>
              <a:gd name="T33" fmla="*/ 66 h 157"/>
              <a:gd name="T34" fmla="*/ 44 w 93"/>
              <a:gd name="T35" fmla="*/ 72 h 157"/>
              <a:gd name="T36" fmla="*/ 49 w 93"/>
              <a:gd name="T37" fmla="*/ 83 h 157"/>
              <a:gd name="T38" fmla="*/ 57 w 93"/>
              <a:gd name="T39" fmla="*/ 89 h 157"/>
              <a:gd name="T40" fmla="*/ 59 w 93"/>
              <a:gd name="T41" fmla="*/ 97 h 157"/>
              <a:gd name="T42" fmla="*/ 74 w 93"/>
              <a:gd name="T43" fmla="*/ 108 h 157"/>
              <a:gd name="T44" fmla="*/ 81 w 93"/>
              <a:gd name="T45" fmla="*/ 108 h 157"/>
              <a:gd name="T46" fmla="*/ 83 w 93"/>
              <a:gd name="T47" fmla="*/ 110 h 157"/>
              <a:gd name="T48" fmla="*/ 81 w 93"/>
              <a:gd name="T49" fmla="*/ 119 h 157"/>
              <a:gd name="T50" fmla="*/ 81 w 93"/>
              <a:gd name="T51" fmla="*/ 125 h 157"/>
              <a:gd name="T52" fmla="*/ 85 w 93"/>
              <a:gd name="T53" fmla="*/ 125 h 157"/>
              <a:gd name="T54" fmla="*/ 78 w 93"/>
              <a:gd name="T55" fmla="*/ 134 h 157"/>
              <a:gd name="T56" fmla="*/ 81 w 93"/>
              <a:gd name="T57" fmla="*/ 132 h 157"/>
              <a:gd name="T58" fmla="*/ 89 w 93"/>
              <a:gd name="T59" fmla="*/ 129 h 157"/>
              <a:gd name="T60" fmla="*/ 93 w 93"/>
              <a:gd name="T61" fmla="*/ 144 h 157"/>
              <a:gd name="T62" fmla="*/ 91 w 93"/>
              <a:gd name="T63" fmla="*/ 144 h 157"/>
              <a:gd name="T64" fmla="*/ 89 w 93"/>
              <a:gd name="T65" fmla="*/ 144 h 157"/>
              <a:gd name="T66" fmla="*/ 38 w 93"/>
              <a:gd name="T67" fmla="*/ 157 h 157"/>
              <a:gd name="T68" fmla="*/ 34 w 93"/>
              <a:gd name="T69" fmla="*/ 149 h 157"/>
              <a:gd name="T70" fmla="*/ 23 w 93"/>
              <a:gd name="T71" fmla="*/ 100 h 157"/>
              <a:gd name="T72" fmla="*/ 0 w 93"/>
              <a:gd name="T73" fmla="*/ 1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57">
                <a:moveTo>
                  <a:pt x="0" y="19"/>
                </a:moveTo>
                <a:lnTo>
                  <a:pt x="2" y="12"/>
                </a:lnTo>
                <a:lnTo>
                  <a:pt x="6" y="4"/>
                </a:lnTo>
                <a:lnTo>
                  <a:pt x="12" y="0"/>
                </a:lnTo>
                <a:lnTo>
                  <a:pt x="19" y="0"/>
                </a:lnTo>
                <a:lnTo>
                  <a:pt x="25" y="0"/>
                </a:lnTo>
                <a:lnTo>
                  <a:pt x="27" y="2"/>
                </a:lnTo>
                <a:lnTo>
                  <a:pt x="23" y="6"/>
                </a:lnTo>
                <a:lnTo>
                  <a:pt x="23" y="12"/>
                </a:lnTo>
                <a:lnTo>
                  <a:pt x="21" y="19"/>
                </a:lnTo>
                <a:lnTo>
                  <a:pt x="17" y="25"/>
                </a:lnTo>
                <a:lnTo>
                  <a:pt x="23" y="31"/>
                </a:lnTo>
                <a:lnTo>
                  <a:pt x="21" y="38"/>
                </a:lnTo>
                <a:lnTo>
                  <a:pt x="25" y="46"/>
                </a:lnTo>
                <a:lnTo>
                  <a:pt x="32" y="53"/>
                </a:lnTo>
                <a:lnTo>
                  <a:pt x="40" y="57"/>
                </a:lnTo>
                <a:lnTo>
                  <a:pt x="44" y="66"/>
                </a:lnTo>
                <a:lnTo>
                  <a:pt x="44" y="72"/>
                </a:lnTo>
                <a:lnTo>
                  <a:pt x="49" y="83"/>
                </a:lnTo>
                <a:lnTo>
                  <a:pt x="57" y="89"/>
                </a:lnTo>
                <a:lnTo>
                  <a:pt x="59" y="97"/>
                </a:lnTo>
                <a:lnTo>
                  <a:pt x="74" y="108"/>
                </a:lnTo>
                <a:lnTo>
                  <a:pt x="81" y="108"/>
                </a:lnTo>
                <a:lnTo>
                  <a:pt x="83" y="110"/>
                </a:lnTo>
                <a:lnTo>
                  <a:pt x="81" y="119"/>
                </a:lnTo>
                <a:lnTo>
                  <a:pt x="81" y="125"/>
                </a:lnTo>
                <a:lnTo>
                  <a:pt x="85" y="125"/>
                </a:lnTo>
                <a:lnTo>
                  <a:pt x="78" y="134"/>
                </a:lnTo>
                <a:lnTo>
                  <a:pt x="81" y="132"/>
                </a:lnTo>
                <a:lnTo>
                  <a:pt x="89" y="129"/>
                </a:lnTo>
                <a:lnTo>
                  <a:pt x="93" y="144"/>
                </a:lnTo>
                <a:lnTo>
                  <a:pt x="91" y="144"/>
                </a:lnTo>
                <a:lnTo>
                  <a:pt x="89" y="144"/>
                </a:lnTo>
                <a:lnTo>
                  <a:pt x="38" y="157"/>
                </a:lnTo>
                <a:lnTo>
                  <a:pt x="34" y="149"/>
                </a:lnTo>
                <a:lnTo>
                  <a:pt x="23" y="100"/>
                </a:lnTo>
                <a:lnTo>
                  <a:pt x="0" y="19"/>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65" name="Freeform 771"/>
          <p:cNvSpPr>
            <a:spLocks/>
          </p:cNvSpPr>
          <p:nvPr/>
        </p:nvSpPr>
        <p:spPr bwMode="auto">
          <a:xfrm>
            <a:off x="7116762" y="3089275"/>
            <a:ext cx="147638" cy="249238"/>
          </a:xfrm>
          <a:custGeom>
            <a:avLst/>
            <a:gdLst>
              <a:gd name="T0" fmla="*/ 0 w 93"/>
              <a:gd name="T1" fmla="*/ 19 h 157"/>
              <a:gd name="T2" fmla="*/ 2 w 93"/>
              <a:gd name="T3" fmla="*/ 12 h 157"/>
              <a:gd name="T4" fmla="*/ 6 w 93"/>
              <a:gd name="T5" fmla="*/ 4 h 157"/>
              <a:gd name="T6" fmla="*/ 12 w 93"/>
              <a:gd name="T7" fmla="*/ 0 h 157"/>
              <a:gd name="T8" fmla="*/ 19 w 93"/>
              <a:gd name="T9" fmla="*/ 0 h 157"/>
              <a:gd name="T10" fmla="*/ 25 w 93"/>
              <a:gd name="T11" fmla="*/ 0 h 157"/>
              <a:gd name="T12" fmla="*/ 27 w 93"/>
              <a:gd name="T13" fmla="*/ 2 h 157"/>
              <a:gd name="T14" fmla="*/ 23 w 93"/>
              <a:gd name="T15" fmla="*/ 6 h 157"/>
              <a:gd name="T16" fmla="*/ 23 w 93"/>
              <a:gd name="T17" fmla="*/ 12 h 157"/>
              <a:gd name="T18" fmla="*/ 21 w 93"/>
              <a:gd name="T19" fmla="*/ 19 h 157"/>
              <a:gd name="T20" fmla="*/ 17 w 93"/>
              <a:gd name="T21" fmla="*/ 25 h 157"/>
              <a:gd name="T22" fmla="*/ 23 w 93"/>
              <a:gd name="T23" fmla="*/ 31 h 157"/>
              <a:gd name="T24" fmla="*/ 21 w 93"/>
              <a:gd name="T25" fmla="*/ 38 h 157"/>
              <a:gd name="T26" fmla="*/ 25 w 93"/>
              <a:gd name="T27" fmla="*/ 46 h 157"/>
              <a:gd name="T28" fmla="*/ 32 w 93"/>
              <a:gd name="T29" fmla="*/ 53 h 157"/>
              <a:gd name="T30" fmla="*/ 40 w 93"/>
              <a:gd name="T31" fmla="*/ 57 h 157"/>
              <a:gd name="T32" fmla="*/ 44 w 93"/>
              <a:gd name="T33" fmla="*/ 66 h 157"/>
              <a:gd name="T34" fmla="*/ 44 w 93"/>
              <a:gd name="T35" fmla="*/ 72 h 157"/>
              <a:gd name="T36" fmla="*/ 49 w 93"/>
              <a:gd name="T37" fmla="*/ 83 h 157"/>
              <a:gd name="T38" fmla="*/ 57 w 93"/>
              <a:gd name="T39" fmla="*/ 89 h 157"/>
              <a:gd name="T40" fmla="*/ 59 w 93"/>
              <a:gd name="T41" fmla="*/ 97 h 157"/>
              <a:gd name="T42" fmla="*/ 74 w 93"/>
              <a:gd name="T43" fmla="*/ 108 h 157"/>
              <a:gd name="T44" fmla="*/ 81 w 93"/>
              <a:gd name="T45" fmla="*/ 108 h 157"/>
              <a:gd name="T46" fmla="*/ 83 w 93"/>
              <a:gd name="T47" fmla="*/ 110 h 157"/>
              <a:gd name="T48" fmla="*/ 81 w 93"/>
              <a:gd name="T49" fmla="*/ 119 h 157"/>
              <a:gd name="T50" fmla="*/ 81 w 93"/>
              <a:gd name="T51" fmla="*/ 125 h 157"/>
              <a:gd name="T52" fmla="*/ 85 w 93"/>
              <a:gd name="T53" fmla="*/ 125 h 157"/>
              <a:gd name="T54" fmla="*/ 78 w 93"/>
              <a:gd name="T55" fmla="*/ 134 h 157"/>
              <a:gd name="T56" fmla="*/ 81 w 93"/>
              <a:gd name="T57" fmla="*/ 132 h 157"/>
              <a:gd name="T58" fmla="*/ 89 w 93"/>
              <a:gd name="T59" fmla="*/ 129 h 157"/>
              <a:gd name="T60" fmla="*/ 93 w 93"/>
              <a:gd name="T61" fmla="*/ 144 h 157"/>
              <a:gd name="T62" fmla="*/ 91 w 93"/>
              <a:gd name="T63" fmla="*/ 144 h 157"/>
              <a:gd name="T64" fmla="*/ 89 w 93"/>
              <a:gd name="T65" fmla="*/ 144 h 157"/>
              <a:gd name="T66" fmla="*/ 38 w 93"/>
              <a:gd name="T67" fmla="*/ 157 h 157"/>
              <a:gd name="T68" fmla="*/ 34 w 93"/>
              <a:gd name="T69" fmla="*/ 149 h 157"/>
              <a:gd name="T70" fmla="*/ 23 w 93"/>
              <a:gd name="T71" fmla="*/ 100 h 157"/>
              <a:gd name="T72" fmla="*/ 0 w 93"/>
              <a:gd name="T73" fmla="*/ 1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57">
                <a:moveTo>
                  <a:pt x="0" y="19"/>
                </a:moveTo>
                <a:lnTo>
                  <a:pt x="2" y="12"/>
                </a:lnTo>
                <a:lnTo>
                  <a:pt x="6" y="4"/>
                </a:lnTo>
                <a:lnTo>
                  <a:pt x="12" y="0"/>
                </a:lnTo>
                <a:lnTo>
                  <a:pt x="19" y="0"/>
                </a:lnTo>
                <a:lnTo>
                  <a:pt x="25" y="0"/>
                </a:lnTo>
                <a:lnTo>
                  <a:pt x="27" y="2"/>
                </a:lnTo>
                <a:lnTo>
                  <a:pt x="23" y="6"/>
                </a:lnTo>
                <a:lnTo>
                  <a:pt x="23" y="12"/>
                </a:lnTo>
                <a:lnTo>
                  <a:pt x="21" y="19"/>
                </a:lnTo>
                <a:lnTo>
                  <a:pt x="17" y="25"/>
                </a:lnTo>
                <a:lnTo>
                  <a:pt x="23" y="31"/>
                </a:lnTo>
                <a:lnTo>
                  <a:pt x="21" y="38"/>
                </a:lnTo>
                <a:lnTo>
                  <a:pt x="25" y="46"/>
                </a:lnTo>
                <a:lnTo>
                  <a:pt x="32" y="53"/>
                </a:lnTo>
                <a:lnTo>
                  <a:pt x="40" y="57"/>
                </a:lnTo>
                <a:lnTo>
                  <a:pt x="44" y="66"/>
                </a:lnTo>
                <a:lnTo>
                  <a:pt x="44" y="72"/>
                </a:lnTo>
                <a:lnTo>
                  <a:pt x="49" y="83"/>
                </a:lnTo>
                <a:lnTo>
                  <a:pt x="57" y="89"/>
                </a:lnTo>
                <a:lnTo>
                  <a:pt x="59" y="97"/>
                </a:lnTo>
                <a:lnTo>
                  <a:pt x="74" y="108"/>
                </a:lnTo>
                <a:lnTo>
                  <a:pt x="81" y="108"/>
                </a:lnTo>
                <a:lnTo>
                  <a:pt x="83" y="110"/>
                </a:lnTo>
                <a:lnTo>
                  <a:pt x="81" y="119"/>
                </a:lnTo>
                <a:lnTo>
                  <a:pt x="81" y="125"/>
                </a:lnTo>
                <a:lnTo>
                  <a:pt x="85" y="125"/>
                </a:lnTo>
                <a:lnTo>
                  <a:pt x="78" y="134"/>
                </a:lnTo>
                <a:lnTo>
                  <a:pt x="81" y="132"/>
                </a:lnTo>
                <a:lnTo>
                  <a:pt x="89" y="129"/>
                </a:lnTo>
                <a:lnTo>
                  <a:pt x="93" y="144"/>
                </a:lnTo>
                <a:lnTo>
                  <a:pt x="91" y="144"/>
                </a:lnTo>
                <a:lnTo>
                  <a:pt x="89" y="144"/>
                </a:lnTo>
                <a:lnTo>
                  <a:pt x="38" y="157"/>
                </a:lnTo>
                <a:lnTo>
                  <a:pt x="34" y="149"/>
                </a:lnTo>
                <a:lnTo>
                  <a:pt x="23" y="100"/>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6" name="Freeform 772"/>
          <p:cNvSpPr>
            <a:spLocks/>
          </p:cNvSpPr>
          <p:nvPr/>
        </p:nvSpPr>
        <p:spPr bwMode="auto">
          <a:xfrm>
            <a:off x="7150100" y="2797175"/>
            <a:ext cx="188913" cy="433388"/>
          </a:xfrm>
          <a:custGeom>
            <a:avLst/>
            <a:gdLst>
              <a:gd name="T0" fmla="*/ 2 w 119"/>
              <a:gd name="T1" fmla="*/ 203 h 273"/>
              <a:gd name="T2" fmla="*/ 8 w 119"/>
              <a:gd name="T3" fmla="*/ 186 h 273"/>
              <a:gd name="T4" fmla="*/ 19 w 119"/>
              <a:gd name="T5" fmla="*/ 177 h 273"/>
              <a:gd name="T6" fmla="*/ 30 w 119"/>
              <a:gd name="T7" fmla="*/ 171 h 273"/>
              <a:gd name="T8" fmla="*/ 32 w 119"/>
              <a:gd name="T9" fmla="*/ 156 h 273"/>
              <a:gd name="T10" fmla="*/ 34 w 119"/>
              <a:gd name="T11" fmla="*/ 156 h 273"/>
              <a:gd name="T12" fmla="*/ 40 w 119"/>
              <a:gd name="T13" fmla="*/ 147 h 273"/>
              <a:gd name="T14" fmla="*/ 53 w 119"/>
              <a:gd name="T15" fmla="*/ 132 h 273"/>
              <a:gd name="T16" fmla="*/ 30 w 119"/>
              <a:gd name="T17" fmla="*/ 113 h 273"/>
              <a:gd name="T18" fmla="*/ 19 w 119"/>
              <a:gd name="T19" fmla="*/ 107 h 273"/>
              <a:gd name="T20" fmla="*/ 11 w 119"/>
              <a:gd name="T21" fmla="*/ 96 h 273"/>
              <a:gd name="T22" fmla="*/ 2 w 119"/>
              <a:gd name="T23" fmla="*/ 77 h 273"/>
              <a:gd name="T24" fmla="*/ 8 w 119"/>
              <a:gd name="T25" fmla="*/ 64 h 273"/>
              <a:gd name="T26" fmla="*/ 2 w 119"/>
              <a:gd name="T27" fmla="*/ 56 h 273"/>
              <a:gd name="T28" fmla="*/ 6 w 119"/>
              <a:gd name="T29" fmla="*/ 43 h 273"/>
              <a:gd name="T30" fmla="*/ 15 w 119"/>
              <a:gd name="T31" fmla="*/ 17 h 273"/>
              <a:gd name="T32" fmla="*/ 25 w 119"/>
              <a:gd name="T33" fmla="*/ 0 h 273"/>
              <a:gd name="T34" fmla="*/ 102 w 119"/>
              <a:gd name="T35" fmla="*/ 32 h 273"/>
              <a:gd name="T36" fmla="*/ 98 w 119"/>
              <a:gd name="T37" fmla="*/ 51 h 273"/>
              <a:gd name="T38" fmla="*/ 92 w 119"/>
              <a:gd name="T39" fmla="*/ 62 h 273"/>
              <a:gd name="T40" fmla="*/ 85 w 119"/>
              <a:gd name="T41" fmla="*/ 71 h 273"/>
              <a:gd name="T42" fmla="*/ 92 w 119"/>
              <a:gd name="T43" fmla="*/ 92 h 273"/>
              <a:gd name="T44" fmla="*/ 113 w 119"/>
              <a:gd name="T45" fmla="*/ 92 h 273"/>
              <a:gd name="T46" fmla="*/ 115 w 119"/>
              <a:gd name="T47" fmla="*/ 124 h 273"/>
              <a:gd name="T48" fmla="*/ 119 w 119"/>
              <a:gd name="T49" fmla="*/ 152 h 273"/>
              <a:gd name="T50" fmla="*/ 115 w 119"/>
              <a:gd name="T51" fmla="*/ 145 h 273"/>
              <a:gd name="T52" fmla="*/ 113 w 119"/>
              <a:gd name="T53" fmla="*/ 132 h 273"/>
              <a:gd name="T54" fmla="*/ 109 w 119"/>
              <a:gd name="T55" fmla="*/ 141 h 273"/>
              <a:gd name="T56" fmla="*/ 113 w 119"/>
              <a:gd name="T57" fmla="*/ 158 h 273"/>
              <a:gd name="T58" fmla="*/ 115 w 119"/>
              <a:gd name="T59" fmla="*/ 173 h 273"/>
              <a:gd name="T60" fmla="*/ 106 w 119"/>
              <a:gd name="T61" fmla="*/ 186 h 273"/>
              <a:gd name="T62" fmla="*/ 98 w 119"/>
              <a:gd name="T63" fmla="*/ 198 h 273"/>
              <a:gd name="T64" fmla="*/ 96 w 119"/>
              <a:gd name="T65" fmla="*/ 211 h 273"/>
              <a:gd name="T66" fmla="*/ 94 w 119"/>
              <a:gd name="T67" fmla="*/ 218 h 273"/>
              <a:gd name="T68" fmla="*/ 87 w 119"/>
              <a:gd name="T69" fmla="*/ 228 h 273"/>
              <a:gd name="T70" fmla="*/ 87 w 119"/>
              <a:gd name="T71" fmla="*/ 237 h 273"/>
              <a:gd name="T72" fmla="*/ 79 w 119"/>
              <a:gd name="T73" fmla="*/ 260 h 273"/>
              <a:gd name="T74" fmla="*/ 74 w 119"/>
              <a:gd name="T75" fmla="*/ 271 h 273"/>
              <a:gd name="T76" fmla="*/ 66 w 119"/>
              <a:gd name="T77" fmla="*/ 264 h 273"/>
              <a:gd name="T78" fmla="*/ 66 w 119"/>
              <a:gd name="T79" fmla="*/ 245 h 273"/>
              <a:gd name="T80" fmla="*/ 45 w 119"/>
              <a:gd name="T81" fmla="*/ 250 h 273"/>
              <a:gd name="T82" fmla="*/ 25 w 119"/>
              <a:gd name="T83" fmla="*/ 235 h 273"/>
              <a:gd name="T84" fmla="*/ 4 w 119"/>
              <a:gd name="T85" fmla="*/ 222 h 273"/>
              <a:gd name="T86" fmla="*/ 4 w 119"/>
              <a:gd name="T87" fmla="*/ 218 h 273"/>
              <a:gd name="T88" fmla="*/ 0 w 119"/>
              <a:gd name="T89" fmla="*/ 20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273">
                <a:moveTo>
                  <a:pt x="0" y="209"/>
                </a:moveTo>
                <a:lnTo>
                  <a:pt x="2" y="203"/>
                </a:lnTo>
                <a:lnTo>
                  <a:pt x="4" y="194"/>
                </a:lnTo>
                <a:lnTo>
                  <a:pt x="8" y="186"/>
                </a:lnTo>
                <a:lnTo>
                  <a:pt x="15" y="179"/>
                </a:lnTo>
                <a:lnTo>
                  <a:pt x="19" y="177"/>
                </a:lnTo>
                <a:lnTo>
                  <a:pt x="21" y="177"/>
                </a:lnTo>
                <a:lnTo>
                  <a:pt x="30" y="171"/>
                </a:lnTo>
                <a:lnTo>
                  <a:pt x="30" y="164"/>
                </a:lnTo>
                <a:lnTo>
                  <a:pt x="32" y="156"/>
                </a:lnTo>
                <a:lnTo>
                  <a:pt x="34" y="156"/>
                </a:lnTo>
                <a:lnTo>
                  <a:pt x="34" y="156"/>
                </a:lnTo>
                <a:lnTo>
                  <a:pt x="36" y="154"/>
                </a:lnTo>
                <a:lnTo>
                  <a:pt x="40" y="147"/>
                </a:lnTo>
                <a:lnTo>
                  <a:pt x="49" y="139"/>
                </a:lnTo>
                <a:lnTo>
                  <a:pt x="53" y="132"/>
                </a:lnTo>
                <a:lnTo>
                  <a:pt x="36" y="120"/>
                </a:lnTo>
                <a:lnTo>
                  <a:pt x="30" y="113"/>
                </a:lnTo>
                <a:lnTo>
                  <a:pt x="25" y="111"/>
                </a:lnTo>
                <a:lnTo>
                  <a:pt x="19" y="107"/>
                </a:lnTo>
                <a:lnTo>
                  <a:pt x="17" y="100"/>
                </a:lnTo>
                <a:lnTo>
                  <a:pt x="11" y="96"/>
                </a:lnTo>
                <a:lnTo>
                  <a:pt x="4" y="90"/>
                </a:lnTo>
                <a:lnTo>
                  <a:pt x="2" y="77"/>
                </a:lnTo>
                <a:lnTo>
                  <a:pt x="6" y="71"/>
                </a:lnTo>
                <a:lnTo>
                  <a:pt x="8" y="64"/>
                </a:lnTo>
                <a:lnTo>
                  <a:pt x="6" y="56"/>
                </a:lnTo>
                <a:lnTo>
                  <a:pt x="2" y="56"/>
                </a:lnTo>
                <a:lnTo>
                  <a:pt x="0" y="49"/>
                </a:lnTo>
                <a:lnTo>
                  <a:pt x="6" y="43"/>
                </a:lnTo>
                <a:lnTo>
                  <a:pt x="15" y="24"/>
                </a:lnTo>
                <a:lnTo>
                  <a:pt x="15" y="17"/>
                </a:lnTo>
                <a:lnTo>
                  <a:pt x="19" y="11"/>
                </a:lnTo>
                <a:lnTo>
                  <a:pt x="25" y="0"/>
                </a:lnTo>
                <a:lnTo>
                  <a:pt x="100" y="26"/>
                </a:lnTo>
                <a:lnTo>
                  <a:pt x="102" y="32"/>
                </a:lnTo>
                <a:lnTo>
                  <a:pt x="100" y="41"/>
                </a:lnTo>
                <a:lnTo>
                  <a:pt x="98" y="51"/>
                </a:lnTo>
                <a:lnTo>
                  <a:pt x="98" y="56"/>
                </a:lnTo>
                <a:lnTo>
                  <a:pt x="92" y="62"/>
                </a:lnTo>
                <a:lnTo>
                  <a:pt x="89" y="62"/>
                </a:lnTo>
                <a:lnTo>
                  <a:pt x="85" y="71"/>
                </a:lnTo>
                <a:lnTo>
                  <a:pt x="85" y="90"/>
                </a:lnTo>
                <a:lnTo>
                  <a:pt x="92" y="92"/>
                </a:lnTo>
                <a:lnTo>
                  <a:pt x="98" y="90"/>
                </a:lnTo>
                <a:lnTo>
                  <a:pt x="113" y="92"/>
                </a:lnTo>
                <a:lnTo>
                  <a:pt x="115" y="100"/>
                </a:lnTo>
                <a:lnTo>
                  <a:pt x="115" y="124"/>
                </a:lnTo>
                <a:lnTo>
                  <a:pt x="117" y="130"/>
                </a:lnTo>
                <a:lnTo>
                  <a:pt x="119" y="152"/>
                </a:lnTo>
                <a:lnTo>
                  <a:pt x="117" y="160"/>
                </a:lnTo>
                <a:lnTo>
                  <a:pt x="115" y="145"/>
                </a:lnTo>
                <a:lnTo>
                  <a:pt x="117" y="139"/>
                </a:lnTo>
                <a:lnTo>
                  <a:pt x="113" y="132"/>
                </a:lnTo>
                <a:lnTo>
                  <a:pt x="113" y="139"/>
                </a:lnTo>
                <a:lnTo>
                  <a:pt x="109" y="141"/>
                </a:lnTo>
                <a:lnTo>
                  <a:pt x="113" y="147"/>
                </a:lnTo>
                <a:lnTo>
                  <a:pt x="113" y="158"/>
                </a:lnTo>
                <a:lnTo>
                  <a:pt x="111" y="164"/>
                </a:lnTo>
                <a:lnTo>
                  <a:pt x="115" y="173"/>
                </a:lnTo>
                <a:lnTo>
                  <a:pt x="113" y="179"/>
                </a:lnTo>
                <a:lnTo>
                  <a:pt x="106" y="186"/>
                </a:lnTo>
                <a:lnTo>
                  <a:pt x="106" y="194"/>
                </a:lnTo>
                <a:lnTo>
                  <a:pt x="98" y="198"/>
                </a:lnTo>
                <a:lnTo>
                  <a:pt x="102" y="205"/>
                </a:lnTo>
                <a:lnTo>
                  <a:pt x="96" y="211"/>
                </a:lnTo>
                <a:lnTo>
                  <a:pt x="100" y="218"/>
                </a:lnTo>
                <a:lnTo>
                  <a:pt x="94" y="218"/>
                </a:lnTo>
                <a:lnTo>
                  <a:pt x="87" y="226"/>
                </a:lnTo>
                <a:lnTo>
                  <a:pt x="87" y="228"/>
                </a:lnTo>
                <a:lnTo>
                  <a:pt x="89" y="230"/>
                </a:lnTo>
                <a:lnTo>
                  <a:pt x="87" y="237"/>
                </a:lnTo>
                <a:lnTo>
                  <a:pt x="85" y="252"/>
                </a:lnTo>
                <a:lnTo>
                  <a:pt x="79" y="260"/>
                </a:lnTo>
                <a:lnTo>
                  <a:pt x="79" y="267"/>
                </a:lnTo>
                <a:lnTo>
                  <a:pt x="74" y="271"/>
                </a:lnTo>
                <a:lnTo>
                  <a:pt x="66" y="273"/>
                </a:lnTo>
                <a:lnTo>
                  <a:pt x="66" y="264"/>
                </a:lnTo>
                <a:lnTo>
                  <a:pt x="68" y="254"/>
                </a:lnTo>
                <a:lnTo>
                  <a:pt x="66" y="245"/>
                </a:lnTo>
                <a:lnTo>
                  <a:pt x="51" y="245"/>
                </a:lnTo>
                <a:lnTo>
                  <a:pt x="45" y="250"/>
                </a:lnTo>
                <a:lnTo>
                  <a:pt x="32" y="239"/>
                </a:lnTo>
                <a:lnTo>
                  <a:pt x="25" y="235"/>
                </a:lnTo>
                <a:lnTo>
                  <a:pt x="17" y="233"/>
                </a:lnTo>
                <a:lnTo>
                  <a:pt x="4" y="222"/>
                </a:lnTo>
                <a:lnTo>
                  <a:pt x="4" y="218"/>
                </a:lnTo>
                <a:lnTo>
                  <a:pt x="4" y="218"/>
                </a:lnTo>
                <a:lnTo>
                  <a:pt x="0" y="211"/>
                </a:lnTo>
                <a:lnTo>
                  <a:pt x="0" y="209"/>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67" name="Freeform 773"/>
          <p:cNvSpPr>
            <a:spLocks/>
          </p:cNvSpPr>
          <p:nvPr/>
        </p:nvSpPr>
        <p:spPr bwMode="auto">
          <a:xfrm>
            <a:off x="7150100" y="2797175"/>
            <a:ext cx="188913" cy="433388"/>
          </a:xfrm>
          <a:custGeom>
            <a:avLst/>
            <a:gdLst>
              <a:gd name="T0" fmla="*/ 2 w 119"/>
              <a:gd name="T1" fmla="*/ 203 h 273"/>
              <a:gd name="T2" fmla="*/ 8 w 119"/>
              <a:gd name="T3" fmla="*/ 186 h 273"/>
              <a:gd name="T4" fmla="*/ 19 w 119"/>
              <a:gd name="T5" fmla="*/ 177 h 273"/>
              <a:gd name="T6" fmla="*/ 30 w 119"/>
              <a:gd name="T7" fmla="*/ 171 h 273"/>
              <a:gd name="T8" fmla="*/ 32 w 119"/>
              <a:gd name="T9" fmla="*/ 156 h 273"/>
              <a:gd name="T10" fmla="*/ 34 w 119"/>
              <a:gd name="T11" fmla="*/ 156 h 273"/>
              <a:gd name="T12" fmla="*/ 40 w 119"/>
              <a:gd name="T13" fmla="*/ 147 h 273"/>
              <a:gd name="T14" fmla="*/ 53 w 119"/>
              <a:gd name="T15" fmla="*/ 132 h 273"/>
              <a:gd name="T16" fmla="*/ 30 w 119"/>
              <a:gd name="T17" fmla="*/ 113 h 273"/>
              <a:gd name="T18" fmla="*/ 19 w 119"/>
              <a:gd name="T19" fmla="*/ 107 h 273"/>
              <a:gd name="T20" fmla="*/ 11 w 119"/>
              <a:gd name="T21" fmla="*/ 96 h 273"/>
              <a:gd name="T22" fmla="*/ 2 w 119"/>
              <a:gd name="T23" fmla="*/ 77 h 273"/>
              <a:gd name="T24" fmla="*/ 8 w 119"/>
              <a:gd name="T25" fmla="*/ 64 h 273"/>
              <a:gd name="T26" fmla="*/ 2 w 119"/>
              <a:gd name="T27" fmla="*/ 56 h 273"/>
              <a:gd name="T28" fmla="*/ 6 w 119"/>
              <a:gd name="T29" fmla="*/ 43 h 273"/>
              <a:gd name="T30" fmla="*/ 15 w 119"/>
              <a:gd name="T31" fmla="*/ 17 h 273"/>
              <a:gd name="T32" fmla="*/ 25 w 119"/>
              <a:gd name="T33" fmla="*/ 0 h 273"/>
              <a:gd name="T34" fmla="*/ 102 w 119"/>
              <a:gd name="T35" fmla="*/ 32 h 273"/>
              <a:gd name="T36" fmla="*/ 98 w 119"/>
              <a:gd name="T37" fmla="*/ 51 h 273"/>
              <a:gd name="T38" fmla="*/ 92 w 119"/>
              <a:gd name="T39" fmla="*/ 62 h 273"/>
              <a:gd name="T40" fmla="*/ 85 w 119"/>
              <a:gd name="T41" fmla="*/ 71 h 273"/>
              <a:gd name="T42" fmla="*/ 92 w 119"/>
              <a:gd name="T43" fmla="*/ 92 h 273"/>
              <a:gd name="T44" fmla="*/ 113 w 119"/>
              <a:gd name="T45" fmla="*/ 92 h 273"/>
              <a:gd name="T46" fmla="*/ 115 w 119"/>
              <a:gd name="T47" fmla="*/ 124 h 273"/>
              <a:gd name="T48" fmla="*/ 119 w 119"/>
              <a:gd name="T49" fmla="*/ 152 h 273"/>
              <a:gd name="T50" fmla="*/ 115 w 119"/>
              <a:gd name="T51" fmla="*/ 145 h 273"/>
              <a:gd name="T52" fmla="*/ 113 w 119"/>
              <a:gd name="T53" fmla="*/ 132 h 273"/>
              <a:gd name="T54" fmla="*/ 109 w 119"/>
              <a:gd name="T55" fmla="*/ 141 h 273"/>
              <a:gd name="T56" fmla="*/ 113 w 119"/>
              <a:gd name="T57" fmla="*/ 158 h 273"/>
              <a:gd name="T58" fmla="*/ 115 w 119"/>
              <a:gd name="T59" fmla="*/ 173 h 273"/>
              <a:gd name="T60" fmla="*/ 106 w 119"/>
              <a:gd name="T61" fmla="*/ 186 h 273"/>
              <a:gd name="T62" fmla="*/ 98 w 119"/>
              <a:gd name="T63" fmla="*/ 198 h 273"/>
              <a:gd name="T64" fmla="*/ 96 w 119"/>
              <a:gd name="T65" fmla="*/ 211 h 273"/>
              <a:gd name="T66" fmla="*/ 94 w 119"/>
              <a:gd name="T67" fmla="*/ 218 h 273"/>
              <a:gd name="T68" fmla="*/ 87 w 119"/>
              <a:gd name="T69" fmla="*/ 228 h 273"/>
              <a:gd name="T70" fmla="*/ 87 w 119"/>
              <a:gd name="T71" fmla="*/ 237 h 273"/>
              <a:gd name="T72" fmla="*/ 79 w 119"/>
              <a:gd name="T73" fmla="*/ 260 h 273"/>
              <a:gd name="T74" fmla="*/ 74 w 119"/>
              <a:gd name="T75" fmla="*/ 271 h 273"/>
              <a:gd name="T76" fmla="*/ 66 w 119"/>
              <a:gd name="T77" fmla="*/ 264 h 273"/>
              <a:gd name="T78" fmla="*/ 66 w 119"/>
              <a:gd name="T79" fmla="*/ 245 h 273"/>
              <a:gd name="T80" fmla="*/ 45 w 119"/>
              <a:gd name="T81" fmla="*/ 250 h 273"/>
              <a:gd name="T82" fmla="*/ 25 w 119"/>
              <a:gd name="T83" fmla="*/ 235 h 273"/>
              <a:gd name="T84" fmla="*/ 4 w 119"/>
              <a:gd name="T85" fmla="*/ 222 h 273"/>
              <a:gd name="T86" fmla="*/ 4 w 119"/>
              <a:gd name="T87" fmla="*/ 218 h 273"/>
              <a:gd name="T88" fmla="*/ 0 w 119"/>
              <a:gd name="T89" fmla="*/ 20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273">
                <a:moveTo>
                  <a:pt x="0" y="209"/>
                </a:moveTo>
                <a:lnTo>
                  <a:pt x="2" y="203"/>
                </a:lnTo>
                <a:lnTo>
                  <a:pt x="4" y="194"/>
                </a:lnTo>
                <a:lnTo>
                  <a:pt x="8" y="186"/>
                </a:lnTo>
                <a:lnTo>
                  <a:pt x="15" y="179"/>
                </a:lnTo>
                <a:lnTo>
                  <a:pt x="19" y="177"/>
                </a:lnTo>
                <a:lnTo>
                  <a:pt x="21" y="177"/>
                </a:lnTo>
                <a:lnTo>
                  <a:pt x="30" y="171"/>
                </a:lnTo>
                <a:lnTo>
                  <a:pt x="30" y="164"/>
                </a:lnTo>
                <a:lnTo>
                  <a:pt x="32" y="156"/>
                </a:lnTo>
                <a:lnTo>
                  <a:pt x="34" y="156"/>
                </a:lnTo>
                <a:lnTo>
                  <a:pt x="34" y="156"/>
                </a:lnTo>
                <a:lnTo>
                  <a:pt x="36" y="154"/>
                </a:lnTo>
                <a:lnTo>
                  <a:pt x="40" y="147"/>
                </a:lnTo>
                <a:lnTo>
                  <a:pt x="49" y="139"/>
                </a:lnTo>
                <a:lnTo>
                  <a:pt x="53" y="132"/>
                </a:lnTo>
                <a:lnTo>
                  <a:pt x="36" y="120"/>
                </a:lnTo>
                <a:lnTo>
                  <a:pt x="30" y="113"/>
                </a:lnTo>
                <a:lnTo>
                  <a:pt x="25" y="111"/>
                </a:lnTo>
                <a:lnTo>
                  <a:pt x="19" y="107"/>
                </a:lnTo>
                <a:lnTo>
                  <a:pt x="17" y="100"/>
                </a:lnTo>
                <a:lnTo>
                  <a:pt x="11" y="96"/>
                </a:lnTo>
                <a:lnTo>
                  <a:pt x="4" y="90"/>
                </a:lnTo>
                <a:lnTo>
                  <a:pt x="2" y="77"/>
                </a:lnTo>
                <a:lnTo>
                  <a:pt x="6" y="71"/>
                </a:lnTo>
                <a:lnTo>
                  <a:pt x="8" y="64"/>
                </a:lnTo>
                <a:lnTo>
                  <a:pt x="6" y="56"/>
                </a:lnTo>
                <a:lnTo>
                  <a:pt x="2" y="56"/>
                </a:lnTo>
                <a:lnTo>
                  <a:pt x="0" y="49"/>
                </a:lnTo>
                <a:lnTo>
                  <a:pt x="6" y="43"/>
                </a:lnTo>
                <a:lnTo>
                  <a:pt x="15" y="24"/>
                </a:lnTo>
                <a:lnTo>
                  <a:pt x="15" y="17"/>
                </a:lnTo>
                <a:lnTo>
                  <a:pt x="19" y="11"/>
                </a:lnTo>
                <a:lnTo>
                  <a:pt x="25" y="0"/>
                </a:lnTo>
                <a:lnTo>
                  <a:pt x="100" y="26"/>
                </a:lnTo>
                <a:lnTo>
                  <a:pt x="102" y="32"/>
                </a:lnTo>
                <a:lnTo>
                  <a:pt x="100" y="41"/>
                </a:lnTo>
                <a:lnTo>
                  <a:pt x="98" y="51"/>
                </a:lnTo>
                <a:lnTo>
                  <a:pt x="98" y="56"/>
                </a:lnTo>
                <a:lnTo>
                  <a:pt x="92" y="62"/>
                </a:lnTo>
                <a:lnTo>
                  <a:pt x="89" y="62"/>
                </a:lnTo>
                <a:lnTo>
                  <a:pt x="85" y="71"/>
                </a:lnTo>
                <a:lnTo>
                  <a:pt x="85" y="90"/>
                </a:lnTo>
                <a:lnTo>
                  <a:pt x="92" y="92"/>
                </a:lnTo>
                <a:lnTo>
                  <a:pt x="98" y="90"/>
                </a:lnTo>
                <a:lnTo>
                  <a:pt x="113" y="92"/>
                </a:lnTo>
                <a:lnTo>
                  <a:pt x="115" y="100"/>
                </a:lnTo>
                <a:lnTo>
                  <a:pt x="115" y="124"/>
                </a:lnTo>
                <a:lnTo>
                  <a:pt x="117" y="130"/>
                </a:lnTo>
                <a:lnTo>
                  <a:pt x="119" y="152"/>
                </a:lnTo>
                <a:lnTo>
                  <a:pt x="117" y="160"/>
                </a:lnTo>
                <a:lnTo>
                  <a:pt x="115" y="145"/>
                </a:lnTo>
                <a:lnTo>
                  <a:pt x="117" y="139"/>
                </a:lnTo>
                <a:lnTo>
                  <a:pt x="113" y="132"/>
                </a:lnTo>
                <a:lnTo>
                  <a:pt x="113" y="139"/>
                </a:lnTo>
                <a:lnTo>
                  <a:pt x="109" y="141"/>
                </a:lnTo>
                <a:lnTo>
                  <a:pt x="113" y="147"/>
                </a:lnTo>
                <a:lnTo>
                  <a:pt x="113" y="158"/>
                </a:lnTo>
                <a:lnTo>
                  <a:pt x="111" y="164"/>
                </a:lnTo>
                <a:lnTo>
                  <a:pt x="115" y="173"/>
                </a:lnTo>
                <a:lnTo>
                  <a:pt x="113" y="179"/>
                </a:lnTo>
                <a:lnTo>
                  <a:pt x="106" y="186"/>
                </a:lnTo>
                <a:lnTo>
                  <a:pt x="106" y="194"/>
                </a:lnTo>
                <a:lnTo>
                  <a:pt x="98" y="198"/>
                </a:lnTo>
                <a:lnTo>
                  <a:pt x="102" y="205"/>
                </a:lnTo>
                <a:lnTo>
                  <a:pt x="96" y="211"/>
                </a:lnTo>
                <a:lnTo>
                  <a:pt x="100" y="218"/>
                </a:lnTo>
                <a:lnTo>
                  <a:pt x="94" y="218"/>
                </a:lnTo>
                <a:lnTo>
                  <a:pt x="87" y="226"/>
                </a:lnTo>
                <a:lnTo>
                  <a:pt x="87" y="228"/>
                </a:lnTo>
                <a:lnTo>
                  <a:pt x="89" y="230"/>
                </a:lnTo>
                <a:lnTo>
                  <a:pt x="87" y="237"/>
                </a:lnTo>
                <a:lnTo>
                  <a:pt x="85" y="252"/>
                </a:lnTo>
                <a:lnTo>
                  <a:pt x="79" y="260"/>
                </a:lnTo>
                <a:lnTo>
                  <a:pt x="79" y="267"/>
                </a:lnTo>
                <a:lnTo>
                  <a:pt x="74" y="271"/>
                </a:lnTo>
                <a:lnTo>
                  <a:pt x="66" y="273"/>
                </a:lnTo>
                <a:lnTo>
                  <a:pt x="66" y="264"/>
                </a:lnTo>
                <a:lnTo>
                  <a:pt x="68" y="254"/>
                </a:lnTo>
                <a:lnTo>
                  <a:pt x="66" y="245"/>
                </a:lnTo>
                <a:lnTo>
                  <a:pt x="51" y="245"/>
                </a:lnTo>
                <a:lnTo>
                  <a:pt x="45" y="250"/>
                </a:lnTo>
                <a:lnTo>
                  <a:pt x="32" y="239"/>
                </a:lnTo>
                <a:lnTo>
                  <a:pt x="25" y="235"/>
                </a:lnTo>
                <a:lnTo>
                  <a:pt x="17" y="233"/>
                </a:lnTo>
                <a:lnTo>
                  <a:pt x="4" y="222"/>
                </a:lnTo>
                <a:lnTo>
                  <a:pt x="4" y="218"/>
                </a:lnTo>
                <a:lnTo>
                  <a:pt x="4" y="218"/>
                </a:lnTo>
                <a:lnTo>
                  <a:pt x="0" y="211"/>
                </a:lnTo>
                <a:lnTo>
                  <a:pt x="0" y="209"/>
                </a:lnTo>
              </a:path>
            </a:pathLst>
          </a:custGeom>
          <a:solidFill>
            <a:srgbClr val="CCCCCC"/>
          </a:solidFill>
          <a:ln w="14288"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369" name="Freeform 775"/>
          <p:cNvSpPr>
            <a:spLocks/>
          </p:cNvSpPr>
          <p:nvPr/>
        </p:nvSpPr>
        <p:spPr bwMode="auto">
          <a:xfrm>
            <a:off x="6135687" y="3240088"/>
            <a:ext cx="1095375" cy="625475"/>
          </a:xfrm>
          <a:custGeom>
            <a:avLst/>
            <a:gdLst>
              <a:gd name="T0" fmla="*/ 30 w 690"/>
              <a:gd name="T1" fmla="*/ 377 h 394"/>
              <a:gd name="T2" fmla="*/ 62 w 690"/>
              <a:gd name="T3" fmla="*/ 354 h 394"/>
              <a:gd name="T4" fmla="*/ 77 w 690"/>
              <a:gd name="T5" fmla="*/ 326 h 394"/>
              <a:gd name="T6" fmla="*/ 134 w 690"/>
              <a:gd name="T7" fmla="*/ 275 h 394"/>
              <a:gd name="T8" fmla="*/ 173 w 690"/>
              <a:gd name="T9" fmla="*/ 299 h 394"/>
              <a:gd name="T10" fmla="*/ 209 w 690"/>
              <a:gd name="T11" fmla="*/ 286 h 394"/>
              <a:gd name="T12" fmla="*/ 234 w 690"/>
              <a:gd name="T13" fmla="*/ 264 h 394"/>
              <a:gd name="T14" fmla="*/ 281 w 690"/>
              <a:gd name="T15" fmla="*/ 247 h 394"/>
              <a:gd name="T16" fmla="*/ 279 w 690"/>
              <a:gd name="T17" fmla="*/ 224 h 394"/>
              <a:gd name="T18" fmla="*/ 300 w 690"/>
              <a:gd name="T19" fmla="*/ 173 h 394"/>
              <a:gd name="T20" fmla="*/ 313 w 690"/>
              <a:gd name="T21" fmla="*/ 141 h 394"/>
              <a:gd name="T22" fmla="*/ 328 w 690"/>
              <a:gd name="T23" fmla="*/ 122 h 394"/>
              <a:gd name="T24" fmla="*/ 354 w 690"/>
              <a:gd name="T25" fmla="*/ 118 h 394"/>
              <a:gd name="T26" fmla="*/ 364 w 690"/>
              <a:gd name="T27" fmla="*/ 79 h 394"/>
              <a:gd name="T28" fmla="*/ 392 w 690"/>
              <a:gd name="T29" fmla="*/ 62 h 394"/>
              <a:gd name="T30" fmla="*/ 407 w 690"/>
              <a:gd name="T31" fmla="*/ 20 h 394"/>
              <a:gd name="T32" fmla="*/ 456 w 690"/>
              <a:gd name="T33" fmla="*/ 22 h 394"/>
              <a:gd name="T34" fmla="*/ 483 w 690"/>
              <a:gd name="T35" fmla="*/ 7 h 394"/>
              <a:gd name="T36" fmla="*/ 503 w 690"/>
              <a:gd name="T37" fmla="*/ 24 h 394"/>
              <a:gd name="T38" fmla="*/ 528 w 690"/>
              <a:gd name="T39" fmla="*/ 37 h 394"/>
              <a:gd name="T40" fmla="*/ 528 w 690"/>
              <a:gd name="T41" fmla="*/ 64 h 394"/>
              <a:gd name="T42" fmla="*/ 520 w 690"/>
              <a:gd name="T43" fmla="*/ 69 h 394"/>
              <a:gd name="T44" fmla="*/ 520 w 690"/>
              <a:gd name="T45" fmla="*/ 103 h 394"/>
              <a:gd name="T46" fmla="*/ 547 w 690"/>
              <a:gd name="T47" fmla="*/ 96 h 394"/>
              <a:gd name="T48" fmla="*/ 571 w 690"/>
              <a:gd name="T49" fmla="*/ 113 h 394"/>
              <a:gd name="T50" fmla="*/ 594 w 690"/>
              <a:gd name="T51" fmla="*/ 122 h 394"/>
              <a:gd name="T52" fmla="*/ 609 w 690"/>
              <a:gd name="T53" fmla="*/ 128 h 394"/>
              <a:gd name="T54" fmla="*/ 622 w 690"/>
              <a:gd name="T55" fmla="*/ 147 h 394"/>
              <a:gd name="T56" fmla="*/ 609 w 690"/>
              <a:gd name="T57" fmla="*/ 160 h 394"/>
              <a:gd name="T58" fmla="*/ 577 w 690"/>
              <a:gd name="T59" fmla="*/ 141 h 394"/>
              <a:gd name="T60" fmla="*/ 547 w 690"/>
              <a:gd name="T61" fmla="*/ 120 h 394"/>
              <a:gd name="T62" fmla="*/ 567 w 690"/>
              <a:gd name="T63" fmla="*/ 137 h 394"/>
              <a:gd name="T64" fmla="*/ 598 w 690"/>
              <a:gd name="T65" fmla="*/ 160 h 394"/>
              <a:gd name="T66" fmla="*/ 622 w 690"/>
              <a:gd name="T67" fmla="*/ 175 h 394"/>
              <a:gd name="T68" fmla="*/ 637 w 690"/>
              <a:gd name="T69" fmla="*/ 192 h 394"/>
              <a:gd name="T70" fmla="*/ 618 w 690"/>
              <a:gd name="T71" fmla="*/ 194 h 394"/>
              <a:gd name="T72" fmla="*/ 592 w 690"/>
              <a:gd name="T73" fmla="*/ 190 h 394"/>
              <a:gd name="T74" fmla="*/ 620 w 690"/>
              <a:gd name="T75" fmla="*/ 213 h 394"/>
              <a:gd name="T76" fmla="*/ 641 w 690"/>
              <a:gd name="T77" fmla="*/ 226 h 394"/>
              <a:gd name="T78" fmla="*/ 624 w 690"/>
              <a:gd name="T79" fmla="*/ 233 h 394"/>
              <a:gd name="T80" fmla="*/ 596 w 690"/>
              <a:gd name="T81" fmla="*/ 222 h 394"/>
              <a:gd name="T82" fmla="*/ 579 w 690"/>
              <a:gd name="T83" fmla="*/ 220 h 394"/>
              <a:gd name="T84" fmla="*/ 547 w 690"/>
              <a:gd name="T85" fmla="*/ 218 h 394"/>
              <a:gd name="T86" fmla="*/ 596 w 690"/>
              <a:gd name="T87" fmla="*/ 224 h 394"/>
              <a:gd name="T88" fmla="*/ 611 w 690"/>
              <a:gd name="T89" fmla="*/ 235 h 394"/>
              <a:gd name="T90" fmla="*/ 633 w 690"/>
              <a:gd name="T91" fmla="*/ 247 h 394"/>
              <a:gd name="T92" fmla="*/ 643 w 690"/>
              <a:gd name="T93" fmla="*/ 239 h 394"/>
              <a:gd name="T94" fmla="*/ 690 w 690"/>
              <a:gd name="T95" fmla="*/ 275 h 394"/>
              <a:gd name="T96" fmla="*/ 677 w 690"/>
              <a:gd name="T97" fmla="*/ 271 h 394"/>
              <a:gd name="T98" fmla="*/ 673 w 690"/>
              <a:gd name="T99" fmla="*/ 279 h 394"/>
              <a:gd name="T100" fmla="*/ 222 w 690"/>
              <a:gd name="T101" fmla="*/ 365 h 394"/>
              <a:gd name="T102" fmla="*/ 139 w 690"/>
              <a:gd name="T103" fmla="*/ 375 h 394"/>
              <a:gd name="T104" fmla="*/ 0 w 690"/>
              <a:gd name="T10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0" h="394">
                <a:moveTo>
                  <a:pt x="0" y="394"/>
                </a:moveTo>
                <a:lnTo>
                  <a:pt x="15" y="384"/>
                </a:lnTo>
                <a:lnTo>
                  <a:pt x="21" y="384"/>
                </a:lnTo>
                <a:lnTo>
                  <a:pt x="30" y="377"/>
                </a:lnTo>
                <a:lnTo>
                  <a:pt x="47" y="371"/>
                </a:lnTo>
                <a:lnTo>
                  <a:pt x="47" y="362"/>
                </a:lnTo>
                <a:lnTo>
                  <a:pt x="56" y="358"/>
                </a:lnTo>
                <a:lnTo>
                  <a:pt x="62" y="354"/>
                </a:lnTo>
                <a:lnTo>
                  <a:pt x="68" y="348"/>
                </a:lnTo>
                <a:lnTo>
                  <a:pt x="68" y="341"/>
                </a:lnTo>
                <a:lnTo>
                  <a:pt x="77" y="335"/>
                </a:lnTo>
                <a:lnTo>
                  <a:pt x="77" y="326"/>
                </a:lnTo>
                <a:lnTo>
                  <a:pt x="81" y="318"/>
                </a:lnTo>
                <a:lnTo>
                  <a:pt x="107" y="301"/>
                </a:lnTo>
                <a:lnTo>
                  <a:pt x="134" y="267"/>
                </a:lnTo>
                <a:lnTo>
                  <a:pt x="134" y="275"/>
                </a:lnTo>
                <a:lnTo>
                  <a:pt x="141" y="282"/>
                </a:lnTo>
                <a:lnTo>
                  <a:pt x="147" y="288"/>
                </a:lnTo>
                <a:lnTo>
                  <a:pt x="162" y="296"/>
                </a:lnTo>
                <a:lnTo>
                  <a:pt x="173" y="299"/>
                </a:lnTo>
                <a:lnTo>
                  <a:pt x="188" y="290"/>
                </a:lnTo>
                <a:lnTo>
                  <a:pt x="190" y="284"/>
                </a:lnTo>
                <a:lnTo>
                  <a:pt x="202" y="288"/>
                </a:lnTo>
                <a:lnTo>
                  <a:pt x="209" y="286"/>
                </a:lnTo>
                <a:lnTo>
                  <a:pt x="224" y="279"/>
                </a:lnTo>
                <a:lnTo>
                  <a:pt x="232" y="277"/>
                </a:lnTo>
                <a:lnTo>
                  <a:pt x="234" y="271"/>
                </a:lnTo>
                <a:lnTo>
                  <a:pt x="234" y="264"/>
                </a:lnTo>
                <a:lnTo>
                  <a:pt x="245" y="267"/>
                </a:lnTo>
                <a:lnTo>
                  <a:pt x="258" y="256"/>
                </a:lnTo>
                <a:lnTo>
                  <a:pt x="266" y="256"/>
                </a:lnTo>
                <a:lnTo>
                  <a:pt x="281" y="247"/>
                </a:lnTo>
                <a:lnTo>
                  <a:pt x="281" y="245"/>
                </a:lnTo>
                <a:lnTo>
                  <a:pt x="279" y="239"/>
                </a:lnTo>
                <a:lnTo>
                  <a:pt x="285" y="233"/>
                </a:lnTo>
                <a:lnTo>
                  <a:pt x="279" y="224"/>
                </a:lnTo>
                <a:lnTo>
                  <a:pt x="281" y="211"/>
                </a:lnTo>
                <a:lnTo>
                  <a:pt x="290" y="196"/>
                </a:lnTo>
                <a:lnTo>
                  <a:pt x="296" y="188"/>
                </a:lnTo>
                <a:lnTo>
                  <a:pt x="300" y="173"/>
                </a:lnTo>
                <a:lnTo>
                  <a:pt x="300" y="164"/>
                </a:lnTo>
                <a:lnTo>
                  <a:pt x="307" y="158"/>
                </a:lnTo>
                <a:lnTo>
                  <a:pt x="311" y="143"/>
                </a:lnTo>
                <a:lnTo>
                  <a:pt x="313" y="141"/>
                </a:lnTo>
                <a:lnTo>
                  <a:pt x="313" y="132"/>
                </a:lnTo>
                <a:lnTo>
                  <a:pt x="313" y="118"/>
                </a:lnTo>
                <a:lnTo>
                  <a:pt x="322" y="115"/>
                </a:lnTo>
                <a:lnTo>
                  <a:pt x="328" y="122"/>
                </a:lnTo>
                <a:lnTo>
                  <a:pt x="330" y="126"/>
                </a:lnTo>
                <a:lnTo>
                  <a:pt x="343" y="128"/>
                </a:lnTo>
                <a:lnTo>
                  <a:pt x="351" y="126"/>
                </a:lnTo>
                <a:lnTo>
                  <a:pt x="354" y="118"/>
                </a:lnTo>
                <a:lnTo>
                  <a:pt x="358" y="103"/>
                </a:lnTo>
                <a:lnTo>
                  <a:pt x="360" y="96"/>
                </a:lnTo>
                <a:lnTo>
                  <a:pt x="362" y="86"/>
                </a:lnTo>
                <a:lnTo>
                  <a:pt x="364" y="79"/>
                </a:lnTo>
                <a:lnTo>
                  <a:pt x="373" y="79"/>
                </a:lnTo>
                <a:lnTo>
                  <a:pt x="379" y="77"/>
                </a:lnTo>
                <a:lnTo>
                  <a:pt x="386" y="62"/>
                </a:lnTo>
                <a:lnTo>
                  <a:pt x="392" y="62"/>
                </a:lnTo>
                <a:lnTo>
                  <a:pt x="398" y="56"/>
                </a:lnTo>
                <a:lnTo>
                  <a:pt x="403" y="41"/>
                </a:lnTo>
                <a:lnTo>
                  <a:pt x="407" y="34"/>
                </a:lnTo>
                <a:lnTo>
                  <a:pt x="407" y="20"/>
                </a:lnTo>
                <a:lnTo>
                  <a:pt x="409" y="11"/>
                </a:lnTo>
                <a:lnTo>
                  <a:pt x="407" y="5"/>
                </a:lnTo>
                <a:lnTo>
                  <a:pt x="415" y="0"/>
                </a:lnTo>
                <a:lnTo>
                  <a:pt x="456" y="22"/>
                </a:lnTo>
                <a:lnTo>
                  <a:pt x="460" y="15"/>
                </a:lnTo>
                <a:lnTo>
                  <a:pt x="462" y="2"/>
                </a:lnTo>
                <a:lnTo>
                  <a:pt x="477" y="2"/>
                </a:lnTo>
                <a:lnTo>
                  <a:pt x="483" y="7"/>
                </a:lnTo>
                <a:lnTo>
                  <a:pt x="488" y="13"/>
                </a:lnTo>
                <a:lnTo>
                  <a:pt x="486" y="20"/>
                </a:lnTo>
                <a:lnTo>
                  <a:pt x="494" y="26"/>
                </a:lnTo>
                <a:lnTo>
                  <a:pt x="503" y="24"/>
                </a:lnTo>
                <a:lnTo>
                  <a:pt x="511" y="28"/>
                </a:lnTo>
                <a:lnTo>
                  <a:pt x="518" y="32"/>
                </a:lnTo>
                <a:lnTo>
                  <a:pt x="522" y="34"/>
                </a:lnTo>
                <a:lnTo>
                  <a:pt x="528" y="37"/>
                </a:lnTo>
                <a:lnTo>
                  <a:pt x="532" y="45"/>
                </a:lnTo>
                <a:lnTo>
                  <a:pt x="532" y="49"/>
                </a:lnTo>
                <a:lnTo>
                  <a:pt x="535" y="56"/>
                </a:lnTo>
                <a:lnTo>
                  <a:pt x="528" y="64"/>
                </a:lnTo>
                <a:lnTo>
                  <a:pt x="528" y="66"/>
                </a:lnTo>
                <a:lnTo>
                  <a:pt x="526" y="71"/>
                </a:lnTo>
                <a:lnTo>
                  <a:pt x="524" y="71"/>
                </a:lnTo>
                <a:lnTo>
                  <a:pt x="520" y="69"/>
                </a:lnTo>
                <a:lnTo>
                  <a:pt x="518" y="90"/>
                </a:lnTo>
                <a:lnTo>
                  <a:pt x="520" y="96"/>
                </a:lnTo>
                <a:lnTo>
                  <a:pt x="518" y="96"/>
                </a:lnTo>
                <a:lnTo>
                  <a:pt x="520" y="103"/>
                </a:lnTo>
                <a:lnTo>
                  <a:pt x="526" y="105"/>
                </a:lnTo>
                <a:lnTo>
                  <a:pt x="530" y="103"/>
                </a:lnTo>
                <a:lnTo>
                  <a:pt x="539" y="96"/>
                </a:lnTo>
                <a:lnTo>
                  <a:pt x="547" y="96"/>
                </a:lnTo>
                <a:lnTo>
                  <a:pt x="547" y="103"/>
                </a:lnTo>
                <a:lnTo>
                  <a:pt x="558" y="113"/>
                </a:lnTo>
                <a:lnTo>
                  <a:pt x="562" y="115"/>
                </a:lnTo>
                <a:lnTo>
                  <a:pt x="571" y="113"/>
                </a:lnTo>
                <a:lnTo>
                  <a:pt x="573" y="115"/>
                </a:lnTo>
                <a:lnTo>
                  <a:pt x="586" y="113"/>
                </a:lnTo>
                <a:lnTo>
                  <a:pt x="588" y="115"/>
                </a:lnTo>
                <a:lnTo>
                  <a:pt x="594" y="122"/>
                </a:lnTo>
                <a:lnTo>
                  <a:pt x="594" y="126"/>
                </a:lnTo>
                <a:lnTo>
                  <a:pt x="603" y="126"/>
                </a:lnTo>
                <a:lnTo>
                  <a:pt x="603" y="128"/>
                </a:lnTo>
                <a:lnTo>
                  <a:pt x="609" y="128"/>
                </a:lnTo>
                <a:lnTo>
                  <a:pt x="624" y="135"/>
                </a:lnTo>
                <a:lnTo>
                  <a:pt x="624" y="141"/>
                </a:lnTo>
                <a:lnTo>
                  <a:pt x="618" y="141"/>
                </a:lnTo>
                <a:lnTo>
                  <a:pt x="622" y="147"/>
                </a:lnTo>
                <a:lnTo>
                  <a:pt x="622" y="156"/>
                </a:lnTo>
                <a:lnTo>
                  <a:pt x="618" y="164"/>
                </a:lnTo>
                <a:lnTo>
                  <a:pt x="609" y="162"/>
                </a:lnTo>
                <a:lnTo>
                  <a:pt x="609" y="160"/>
                </a:lnTo>
                <a:lnTo>
                  <a:pt x="603" y="160"/>
                </a:lnTo>
                <a:lnTo>
                  <a:pt x="588" y="149"/>
                </a:lnTo>
                <a:lnTo>
                  <a:pt x="584" y="147"/>
                </a:lnTo>
                <a:lnTo>
                  <a:pt x="577" y="141"/>
                </a:lnTo>
                <a:lnTo>
                  <a:pt x="571" y="137"/>
                </a:lnTo>
                <a:lnTo>
                  <a:pt x="564" y="130"/>
                </a:lnTo>
                <a:lnTo>
                  <a:pt x="556" y="124"/>
                </a:lnTo>
                <a:lnTo>
                  <a:pt x="547" y="120"/>
                </a:lnTo>
                <a:lnTo>
                  <a:pt x="541" y="122"/>
                </a:lnTo>
                <a:lnTo>
                  <a:pt x="547" y="122"/>
                </a:lnTo>
                <a:lnTo>
                  <a:pt x="562" y="130"/>
                </a:lnTo>
                <a:lnTo>
                  <a:pt x="567" y="137"/>
                </a:lnTo>
                <a:lnTo>
                  <a:pt x="571" y="141"/>
                </a:lnTo>
                <a:lnTo>
                  <a:pt x="577" y="145"/>
                </a:lnTo>
                <a:lnTo>
                  <a:pt x="584" y="154"/>
                </a:lnTo>
                <a:lnTo>
                  <a:pt x="598" y="160"/>
                </a:lnTo>
                <a:lnTo>
                  <a:pt x="601" y="164"/>
                </a:lnTo>
                <a:lnTo>
                  <a:pt x="607" y="169"/>
                </a:lnTo>
                <a:lnTo>
                  <a:pt x="613" y="169"/>
                </a:lnTo>
                <a:lnTo>
                  <a:pt x="622" y="175"/>
                </a:lnTo>
                <a:lnTo>
                  <a:pt x="618" y="177"/>
                </a:lnTo>
                <a:lnTo>
                  <a:pt x="626" y="179"/>
                </a:lnTo>
                <a:lnTo>
                  <a:pt x="633" y="179"/>
                </a:lnTo>
                <a:lnTo>
                  <a:pt x="637" y="192"/>
                </a:lnTo>
                <a:lnTo>
                  <a:pt x="635" y="198"/>
                </a:lnTo>
                <a:lnTo>
                  <a:pt x="628" y="194"/>
                </a:lnTo>
                <a:lnTo>
                  <a:pt x="620" y="192"/>
                </a:lnTo>
                <a:lnTo>
                  <a:pt x="618" y="194"/>
                </a:lnTo>
                <a:lnTo>
                  <a:pt x="624" y="201"/>
                </a:lnTo>
                <a:lnTo>
                  <a:pt x="620" y="209"/>
                </a:lnTo>
                <a:lnTo>
                  <a:pt x="607" y="203"/>
                </a:lnTo>
                <a:lnTo>
                  <a:pt x="592" y="190"/>
                </a:lnTo>
                <a:lnTo>
                  <a:pt x="584" y="188"/>
                </a:lnTo>
                <a:lnTo>
                  <a:pt x="601" y="201"/>
                </a:lnTo>
                <a:lnTo>
                  <a:pt x="607" y="207"/>
                </a:lnTo>
                <a:lnTo>
                  <a:pt x="620" y="213"/>
                </a:lnTo>
                <a:lnTo>
                  <a:pt x="628" y="211"/>
                </a:lnTo>
                <a:lnTo>
                  <a:pt x="630" y="218"/>
                </a:lnTo>
                <a:lnTo>
                  <a:pt x="639" y="220"/>
                </a:lnTo>
                <a:lnTo>
                  <a:pt x="641" y="226"/>
                </a:lnTo>
                <a:lnTo>
                  <a:pt x="639" y="235"/>
                </a:lnTo>
                <a:lnTo>
                  <a:pt x="635" y="237"/>
                </a:lnTo>
                <a:lnTo>
                  <a:pt x="630" y="241"/>
                </a:lnTo>
                <a:lnTo>
                  <a:pt x="624" y="233"/>
                </a:lnTo>
                <a:lnTo>
                  <a:pt x="616" y="230"/>
                </a:lnTo>
                <a:lnTo>
                  <a:pt x="609" y="224"/>
                </a:lnTo>
                <a:lnTo>
                  <a:pt x="603" y="215"/>
                </a:lnTo>
                <a:lnTo>
                  <a:pt x="596" y="222"/>
                </a:lnTo>
                <a:lnTo>
                  <a:pt x="590" y="218"/>
                </a:lnTo>
                <a:lnTo>
                  <a:pt x="581" y="211"/>
                </a:lnTo>
                <a:lnTo>
                  <a:pt x="581" y="220"/>
                </a:lnTo>
                <a:lnTo>
                  <a:pt x="579" y="220"/>
                </a:lnTo>
                <a:lnTo>
                  <a:pt x="571" y="213"/>
                </a:lnTo>
                <a:lnTo>
                  <a:pt x="556" y="215"/>
                </a:lnTo>
                <a:lnTo>
                  <a:pt x="550" y="213"/>
                </a:lnTo>
                <a:lnTo>
                  <a:pt x="547" y="218"/>
                </a:lnTo>
                <a:lnTo>
                  <a:pt x="569" y="218"/>
                </a:lnTo>
                <a:lnTo>
                  <a:pt x="584" y="224"/>
                </a:lnTo>
                <a:lnTo>
                  <a:pt x="590" y="222"/>
                </a:lnTo>
                <a:lnTo>
                  <a:pt x="596" y="224"/>
                </a:lnTo>
                <a:lnTo>
                  <a:pt x="605" y="222"/>
                </a:lnTo>
                <a:lnTo>
                  <a:pt x="607" y="228"/>
                </a:lnTo>
                <a:lnTo>
                  <a:pt x="611" y="237"/>
                </a:lnTo>
                <a:lnTo>
                  <a:pt x="611" y="235"/>
                </a:lnTo>
                <a:lnTo>
                  <a:pt x="620" y="241"/>
                </a:lnTo>
                <a:lnTo>
                  <a:pt x="626" y="247"/>
                </a:lnTo>
                <a:lnTo>
                  <a:pt x="624" y="254"/>
                </a:lnTo>
                <a:lnTo>
                  <a:pt x="633" y="247"/>
                </a:lnTo>
                <a:lnTo>
                  <a:pt x="637" y="247"/>
                </a:lnTo>
                <a:lnTo>
                  <a:pt x="643" y="252"/>
                </a:lnTo>
                <a:lnTo>
                  <a:pt x="641" y="247"/>
                </a:lnTo>
                <a:lnTo>
                  <a:pt x="643" y="239"/>
                </a:lnTo>
                <a:lnTo>
                  <a:pt x="650" y="241"/>
                </a:lnTo>
                <a:lnTo>
                  <a:pt x="671" y="239"/>
                </a:lnTo>
                <a:lnTo>
                  <a:pt x="677" y="254"/>
                </a:lnTo>
                <a:lnTo>
                  <a:pt x="690" y="275"/>
                </a:lnTo>
                <a:lnTo>
                  <a:pt x="688" y="277"/>
                </a:lnTo>
                <a:lnTo>
                  <a:pt x="684" y="269"/>
                </a:lnTo>
                <a:lnTo>
                  <a:pt x="677" y="262"/>
                </a:lnTo>
                <a:lnTo>
                  <a:pt x="677" y="271"/>
                </a:lnTo>
                <a:lnTo>
                  <a:pt x="679" y="277"/>
                </a:lnTo>
                <a:lnTo>
                  <a:pt x="675" y="279"/>
                </a:lnTo>
                <a:lnTo>
                  <a:pt x="671" y="275"/>
                </a:lnTo>
                <a:lnTo>
                  <a:pt x="673" y="279"/>
                </a:lnTo>
                <a:lnTo>
                  <a:pt x="586" y="299"/>
                </a:lnTo>
                <a:lnTo>
                  <a:pt x="488" y="318"/>
                </a:lnTo>
                <a:lnTo>
                  <a:pt x="292" y="354"/>
                </a:lnTo>
                <a:lnTo>
                  <a:pt x="222" y="365"/>
                </a:lnTo>
                <a:lnTo>
                  <a:pt x="192" y="369"/>
                </a:lnTo>
                <a:lnTo>
                  <a:pt x="179" y="367"/>
                </a:lnTo>
                <a:lnTo>
                  <a:pt x="168" y="369"/>
                </a:lnTo>
                <a:lnTo>
                  <a:pt x="139" y="375"/>
                </a:lnTo>
                <a:lnTo>
                  <a:pt x="102" y="379"/>
                </a:lnTo>
                <a:lnTo>
                  <a:pt x="43" y="390"/>
                </a:lnTo>
                <a:lnTo>
                  <a:pt x="28" y="390"/>
                </a:lnTo>
                <a:lnTo>
                  <a:pt x="0" y="39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p:cNvGrpSpPr/>
          <p:nvPr/>
        </p:nvGrpSpPr>
        <p:grpSpPr>
          <a:xfrm>
            <a:off x="6142113" y="3240088"/>
            <a:ext cx="1101725" cy="625475"/>
            <a:chOff x="6135687" y="3240088"/>
            <a:chExt cx="1101725" cy="625475"/>
          </a:xfrm>
          <a:solidFill>
            <a:srgbClr val="CCCCCC"/>
          </a:solidFill>
        </p:grpSpPr>
        <p:sp>
          <p:nvSpPr>
            <p:cNvPr id="1368" name="Freeform 774"/>
            <p:cNvSpPr>
              <a:spLocks/>
            </p:cNvSpPr>
            <p:nvPr/>
          </p:nvSpPr>
          <p:spPr bwMode="auto">
            <a:xfrm>
              <a:off x="6135687" y="3240088"/>
              <a:ext cx="1095375" cy="625475"/>
            </a:xfrm>
            <a:custGeom>
              <a:avLst/>
              <a:gdLst>
                <a:gd name="T0" fmla="*/ 30 w 690"/>
                <a:gd name="T1" fmla="*/ 377 h 394"/>
                <a:gd name="T2" fmla="*/ 62 w 690"/>
                <a:gd name="T3" fmla="*/ 354 h 394"/>
                <a:gd name="T4" fmla="*/ 77 w 690"/>
                <a:gd name="T5" fmla="*/ 326 h 394"/>
                <a:gd name="T6" fmla="*/ 134 w 690"/>
                <a:gd name="T7" fmla="*/ 275 h 394"/>
                <a:gd name="T8" fmla="*/ 173 w 690"/>
                <a:gd name="T9" fmla="*/ 299 h 394"/>
                <a:gd name="T10" fmla="*/ 209 w 690"/>
                <a:gd name="T11" fmla="*/ 286 h 394"/>
                <a:gd name="T12" fmla="*/ 234 w 690"/>
                <a:gd name="T13" fmla="*/ 264 h 394"/>
                <a:gd name="T14" fmla="*/ 281 w 690"/>
                <a:gd name="T15" fmla="*/ 247 h 394"/>
                <a:gd name="T16" fmla="*/ 279 w 690"/>
                <a:gd name="T17" fmla="*/ 224 h 394"/>
                <a:gd name="T18" fmla="*/ 300 w 690"/>
                <a:gd name="T19" fmla="*/ 173 h 394"/>
                <a:gd name="T20" fmla="*/ 313 w 690"/>
                <a:gd name="T21" fmla="*/ 141 h 394"/>
                <a:gd name="T22" fmla="*/ 328 w 690"/>
                <a:gd name="T23" fmla="*/ 122 h 394"/>
                <a:gd name="T24" fmla="*/ 354 w 690"/>
                <a:gd name="T25" fmla="*/ 118 h 394"/>
                <a:gd name="T26" fmla="*/ 364 w 690"/>
                <a:gd name="T27" fmla="*/ 79 h 394"/>
                <a:gd name="T28" fmla="*/ 392 w 690"/>
                <a:gd name="T29" fmla="*/ 62 h 394"/>
                <a:gd name="T30" fmla="*/ 407 w 690"/>
                <a:gd name="T31" fmla="*/ 20 h 394"/>
                <a:gd name="T32" fmla="*/ 456 w 690"/>
                <a:gd name="T33" fmla="*/ 22 h 394"/>
                <a:gd name="T34" fmla="*/ 483 w 690"/>
                <a:gd name="T35" fmla="*/ 7 h 394"/>
                <a:gd name="T36" fmla="*/ 503 w 690"/>
                <a:gd name="T37" fmla="*/ 24 h 394"/>
                <a:gd name="T38" fmla="*/ 528 w 690"/>
                <a:gd name="T39" fmla="*/ 37 h 394"/>
                <a:gd name="T40" fmla="*/ 528 w 690"/>
                <a:gd name="T41" fmla="*/ 64 h 394"/>
                <a:gd name="T42" fmla="*/ 520 w 690"/>
                <a:gd name="T43" fmla="*/ 69 h 394"/>
                <a:gd name="T44" fmla="*/ 520 w 690"/>
                <a:gd name="T45" fmla="*/ 103 h 394"/>
                <a:gd name="T46" fmla="*/ 547 w 690"/>
                <a:gd name="T47" fmla="*/ 96 h 394"/>
                <a:gd name="T48" fmla="*/ 571 w 690"/>
                <a:gd name="T49" fmla="*/ 113 h 394"/>
                <a:gd name="T50" fmla="*/ 594 w 690"/>
                <a:gd name="T51" fmla="*/ 122 h 394"/>
                <a:gd name="T52" fmla="*/ 609 w 690"/>
                <a:gd name="T53" fmla="*/ 128 h 394"/>
                <a:gd name="T54" fmla="*/ 622 w 690"/>
                <a:gd name="T55" fmla="*/ 147 h 394"/>
                <a:gd name="T56" fmla="*/ 609 w 690"/>
                <a:gd name="T57" fmla="*/ 160 h 394"/>
                <a:gd name="T58" fmla="*/ 577 w 690"/>
                <a:gd name="T59" fmla="*/ 141 h 394"/>
                <a:gd name="T60" fmla="*/ 547 w 690"/>
                <a:gd name="T61" fmla="*/ 120 h 394"/>
                <a:gd name="T62" fmla="*/ 567 w 690"/>
                <a:gd name="T63" fmla="*/ 137 h 394"/>
                <a:gd name="T64" fmla="*/ 598 w 690"/>
                <a:gd name="T65" fmla="*/ 160 h 394"/>
                <a:gd name="T66" fmla="*/ 622 w 690"/>
                <a:gd name="T67" fmla="*/ 175 h 394"/>
                <a:gd name="T68" fmla="*/ 637 w 690"/>
                <a:gd name="T69" fmla="*/ 192 h 394"/>
                <a:gd name="T70" fmla="*/ 618 w 690"/>
                <a:gd name="T71" fmla="*/ 194 h 394"/>
                <a:gd name="T72" fmla="*/ 592 w 690"/>
                <a:gd name="T73" fmla="*/ 190 h 394"/>
                <a:gd name="T74" fmla="*/ 620 w 690"/>
                <a:gd name="T75" fmla="*/ 213 h 394"/>
                <a:gd name="T76" fmla="*/ 641 w 690"/>
                <a:gd name="T77" fmla="*/ 226 h 394"/>
                <a:gd name="T78" fmla="*/ 624 w 690"/>
                <a:gd name="T79" fmla="*/ 233 h 394"/>
                <a:gd name="T80" fmla="*/ 596 w 690"/>
                <a:gd name="T81" fmla="*/ 222 h 394"/>
                <a:gd name="T82" fmla="*/ 579 w 690"/>
                <a:gd name="T83" fmla="*/ 220 h 394"/>
                <a:gd name="T84" fmla="*/ 547 w 690"/>
                <a:gd name="T85" fmla="*/ 218 h 394"/>
                <a:gd name="T86" fmla="*/ 596 w 690"/>
                <a:gd name="T87" fmla="*/ 224 h 394"/>
                <a:gd name="T88" fmla="*/ 611 w 690"/>
                <a:gd name="T89" fmla="*/ 235 h 394"/>
                <a:gd name="T90" fmla="*/ 633 w 690"/>
                <a:gd name="T91" fmla="*/ 247 h 394"/>
                <a:gd name="T92" fmla="*/ 643 w 690"/>
                <a:gd name="T93" fmla="*/ 239 h 394"/>
                <a:gd name="T94" fmla="*/ 690 w 690"/>
                <a:gd name="T95" fmla="*/ 275 h 394"/>
                <a:gd name="T96" fmla="*/ 677 w 690"/>
                <a:gd name="T97" fmla="*/ 271 h 394"/>
                <a:gd name="T98" fmla="*/ 673 w 690"/>
                <a:gd name="T99" fmla="*/ 279 h 394"/>
                <a:gd name="T100" fmla="*/ 222 w 690"/>
                <a:gd name="T101" fmla="*/ 365 h 394"/>
                <a:gd name="T102" fmla="*/ 139 w 690"/>
                <a:gd name="T103" fmla="*/ 375 h 394"/>
                <a:gd name="T104" fmla="*/ 0 w 690"/>
                <a:gd name="T10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0" h="394">
                  <a:moveTo>
                    <a:pt x="0" y="394"/>
                  </a:moveTo>
                  <a:lnTo>
                    <a:pt x="15" y="384"/>
                  </a:lnTo>
                  <a:lnTo>
                    <a:pt x="21" y="384"/>
                  </a:lnTo>
                  <a:lnTo>
                    <a:pt x="30" y="377"/>
                  </a:lnTo>
                  <a:lnTo>
                    <a:pt x="47" y="371"/>
                  </a:lnTo>
                  <a:lnTo>
                    <a:pt x="47" y="362"/>
                  </a:lnTo>
                  <a:lnTo>
                    <a:pt x="56" y="358"/>
                  </a:lnTo>
                  <a:lnTo>
                    <a:pt x="62" y="354"/>
                  </a:lnTo>
                  <a:lnTo>
                    <a:pt x="68" y="348"/>
                  </a:lnTo>
                  <a:lnTo>
                    <a:pt x="68" y="341"/>
                  </a:lnTo>
                  <a:lnTo>
                    <a:pt x="77" y="335"/>
                  </a:lnTo>
                  <a:lnTo>
                    <a:pt x="77" y="326"/>
                  </a:lnTo>
                  <a:lnTo>
                    <a:pt x="81" y="318"/>
                  </a:lnTo>
                  <a:lnTo>
                    <a:pt x="107" y="301"/>
                  </a:lnTo>
                  <a:lnTo>
                    <a:pt x="134" y="267"/>
                  </a:lnTo>
                  <a:lnTo>
                    <a:pt x="134" y="275"/>
                  </a:lnTo>
                  <a:lnTo>
                    <a:pt x="141" y="282"/>
                  </a:lnTo>
                  <a:lnTo>
                    <a:pt x="147" y="288"/>
                  </a:lnTo>
                  <a:lnTo>
                    <a:pt x="162" y="296"/>
                  </a:lnTo>
                  <a:lnTo>
                    <a:pt x="173" y="299"/>
                  </a:lnTo>
                  <a:lnTo>
                    <a:pt x="188" y="290"/>
                  </a:lnTo>
                  <a:lnTo>
                    <a:pt x="190" y="284"/>
                  </a:lnTo>
                  <a:lnTo>
                    <a:pt x="202" y="288"/>
                  </a:lnTo>
                  <a:lnTo>
                    <a:pt x="209" y="286"/>
                  </a:lnTo>
                  <a:lnTo>
                    <a:pt x="224" y="279"/>
                  </a:lnTo>
                  <a:lnTo>
                    <a:pt x="232" y="277"/>
                  </a:lnTo>
                  <a:lnTo>
                    <a:pt x="234" y="271"/>
                  </a:lnTo>
                  <a:lnTo>
                    <a:pt x="234" y="264"/>
                  </a:lnTo>
                  <a:lnTo>
                    <a:pt x="245" y="267"/>
                  </a:lnTo>
                  <a:lnTo>
                    <a:pt x="258" y="256"/>
                  </a:lnTo>
                  <a:lnTo>
                    <a:pt x="266" y="256"/>
                  </a:lnTo>
                  <a:lnTo>
                    <a:pt x="281" y="247"/>
                  </a:lnTo>
                  <a:lnTo>
                    <a:pt x="281" y="245"/>
                  </a:lnTo>
                  <a:lnTo>
                    <a:pt x="279" y="239"/>
                  </a:lnTo>
                  <a:lnTo>
                    <a:pt x="285" y="233"/>
                  </a:lnTo>
                  <a:lnTo>
                    <a:pt x="279" y="224"/>
                  </a:lnTo>
                  <a:lnTo>
                    <a:pt x="281" y="211"/>
                  </a:lnTo>
                  <a:lnTo>
                    <a:pt x="290" y="196"/>
                  </a:lnTo>
                  <a:lnTo>
                    <a:pt x="296" y="188"/>
                  </a:lnTo>
                  <a:lnTo>
                    <a:pt x="300" y="173"/>
                  </a:lnTo>
                  <a:lnTo>
                    <a:pt x="300" y="164"/>
                  </a:lnTo>
                  <a:lnTo>
                    <a:pt x="307" y="158"/>
                  </a:lnTo>
                  <a:lnTo>
                    <a:pt x="311" y="143"/>
                  </a:lnTo>
                  <a:lnTo>
                    <a:pt x="313" y="141"/>
                  </a:lnTo>
                  <a:lnTo>
                    <a:pt x="313" y="132"/>
                  </a:lnTo>
                  <a:lnTo>
                    <a:pt x="313" y="118"/>
                  </a:lnTo>
                  <a:lnTo>
                    <a:pt x="322" y="115"/>
                  </a:lnTo>
                  <a:lnTo>
                    <a:pt x="328" y="122"/>
                  </a:lnTo>
                  <a:lnTo>
                    <a:pt x="330" y="126"/>
                  </a:lnTo>
                  <a:lnTo>
                    <a:pt x="343" y="128"/>
                  </a:lnTo>
                  <a:lnTo>
                    <a:pt x="351" y="126"/>
                  </a:lnTo>
                  <a:lnTo>
                    <a:pt x="354" y="118"/>
                  </a:lnTo>
                  <a:lnTo>
                    <a:pt x="358" y="103"/>
                  </a:lnTo>
                  <a:lnTo>
                    <a:pt x="360" y="96"/>
                  </a:lnTo>
                  <a:lnTo>
                    <a:pt x="362" y="86"/>
                  </a:lnTo>
                  <a:lnTo>
                    <a:pt x="364" y="79"/>
                  </a:lnTo>
                  <a:lnTo>
                    <a:pt x="373" y="79"/>
                  </a:lnTo>
                  <a:lnTo>
                    <a:pt x="379" y="77"/>
                  </a:lnTo>
                  <a:lnTo>
                    <a:pt x="386" y="62"/>
                  </a:lnTo>
                  <a:lnTo>
                    <a:pt x="392" y="62"/>
                  </a:lnTo>
                  <a:lnTo>
                    <a:pt x="398" y="56"/>
                  </a:lnTo>
                  <a:lnTo>
                    <a:pt x="403" y="41"/>
                  </a:lnTo>
                  <a:lnTo>
                    <a:pt x="407" y="34"/>
                  </a:lnTo>
                  <a:lnTo>
                    <a:pt x="407" y="20"/>
                  </a:lnTo>
                  <a:lnTo>
                    <a:pt x="409" y="11"/>
                  </a:lnTo>
                  <a:lnTo>
                    <a:pt x="407" y="5"/>
                  </a:lnTo>
                  <a:lnTo>
                    <a:pt x="415" y="0"/>
                  </a:lnTo>
                  <a:lnTo>
                    <a:pt x="456" y="22"/>
                  </a:lnTo>
                  <a:lnTo>
                    <a:pt x="460" y="15"/>
                  </a:lnTo>
                  <a:lnTo>
                    <a:pt x="462" y="2"/>
                  </a:lnTo>
                  <a:lnTo>
                    <a:pt x="477" y="2"/>
                  </a:lnTo>
                  <a:lnTo>
                    <a:pt x="483" y="7"/>
                  </a:lnTo>
                  <a:lnTo>
                    <a:pt x="488" y="13"/>
                  </a:lnTo>
                  <a:lnTo>
                    <a:pt x="486" y="20"/>
                  </a:lnTo>
                  <a:lnTo>
                    <a:pt x="494" y="26"/>
                  </a:lnTo>
                  <a:lnTo>
                    <a:pt x="503" y="24"/>
                  </a:lnTo>
                  <a:lnTo>
                    <a:pt x="511" y="28"/>
                  </a:lnTo>
                  <a:lnTo>
                    <a:pt x="518" y="32"/>
                  </a:lnTo>
                  <a:lnTo>
                    <a:pt x="522" y="34"/>
                  </a:lnTo>
                  <a:lnTo>
                    <a:pt x="528" y="37"/>
                  </a:lnTo>
                  <a:lnTo>
                    <a:pt x="532" y="45"/>
                  </a:lnTo>
                  <a:lnTo>
                    <a:pt x="532" y="49"/>
                  </a:lnTo>
                  <a:lnTo>
                    <a:pt x="535" y="56"/>
                  </a:lnTo>
                  <a:lnTo>
                    <a:pt x="528" y="64"/>
                  </a:lnTo>
                  <a:lnTo>
                    <a:pt x="528" y="66"/>
                  </a:lnTo>
                  <a:lnTo>
                    <a:pt x="526" y="71"/>
                  </a:lnTo>
                  <a:lnTo>
                    <a:pt x="524" y="71"/>
                  </a:lnTo>
                  <a:lnTo>
                    <a:pt x="520" y="69"/>
                  </a:lnTo>
                  <a:lnTo>
                    <a:pt x="518" y="90"/>
                  </a:lnTo>
                  <a:lnTo>
                    <a:pt x="520" y="96"/>
                  </a:lnTo>
                  <a:lnTo>
                    <a:pt x="518" y="96"/>
                  </a:lnTo>
                  <a:lnTo>
                    <a:pt x="520" y="103"/>
                  </a:lnTo>
                  <a:lnTo>
                    <a:pt x="526" y="105"/>
                  </a:lnTo>
                  <a:lnTo>
                    <a:pt x="530" y="103"/>
                  </a:lnTo>
                  <a:lnTo>
                    <a:pt x="539" y="96"/>
                  </a:lnTo>
                  <a:lnTo>
                    <a:pt x="547" y="96"/>
                  </a:lnTo>
                  <a:lnTo>
                    <a:pt x="547" y="103"/>
                  </a:lnTo>
                  <a:lnTo>
                    <a:pt x="558" y="113"/>
                  </a:lnTo>
                  <a:lnTo>
                    <a:pt x="562" y="115"/>
                  </a:lnTo>
                  <a:lnTo>
                    <a:pt x="571" y="113"/>
                  </a:lnTo>
                  <a:lnTo>
                    <a:pt x="573" y="115"/>
                  </a:lnTo>
                  <a:lnTo>
                    <a:pt x="586" y="113"/>
                  </a:lnTo>
                  <a:lnTo>
                    <a:pt x="588" y="115"/>
                  </a:lnTo>
                  <a:lnTo>
                    <a:pt x="594" y="122"/>
                  </a:lnTo>
                  <a:lnTo>
                    <a:pt x="594" y="126"/>
                  </a:lnTo>
                  <a:lnTo>
                    <a:pt x="603" y="126"/>
                  </a:lnTo>
                  <a:lnTo>
                    <a:pt x="603" y="128"/>
                  </a:lnTo>
                  <a:lnTo>
                    <a:pt x="609" y="128"/>
                  </a:lnTo>
                  <a:lnTo>
                    <a:pt x="624" y="135"/>
                  </a:lnTo>
                  <a:lnTo>
                    <a:pt x="624" y="141"/>
                  </a:lnTo>
                  <a:lnTo>
                    <a:pt x="618" y="141"/>
                  </a:lnTo>
                  <a:lnTo>
                    <a:pt x="622" y="147"/>
                  </a:lnTo>
                  <a:lnTo>
                    <a:pt x="622" y="156"/>
                  </a:lnTo>
                  <a:lnTo>
                    <a:pt x="618" y="164"/>
                  </a:lnTo>
                  <a:lnTo>
                    <a:pt x="609" y="162"/>
                  </a:lnTo>
                  <a:lnTo>
                    <a:pt x="609" y="160"/>
                  </a:lnTo>
                  <a:lnTo>
                    <a:pt x="603" y="160"/>
                  </a:lnTo>
                  <a:lnTo>
                    <a:pt x="588" y="149"/>
                  </a:lnTo>
                  <a:lnTo>
                    <a:pt x="584" y="147"/>
                  </a:lnTo>
                  <a:lnTo>
                    <a:pt x="577" y="141"/>
                  </a:lnTo>
                  <a:lnTo>
                    <a:pt x="571" y="137"/>
                  </a:lnTo>
                  <a:lnTo>
                    <a:pt x="564" y="130"/>
                  </a:lnTo>
                  <a:lnTo>
                    <a:pt x="556" y="124"/>
                  </a:lnTo>
                  <a:lnTo>
                    <a:pt x="547" y="120"/>
                  </a:lnTo>
                  <a:lnTo>
                    <a:pt x="541" y="122"/>
                  </a:lnTo>
                  <a:lnTo>
                    <a:pt x="547" y="122"/>
                  </a:lnTo>
                  <a:lnTo>
                    <a:pt x="562" y="130"/>
                  </a:lnTo>
                  <a:lnTo>
                    <a:pt x="567" y="137"/>
                  </a:lnTo>
                  <a:lnTo>
                    <a:pt x="571" y="141"/>
                  </a:lnTo>
                  <a:lnTo>
                    <a:pt x="577" y="145"/>
                  </a:lnTo>
                  <a:lnTo>
                    <a:pt x="584" y="154"/>
                  </a:lnTo>
                  <a:lnTo>
                    <a:pt x="598" y="160"/>
                  </a:lnTo>
                  <a:lnTo>
                    <a:pt x="601" y="164"/>
                  </a:lnTo>
                  <a:lnTo>
                    <a:pt x="607" y="169"/>
                  </a:lnTo>
                  <a:lnTo>
                    <a:pt x="613" y="169"/>
                  </a:lnTo>
                  <a:lnTo>
                    <a:pt x="622" y="175"/>
                  </a:lnTo>
                  <a:lnTo>
                    <a:pt x="618" y="177"/>
                  </a:lnTo>
                  <a:lnTo>
                    <a:pt x="626" y="179"/>
                  </a:lnTo>
                  <a:lnTo>
                    <a:pt x="633" y="179"/>
                  </a:lnTo>
                  <a:lnTo>
                    <a:pt x="637" y="192"/>
                  </a:lnTo>
                  <a:lnTo>
                    <a:pt x="635" y="198"/>
                  </a:lnTo>
                  <a:lnTo>
                    <a:pt x="628" y="194"/>
                  </a:lnTo>
                  <a:lnTo>
                    <a:pt x="620" y="192"/>
                  </a:lnTo>
                  <a:lnTo>
                    <a:pt x="618" y="194"/>
                  </a:lnTo>
                  <a:lnTo>
                    <a:pt x="624" y="201"/>
                  </a:lnTo>
                  <a:lnTo>
                    <a:pt x="620" y="209"/>
                  </a:lnTo>
                  <a:lnTo>
                    <a:pt x="607" y="203"/>
                  </a:lnTo>
                  <a:lnTo>
                    <a:pt x="592" y="190"/>
                  </a:lnTo>
                  <a:lnTo>
                    <a:pt x="584" y="188"/>
                  </a:lnTo>
                  <a:lnTo>
                    <a:pt x="601" y="201"/>
                  </a:lnTo>
                  <a:lnTo>
                    <a:pt x="607" y="207"/>
                  </a:lnTo>
                  <a:lnTo>
                    <a:pt x="620" y="213"/>
                  </a:lnTo>
                  <a:lnTo>
                    <a:pt x="628" y="211"/>
                  </a:lnTo>
                  <a:lnTo>
                    <a:pt x="630" y="218"/>
                  </a:lnTo>
                  <a:lnTo>
                    <a:pt x="639" y="220"/>
                  </a:lnTo>
                  <a:lnTo>
                    <a:pt x="641" y="226"/>
                  </a:lnTo>
                  <a:lnTo>
                    <a:pt x="639" y="235"/>
                  </a:lnTo>
                  <a:lnTo>
                    <a:pt x="635" y="237"/>
                  </a:lnTo>
                  <a:lnTo>
                    <a:pt x="630" y="241"/>
                  </a:lnTo>
                  <a:lnTo>
                    <a:pt x="624" y="233"/>
                  </a:lnTo>
                  <a:lnTo>
                    <a:pt x="616" y="230"/>
                  </a:lnTo>
                  <a:lnTo>
                    <a:pt x="609" y="224"/>
                  </a:lnTo>
                  <a:lnTo>
                    <a:pt x="603" y="215"/>
                  </a:lnTo>
                  <a:lnTo>
                    <a:pt x="596" y="222"/>
                  </a:lnTo>
                  <a:lnTo>
                    <a:pt x="590" y="218"/>
                  </a:lnTo>
                  <a:lnTo>
                    <a:pt x="581" y="211"/>
                  </a:lnTo>
                  <a:lnTo>
                    <a:pt x="581" y="220"/>
                  </a:lnTo>
                  <a:lnTo>
                    <a:pt x="579" y="220"/>
                  </a:lnTo>
                  <a:lnTo>
                    <a:pt x="571" y="213"/>
                  </a:lnTo>
                  <a:lnTo>
                    <a:pt x="556" y="215"/>
                  </a:lnTo>
                  <a:lnTo>
                    <a:pt x="550" y="213"/>
                  </a:lnTo>
                  <a:lnTo>
                    <a:pt x="547" y="218"/>
                  </a:lnTo>
                  <a:lnTo>
                    <a:pt x="569" y="218"/>
                  </a:lnTo>
                  <a:lnTo>
                    <a:pt x="584" y="224"/>
                  </a:lnTo>
                  <a:lnTo>
                    <a:pt x="590" y="222"/>
                  </a:lnTo>
                  <a:lnTo>
                    <a:pt x="596" y="224"/>
                  </a:lnTo>
                  <a:lnTo>
                    <a:pt x="605" y="222"/>
                  </a:lnTo>
                  <a:lnTo>
                    <a:pt x="607" y="228"/>
                  </a:lnTo>
                  <a:lnTo>
                    <a:pt x="611" y="237"/>
                  </a:lnTo>
                  <a:lnTo>
                    <a:pt x="611" y="235"/>
                  </a:lnTo>
                  <a:lnTo>
                    <a:pt x="620" y="241"/>
                  </a:lnTo>
                  <a:lnTo>
                    <a:pt x="626" y="247"/>
                  </a:lnTo>
                  <a:lnTo>
                    <a:pt x="624" y="254"/>
                  </a:lnTo>
                  <a:lnTo>
                    <a:pt x="633" y="247"/>
                  </a:lnTo>
                  <a:lnTo>
                    <a:pt x="637" y="247"/>
                  </a:lnTo>
                  <a:lnTo>
                    <a:pt x="643" y="252"/>
                  </a:lnTo>
                  <a:lnTo>
                    <a:pt x="641" y="247"/>
                  </a:lnTo>
                  <a:lnTo>
                    <a:pt x="643" y="239"/>
                  </a:lnTo>
                  <a:lnTo>
                    <a:pt x="650" y="241"/>
                  </a:lnTo>
                  <a:lnTo>
                    <a:pt x="671" y="239"/>
                  </a:lnTo>
                  <a:lnTo>
                    <a:pt x="677" y="254"/>
                  </a:lnTo>
                  <a:lnTo>
                    <a:pt x="690" y="275"/>
                  </a:lnTo>
                  <a:lnTo>
                    <a:pt x="688" y="277"/>
                  </a:lnTo>
                  <a:lnTo>
                    <a:pt x="684" y="269"/>
                  </a:lnTo>
                  <a:lnTo>
                    <a:pt x="677" y="262"/>
                  </a:lnTo>
                  <a:lnTo>
                    <a:pt x="677" y="271"/>
                  </a:lnTo>
                  <a:lnTo>
                    <a:pt x="679" y="277"/>
                  </a:lnTo>
                  <a:lnTo>
                    <a:pt x="675" y="279"/>
                  </a:lnTo>
                  <a:lnTo>
                    <a:pt x="671" y="275"/>
                  </a:lnTo>
                  <a:lnTo>
                    <a:pt x="673" y="279"/>
                  </a:lnTo>
                  <a:lnTo>
                    <a:pt x="586" y="299"/>
                  </a:lnTo>
                  <a:lnTo>
                    <a:pt x="488" y="318"/>
                  </a:lnTo>
                  <a:lnTo>
                    <a:pt x="292" y="354"/>
                  </a:lnTo>
                  <a:lnTo>
                    <a:pt x="222" y="365"/>
                  </a:lnTo>
                  <a:lnTo>
                    <a:pt x="192" y="369"/>
                  </a:lnTo>
                  <a:lnTo>
                    <a:pt x="179" y="367"/>
                  </a:lnTo>
                  <a:lnTo>
                    <a:pt x="168" y="369"/>
                  </a:lnTo>
                  <a:lnTo>
                    <a:pt x="139" y="375"/>
                  </a:lnTo>
                  <a:lnTo>
                    <a:pt x="102" y="379"/>
                  </a:lnTo>
                  <a:lnTo>
                    <a:pt x="43" y="390"/>
                  </a:lnTo>
                  <a:lnTo>
                    <a:pt x="28" y="390"/>
                  </a:lnTo>
                  <a:lnTo>
                    <a:pt x="0"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776"/>
            <p:cNvSpPr>
              <a:spLocks/>
            </p:cNvSpPr>
            <p:nvPr/>
          </p:nvSpPr>
          <p:spPr bwMode="auto">
            <a:xfrm>
              <a:off x="7180262" y="3403600"/>
              <a:ext cx="57150" cy="171450"/>
            </a:xfrm>
            <a:custGeom>
              <a:avLst/>
              <a:gdLst>
                <a:gd name="T0" fmla="*/ 13 w 36"/>
                <a:gd name="T1" fmla="*/ 81 h 108"/>
                <a:gd name="T2" fmla="*/ 13 w 36"/>
                <a:gd name="T3" fmla="*/ 93 h 108"/>
                <a:gd name="T4" fmla="*/ 9 w 36"/>
                <a:gd name="T5" fmla="*/ 108 h 108"/>
                <a:gd name="T6" fmla="*/ 0 w 36"/>
                <a:gd name="T7" fmla="*/ 98 h 108"/>
                <a:gd name="T8" fmla="*/ 0 w 36"/>
                <a:gd name="T9" fmla="*/ 83 h 108"/>
                <a:gd name="T10" fmla="*/ 2 w 36"/>
                <a:gd name="T11" fmla="*/ 81 h 108"/>
                <a:gd name="T12" fmla="*/ 0 w 36"/>
                <a:gd name="T13" fmla="*/ 74 h 108"/>
                <a:gd name="T14" fmla="*/ 0 w 36"/>
                <a:gd name="T15" fmla="*/ 59 h 108"/>
                <a:gd name="T16" fmla="*/ 6 w 36"/>
                <a:gd name="T17" fmla="*/ 46 h 108"/>
                <a:gd name="T18" fmla="*/ 6 w 36"/>
                <a:gd name="T19" fmla="*/ 32 h 108"/>
                <a:gd name="T20" fmla="*/ 13 w 36"/>
                <a:gd name="T21" fmla="*/ 32 h 108"/>
                <a:gd name="T22" fmla="*/ 15 w 36"/>
                <a:gd name="T23" fmla="*/ 25 h 108"/>
                <a:gd name="T24" fmla="*/ 9 w 36"/>
                <a:gd name="T25" fmla="*/ 19 h 108"/>
                <a:gd name="T26" fmla="*/ 15 w 36"/>
                <a:gd name="T27" fmla="*/ 12 h 108"/>
                <a:gd name="T28" fmla="*/ 21 w 36"/>
                <a:gd name="T29" fmla="*/ 6 h 108"/>
                <a:gd name="T30" fmla="*/ 36 w 36"/>
                <a:gd name="T31" fmla="*/ 0 h 108"/>
                <a:gd name="T32" fmla="*/ 34 w 36"/>
                <a:gd name="T33" fmla="*/ 10 h 108"/>
                <a:gd name="T34" fmla="*/ 36 w 36"/>
                <a:gd name="T35" fmla="*/ 17 h 108"/>
                <a:gd name="T36" fmla="*/ 30 w 36"/>
                <a:gd name="T37" fmla="*/ 27 h 108"/>
                <a:gd name="T38" fmla="*/ 28 w 36"/>
                <a:gd name="T39" fmla="*/ 42 h 108"/>
                <a:gd name="T40" fmla="*/ 28 w 36"/>
                <a:gd name="T41" fmla="*/ 57 h 108"/>
                <a:gd name="T42" fmla="*/ 26 w 36"/>
                <a:gd name="T43" fmla="*/ 63 h 108"/>
                <a:gd name="T44" fmla="*/ 26 w 36"/>
                <a:gd name="T45" fmla="*/ 63 h 108"/>
                <a:gd name="T46" fmla="*/ 19 w 36"/>
                <a:gd name="T47" fmla="*/ 59 h 108"/>
                <a:gd name="T48" fmla="*/ 17 w 36"/>
                <a:gd name="T49" fmla="*/ 66 h 108"/>
                <a:gd name="T50" fmla="*/ 13 w 36"/>
                <a:gd name="T51" fmla="*/ 74 h 108"/>
                <a:gd name="T52" fmla="*/ 13 w 36"/>
                <a:gd name="T53"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08">
                  <a:moveTo>
                    <a:pt x="13" y="81"/>
                  </a:moveTo>
                  <a:lnTo>
                    <a:pt x="13" y="93"/>
                  </a:lnTo>
                  <a:lnTo>
                    <a:pt x="9" y="108"/>
                  </a:lnTo>
                  <a:lnTo>
                    <a:pt x="0" y="98"/>
                  </a:lnTo>
                  <a:lnTo>
                    <a:pt x="0" y="83"/>
                  </a:lnTo>
                  <a:lnTo>
                    <a:pt x="2" y="81"/>
                  </a:lnTo>
                  <a:lnTo>
                    <a:pt x="0" y="74"/>
                  </a:lnTo>
                  <a:lnTo>
                    <a:pt x="0" y="59"/>
                  </a:lnTo>
                  <a:lnTo>
                    <a:pt x="6" y="46"/>
                  </a:lnTo>
                  <a:lnTo>
                    <a:pt x="6" y="32"/>
                  </a:lnTo>
                  <a:lnTo>
                    <a:pt x="13" y="32"/>
                  </a:lnTo>
                  <a:lnTo>
                    <a:pt x="15" y="25"/>
                  </a:lnTo>
                  <a:lnTo>
                    <a:pt x="9" y="19"/>
                  </a:lnTo>
                  <a:lnTo>
                    <a:pt x="15" y="12"/>
                  </a:lnTo>
                  <a:lnTo>
                    <a:pt x="21" y="6"/>
                  </a:lnTo>
                  <a:lnTo>
                    <a:pt x="36" y="0"/>
                  </a:lnTo>
                  <a:lnTo>
                    <a:pt x="34" y="10"/>
                  </a:lnTo>
                  <a:lnTo>
                    <a:pt x="36" y="17"/>
                  </a:lnTo>
                  <a:lnTo>
                    <a:pt x="30" y="27"/>
                  </a:lnTo>
                  <a:lnTo>
                    <a:pt x="28" y="42"/>
                  </a:lnTo>
                  <a:lnTo>
                    <a:pt x="28" y="57"/>
                  </a:lnTo>
                  <a:lnTo>
                    <a:pt x="26" y="63"/>
                  </a:lnTo>
                  <a:lnTo>
                    <a:pt x="26" y="63"/>
                  </a:lnTo>
                  <a:lnTo>
                    <a:pt x="19" y="59"/>
                  </a:lnTo>
                  <a:lnTo>
                    <a:pt x="17" y="66"/>
                  </a:lnTo>
                  <a:lnTo>
                    <a:pt x="13" y="74"/>
                  </a:lnTo>
                  <a:lnTo>
                    <a:pt x="1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1" name="Freeform 777"/>
          <p:cNvSpPr>
            <a:spLocks/>
          </p:cNvSpPr>
          <p:nvPr/>
        </p:nvSpPr>
        <p:spPr bwMode="auto">
          <a:xfrm>
            <a:off x="7180262" y="3403600"/>
            <a:ext cx="57150" cy="171450"/>
          </a:xfrm>
          <a:custGeom>
            <a:avLst/>
            <a:gdLst>
              <a:gd name="T0" fmla="*/ 13 w 36"/>
              <a:gd name="T1" fmla="*/ 81 h 108"/>
              <a:gd name="T2" fmla="*/ 13 w 36"/>
              <a:gd name="T3" fmla="*/ 93 h 108"/>
              <a:gd name="T4" fmla="*/ 9 w 36"/>
              <a:gd name="T5" fmla="*/ 108 h 108"/>
              <a:gd name="T6" fmla="*/ 0 w 36"/>
              <a:gd name="T7" fmla="*/ 98 h 108"/>
              <a:gd name="T8" fmla="*/ 0 w 36"/>
              <a:gd name="T9" fmla="*/ 83 h 108"/>
              <a:gd name="T10" fmla="*/ 2 w 36"/>
              <a:gd name="T11" fmla="*/ 81 h 108"/>
              <a:gd name="T12" fmla="*/ 0 w 36"/>
              <a:gd name="T13" fmla="*/ 74 h 108"/>
              <a:gd name="T14" fmla="*/ 0 w 36"/>
              <a:gd name="T15" fmla="*/ 59 h 108"/>
              <a:gd name="T16" fmla="*/ 6 w 36"/>
              <a:gd name="T17" fmla="*/ 46 h 108"/>
              <a:gd name="T18" fmla="*/ 6 w 36"/>
              <a:gd name="T19" fmla="*/ 32 h 108"/>
              <a:gd name="T20" fmla="*/ 13 w 36"/>
              <a:gd name="T21" fmla="*/ 32 h 108"/>
              <a:gd name="T22" fmla="*/ 15 w 36"/>
              <a:gd name="T23" fmla="*/ 25 h 108"/>
              <a:gd name="T24" fmla="*/ 9 w 36"/>
              <a:gd name="T25" fmla="*/ 19 h 108"/>
              <a:gd name="T26" fmla="*/ 15 w 36"/>
              <a:gd name="T27" fmla="*/ 12 h 108"/>
              <a:gd name="T28" fmla="*/ 21 w 36"/>
              <a:gd name="T29" fmla="*/ 6 h 108"/>
              <a:gd name="T30" fmla="*/ 36 w 36"/>
              <a:gd name="T31" fmla="*/ 0 h 108"/>
              <a:gd name="T32" fmla="*/ 34 w 36"/>
              <a:gd name="T33" fmla="*/ 10 h 108"/>
              <a:gd name="T34" fmla="*/ 36 w 36"/>
              <a:gd name="T35" fmla="*/ 17 h 108"/>
              <a:gd name="T36" fmla="*/ 30 w 36"/>
              <a:gd name="T37" fmla="*/ 27 h 108"/>
              <a:gd name="T38" fmla="*/ 28 w 36"/>
              <a:gd name="T39" fmla="*/ 42 h 108"/>
              <a:gd name="T40" fmla="*/ 28 w 36"/>
              <a:gd name="T41" fmla="*/ 57 h 108"/>
              <a:gd name="T42" fmla="*/ 26 w 36"/>
              <a:gd name="T43" fmla="*/ 63 h 108"/>
              <a:gd name="T44" fmla="*/ 26 w 36"/>
              <a:gd name="T45" fmla="*/ 63 h 108"/>
              <a:gd name="T46" fmla="*/ 19 w 36"/>
              <a:gd name="T47" fmla="*/ 59 h 108"/>
              <a:gd name="T48" fmla="*/ 17 w 36"/>
              <a:gd name="T49" fmla="*/ 66 h 108"/>
              <a:gd name="T50" fmla="*/ 13 w 36"/>
              <a:gd name="T51" fmla="*/ 74 h 108"/>
              <a:gd name="T52" fmla="*/ 13 w 36"/>
              <a:gd name="T53"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08">
                <a:moveTo>
                  <a:pt x="13" y="81"/>
                </a:moveTo>
                <a:lnTo>
                  <a:pt x="13" y="93"/>
                </a:lnTo>
                <a:lnTo>
                  <a:pt x="9" y="108"/>
                </a:lnTo>
                <a:lnTo>
                  <a:pt x="0" y="98"/>
                </a:lnTo>
                <a:lnTo>
                  <a:pt x="0" y="83"/>
                </a:lnTo>
                <a:lnTo>
                  <a:pt x="2" y="81"/>
                </a:lnTo>
                <a:lnTo>
                  <a:pt x="0" y="74"/>
                </a:lnTo>
                <a:lnTo>
                  <a:pt x="0" y="59"/>
                </a:lnTo>
                <a:lnTo>
                  <a:pt x="6" y="46"/>
                </a:lnTo>
                <a:lnTo>
                  <a:pt x="6" y="32"/>
                </a:lnTo>
                <a:lnTo>
                  <a:pt x="13" y="32"/>
                </a:lnTo>
                <a:lnTo>
                  <a:pt x="15" y="25"/>
                </a:lnTo>
                <a:lnTo>
                  <a:pt x="9" y="19"/>
                </a:lnTo>
                <a:lnTo>
                  <a:pt x="15" y="12"/>
                </a:lnTo>
                <a:lnTo>
                  <a:pt x="21" y="6"/>
                </a:lnTo>
                <a:lnTo>
                  <a:pt x="36" y="0"/>
                </a:lnTo>
                <a:lnTo>
                  <a:pt x="34" y="10"/>
                </a:lnTo>
                <a:lnTo>
                  <a:pt x="36" y="17"/>
                </a:lnTo>
                <a:lnTo>
                  <a:pt x="30" y="27"/>
                </a:lnTo>
                <a:lnTo>
                  <a:pt x="28" y="42"/>
                </a:lnTo>
                <a:lnTo>
                  <a:pt x="28" y="57"/>
                </a:lnTo>
                <a:lnTo>
                  <a:pt x="26" y="63"/>
                </a:lnTo>
                <a:lnTo>
                  <a:pt x="26" y="63"/>
                </a:lnTo>
                <a:lnTo>
                  <a:pt x="19" y="59"/>
                </a:lnTo>
                <a:lnTo>
                  <a:pt x="17" y="66"/>
                </a:lnTo>
                <a:lnTo>
                  <a:pt x="13" y="74"/>
                </a:lnTo>
                <a:lnTo>
                  <a:pt x="13" y="8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2" name="Freeform 778"/>
          <p:cNvSpPr>
            <a:spLocks/>
          </p:cNvSpPr>
          <p:nvPr/>
        </p:nvSpPr>
        <p:spPr bwMode="auto">
          <a:xfrm>
            <a:off x="7200900" y="3676650"/>
            <a:ext cx="6350" cy="6350"/>
          </a:xfrm>
          <a:custGeom>
            <a:avLst/>
            <a:gdLst>
              <a:gd name="T0" fmla="*/ 2 w 4"/>
              <a:gd name="T1" fmla="*/ 4 h 4"/>
              <a:gd name="T2" fmla="*/ 0 w 4"/>
              <a:gd name="T3" fmla="*/ 0 h 4"/>
              <a:gd name="T4" fmla="*/ 4 w 4"/>
              <a:gd name="T5" fmla="*/ 4 h 4"/>
              <a:gd name="T6" fmla="*/ 2 w 4"/>
              <a:gd name="T7" fmla="*/ 4 h 4"/>
            </a:gdLst>
            <a:ahLst/>
            <a:cxnLst>
              <a:cxn ang="0">
                <a:pos x="T0" y="T1"/>
              </a:cxn>
              <a:cxn ang="0">
                <a:pos x="T2" y="T3"/>
              </a:cxn>
              <a:cxn ang="0">
                <a:pos x="T4" y="T5"/>
              </a:cxn>
              <a:cxn ang="0">
                <a:pos x="T6" y="T7"/>
              </a:cxn>
            </a:cxnLst>
            <a:rect l="0" t="0" r="r" b="b"/>
            <a:pathLst>
              <a:path w="4" h="4">
                <a:moveTo>
                  <a:pt x="2" y="4"/>
                </a:moveTo>
                <a:lnTo>
                  <a:pt x="0" y="0"/>
                </a:lnTo>
                <a:lnTo>
                  <a:pt x="4" y="4"/>
                </a:lnTo>
                <a:lnTo>
                  <a:pt x="2" y="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779"/>
          <p:cNvSpPr>
            <a:spLocks/>
          </p:cNvSpPr>
          <p:nvPr/>
        </p:nvSpPr>
        <p:spPr bwMode="auto">
          <a:xfrm>
            <a:off x="7200900" y="3676650"/>
            <a:ext cx="6350" cy="6350"/>
          </a:xfrm>
          <a:custGeom>
            <a:avLst/>
            <a:gdLst>
              <a:gd name="T0" fmla="*/ 2 w 4"/>
              <a:gd name="T1" fmla="*/ 4 h 4"/>
              <a:gd name="T2" fmla="*/ 0 w 4"/>
              <a:gd name="T3" fmla="*/ 0 h 4"/>
              <a:gd name="T4" fmla="*/ 4 w 4"/>
              <a:gd name="T5" fmla="*/ 4 h 4"/>
              <a:gd name="T6" fmla="*/ 2 w 4"/>
              <a:gd name="T7" fmla="*/ 4 h 4"/>
            </a:gdLst>
            <a:ahLst/>
            <a:cxnLst>
              <a:cxn ang="0">
                <a:pos x="T0" y="T1"/>
              </a:cxn>
              <a:cxn ang="0">
                <a:pos x="T2" y="T3"/>
              </a:cxn>
              <a:cxn ang="0">
                <a:pos x="T4" y="T5"/>
              </a:cxn>
              <a:cxn ang="0">
                <a:pos x="T6" y="T7"/>
              </a:cxn>
            </a:cxnLst>
            <a:rect l="0" t="0" r="r" b="b"/>
            <a:pathLst>
              <a:path w="4" h="4">
                <a:moveTo>
                  <a:pt x="2" y="4"/>
                </a:moveTo>
                <a:lnTo>
                  <a:pt x="0" y="0"/>
                </a:lnTo>
                <a:lnTo>
                  <a:pt x="4" y="4"/>
                </a:lnTo>
                <a:lnTo>
                  <a:pt x="2" y="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4" name="Freeform 780"/>
          <p:cNvSpPr>
            <a:spLocks/>
          </p:cNvSpPr>
          <p:nvPr/>
        </p:nvSpPr>
        <p:spPr bwMode="auto">
          <a:xfrm>
            <a:off x="7207250" y="2060575"/>
            <a:ext cx="236538" cy="449263"/>
          </a:xfrm>
          <a:custGeom>
            <a:avLst/>
            <a:gdLst>
              <a:gd name="T0" fmla="*/ 0 w 149"/>
              <a:gd name="T1" fmla="*/ 38 h 283"/>
              <a:gd name="T2" fmla="*/ 28 w 149"/>
              <a:gd name="T3" fmla="*/ 30 h 283"/>
              <a:gd name="T4" fmla="*/ 143 w 149"/>
              <a:gd name="T5" fmla="*/ 0 h 283"/>
              <a:gd name="T6" fmla="*/ 141 w 149"/>
              <a:gd name="T7" fmla="*/ 4 h 283"/>
              <a:gd name="T8" fmla="*/ 145 w 149"/>
              <a:gd name="T9" fmla="*/ 13 h 283"/>
              <a:gd name="T10" fmla="*/ 141 w 149"/>
              <a:gd name="T11" fmla="*/ 28 h 283"/>
              <a:gd name="T12" fmla="*/ 143 w 149"/>
              <a:gd name="T13" fmla="*/ 36 h 283"/>
              <a:gd name="T14" fmla="*/ 147 w 149"/>
              <a:gd name="T15" fmla="*/ 43 h 283"/>
              <a:gd name="T16" fmla="*/ 149 w 149"/>
              <a:gd name="T17" fmla="*/ 49 h 283"/>
              <a:gd name="T18" fmla="*/ 149 w 149"/>
              <a:gd name="T19" fmla="*/ 58 h 283"/>
              <a:gd name="T20" fmla="*/ 143 w 149"/>
              <a:gd name="T21" fmla="*/ 68 h 283"/>
              <a:gd name="T22" fmla="*/ 132 w 149"/>
              <a:gd name="T23" fmla="*/ 81 h 283"/>
              <a:gd name="T24" fmla="*/ 128 w 149"/>
              <a:gd name="T25" fmla="*/ 81 h 283"/>
              <a:gd name="T26" fmla="*/ 122 w 149"/>
              <a:gd name="T27" fmla="*/ 89 h 283"/>
              <a:gd name="T28" fmla="*/ 122 w 149"/>
              <a:gd name="T29" fmla="*/ 96 h 283"/>
              <a:gd name="T30" fmla="*/ 126 w 149"/>
              <a:gd name="T31" fmla="*/ 111 h 283"/>
              <a:gd name="T32" fmla="*/ 124 w 149"/>
              <a:gd name="T33" fmla="*/ 124 h 283"/>
              <a:gd name="T34" fmla="*/ 126 w 149"/>
              <a:gd name="T35" fmla="*/ 130 h 283"/>
              <a:gd name="T36" fmla="*/ 122 w 149"/>
              <a:gd name="T37" fmla="*/ 138 h 283"/>
              <a:gd name="T38" fmla="*/ 124 w 149"/>
              <a:gd name="T39" fmla="*/ 145 h 283"/>
              <a:gd name="T40" fmla="*/ 122 w 149"/>
              <a:gd name="T41" fmla="*/ 153 h 283"/>
              <a:gd name="T42" fmla="*/ 117 w 149"/>
              <a:gd name="T43" fmla="*/ 160 h 283"/>
              <a:gd name="T44" fmla="*/ 117 w 149"/>
              <a:gd name="T45" fmla="*/ 170 h 283"/>
              <a:gd name="T46" fmla="*/ 115 w 149"/>
              <a:gd name="T47" fmla="*/ 179 h 283"/>
              <a:gd name="T48" fmla="*/ 122 w 149"/>
              <a:gd name="T49" fmla="*/ 202 h 283"/>
              <a:gd name="T50" fmla="*/ 122 w 149"/>
              <a:gd name="T51" fmla="*/ 217 h 283"/>
              <a:gd name="T52" fmla="*/ 126 w 149"/>
              <a:gd name="T53" fmla="*/ 239 h 283"/>
              <a:gd name="T54" fmla="*/ 122 w 149"/>
              <a:gd name="T55" fmla="*/ 247 h 283"/>
              <a:gd name="T56" fmla="*/ 122 w 149"/>
              <a:gd name="T57" fmla="*/ 253 h 283"/>
              <a:gd name="T58" fmla="*/ 126 w 149"/>
              <a:gd name="T59" fmla="*/ 262 h 283"/>
              <a:gd name="T60" fmla="*/ 132 w 149"/>
              <a:gd name="T61" fmla="*/ 271 h 283"/>
              <a:gd name="T62" fmla="*/ 70 w 149"/>
              <a:gd name="T63" fmla="*/ 283 h 283"/>
              <a:gd name="T64" fmla="*/ 64 w 149"/>
              <a:gd name="T65" fmla="*/ 277 h 283"/>
              <a:gd name="T66" fmla="*/ 66 w 149"/>
              <a:gd name="T67" fmla="*/ 271 h 283"/>
              <a:gd name="T68" fmla="*/ 49 w 149"/>
              <a:gd name="T69" fmla="*/ 198 h 283"/>
              <a:gd name="T70" fmla="*/ 38 w 149"/>
              <a:gd name="T71" fmla="*/ 190 h 283"/>
              <a:gd name="T72" fmla="*/ 34 w 149"/>
              <a:gd name="T73" fmla="*/ 196 h 283"/>
              <a:gd name="T74" fmla="*/ 32 w 149"/>
              <a:gd name="T75" fmla="*/ 190 h 283"/>
              <a:gd name="T76" fmla="*/ 32 w 149"/>
              <a:gd name="T77" fmla="*/ 177 h 283"/>
              <a:gd name="T78" fmla="*/ 28 w 149"/>
              <a:gd name="T79" fmla="*/ 162 h 283"/>
              <a:gd name="T80" fmla="*/ 24 w 149"/>
              <a:gd name="T81" fmla="*/ 156 h 283"/>
              <a:gd name="T82" fmla="*/ 19 w 149"/>
              <a:gd name="T83" fmla="*/ 141 h 283"/>
              <a:gd name="T84" fmla="*/ 19 w 149"/>
              <a:gd name="T85" fmla="*/ 126 h 283"/>
              <a:gd name="T86" fmla="*/ 24 w 149"/>
              <a:gd name="T87" fmla="*/ 124 h 283"/>
              <a:gd name="T88" fmla="*/ 21 w 149"/>
              <a:gd name="T89" fmla="*/ 115 h 283"/>
              <a:gd name="T90" fmla="*/ 19 w 149"/>
              <a:gd name="T91" fmla="*/ 109 h 283"/>
              <a:gd name="T92" fmla="*/ 19 w 149"/>
              <a:gd name="T93" fmla="*/ 100 h 283"/>
              <a:gd name="T94" fmla="*/ 17 w 149"/>
              <a:gd name="T95" fmla="*/ 94 h 283"/>
              <a:gd name="T96" fmla="*/ 11 w 149"/>
              <a:gd name="T97" fmla="*/ 87 h 283"/>
              <a:gd name="T98" fmla="*/ 9 w 149"/>
              <a:gd name="T99" fmla="*/ 79 h 283"/>
              <a:gd name="T100" fmla="*/ 7 w 149"/>
              <a:gd name="T101" fmla="*/ 62 h 283"/>
              <a:gd name="T102" fmla="*/ 2 w 149"/>
              <a:gd name="T103" fmla="*/ 55 h 283"/>
              <a:gd name="T104" fmla="*/ 2 w 149"/>
              <a:gd name="T105" fmla="*/ 47 h 283"/>
              <a:gd name="T106" fmla="*/ 0 w 149"/>
              <a:gd name="T107" fmla="*/ 41 h 283"/>
              <a:gd name="T108" fmla="*/ 0 w 149"/>
              <a:gd name="T109" fmla="*/ 3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83">
                <a:moveTo>
                  <a:pt x="0" y="38"/>
                </a:moveTo>
                <a:lnTo>
                  <a:pt x="28" y="30"/>
                </a:lnTo>
                <a:lnTo>
                  <a:pt x="143" y="0"/>
                </a:lnTo>
                <a:lnTo>
                  <a:pt x="141" y="4"/>
                </a:lnTo>
                <a:lnTo>
                  <a:pt x="145" y="13"/>
                </a:lnTo>
                <a:lnTo>
                  <a:pt x="141" y="28"/>
                </a:lnTo>
                <a:lnTo>
                  <a:pt x="143" y="36"/>
                </a:lnTo>
                <a:lnTo>
                  <a:pt x="147" y="43"/>
                </a:lnTo>
                <a:lnTo>
                  <a:pt x="149" y="49"/>
                </a:lnTo>
                <a:lnTo>
                  <a:pt x="149" y="58"/>
                </a:lnTo>
                <a:lnTo>
                  <a:pt x="143" y="68"/>
                </a:lnTo>
                <a:lnTo>
                  <a:pt x="132" y="81"/>
                </a:lnTo>
                <a:lnTo>
                  <a:pt x="128" y="81"/>
                </a:lnTo>
                <a:lnTo>
                  <a:pt x="122" y="89"/>
                </a:lnTo>
                <a:lnTo>
                  <a:pt x="122" y="96"/>
                </a:lnTo>
                <a:lnTo>
                  <a:pt x="126" y="111"/>
                </a:lnTo>
                <a:lnTo>
                  <a:pt x="124" y="124"/>
                </a:lnTo>
                <a:lnTo>
                  <a:pt x="126" y="130"/>
                </a:lnTo>
                <a:lnTo>
                  <a:pt x="122" y="138"/>
                </a:lnTo>
                <a:lnTo>
                  <a:pt x="124" y="145"/>
                </a:lnTo>
                <a:lnTo>
                  <a:pt x="122" y="153"/>
                </a:lnTo>
                <a:lnTo>
                  <a:pt x="117" y="160"/>
                </a:lnTo>
                <a:lnTo>
                  <a:pt x="117" y="170"/>
                </a:lnTo>
                <a:lnTo>
                  <a:pt x="115" y="179"/>
                </a:lnTo>
                <a:lnTo>
                  <a:pt x="122" y="202"/>
                </a:lnTo>
                <a:lnTo>
                  <a:pt x="122" y="217"/>
                </a:lnTo>
                <a:lnTo>
                  <a:pt x="126" y="239"/>
                </a:lnTo>
                <a:lnTo>
                  <a:pt x="122" y="247"/>
                </a:lnTo>
                <a:lnTo>
                  <a:pt x="122" y="253"/>
                </a:lnTo>
                <a:lnTo>
                  <a:pt x="126" y="262"/>
                </a:lnTo>
                <a:lnTo>
                  <a:pt x="132" y="271"/>
                </a:lnTo>
                <a:lnTo>
                  <a:pt x="70" y="283"/>
                </a:lnTo>
                <a:lnTo>
                  <a:pt x="64" y="277"/>
                </a:lnTo>
                <a:lnTo>
                  <a:pt x="66" y="271"/>
                </a:lnTo>
                <a:lnTo>
                  <a:pt x="49" y="198"/>
                </a:lnTo>
                <a:lnTo>
                  <a:pt x="38" y="190"/>
                </a:lnTo>
                <a:lnTo>
                  <a:pt x="34" y="196"/>
                </a:lnTo>
                <a:lnTo>
                  <a:pt x="32" y="190"/>
                </a:lnTo>
                <a:lnTo>
                  <a:pt x="32" y="177"/>
                </a:lnTo>
                <a:lnTo>
                  <a:pt x="28" y="162"/>
                </a:lnTo>
                <a:lnTo>
                  <a:pt x="24" y="156"/>
                </a:lnTo>
                <a:lnTo>
                  <a:pt x="19" y="141"/>
                </a:lnTo>
                <a:lnTo>
                  <a:pt x="19" y="126"/>
                </a:lnTo>
                <a:lnTo>
                  <a:pt x="24" y="124"/>
                </a:lnTo>
                <a:lnTo>
                  <a:pt x="21" y="115"/>
                </a:lnTo>
                <a:lnTo>
                  <a:pt x="19" y="109"/>
                </a:lnTo>
                <a:lnTo>
                  <a:pt x="19" y="100"/>
                </a:lnTo>
                <a:lnTo>
                  <a:pt x="17" y="94"/>
                </a:lnTo>
                <a:lnTo>
                  <a:pt x="11" y="87"/>
                </a:lnTo>
                <a:lnTo>
                  <a:pt x="9" y="79"/>
                </a:lnTo>
                <a:lnTo>
                  <a:pt x="7" y="62"/>
                </a:lnTo>
                <a:lnTo>
                  <a:pt x="2" y="55"/>
                </a:lnTo>
                <a:lnTo>
                  <a:pt x="2" y="47"/>
                </a:lnTo>
                <a:lnTo>
                  <a:pt x="0" y="41"/>
                </a:lnTo>
                <a:lnTo>
                  <a:pt x="0" y="38"/>
                </a:lnTo>
                <a:close/>
              </a:path>
            </a:pathLst>
          </a:custGeom>
          <a:solidFill>
            <a:srgbClr val="FF6969"/>
          </a:solidFill>
          <a:ln>
            <a:noFill/>
          </a:ln>
        </p:spPr>
        <p:txBody>
          <a:bodyPr vert="horz" wrap="square" lIns="91440" tIns="45720" rIns="91440" bIns="45720" numCol="1" anchor="t" anchorCtr="0" compatLnSpc="1">
            <a:prstTxWarp prst="textNoShape">
              <a:avLst/>
            </a:prstTxWarp>
          </a:bodyPr>
          <a:lstStyle/>
          <a:p>
            <a:endParaRPr lang="en-US"/>
          </a:p>
        </p:txBody>
      </p:sp>
      <p:sp>
        <p:nvSpPr>
          <p:cNvPr id="1375" name="Freeform 781"/>
          <p:cNvSpPr>
            <a:spLocks/>
          </p:cNvSpPr>
          <p:nvPr/>
        </p:nvSpPr>
        <p:spPr bwMode="auto">
          <a:xfrm>
            <a:off x="7207250" y="2060575"/>
            <a:ext cx="236538" cy="449263"/>
          </a:xfrm>
          <a:custGeom>
            <a:avLst/>
            <a:gdLst>
              <a:gd name="T0" fmla="*/ 0 w 149"/>
              <a:gd name="T1" fmla="*/ 38 h 283"/>
              <a:gd name="T2" fmla="*/ 28 w 149"/>
              <a:gd name="T3" fmla="*/ 30 h 283"/>
              <a:gd name="T4" fmla="*/ 143 w 149"/>
              <a:gd name="T5" fmla="*/ 0 h 283"/>
              <a:gd name="T6" fmla="*/ 141 w 149"/>
              <a:gd name="T7" fmla="*/ 4 h 283"/>
              <a:gd name="T8" fmla="*/ 145 w 149"/>
              <a:gd name="T9" fmla="*/ 13 h 283"/>
              <a:gd name="T10" fmla="*/ 141 w 149"/>
              <a:gd name="T11" fmla="*/ 28 h 283"/>
              <a:gd name="T12" fmla="*/ 143 w 149"/>
              <a:gd name="T13" fmla="*/ 36 h 283"/>
              <a:gd name="T14" fmla="*/ 147 w 149"/>
              <a:gd name="T15" fmla="*/ 43 h 283"/>
              <a:gd name="T16" fmla="*/ 149 w 149"/>
              <a:gd name="T17" fmla="*/ 49 h 283"/>
              <a:gd name="T18" fmla="*/ 149 w 149"/>
              <a:gd name="T19" fmla="*/ 58 h 283"/>
              <a:gd name="T20" fmla="*/ 143 w 149"/>
              <a:gd name="T21" fmla="*/ 68 h 283"/>
              <a:gd name="T22" fmla="*/ 132 w 149"/>
              <a:gd name="T23" fmla="*/ 81 h 283"/>
              <a:gd name="T24" fmla="*/ 128 w 149"/>
              <a:gd name="T25" fmla="*/ 81 h 283"/>
              <a:gd name="T26" fmla="*/ 122 w 149"/>
              <a:gd name="T27" fmla="*/ 89 h 283"/>
              <a:gd name="T28" fmla="*/ 122 w 149"/>
              <a:gd name="T29" fmla="*/ 96 h 283"/>
              <a:gd name="T30" fmla="*/ 126 w 149"/>
              <a:gd name="T31" fmla="*/ 111 h 283"/>
              <a:gd name="T32" fmla="*/ 124 w 149"/>
              <a:gd name="T33" fmla="*/ 124 h 283"/>
              <a:gd name="T34" fmla="*/ 126 w 149"/>
              <a:gd name="T35" fmla="*/ 130 h 283"/>
              <a:gd name="T36" fmla="*/ 122 w 149"/>
              <a:gd name="T37" fmla="*/ 138 h 283"/>
              <a:gd name="T38" fmla="*/ 124 w 149"/>
              <a:gd name="T39" fmla="*/ 145 h 283"/>
              <a:gd name="T40" fmla="*/ 122 w 149"/>
              <a:gd name="T41" fmla="*/ 153 h 283"/>
              <a:gd name="T42" fmla="*/ 117 w 149"/>
              <a:gd name="T43" fmla="*/ 160 h 283"/>
              <a:gd name="T44" fmla="*/ 117 w 149"/>
              <a:gd name="T45" fmla="*/ 170 h 283"/>
              <a:gd name="T46" fmla="*/ 115 w 149"/>
              <a:gd name="T47" fmla="*/ 179 h 283"/>
              <a:gd name="T48" fmla="*/ 122 w 149"/>
              <a:gd name="T49" fmla="*/ 202 h 283"/>
              <a:gd name="T50" fmla="*/ 122 w 149"/>
              <a:gd name="T51" fmla="*/ 217 h 283"/>
              <a:gd name="T52" fmla="*/ 126 w 149"/>
              <a:gd name="T53" fmla="*/ 239 h 283"/>
              <a:gd name="T54" fmla="*/ 122 w 149"/>
              <a:gd name="T55" fmla="*/ 247 h 283"/>
              <a:gd name="T56" fmla="*/ 122 w 149"/>
              <a:gd name="T57" fmla="*/ 253 h 283"/>
              <a:gd name="T58" fmla="*/ 126 w 149"/>
              <a:gd name="T59" fmla="*/ 262 h 283"/>
              <a:gd name="T60" fmla="*/ 132 w 149"/>
              <a:gd name="T61" fmla="*/ 271 h 283"/>
              <a:gd name="T62" fmla="*/ 70 w 149"/>
              <a:gd name="T63" fmla="*/ 283 h 283"/>
              <a:gd name="T64" fmla="*/ 64 w 149"/>
              <a:gd name="T65" fmla="*/ 277 h 283"/>
              <a:gd name="T66" fmla="*/ 66 w 149"/>
              <a:gd name="T67" fmla="*/ 271 h 283"/>
              <a:gd name="T68" fmla="*/ 49 w 149"/>
              <a:gd name="T69" fmla="*/ 198 h 283"/>
              <a:gd name="T70" fmla="*/ 38 w 149"/>
              <a:gd name="T71" fmla="*/ 190 h 283"/>
              <a:gd name="T72" fmla="*/ 34 w 149"/>
              <a:gd name="T73" fmla="*/ 196 h 283"/>
              <a:gd name="T74" fmla="*/ 32 w 149"/>
              <a:gd name="T75" fmla="*/ 190 h 283"/>
              <a:gd name="T76" fmla="*/ 32 w 149"/>
              <a:gd name="T77" fmla="*/ 177 h 283"/>
              <a:gd name="T78" fmla="*/ 28 w 149"/>
              <a:gd name="T79" fmla="*/ 162 h 283"/>
              <a:gd name="T80" fmla="*/ 24 w 149"/>
              <a:gd name="T81" fmla="*/ 156 h 283"/>
              <a:gd name="T82" fmla="*/ 19 w 149"/>
              <a:gd name="T83" fmla="*/ 141 h 283"/>
              <a:gd name="T84" fmla="*/ 19 w 149"/>
              <a:gd name="T85" fmla="*/ 126 h 283"/>
              <a:gd name="T86" fmla="*/ 24 w 149"/>
              <a:gd name="T87" fmla="*/ 124 h 283"/>
              <a:gd name="T88" fmla="*/ 21 w 149"/>
              <a:gd name="T89" fmla="*/ 115 h 283"/>
              <a:gd name="T90" fmla="*/ 19 w 149"/>
              <a:gd name="T91" fmla="*/ 109 h 283"/>
              <a:gd name="T92" fmla="*/ 19 w 149"/>
              <a:gd name="T93" fmla="*/ 100 h 283"/>
              <a:gd name="T94" fmla="*/ 17 w 149"/>
              <a:gd name="T95" fmla="*/ 94 h 283"/>
              <a:gd name="T96" fmla="*/ 11 w 149"/>
              <a:gd name="T97" fmla="*/ 87 h 283"/>
              <a:gd name="T98" fmla="*/ 9 w 149"/>
              <a:gd name="T99" fmla="*/ 79 h 283"/>
              <a:gd name="T100" fmla="*/ 7 w 149"/>
              <a:gd name="T101" fmla="*/ 62 h 283"/>
              <a:gd name="T102" fmla="*/ 2 w 149"/>
              <a:gd name="T103" fmla="*/ 55 h 283"/>
              <a:gd name="T104" fmla="*/ 2 w 149"/>
              <a:gd name="T105" fmla="*/ 47 h 283"/>
              <a:gd name="T106" fmla="*/ 0 w 149"/>
              <a:gd name="T107" fmla="*/ 41 h 283"/>
              <a:gd name="T108" fmla="*/ 0 w 149"/>
              <a:gd name="T109" fmla="*/ 3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83">
                <a:moveTo>
                  <a:pt x="0" y="38"/>
                </a:moveTo>
                <a:lnTo>
                  <a:pt x="28" y="30"/>
                </a:lnTo>
                <a:lnTo>
                  <a:pt x="143" y="0"/>
                </a:lnTo>
                <a:lnTo>
                  <a:pt x="141" y="4"/>
                </a:lnTo>
                <a:lnTo>
                  <a:pt x="145" y="13"/>
                </a:lnTo>
                <a:lnTo>
                  <a:pt x="141" y="28"/>
                </a:lnTo>
                <a:lnTo>
                  <a:pt x="143" y="36"/>
                </a:lnTo>
                <a:lnTo>
                  <a:pt x="147" y="43"/>
                </a:lnTo>
                <a:lnTo>
                  <a:pt x="149" y="49"/>
                </a:lnTo>
                <a:lnTo>
                  <a:pt x="149" y="58"/>
                </a:lnTo>
                <a:lnTo>
                  <a:pt x="143" y="68"/>
                </a:lnTo>
                <a:lnTo>
                  <a:pt x="132" y="81"/>
                </a:lnTo>
                <a:lnTo>
                  <a:pt x="128" y="81"/>
                </a:lnTo>
                <a:lnTo>
                  <a:pt x="122" y="89"/>
                </a:lnTo>
                <a:lnTo>
                  <a:pt x="122" y="96"/>
                </a:lnTo>
                <a:lnTo>
                  <a:pt x="126" y="111"/>
                </a:lnTo>
                <a:lnTo>
                  <a:pt x="124" y="124"/>
                </a:lnTo>
                <a:lnTo>
                  <a:pt x="126" y="130"/>
                </a:lnTo>
                <a:lnTo>
                  <a:pt x="122" y="138"/>
                </a:lnTo>
                <a:lnTo>
                  <a:pt x="124" y="145"/>
                </a:lnTo>
                <a:lnTo>
                  <a:pt x="122" y="153"/>
                </a:lnTo>
                <a:lnTo>
                  <a:pt x="117" y="160"/>
                </a:lnTo>
                <a:lnTo>
                  <a:pt x="117" y="170"/>
                </a:lnTo>
                <a:lnTo>
                  <a:pt x="115" y="179"/>
                </a:lnTo>
                <a:lnTo>
                  <a:pt x="122" y="202"/>
                </a:lnTo>
                <a:lnTo>
                  <a:pt x="122" y="217"/>
                </a:lnTo>
                <a:lnTo>
                  <a:pt x="126" y="239"/>
                </a:lnTo>
                <a:lnTo>
                  <a:pt x="122" y="247"/>
                </a:lnTo>
                <a:lnTo>
                  <a:pt x="122" y="253"/>
                </a:lnTo>
                <a:lnTo>
                  <a:pt x="126" y="262"/>
                </a:lnTo>
                <a:lnTo>
                  <a:pt x="132" y="271"/>
                </a:lnTo>
                <a:lnTo>
                  <a:pt x="70" y="283"/>
                </a:lnTo>
                <a:lnTo>
                  <a:pt x="64" y="277"/>
                </a:lnTo>
                <a:lnTo>
                  <a:pt x="66" y="271"/>
                </a:lnTo>
                <a:lnTo>
                  <a:pt x="49" y="198"/>
                </a:lnTo>
                <a:lnTo>
                  <a:pt x="38" y="190"/>
                </a:lnTo>
                <a:lnTo>
                  <a:pt x="34" y="196"/>
                </a:lnTo>
                <a:lnTo>
                  <a:pt x="32" y="190"/>
                </a:lnTo>
                <a:lnTo>
                  <a:pt x="32" y="177"/>
                </a:lnTo>
                <a:lnTo>
                  <a:pt x="28" y="162"/>
                </a:lnTo>
                <a:lnTo>
                  <a:pt x="24" y="156"/>
                </a:lnTo>
                <a:lnTo>
                  <a:pt x="19" y="141"/>
                </a:lnTo>
                <a:lnTo>
                  <a:pt x="19" y="126"/>
                </a:lnTo>
                <a:lnTo>
                  <a:pt x="24" y="124"/>
                </a:lnTo>
                <a:lnTo>
                  <a:pt x="21" y="115"/>
                </a:lnTo>
                <a:lnTo>
                  <a:pt x="19" y="109"/>
                </a:lnTo>
                <a:lnTo>
                  <a:pt x="19" y="100"/>
                </a:lnTo>
                <a:lnTo>
                  <a:pt x="17" y="94"/>
                </a:lnTo>
                <a:lnTo>
                  <a:pt x="11" y="87"/>
                </a:lnTo>
                <a:lnTo>
                  <a:pt x="9" y="79"/>
                </a:lnTo>
                <a:lnTo>
                  <a:pt x="7" y="62"/>
                </a:lnTo>
                <a:lnTo>
                  <a:pt x="2" y="55"/>
                </a:lnTo>
                <a:lnTo>
                  <a:pt x="2" y="47"/>
                </a:lnTo>
                <a:lnTo>
                  <a:pt x="0" y="41"/>
                </a:lnTo>
                <a:lnTo>
                  <a:pt x="0" y="3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6" name="Freeform 782"/>
          <p:cNvSpPr>
            <a:spLocks/>
          </p:cNvSpPr>
          <p:nvPr/>
        </p:nvSpPr>
        <p:spPr bwMode="auto">
          <a:xfrm>
            <a:off x="7210425" y="3656013"/>
            <a:ext cx="17463" cy="23813"/>
          </a:xfrm>
          <a:custGeom>
            <a:avLst/>
            <a:gdLst>
              <a:gd name="T0" fmla="*/ 2 w 11"/>
              <a:gd name="T1" fmla="*/ 15 h 15"/>
              <a:gd name="T2" fmla="*/ 0 w 11"/>
              <a:gd name="T3" fmla="*/ 9 h 15"/>
              <a:gd name="T4" fmla="*/ 0 w 11"/>
              <a:gd name="T5" fmla="*/ 0 h 15"/>
              <a:gd name="T6" fmla="*/ 7 w 11"/>
              <a:gd name="T7" fmla="*/ 7 h 15"/>
              <a:gd name="T8" fmla="*/ 11 w 11"/>
              <a:gd name="T9" fmla="*/ 15 h 15"/>
              <a:gd name="T10" fmla="*/ 2 w 11"/>
              <a:gd name="T11" fmla="*/ 15 h 15"/>
            </a:gdLst>
            <a:ahLst/>
            <a:cxnLst>
              <a:cxn ang="0">
                <a:pos x="T0" y="T1"/>
              </a:cxn>
              <a:cxn ang="0">
                <a:pos x="T2" y="T3"/>
              </a:cxn>
              <a:cxn ang="0">
                <a:pos x="T4" y="T5"/>
              </a:cxn>
              <a:cxn ang="0">
                <a:pos x="T6" y="T7"/>
              </a:cxn>
              <a:cxn ang="0">
                <a:pos x="T8" y="T9"/>
              </a:cxn>
              <a:cxn ang="0">
                <a:pos x="T10" y="T11"/>
              </a:cxn>
            </a:cxnLst>
            <a:rect l="0" t="0" r="r" b="b"/>
            <a:pathLst>
              <a:path w="11" h="15">
                <a:moveTo>
                  <a:pt x="2" y="15"/>
                </a:moveTo>
                <a:lnTo>
                  <a:pt x="0" y="9"/>
                </a:lnTo>
                <a:lnTo>
                  <a:pt x="0" y="0"/>
                </a:lnTo>
                <a:lnTo>
                  <a:pt x="7" y="7"/>
                </a:lnTo>
                <a:lnTo>
                  <a:pt x="11" y="15"/>
                </a:lnTo>
                <a:lnTo>
                  <a:pt x="2" y="15"/>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783"/>
          <p:cNvSpPr>
            <a:spLocks/>
          </p:cNvSpPr>
          <p:nvPr/>
        </p:nvSpPr>
        <p:spPr bwMode="auto">
          <a:xfrm>
            <a:off x="7210425" y="3656013"/>
            <a:ext cx="17463" cy="23813"/>
          </a:xfrm>
          <a:custGeom>
            <a:avLst/>
            <a:gdLst>
              <a:gd name="T0" fmla="*/ 2 w 11"/>
              <a:gd name="T1" fmla="*/ 15 h 15"/>
              <a:gd name="T2" fmla="*/ 0 w 11"/>
              <a:gd name="T3" fmla="*/ 9 h 15"/>
              <a:gd name="T4" fmla="*/ 0 w 11"/>
              <a:gd name="T5" fmla="*/ 0 h 15"/>
              <a:gd name="T6" fmla="*/ 7 w 11"/>
              <a:gd name="T7" fmla="*/ 7 h 15"/>
              <a:gd name="T8" fmla="*/ 11 w 11"/>
              <a:gd name="T9" fmla="*/ 15 h 15"/>
              <a:gd name="T10" fmla="*/ 2 w 11"/>
              <a:gd name="T11" fmla="*/ 15 h 15"/>
            </a:gdLst>
            <a:ahLst/>
            <a:cxnLst>
              <a:cxn ang="0">
                <a:pos x="T0" y="T1"/>
              </a:cxn>
              <a:cxn ang="0">
                <a:pos x="T2" y="T3"/>
              </a:cxn>
              <a:cxn ang="0">
                <a:pos x="T4" y="T5"/>
              </a:cxn>
              <a:cxn ang="0">
                <a:pos x="T6" y="T7"/>
              </a:cxn>
              <a:cxn ang="0">
                <a:pos x="T8" y="T9"/>
              </a:cxn>
              <a:cxn ang="0">
                <a:pos x="T10" y="T11"/>
              </a:cxn>
            </a:cxnLst>
            <a:rect l="0" t="0" r="r" b="b"/>
            <a:pathLst>
              <a:path w="11" h="15">
                <a:moveTo>
                  <a:pt x="2" y="15"/>
                </a:moveTo>
                <a:lnTo>
                  <a:pt x="0" y="9"/>
                </a:lnTo>
                <a:lnTo>
                  <a:pt x="0" y="0"/>
                </a:lnTo>
                <a:lnTo>
                  <a:pt x="7" y="7"/>
                </a:lnTo>
                <a:lnTo>
                  <a:pt x="11" y="15"/>
                </a:lnTo>
                <a:lnTo>
                  <a:pt x="2" y="1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8" name="Freeform 784"/>
          <p:cNvSpPr>
            <a:spLocks/>
          </p:cNvSpPr>
          <p:nvPr/>
        </p:nvSpPr>
        <p:spPr bwMode="auto">
          <a:xfrm>
            <a:off x="7245350" y="3349625"/>
            <a:ext cx="19050" cy="80963"/>
          </a:xfrm>
          <a:custGeom>
            <a:avLst/>
            <a:gdLst>
              <a:gd name="T0" fmla="*/ 6 w 12"/>
              <a:gd name="T1" fmla="*/ 31 h 51"/>
              <a:gd name="T2" fmla="*/ 2 w 12"/>
              <a:gd name="T3" fmla="*/ 38 h 51"/>
              <a:gd name="T4" fmla="*/ 2 w 12"/>
              <a:gd name="T5" fmla="*/ 44 h 51"/>
              <a:gd name="T6" fmla="*/ 0 w 12"/>
              <a:gd name="T7" fmla="*/ 51 h 51"/>
              <a:gd name="T8" fmla="*/ 4 w 12"/>
              <a:gd name="T9" fmla="*/ 44 h 51"/>
              <a:gd name="T10" fmla="*/ 8 w 12"/>
              <a:gd name="T11" fmla="*/ 29 h 51"/>
              <a:gd name="T12" fmla="*/ 10 w 12"/>
              <a:gd name="T13" fmla="*/ 23 h 51"/>
              <a:gd name="T14" fmla="*/ 12 w 12"/>
              <a:gd name="T15" fmla="*/ 0 h 51"/>
              <a:gd name="T16" fmla="*/ 10 w 12"/>
              <a:gd name="T17" fmla="*/ 8 h 51"/>
              <a:gd name="T18" fmla="*/ 6 w 12"/>
              <a:gd name="T19"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1">
                <a:moveTo>
                  <a:pt x="6" y="31"/>
                </a:moveTo>
                <a:lnTo>
                  <a:pt x="2" y="38"/>
                </a:lnTo>
                <a:lnTo>
                  <a:pt x="2" y="44"/>
                </a:lnTo>
                <a:lnTo>
                  <a:pt x="0" y="51"/>
                </a:lnTo>
                <a:lnTo>
                  <a:pt x="4" y="44"/>
                </a:lnTo>
                <a:lnTo>
                  <a:pt x="8" y="29"/>
                </a:lnTo>
                <a:lnTo>
                  <a:pt x="10" y="23"/>
                </a:lnTo>
                <a:lnTo>
                  <a:pt x="12" y="0"/>
                </a:lnTo>
                <a:lnTo>
                  <a:pt x="10" y="8"/>
                </a:lnTo>
                <a:lnTo>
                  <a:pt x="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785"/>
          <p:cNvSpPr>
            <a:spLocks/>
          </p:cNvSpPr>
          <p:nvPr/>
        </p:nvSpPr>
        <p:spPr bwMode="auto">
          <a:xfrm>
            <a:off x="7245350" y="3349625"/>
            <a:ext cx="19050" cy="80963"/>
          </a:xfrm>
          <a:custGeom>
            <a:avLst/>
            <a:gdLst>
              <a:gd name="T0" fmla="*/ 6 w 12"/>
              <a:gd name="T1" fmla="*/ 31 h 51"/>
              <a:gd name="T2" fmla="*/ 2 w 12"/>
              <a:gd name="T3" fmla="*/ 38 h 51"/>
              <a:gd name="T4" fmla="*/ 2 w 12"/>
              <a:gd name="T5" fmla="*/ 44 h 51"/>
              <a:gd name="T6" fmla="*/ 0 w 12"/>
              <a:gd name="T7" fmla="*/ 51 h 51"/>
              <a:gd name="T8" fmla="*/ 4 w 12"/>
              <a:gd name="T9" fmla="*/ 44 h 51"/>
              <a:gd name="T10" fmla="*/ 8 w 12"/>
              <a:gd name="T11" fmla="*/ 29 h 51"/>
              <a:gd name="T12" fmla="*/ 10 w 12"/>
              <a:gd name="T13" fmla="*/ 23 h 51"/>
              <a:gd name="T14" fmla="*/ 12 w 12"/>
              <a:gd name="T15" fmla="*/ 0 h 51"/>
              <a:gd name="T16" fmla="*/ 10 w 12"/>
              <a:gd name="T17" fmla="*/ 8 h 51"/>
              <a:gd name="T18" fmla="*/ 6 w 12"/>
              <a:gd name="T19"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1">
                <a:moveTo>
                  <a:pt x="6" y="31"/>
                </a:moveTo>
                <a:lnTo>
                  <a:pt x="2" y="38"/>
                </a:lnTo>
                <a:lnTo>
                  <a:pt x="2" y="44"/>
                </a:lnTo>
                <a:lnTo>
                  <a:pt x="0" y="51"/>
                </a:lnTo>
                <a:lnTo>
                  <a:pt x="4" y="44"/>
                </a:lnTo>
                <a:lnTo>
                  <a:pt x="8" y="29"/>
                </a:lnTo>
                <a:lnTo>
                  <a:pt x="10" y="23"/>
                </a:lnTo>
                <a:lnTo>
                  <a:pt x="12" y="0"/>
                </a:lnTo>
                <a:lnTo>
                  <a:pt x="10" y="8"/>
                </a:lnTo>
                <a:lnTo>
                  <a:pt x="6" y="3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0" name="Freeform 786"/>
          <p:cNvSpPr>
            <a:spLocks/>
          </p:cNvSpPr>
          <p:nvPr/>
        </p:nvSpPr>
        <p:spPr bwMode="auto">
          <a:xfrm>
            <a:off x="6623050" y="3119438"/>
            <a:ext cx="638175" cy="311150"/>
          </a:xfrm>
          <a:custGeom>
            <a:avLst/>
            <a:gdLst>
              <a:gd name="T0" fmla="*/ 311 w 402"/>
              <a:gd name="T1" fmla="*/ 0 h 196"/>
              <a:gd name="T2" fmla="*/ 349 w 402"/>
              <a:gd name="T3" fmla="*/ 138 h 196"/>
              <a:gd name="T4" fmla="*/ 396 w 402"/>
              <a:gd name="T5" fmla="*/ 132 h 196"/>
              <a:gd name="T6" fmla="*/ 396 w 402"/>
              <a:gd name="T7" fmla="*/ 151 h 196"/>
              <a:gd name="T8" fmla="*/ 387 w 402"/>
              <a:gd name="T9" fmla="*/ 179 h 196"/>
              <a:gd name="T10" fmla="*/ 360 w 402"/>
              <a:gd name="T11" fmla="*/ 191 h 196"/>
              <a:gd name="T12" fmla="*/ 351 w 402"/>
              <a:gd name="T13" fmla="*/ 183 h 196"/>
              <a:gd name="T14" fmla="*/ 343 w 402"/>
              <a:gd name="T15" fmla="*/ 174 h 196"/>
              <a:gd name="T16" fmla="*/ 340 w 402"/>
              <a:gd name="T17" fmla="*/ 164 h 196"/>
              <a:gd name="T18" fmla="*/ 330 w 402"/>
              <a:gd name="T19" fmla="*/ 164 h 196"/>
              <a:gd name="T20" fmla="*/ 323 w 402"/>
              <a:gd name="T21" fmla="*/ 159 h 196"/>
              <a:gd name="T22" fmla="*/ 313 w 402"/>
              <a:gd name="T23" fmla="*/ 159 h 196"/>
              <a:gd name="T24" fmla="*/ 302 w 402"/>
              <a:gd name="T25" fmla="*/ 155 h 196"/>
              <a:gd name="T26" fmla="*/ 298 w 402"/>
              <a:gd name="T27" fmla="*/ 138 h 196"/>
              <a:gd name="T28" fmla="*/ 321 w 402"/>
              <a:gd name="T29" fmla="*/ 123 h 196"/>
              <a:gd name="T30" fmla="*/ 302 w 402"/>
              <a:gd name="T31" fmla="*/ 119 h 196"/>
              <a:gd name="T32" fmla="*/ 291 w 402"/>
              <a:gd name="T33" fmla="*/ 123 h 196"/>
              <a:gd name="T34" fmla="*/ 296 w 402"/>
              <a:gd name="T35" fmla="*/ 106 h 196"/>
              <a:gd name="T36" fmla="*/ 304 w 402"/>
              <a:gd name="T37" fmla="*/ 100 h 196"/>
              <a:gd name="T38" fmla="*/ 289 w 402"/>
              <a:gd name="T39" fmla="*/ 93 h 196"/>
              <a:gd name="T40" fmla="*/ 283 w 402"/>
              <a:gd name="T41" fmla="*/ 91 h 196"/>
              <a:gd name="T42" fmla="*/ 296 w 402"/>
              <a:gd name="T43" fmla="*/ 81 h 196"/>
              <a:gd name="T44" fmla="*/ 289 w 402"/>
              <a:gd name="T45" fmla="*/ 81 h 196"/>
              <a:gd name="T46" fmla="*/ 294 w 402"/>
              <a:gd name="T47" fmla="*/ 44 h 196"/>
              <a:gd name="T48" fmla="*/ 298 w 402"/>
              <a:gd name="T49" fmla="*/ 38 h 196"/>
              <a:gd name="T50" fmla="*/ 300 w 402"/>
              <a:gd name="T51" fmla="*/ 27 h 196"/>
              <a:gd name="T52" fmla="*/ 289 w 402"/>
              <a:gd name="T53" fmla="*/ 23 h 196"/>
              <a:gd name="T54" fmla="*/ 287 w 402"/>
              <a:gd name="T55" fmla="*/ 42 h 196"/>
              <a:gd name="T56" fmla="*/ 277 w 402"/>
              <a:gd name="T57" fmla="*/ 40 h 196"/>
              <a:gd name="T58" fmla="*/ 270 w 402"/>
              <a:gd name="T59" fmla="*/ 49 h 196"/>
              <a:gd name="T60" fmla="*/ 264 w 402"/>
              <a:gd name="T61" fmla="*/ 59 h 196"/>
              <a:gd name="T62" fmla="*/ 262 w 402"/>
              <a:gd name="T63" fmla="*/ 66 h 196"/>
              <a:gd name="T64" fmla="*/ 270 w 402"/>
              <a:gd name="T65" fmla="*/ 85 h 196"/>
              <a:gd name="T66" fmla="*/ 266 w 402"/>
              <a:gd name="T67" fmla="*/ 89 h 196"/>
              <a:gd name="T68" fmla="*/ 270 w 402"/>
              <a:gd name="T69" fmla="*/ 108 h 196"/>
              <a:gd name="T70" fmla="*/ 274 w 402"/>
              <a:gd name="T71" fmla="*/ 127 h 196"/>
              <a:gd name="T72" fmla="*/ 287 w 402"/>
              <a:gd name="T73" fmla="*/ 166 h 196"/>
              <a:gd name="T74" fmla="*/ 270 w 402"/>
              <a:gd name="T75" fmla="*/ 153 h 196"/>
              <a:gd name="T76" fmla="*/ 260 w 402"/>
              <a:gd name="T77" fmla="*/ 136 h 196"/>
              <a:gd name="T78" fmla="*/ 281 w 402"/>
              <a:gd name="T79" fmla="*/ 164 h 196"/>
              <a:gd name="T80" fmla="*/ 304 w 402"/>
              <a:gd name="T81" fmla="*/ 185 h 196"/>
              <a:gd name="T82" fmla="*/ 287 w 402"/>
              <a:gd name="T83" fmla="*/ 185 h 196"/>
              <a:gd name="T84" fmla="*/ 272 w 402"/>
              <a:gd name="T85" fmla="*/ 179 h 196"/>
              <a:gd name="T86" fmla="*/ 255 w 402"/>
              <a:gd name="T87" fmla="*/ 168 h 196"/>
              <a:gd name="T88" fmla="*/ 245 w 402"/>
              <a:gd name="T89" fmla="*/ 174 h 196"/>
              <a:gd name="T90" fmla="*/ 230 w 402"/>
              <a:gd name="T91" fmla="*/ 164 h 196"/>
              <a:gd name="T92" fmla="*/ 217 w 402"/>
              <a:gd name="T93" fmla="*/ 168 h 196"/>
              <a:gd name="T94" fmla="*/ 219 w 402"/>
              <a:gd name="T95" fmla="*/ 153 h 196"/>
              <a:gd name="T96" fmla="*/ 230 w 402"/>
              <a:gd name="T97" fmla="*/ 132 h 196"/>
              <a:gd name="T98" fmla="*/ 234 w 402"/>
              <a:gd name="T99" fmla="*/ 110 h 196"/>
              <a:gd name="T100" fmla="*/ 211 w 402"/>
              <a:gd name="T101" fmla="*/ 108 h 196"/>
              <a:gd name="T102" fmla="*/ 187 w 402"/>
              <a:gd name="T103" fmla="*/ 102 h 196"/>
              <a:gd name="T104" fmla="*/ 176 w 402"/>
              <a:gd name="T105" fmla="*/ 83 h 196"/>
              <a:gd name="T106" fmla="*/ 153 w 402"/>
              <a:gd name="T107" fmla="*/ 74 h 196"/>
              <a:gd name="T108" fmla="*/ 140 w 402"/>
              <a:gd name="T109" fmla="*/ 59 h 196"/>
              <a:gd name="T110" fmla="*/ 125 w 402"/>
              <a:gd name="T111" fmla="*/ 51 h 196"/>
              <a:gd name="T112" fmla="*/ 106 w 402"/>
              <a:gd name="T113" fmla="*/ 47 h 196"/>
              <a:gd name="T114" fmla="*/ 89 w 402"/>
              <a:gd name="T115" fmla="*/ 61 h 196"/>
              <a:gd name="T116" fmla="*/ 70 w 402"/>
              <a:gd name="T117" fmla="*/ 68 h 196"/>
              <a:gd name="T118" fmla="*/ 59 w 402"/>
              <a:gd name="T119" fmla="*/ 70 h 196"/>
              <a:gd name="T120" fmla="*/ 36 w 402"/>
              <a:gd name="T121" fmla="*/ 85 h 196"/>
              <a:gd name="T122" fmla="*/ 23 w 402"/>
              <a:gd name="T123" fmla="*/ 106 h 196"/>
              <a:gd name="T124" fmla="*/ 0 w 402"/>
              <a:gd name="T125" fmla="*/ 6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196">
                <a:moveTo>
                  <a:pt x="0" y="61"/>
                </a:moveTo>
                <a:lnTo>
                  <a:pt x="145" y="34"/>
                </a:lnTo>
                <a:lnTo>
                  <a:pt x="311" y="0"/>
                </a:lnTo>
                <a:lnTo>
                  <a:pt x="334" y="81"/>
                </a:lnTo>
                <a:lnTo>
                  <a:pt x="345" y="130"/>
                </a:lnTo>
                <a:lnTo>
                  <a:pt x="349" y="138"/>
                </a:lnTo>
                <a:lnTo>
                  <a:pt x="400" y="125"/>
                </a:lnTo>
                <a:lnTo>
                  <a:pt x="400" y="130"/>
                </a:lnTo>
                <a:lnTo>
                  <a:pt x="396" y="132"/>
                </a:lnTo>
                <a:lnTo>
                  <a:pt x="402" y="138"/>
                </a:lnTo>
                <a:lnTo>
                  <a:pt x="400" y="153"/>
                </a:lnTo>
                <a:lnTo>
                  <a:pt x="396" y="151"/>
                </a:lnTo>
                <a:lnTo>
                  <a:pt x="392" y="166"/>
                </a:lnTo>
                <a:lnTo>
                  <a:pt x="387" y="172"/>
                </a:lnTo>
                <a:lnTo>
                  <a:pt x="387" y="179"/>
                </a:lnTo>
                <a:lnTo>
                  <a:pt x="372" y="185"/>
                </a:lnTo>
                <a:lnTo>
                  <a:pt x="366" y="191"/>
                </a:lnTo>
                <a:lnTo>
                  <a:pt x="360" y="191"/>
                </a:lnTo>
                <a:lnTo>
                  <a:pt x="345" y="196"/>
                </a:lnTo>
                <a:lnTo>
                  <a:pt x="345" y="191"/>
                </a:lnTo>
                <a:lnTo>
                  <a:pt x="351" y="183"/>
                </a:lnTo>
                <a:lnTo>
                  <a:pt x="353" y="176"/>
                </a:lnTo>
                <a:lnTo>
                  <a:pt x="347" y="179"/>
                </a:lnTo>
                <a:lnTo>
                  <a:pt x="343" y="174"/>
                </a:lnTo>
                <a:lnTo>
                  <a:pt x="336" y="179"/>
                </a:lnTo>
                <a:lnTo>
                  <a:pt x="334" y="172"/>
                </a:lnTo>
                <a:lnTo>
                  <a:pt x="340" y="164"/>
                </a:lnTo>
                <a:lnTo>
                  <a:pt x="336" y="162"/>
                </a:lnTo>
                <a:lnTo>
                  <a:pt x="336" y="149"/>
                </a:lnTo>
                <a:lnTo>
                  <a:pt x="330" y="164"/>
                </a:lnTo>
                <a:lnTo>
                  <a:pt x="328" y="159"/>
                </a:lnTo>
                <a:lnTo>
                  <a:pt x="328" y="153"/>
                </a:lnTo>
                <a:lnTo>
                  <a:pt x="323" y="159"/>
                </a:lnTo>
                <a:lnTo>
                  <a:pt x="326" y="168"/>
                </a:lnTo>
                <a:lnTo>
                  <a:pt x="319" y="164"/>
                </a:lnTo>
                <a:lnTo>
                  <a:pt x="313" y="159"/>
                </a:lnTo>
                <a:lnTo>
                  <a:pt x="306" y="155"/>
                </a:lnTo>
                <a:lnTo>
                  <a:pt x="309" y="162"/>
                </a:lnTo>
                <a:lnTo>
                  <a:pt x="302" y="155"/>
                </a:lnTo>
                <a:lnTo>
                  <a:pt x="302" y="147"/>
                </a:lnTo>
                <a:lnTo>
                  <a:pt x="304" y="134"/>
                </a:lnTo>
                <a:lnTo>
                  <a:pt x="298" y="138"/>
                </a:lnTo>
                <a:lnTo>
                  <a:pt x="300" y="130"/>
                </a:lnTo>
                <a:lnTo>
                  <a:pt x="317" y="132"/>
                </a:lnTo>
                <a:lnTo>
                  <a:pt x="321" y="123"/>
                </a:lnTo>
                <a:lnTo>
                  <a:pt x="315" y="127"/>
                </a:lnTo>
                <a:lnTo>
                  <a:pt x="306" y="125"/>
                </a:lnTo>
                <a:lnTo>
                  <a:pt x="302" y="119"/>
                </a:lnTo>
                <a:lnTo>
                  <a:pt x="300" y="115"/>
                </a:lnTo>
                <a:lnTo>
                  <a:pt x="291" y="117"/>
                </a:lnTo>
                <a:lnTo>
                  <a:pt x="291" y="123"/>
                </a:lnTo>
                <a:lnTo>
                  <a:pt x="287" y="117"/>
                </a:lnTo>
                <a:lnTo>
                  <a:pt x="289" y="110"/>
                </a:lnTo>
                <a:lnTo>
                  <a:pt x="296" y="106"/>
                </a:lnTo>
                <a:lnTo>
                  <a:pt x="302" y="113"/>
                </a:lnTo>
                <a:lnTo>
                  <a:pt x="300" y="106"/>
                </a:lnTo>
                <a:lnTo>
                  <a:pt x="304" y="100"/>
                </a:lnTo>
                <a:lnTo>
                  <a:pt x="298" y="98"/>
                </a:lnTo>
                <a:lnTo>
                  <a:pt x="291" y="91"/>
                </a:lnTo>
                <a:lnTo>
                  <a:pt x="289" y="93"/>
                </a:lnTo>
                <a:lnTo>
                  <a:pt x="283" y="98"/>
                </a:lnTo>
                <a:lnTo>
                  <a:pt x="283" y="106"/>
                </a:lnTo>
                <a:lnTo>
                  <a:pt x="283" y="91"/>
                </a:lnTo>
                <a:lnTo>
                  <a:pt x="289" y="89"/>
                </a:lnTo>
                <a:lnTo>
                  <a:pt x="296" y="83"/>
                </a:lnTo>
                <a:lnTo>
                  <a:pt x="296" y="81"/>
                </a:lnTo>
                <a:lnTo>
                  <a:pt x="296" y="74"/>
                </a:lnTo>
                <a:lnTo>
                  <a:pt x="291" y="72"/>
                </a:lnTo>
                <a:lnTo>
                  <a:pt x="289" y="81"/>
                </a:lnTo>
                <a:lnTo>
                  <a:pt x="285" y="72"/>
                </a:lnTo>
                <a:lnTo>
                  <a:pt x="287" y="51"/>
                </a:lnTo>
                <a:lnTo>
                  <a:pt x="294" y="44"/>
                </a:lnTo>
                <a:lnTo>
                  <a:pt x="302" y="42"/>
                </a:lnTo>
                <a:lnTo>
                  <a:pt x="309" y="38"/>
                </a:lnTo>
                <a:lnTo>
                  <a:pt x="298" y="38"/>
                </a:lnTo>
                <a:lnTo>
                  <a:pt x="309" y="23"/>
                </a:lnTo>
                <a:lnTo>
                  <a:pt x="306" y="21"/>
                </a:lnTo>
                <a:lnTo>
                  <a:pt x="300" y="27"/>
                </a:lnTo>
                <a:lnTo>
                  <a:pt x="300" y="19"/>
                </a:lnTo>
                <a:lnTo>
                  <a:pt x="296" y="21"/>
                </a:lnTo>
                <a:lnTo>
                  <a:pt x="289" y="23"/>
                </a:lnTo>
                <a:lnTo>
                  <a:pt x="289" y="27"/>
                </a:lnTo>
                <a:lnTo>
                  <a:pt x="294" y="34"/>
                </a:lnTo>
                <a:lnTo>
                  <a:pt x="287" y="42"/>
                </a:lnTo>
                <a:lnTo>
                  <a:pt x="281" y="44"/>
                </a:lnTo>
                <a:lnTo>
                  <a:pt x="281" y="36"/>
                </a:lnTo>
                <a:lnTo>
                  <a:pt x="277" y="40"/>
                </a:lnTo>
                <a:lnTo>
                  <a:pt x="277" y="53"/>
                </a:lnTo>
                <a:lnTo>
                  <a:pt x="272" y="44"/>
                </a:lnTo>
                <a:lnTo>
                  <a:pt x="270" y="49"/>
                </a:lnTo>
                <a:lnTo>
                  <a:pt x="270" y="53"/>
                </a:lnTo>
                <a:lnTo>
                  <a:pt x="270" y="61"/>
                </a:lnTo>
                <a:lnTo>
                  <a:pt x="264" y="59"/>
                </a:lnTo>
                <a:lnTo>
                  <a:pt x="270" y="66"/>
                </a:lnTo>
                <a:lnTo>
                  <a:pt x="264" y="66"/>
                </a:lnTo>
                <a:lnTo>
                  <a:pt x="262" y="66"/>
                </a:lnTo>
                <a:lnTo>
                  <a:pt x="253" y="68"/>
                </a:lnTo>
                <a:lnTo>
                  <a:pt x="270" y="78"/>
                </a:lnTo>
                <a:lnTo>
                  <a:pt x="270" y="85"/>
                </a:lnTo>
                <a:lnTo>
                  <a:pt x="277" y="89"/>
                </a:lnTo>
                <a:lnTo>
                  <a:pt x="272" y="91"/>
                </a:lnTo>
                <a:lnTo>
                  <a:pt x="266" y="89"/>
                </a:lnTo>
                <a:lnTo>
                  <a:pt x="264" y="91"/>
                </a:lnTo>
                <a:lnTo>
                  <a:pt x="270" y="93"/>
                </a:lnTo>
                <a:lnTo>
                  <a:pt x="270" y="108"/>
                </a:lnTo>
                <a:lnTo>
                  <a:pt x="272" y="115"/>
                </a:lnTo>
                <a:lnTo>
                  <a:pt x="270" y="121"/>
                </a:lnTo>
                <a:lnTo>
                  <a:pt x="274" y="127"/>
                </a:lnTo>
                <a:lnTo>
                  <a:pt x="279" y="145"/>
                </a:lnTo>
                <a:lnTo>
                  <a:pt x="291" y="157"/>
                </a:lnTo>
                <a:lnTo>
                  <a:pt x="287" y="166"/>
                </a:lnTo>
                <a:lnTo>
                  <a:pt x="285" y="159"/>
                </a:lnTo>
                <a:lnTo>
                  <a:pt x="277" y="157"/>
                </a:lnTo>
                <a:lnTo>
                  <a:pt x="270" y="153"/>
                </a:lnTo>
                <a:lnTo>
                  <a:pt x="262" y="138"/>
                </a:lnTo>
                <a:lnTo>
                  <a:pt x="260" y="132"/>
                </a:lnTo>
                <a:lnTo>
                  <a:pt x="260" y="136"/>
                </a:lnTo>
                <a:lnTo>
                  <a:pt x="266" y="151"/>
                </a:lnTo>
                <a:lnTo>
                  <a:pt x="270" y="157"/>
                </a:lnTo>
                <a:lnTo>
                  <a:pt x="281" y="164"/>
                </a:lnTo>
                <a:lnTo>
                  <a:pt x="287" y="170"/>
                </a:lnTo>
                <a:lnTo>
                  <a:pt x="296" y="172"/>
                </a:lnTo>
                <a:lnTo>
                  <a:pt x="304" y="185"/>
                </a:lnTo>
                <a:lnTo>
                  <a:pt x="302" y="191"/>
                </a:lnTo>
                <a:lnTo>
                  <a:pt x="296" y="187"/>
                </a:lnTo>
                <a:lnTo>
                  <a:pt x="287" y="185"/>
                </a:lnTo>
                <a:lnTo>
                  <a:pt x="285" y="187"/>
                </a:lnTo>
                <a:lnTo>
                  <a:pt x="279" y="181"/>
                </a:lnTo>
                <a:lnTo>
                  <a:pt x="272" y="179"/>
                </a:lnTo>
                <a:lnTo>
                  <a:pt x="264" y="183"/>
                </a:lnTo>
                <a:lnTo>
                  <a:pt x="257" y="176"/>
                </a:lnTo>
                <a:lnTo>
                  <a:pt x="255" y="168"/>
                </a:lnTo>
                <a:lnTo>
                  <a:pt x="253" y="172"/>
                </a:lnTo>
                <a:lnTo>
                  <a:pt x="253" y="179"/>
                </a:lnTo>
                <a:lnTo>
                  <a:pt x="245" y="174"/>
                </a:lnTo>
                <a:lnTo>
                  <a:pt x="240" y="168"/>
                </a:lnTo>
                <a:lnTo>
                  <a:pt x="236" y="159"/>
                </a:lnTo>
                <a:lnTo>
                  <a:pt x="230" y="164"/>
                </a:lnTo>
                <a:lnTo>
                  <a:pt x="228" y="168"/>
                </a:lnTo>
                <a:lnTo>
                  <a:pt x="223" y="176"/>
                </a:lnTo>
                <a:lnTo>
                  <a:pt x="217" y="168"/>
                </a:lnTo>
                <a:lnTo>
                  <a:pt x="215" y="162"/>
                </a:lnTo>
                <a:lnTo>
                  <a:pt x="217" y="153"/>
                </a:lnTo>
                <a:lnTo>
                  <a:pt x="219" y="153"/>
                </a:lnTo>
                <a:lnTo>
                  <a:pt x="223" y="147"/>
                </a:lnTo>
                <a:lnTo>
                  <a:pt x="223" y="138"/>
                </a:lnTo>
                <a:lnTo>
                  <a:pt x="230" y="132"/>
                </a:lnTo>
                <a:lnTo>
                  <a:pt x="228" y="123"/>
                </a:lnTo>
                <a:lnTo>
                  <a:pt x="232" y="117"/>
                </a:lnTo>
                <a:lnTo>
                  <a:pt x="234" y="110"/>
                </a:lnTo>
                <a:lnTo>
                  <a:pt x="225" y="104"/>
                </a:lnTo>
                <a:lnTo>
                  <a:pt x="215" y="110"/>
                </a:lnTo>
                <a:lnTo>
                  <a:pt x="211" y="108"/>
                </a:lnTo>
                <a:lnTo>
                  <a:pt x="204" y="104"/>
                </a:lnTo>
                <a:lnTo>
                  <a:pt x="196" y="100"/>
                </a:lnTo>
                <a:lnTo>
                  <a:pt x="187" y="102"/>
                </a:lnTo>
                <a:lnTo>
                  <a:pt x="179" y="96"/>
                </a:lnTo>
                <a:lnTo>
                  <a:pt x="181" y="89"/>
                </a:lnTo>
                <a:lnTo>
                  <a:pt x="176" y="83"/>
                </a:lnTo>
                <a:lnTo>
                  <a:pt x="170" y="78"/>
                </a:lnTo>
                <a:lnTo>
                  <a:pt x="155" y="78"/>
                </a:lnTo>
                <a:lnTo>
                  <a:pt x="153" y="74"/>
                </a:lnTo>
                <a:lnTo>
                  <a:pt x="147" y="68"/>
                </a:lnTo>
                <a:lnTo>
                  <a:pt x="147" y="59"/>
                </a:lnTo>
                <a:lnTo>
                  <a:pt x="140" y="59"/>
                </a:lnTo>
                <a:lnTo>
                  <a:pt x="142" y="51"/>
                </a:lnTo>
                <a:lnTo>
                  <a:pt x="140" y="51"/>
                </a:lnTo>
                <a:lnTo>
                  <a:pt x="125" y="51"/>
                </a:lnTo>
                <a:lnTo>
                  <a:pt x="119" y="47"/>
                </a:lnTo>
                <a:lnTo>
                  <a:pt x="113" y="44"/>
                </a:lnTo>
                <a:lnTo>
                  <a:pt x="106" y="47"/>
                </a:lnTo>
                <a:lnTo>
                  <a:pt x="102" y="55"/>
                </a:lnTo>
                <a:lnTo>
                  <a:pt x="96" y="55"/>
                </a:lnTo>
                <a:lnTo>
                  <a:pt x="89" y="61"/>
                </a:lnTo>
                <a:lnTo>
                  <a:pt x="87" y="68"/>
                </a:lnTo>
                <a:lnTo>
                  <a:pt x="76" y="70"/>
                </a:lnTo>
                <a:lnTo>
                  <a:pt x="70" y="68"/>
                </a:lnTo>
                <a:lnTo>
                  <a:pt x="62" y="61"/>
                </a:lnTo>
                <a:lnTo>
                  <a:pt x="59" y="61"/>
                </a:lnTo>
                <a:lnTo>
                  <a:pt x="59" y="70"/>
                </a:lnTo>
                <a:lnTo>
                  <a:pt x="49" y="85"/>
                </a:lnTo>
                <a:lnTo>
                  <a:pt x="42" y="83"/>
                </a:lnTo>
                <a:lnTo>
                  <a:pt x="36" y="85"/>
                </a:lnTo>
                <a:lnTo>
                  <a:pt x="34" y="91"/>
                </a:lnTo>
                <a:lnTo>
                  <a:pt x="27" y="100"/>
                </a:lnTo>
                <a:lnTo>
                  <a:pt x="23" y="106"/>
                </a:lnTo>
                <a:lnTo>
                  <a:pt x="15" y="113"/>
                </a:lnTo>
                <a:lnTo>
                  <a:pt x="8" y="121"/>
                </a:lnTo>
                <a:lnTo>
                  <a:pt x="0" y="6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787"/>
          <p:cNvSpPr>
            <a:spLocks/>
          </p:cNvSpPr>
          <p:nvPr/>
        </p:nvSpPr>
        <p:spPr bwMode="auto">
          <a:xfrm>
            <a:off x="6623050" y="3119438"/>
            <a:ext cx="638175" cy="311150"/>
          </a:xfrm>
          <a:custGeom>
            <a:avLst/>
            <a:gdLst>
              <a:gd name="T0" fmla="*/ 311 w 402"/>
              <a:gd name="T1" fmla="*/ 0 h 196"/>
              <a:gd name="T2" fmla="*/ 349 w 402"/>
              <a:gd name="T3" fmla="*/ 138 h 196"/>
              <a:gd name="T4" fmla="*/ 396 w 402"/>
              <a:gd name="T5" fmla="*/ 132 h 196"/>
              <a:gd name="T6" fmla="*/ 396 w 402"/>
              <a:gd name="T7" fmla="*/ 151 h 196"/>
              <a:gd name="T8" fmla="*/ 387 w 402"/>
              <a:gd name="T9" fmla="*/ 179 h 196"/>
              <a:gd name="T10" fmla="*/ 360 w 402"/>
              <a:gd name="T11" fmla="*/ 191 h 196"/>
              <a:gd name="T12" fmla="*/ 351 w 402"/>
              <a:gd name="T13" fmla="*/ 183 h 196"/>
              <a:gd name="T14" fmla="*/ 343 w 402"/>
              <a:gd name="T15" fmla="*/ 174 h 196"/>
              <a:gd name="T16" fmla="*/ 340 w 402"/>
              <a:gd name="T17" fmla="*/ 164 h 196"/>
              <a:gd name="T18" fmla="*/ 330 w 402"/>
              <a:gd name="T19" fmla="*/ 164 h 196"/>
              <a:gd name="T20" fmla="*/ 323 w 402"/>
              <a:gd name="T21" fmla="*/ 159 h 196"/>
              <a:gd name="T22" fmla="*/ 313 w 402"/>
              <a:gd name="T23" fmla="*/ 159 h 196"/>
              <a:gd name="T24" fmla="*/ 302 w 402"/>
              <a:gd name="T25" fmla="*/ 155 h 196"/>
              <a:gd name="T26" fmla="*/ 298 w 402"/>
              <a:gd name="T27" fmla="*/ 138 h 196"/>
              <a:gd name="T28" fmla="*/ 321 w 402"/>
              <a:gd name="T29" fmla="*/ 123 h 196"/>
              <a:gd name="T30" fmla="*/ 302 w 402"/>
              <a:gd name="T31" fmla="*/ 119 h 196"/>
              <a:gd name="T32" fmla="*/ 291 w 402"/>
              <a:gd name="T33" fmla="*/ 123 h 196"/>
              <a:gd name="T34" fmla="*/ 296 w 402"/>
              <a:gd name="T35" fmla="*/ 106 h 196"/>
              <a:gd name="T36" fmla="*/ 304 w 402"/>
              <a:gd name="T37" fmla="*/ 100 h 196"/>
              <a:gd name="T38" fmla="*/ 289 w 402"/>
              <a:gd name="T39" fmla="*/ 93 h 196"/>
              <a:gd name="T40" fmla="*/ 283 w 402"/>
              <a:gd name="T41" fmla="*/ 91 h 196"/>
              <a:gd name="T42" fmla="*/ 296 w 402"/>
              <a:gd name="T43" fmla="*/ 81 h 196"/>
              <a:gd name="T44" fmla="*/ 289 w 402"/>
              <a:gd name="T45" fmla="*/ 81 h 196"/>
              <a:gd name="T46" fmla="*/ 294 w 402"/>
              <a:gd name="T47" fmla="*/ 44 h 196"/>
              <a:gd name="T48" fmla="*/ 298 w 402"/>
              <a:gd name="T49" fmla="*/ 38 h 196"/>
              <a:gd name="T50" fmla="*/ 300 w 402"/>
              <a:gd name="T51" fmla="*/ 27 h 196"/>
              <a:gd name="T52" fmla="*/ 289 w 402"/>
              <a:gd name="T53" fmla="*/ 23 h 196"/>
              <a:gd name="T54" fmla="*/ 287 w 402"/>
              <a:gd name="T55" fmla="*/ 42 h 196"/>
              <a:gd name="T56" fmla="*/ 277 w 402"/>
              <a:gd name="T57" fmla="*/ 40 h 196"/>
              <a:gd name="T58" fmla="*/ 270 w 402"/>
              <a:gd name="T59" fmla="*/ 49 h 196"/>
              <a:gd name="T60" fmla="*/ 264 w 402"/>
              <a:gd name="T61" fmla="*/ 59 h 196"/>
              <a:gd name="T62" fmla="*/ 262 w 402"/>
              <a:gd name="T63" fmla="*/ 66 h 196"/>
              <a:gd name="T64" fmla="*/ 270 w 402"/>
              <a:gd name="T65" fmla="*/ 85 h 196"/>
              <a:gd name="T66" fmla="*/ 266 w 402"/>
              <a:gd name="T67" fmla="*/ 89 h 196"/>
              <a:gd name="T68" fmla="*/ 270 w 402"/>
              <a:gd name="T69" fmla="*/ 108 h 196"/>
              <a:gd name="T70" fmla="*/ 274 w 402"/>
              <a:gd name="T71" fmla="*/ 127 h 196"/>
              <a:gd name="T72" fmla="*/ 287 w 402"/>
              <a:gd name="T73" fmla="*/ 166 h 196"/>
              <a:gd name="T74" fmla="*/ 270 w 402"/>
              <a:gd name="T75" fmla="*/ 153 h 196"/>
              <a:gd name="T76" fmla="*/ 260 w 402"/>
              <a:gd name="T77" fmla="*/ 136 h 196"/>
              <a:gd name="T78" fmla="*/ 281 w 402"/>
              <a:gd name="T79" fmla="*/ 164 h 196"/>
              <a:gd name="T80" fmla="*/ 304 w 402"/>
              <a:gd name="T81" fmla="*/ 185 h 196"/>
              <a:gd name="T82" fmla="*/ 287 w 402"/>
              <a:gd name="T83" fmla="*/ 185 h 196"/>
              <a:gd name="T84" fmla="*/ 272 w 402"/>
              <a:gd name="T85" fmla="*/ 179 h 196"/>
              <a:gd name="T86" fmla="*/ 255 w 402"/>
              <a:gd name="T87" fmla="*/ 168 h 196"/>
              <a:gd name="T88" fmla="*/ 245 w 402"/>
              <a:gd name="T89" fmla="*/ 174 h 196"/>
              <a:gd name="T90" fmla="*/ 230 w 402"/>
              <a:gd name="T91" fmla="*/ 164 h 196"/>
              <a:gd name="T92" fmla="*/ 217 w 402"/>
              <a:gd name="T93" fmla="*/ 168 h 196"/>
              <a:gd name="T94" fmla="*/ 219 w 402"/>
              <a:gd name="T95" fmla="*/ 153 h 196"/>
              <a:gd name="T96" fmla="*/ 230 w 402"/>
              <a:gd name="T97" fmla="*/ 132 h 196"/>
              <a:gd name="T98" fmla="*/ 234 w 402"/>
              <a:gd name="T99" fmla="*/ 110 h 196"/>
              <a:gd name="T100" fmla="*/ 211 w 402"/>
              <a:gd name="T101" fmla="*/ 108 h 196"/>
              <a:gd name="T102" fmla="*/ 187 w 402"/>
              <a:gd name="T103" fmla="*/ 102 h 196"/>
              <a:gd name="T104" fmla="*/ 176 w 402"/>
              <a:gd name="T105" fmla="*/ 83 h 196"/>
              <a:gd name="T106" fmla="*/ 153 w 402"/>
              <a:gd name="T107" fmla="*/ 74 h 196"/>
              <a:gd name="T108" fmla="*/ 140 w 402"/>
              <a:gd name="T109" fmla="*/ 59 h 196"/>
              <a:gd name="T110" fmla="*/ 125 w 402"/>
              <a:gd name="T111" fmla="*/ 51 h 196"/>
              <a:gd name="T112" fmla="*/ 106 w 402"/>
              <a:gd name="T113" fmla="*/ 47 h 196"/>
              <a:gd name="T114" fmla="*/ 89 w 402"/>
              <a:gd name="T115" fmla="*/ 61 h 196"/>
              <a:gd name="T116" fmla="*/ 70 w 402"/>
              <a:gd name="T117" fmla="*/ 68 h 196"/>
              <a:gd name="T118" fmla="*/ 59 w 402"/>
              <a:gd name="T119" fmla="*/ 70 h 196"/>
              <a:gd name="T120" fmla="*/ 36 w 402"/>
              <a:gd name="T121" fmla="*/ 85 h 196"/>
              <a:gd name="T122" fmla="*/ 23 w 402"/>
              <a:gd name="T123" fmla="*/ 106 h 196"/>
              <a:gd name="T124" fmla="*/ 0 w 402"/>
              <a:gd name="T125" fmla="*/ 6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196">
                <a:moveTo>
                  <a:pt x="0" y="61"/>
                </a:moveTo>
                <a:lnTo>
                  <a:pt x="145" y="34"/>
                </a:lnTo>
                <a:lnTo>
                  <a:pt x="311" y="0"/>
                </a:lnTo>
                <a:lnTo>
                  <a:pt x="334" y="81"/>
                </a:lnTo>
                <a:lnTo>
                  <a:pt x="345" y="130"/>
                </a:lnTo>
                <a:lnTo>
                  <a:pt x="349" y="138"/>
                </a:lnTo>
                <a:lnTo>
                  <a:pt x="400" y="125"/>
                </a:lnTo>
                <a:lnTo>
                  <a:pt x="400" y="130"/>
                </a:lnTo>
                <a:lnTo>
                  <a:pt x="396" y="132"/>
                </a:lnTo>
                <a:lnTo>
                  <a:pt x="402" y="138"/>
                </a:lnTo>
                <a:lnTo>
                  <a:pt x="400" y="153"/>
                </a:lnTo>
                <a:lnTo>
                  <a:pt x="396" y="151"/>
                </a:lnTo>
                <a:lnTo>
                  <a:pt x="392" y="166"/>
                </a:lnTo>
                <a:lnTo>
                  <a:pt x="387" y="172"/>
                </a:lnTo>
                <a:lnTo>
                  <a:pt x="387" y="179"/>
                </a:lnTo>
                <a:lnTo>
                  <a:pt x="372" y="185"/>
                </a:lnTo>
                <a:lnTo>
                  <a:pt x="366" y="191"/>
                </a:lnTo>
                <a:lnTo>
                  <a:pt x="360" y="191"/>
                </a:lnTo>
                <a:lnTo>
                  <a:pt x="345" y="196"/>
                </a:lnTo>
                <a:lnTo>
                  <a:pt x="345" y="191"/>
                </a:lnTo>
                <a:lnTo>
                  <a:pt x="351" y="183"/>
                </a:lnTo>
                <a:lnTo>
                  <a:pt x="353" y="176"/>
                </a:lnTo>
                <a:lnTo>
                  <a:pt x="347" y="179"/>
                </a:lnTo>
                <a:lnTo>
                  <a:pt x="343" y="174"/>
                </a:lnTo>
                <a:lnTo>
                  <a:pt x="336" y="179"/>
                </a:lnTo>
                <a:lnTo>
                  <a:pt x="334" y="172"/>
                </a:lnTo>
                <a:lnTo>
                  <a:pt x="340" y="164"/>
                </a:lnTo>
                <a:lnTo>
                  <a:pt x="336" y="162"/>
                </a:lnTo>
                <a:lnTo>
                  <a:pt x="336" y="149"/>
                </a:lnTo>
                <a:lnTo>
                  <a:pt x="330" y="164"/>
                </a:lnTo>
                <a:lnTo>
                  <a:pt x="328" y="159"/>
                </a:lnTo>
                <a:lnTo>
                  <a:pt x="328" y="153"/>
                </a:lnTo>
                <a:lnTo>
                  <a:pt x="323" y="159"/>
                </a:lnTo>
                <a:lnTo>
                  <a:pt x="326" y="168"/>
                </a:lnTo>
                <a:lnTo>
                  <a:pt x="319" y="164"/>
                </a:lnTo>
                <a:lnTo>
                  <a:pt x="313" y="159"/>
                </a:lnTo>
                <a:lnTo>
                  <a:pt x="306" y="155"/>
                </a:lnTo>
                <a:lnTo>
                  <a:pt x="309" y="162"/>
                </a:lnTo>
                <a:lnTo>
                  <a:pt x="302" y="155"/>
                </a:lnTo>
                <a:lnTo>
                  <a:pt x="302" y="147"/>
                </a:lnTo>
                <a:lnTo>
                  <a:pt x="304" y="134"/>
                </a:lnTo>
                <a:lnTo>
                  <a:pt x="298" y="138"/>
                </a:lnTo>
                <a:lnTo>
                  <a:pt x="300" y="130"/>
                </a:lnTo>
                <a:lnTo>
                  <a:pt x="317" y="132"/>
                </a:lnTo>
                <a:lnTo>
                  <a:pt x="321" y="123"/>
                </a:lnTo>
                <a:lnTo>
                  <a:pt x="315" y="127"/>
                </a:lnTo>
                <a:lnTo>
                  <a:pt x="306" y="125"/>
                </a:lnTo>
                <a:lnTo>
                  <a:pt x="302" y="119"/>
                </a:lnTo>
                <a:lnTo>
                  <a:pt x="300" y="115"/>
                </a:lnTo>
                <a:lnTo>
                  <a:pt x="291" y="117"/>
                </a:lnTo>
                <a:lnTo>
                  <a:pt x="291" y="123"/>
                </a:lnTo>
                <a:lnTo>
                  <a:pt x="287" y="117"/>
                </a:lnTo>
                <a:lnTo>
                  <a:pt x="289" y="110"/>
                </a:lnTo>
                <a:lnTo>
                  <a:pt x="296" y="106"/>
                </a:lnTo>
                <a:lnTo>
                  <a:pt x="302" y="113"/>
                </a:lnTo>
                <a:lnTo>
                  <a:pt x="300" y="106"/>
                </a:lnTo>
                <a:lnTo>
                  <a:pt x="304" y="100"/>
                </a:lnTo>
                <a:lnTo>
                  <a:pt x="298" y="98"/>
                </a:lnTo>
                <a:lnTo>
                  <a:pt x="291" y="91"/>
                </a:lnTo>
                <a:lnTo>
                  <a:pt x="289" y="93"/>
                </a:lnTo>
                <a:lnTo>
                  <a:pt x="283" y="98"/>
                </a:lnTo>
                <a:lnTo>
                  <a:pt x="283" y="106"/>
                </a:lnTo>
                <a:lnTo>
                  <a:pt x="283" y="91"/>
                </a:lnTo>
                <a:lnTo>
                  <a:pt x="289" y="89"/>
                </a:lnTo>
                <a:lnTo>
                  <a:pt x="296" y="83"/>
                </a:lnTo>
                <a:lnTo>
                  <a:pt x="296" y="81"/>
                </a:lnTo>
                <a:lnTo>
                  <a:pt x="296" y="74"/>
                </a:lnTo>
                <a:lnTo>
                  <a:pt x="291" y="72"/>
                </a:lnTo>
                <a:lnTo>
                  <a:pt x="289" y="81"/>
                </a:lnTo>
                <a:lnTo>
                  <a:pt x="285" y="72"/>
                </a:lnTo>
                <a:lnTo>
                  <a:pt x="287" y="51"/>
                </a:lnTo>
                <a:lnTo>
                  <a:pt x="294" y="44"/>
                </a:lnTo>
                <a:lnTo>
                  <a:pt x="302" y="42"/>
                </a:lnTo>
                <a:lnTo>
                  <a:pt x="309" y="38"/>
                </a:lnTo>
                <a:lnTo>
                  <a:pt x="298" y="38"/>
                </a:lnTo>
                <a:lnTo>
                  <a:pt x="309" y="23"/>
                </a:lnTo>
                <a:lnTo>
                  <a:pt x="306" y="21"/>
                </a:lnTo>
                <a:lnTo>
                  <a:pt x="300" y="27"/>
                </a:lnTo>
                <a:lnTo>
                  <a:pt x="300" y="19"/>
                </a:lnTo>
                <a:lnTo>
                  <a:pt x="296" y="21"/>
                </a:lnTo>
                <a:lnTo>
                  <a:pt x="289" y="23"/>
                </a:lnTo>
                <a:lnTo>
                  <a:pt x="289" y="27"/>
                </a:lnTo>
                <a:lnTo>
                  <a:pt x="294" y="34"/>
                </a:lnTo>
                <a:lnTo>
                  <a:pt x="287" y="42"/>
                </a:lnTo>
                <a:lnTo>
                  <a:pt x="281" y="44"/>
                </a:lnTo>
                <a:lnTo>
                  <a:pt x="281" y="36"/>
                </a:lnTo>
                <a:lnTo>
                  <a:pt x="277" y="40"/>
                </a:lnTo>
                <a:lnTo>
                  <a:pt x="277" y="53"/>
                </a:lnTo>
                <a:lnTo>
                  <a:pt x="272" y="44"/>
                </a:lnTo>
                <a:lnTo>
                  <a:pt x="270" y="49"/>
                </a:lnTo>
                <a:lnTo>
                  <a:pt x="270" y="53"/>
                </a:lnTo>
                <a:lnTo>
                  <a:pt x="270" y="61"/>
                </a:lnTo>
                <a:lnTo>
                  <a:pt x="264" y="59"/>
                </a:lnTo>
                <a:lnTo>
                  <a:pt x="270" y="66"/>
                </a:lnTo>
                <a:lnTo>
                  <a:pt x="264" y="66"/>
                </a:lnTo>
                <a:lnTo>
                  <a:pt x="262" y="66"/>
                </a:lnTo>
                <a:lnTo>
                  <a:pt x="253" y="68"/>
                </a:lnTo>
                <a:lnTo>
                  <a:pt x="270" y="78"/>
                </a:lnTo>
                <a:lnTo>
                  <a:pt x="270" y="85"/>
                </a:lnTo>
                <a:lnTo>
                  <a:pt x="277" y="89"/>
                </a:lnTo>
                <a:lnTo>
                  <a:pt x="272" y="91"/>
                </a:lnTo>
                <a:lnTo>
                  <a:pt x="266" y="89"/>
                </a:lnTo>
                <a:lnTo>
                  <a:pt x="264" y="91"/>
                </a:lnTo>
                <a:lnTo>
                  <a:pt x="270" y="93"/>
                </a:lnTo>
                <a:lnTo>
                  <a:pt x="270" y="108"/>
                </a:lnTo>
                <a:lnTo>
                  <a:pt x="272" y="115"/>
                </a:lnTo>
                <a:lnTo>
                  <a:pt x="270" y="121"/>
                </a:lnTo>
                <a:lnTo>
                  <a:pt x="274" y="127"/>
                </a:lnTo>
                <a:lnTo>
                  <a:pt x="279" y="145"/>
                </a:lnTo>
                <a:lnTo>
                  <a:pt x="291" y="157"/>
                </a:lnTo>
                <a:lnTo>
                  <a:pt x="287" y="166"/>
                </a:lnTo>
                <a:lnTo>
                  <a:pt x="285" y="159"/>
                </a:lnTo>
                <a:lnTo>
                  <a:pt x="277" y="157"/>
                </a:lnTo>
                <a:lnTo>
                  <a:pt x="270" y="153"/>
                </a:lnTo>
                <a:lnTo>
                  <a:pt x="262" y="138"/>
                </a:lnTo>
                <a:lnTo>
                  <a:pt x="260" y="132"/>
                </a:lnTo>
                <a:lnTo>
                  <a:pt x="260" y="136"/>
                </a:lnTo>
                <a:lnTo>
                  <a:pt x="266" y="151"/>
                </a:lnTo>
                <a:lnTo>
                  <a:pt x="270" y="157"/>
                </a:lnTo>
                <a:lnTo>
                  <a:pt x="281" y="164"/>
                </a:lnTo>
                <a:lnTo>
                  <a:pt x="287" y="170"/>
                </a:lnTo>
                <a:lnTo>
                  <a:pt x="296" y="172"/>
                </a:lnTo>
                <a:lnTo>
                  <a:pt x="304" y="185"/>
                </a:lnTo>
                <a:lnTo>
                  <a:pt x="302" y="191"/>
                </a:lnTo>
                <a:lnTo>
                  <a:pt x="296" y="187"/>
                </a:lnTo>
                <a:lnTo>
                  <a:pt x="287" y="185"/>
                </a:lnTo>
                <a:lnTo>
                  <a:pt x="285" y="187"/>
                </a:lnTo>
                <a:lnTo>
                  <a:pt x="279" y="181"/>
                </a:lnTo>
                <a:lnTo>
                  <a:pt x="272" y="179"/>
                </a:lnTo>
                <a:lnTo>
                  <a:pt x="264" y="183"/>
                </a:lnTo>
                <a:lnTo>
                  <a:pt x="257" y="176"/>
                </a:lnTo>
                <a:lnTo>
                  <a:pt x="255" y="168"/>
                </a:lnTo>
                <a:lnTo>
                  <a:pt x="253" y="172"/>
                </a:lnTo>
                <a:lnTo>
                  <a:pt x="253" y="179"/>
                </a:lnTo>
                <a:lnTo>
                  <a:pt x="245" y="174"/>
                </a:lnTo>
                <a:lnTo>
                  <a:pt x="240" y="168"/>
                </a:lnTo>
                <a:lnTo>
                  <a:pt x="236" y="159"/>
                </a:lnTo>
                <a:lnTo>
                  <a:pt x="230" y="164"/>
                </a:lnTo>
                <a:lnTo>
                  <a:pt x="228" y="168"/>
                </a:lnTo>
                <a:lnTo>
                  <a:pt x="223" y="176"/>
                </a:lnTo>
                <a:lnTo>
                  <a:pt x="217" y="168"/>
                </a:lnTo>
                <a:lnTo>
                  <a:pt x="215" y="162"/>
                </a:lnTo>
                <a:lnTo>
                  <a:pt x="217" y="153"/>
                </a:lnTo>
                <a:lnTo>
                  <a:pt x="219" y="153"/>
                </a:lnTo>
                <a:lnTo>
                  <a:pt x="223" y="147"/>
                </a:lnTo>
                <a:lnTo>
                  <a:pt x="223" y="138"/>
                </a:lnTo>
                <a:lnTo>
                  <a:pt x="230" y="132"/>
                </a:lnTo>
                <a:lnTo>
                  <a:pt x="228" y="123"/>
                </a:lnTo>
                <a:lnTo>
                  <a:pt x="232" y="117"/>
                </a:lnTo>
                <a:lnTo>
                  <a:pt x="234" y="110"/>
                </a:lnTo>
                <a:lnTo>
                  <a:pt x="225" y="104"/>
                </a:lnTo>
                <a:lnTo>
                  <a:pt x="215" y="110"/>
                </a:lnTo>
                <a:lnTo>
                  <a:pt x="211" y="108"/>
                </a:lnTo>
                <a:lnTo>
                  <a:pt x="204" y="104"/>
                </a:lnTo>
                <a:lnTo>
                  <a:pt x="196" y="100"/>
                </a:lnTo>
                <a:lnTo>
                  <a:pt x="187" y="102"/>
                </a:lnTo>
                <a:lnTo>
                  <a:pt x="179" y="96"/>
                </a:lnTo>
                <a:lnTo>
                  <a:pt x="181" y="89"/>
                </a:lnTo>
                <a:lnTo>
                  <a:pt x="176" y="83"/>
                </a:lnTo>
                <a:lnTo>
                  <a:pt x="170" y="78"/>
                </a:lnTo>
                <a:lnTo>
                  <a:pt x="155" y="78"/>
                </a:lnTo>
                <a:lnTo>
                  <a:pt x="153" y="74"/>
                </a:lnTo>
                <a:lnTo>
                  <a:pt x="147" y="68"/>
                </a:lnTo>
                <a:lnTo>
                  <a:pt x="147" y="59"/>
                </a:lnTo>
                <a:lnTo>
                  <a:pt x="140" y="59"/>
                </a:lnTo>
                <a:lnTo>
                  <a:pt x="142" y="51"/>
                </a:lnTo>
                <a:lnTo>
                  <a:pt x="140" y="51"/>
                </a:lnTo>
                <a:lnTo>
                  <a:pt x="125" y="51"/>
                </a:lnTo>
                <a:lnTo>
                  <a:pt x="119" y="47"/>
                </a:lnTo>
                <a:lnTo>
                  <a:pt x="113" y="44"/>
                </a:lnTo>
                <a:lnTo>
                  <a:pt x="106" y="47"/>
                </a:lnTo>
                <a:lnTo>
                  <a:pt x="102" y="55"/>
                </a:lnTo>
                <a:lnTo>
                  <a:pt x="96" y="55"/>
                </a:lnTo>
                <a:lnTo>
                  <a:pt x="89" y="61"/>
                </a:lnTo>
                <a:lnTo>
                  <a:pt x="87" y="68"/>
                </a:lnTo>
                <a:lnTo>
                  <a:pt x="76" y="70"/>
                </a:lnTo>
                <a:lnTo>
                  <a:pt x="70" y="68"/>
                </a:lnTo>
                <a:lnTo>
                  <a:pt x="62" y="61"/>
                </a:lnTo>
                <a:lnTo>
                  <a:pt x="59" y="61"/>
                </a:lnTo>
                <a:lnTo>
                  <a:pt x="59" y="70"/>
                </a:lnTo>
                <a:lnTo>
                  <a:pt x="49" y="85"/>
                </a:lnTo>
                <a:lnTo>
                  <a:pt x="42" y="83"/>
                </a:lnTo>
                <a:lnTo>
                  <a:pt x="36" y="85"/>
                </a:lnTo>
                <a:lnTo>
                  <a:pt x="34" y="91"/>
                </a:lnTo>
                <a:lnTo>
                  <a:pt x="27" y="100"/>
                </a:lnTo>
                <a:lnTo>
                  <a:pt x="23" y="106"/>
                </a:lnTo>
                <a:lnTo>
                  <a:pt x="15" y="113"/>
                </a:lnTo>
                <a:lnTo>
                  <a:pt x="8" y="121"/>
                </a:lnTo>
                <a:lnTo>
                  <a:pt x="0" y="6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2" name="Freeform 788"/>
          <p:cNvSpPr>
            <a:spLocks/>
          </p:cNvSpPr>
          <p:nvPr/>
        </p:nvSpPr>
        <p:spPr bwMode="auto">
          <a:xfrm>
            <a:off x="7245350" y="3395663"/>
            <a:ext cx="12700" cy="34925"/>
          </a:xfrm>
          <a:custGeom>
            <a:avLst/>
            <a:gdLst>
              <a:gd name="T0" fmla="*/ 6 w 8"/>
              <a:gd name="T1" fmla="*/ 2 h 22"/>
              <a:gd name="T2" fmla="*/ 8 w 8"/>
              <a:gd name="T3" fmla="*/ 0 h 22"/>
              <a:gd name="T4" fmla="*/ 4 w 8"/>
              <a:gd name="T5" fmla="*/ 15 h 22"/>
              <a:gd name="T6" fmla="*/ 0 w 8"/>
              <a:gd name="T7" fmla="*/ 22 h 22"/>
              <a:gd name="T8" fmla="*/ 2 w 8"/>
              <a:gd name="T9" fmla="*/ 15 h 22"/>
              <a:gd name="T10" fmla="*/ 2 w 8"/>
              <a:gd name="T11" fmla="*/ 9 h 22"/>
              <a:gd name="T12" fmla="*/ 6 w 8"/>
              <a:gd name="T13" fmla="*/ 2 h 22"/>
            </a:gdLst>
            <a:ahLst/>
            <a:cxnLst>
              <a:cxn ang="0">
                <a:pos x="T0" y="T1"/>
              </a:cxn>
              <a:cxn ang="0">
                <a:pos x="T2" y="T3"/>
              </a:cxn>
              <a:cxn ang="0">
                <a:pos x="T4" y="T5"/>
              </a:cxn>
              <a:cxn ang="0">
                <a:pos x="T6" y="T7"/>
              </a:cxn>
              <a:cxn ang="0">
                <a:pos x="T8" y="T9"/>
              </a:cxn>
              <a:cxn ang="0">
                <a:pos x="T10" y="T11"/>
              </a:cxn>
              <a:cxn ang="0">
                <a:pos x="T12" y="T13"/>
              </a:cxn>
            </a:cxnLst>
            <a:rect l="0" t="0" r="r" b="b"/>
            <a:pathLst>
              <a:path w="8" h="22">
                <a:moveTo>
                  <a:pt x="6" y="2"/>
                </a:moveTo>
                <a:lnTo>
                  <a:pt x="8" y="0"/>
                </a:lnTo>
                <a:lnTo>
                  <a:pt x="4" y="15"/>
                </a:lnTo>
                <a:lnTo>
                  <a:pt x="0" y="22"/>
                </a:lnTo>
                <a:lnTo>
                  <a:pt x="2" y="15"/>
                </a:lnTo>
                <a:lnTo>
                  <a:pt x="2" y="9"/>
                </a:lnTo>
                <a:lnTo>
                  <a:pt x="6"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789"/>
          <p:cNvSpPr>
            <a:spLocks/>
          </p:cNvSpPr>
          <p:nvPr/>
        </p:nvSpPr>
        <p:spPr bwMode="auto">
          <a:xfrm>
            <a:off x="7245350" y="3395663"/>
            <a:ext cx="12700" cy="34925"/>
          </a:xfrm>
          <a:custGeom>
            <a:avLst/>
            <a:gdLst>
              <a:gd name="T0" fmla="*/ 6 w 8"/>
              <a:gd name="T1" fmla="*/ 2 h 22"/>
              <a:gd name="T2" fmla="*/ 8 w 8"/>
              <a:gd name="T3" fmla="*/ 0 h 22"/>
              <a:gd name="T4" fmla="*/ 4 w 8"/>
              <a:gd name="T5" fmla="*/ 15 h 22"/>
              <a:gd name="T6" fmla="*/ 0 w 8"/>
              <a:gd name="T7" fmla="*/ 22 h 22"/>
              <a:gd name="T8" fmla="*/ 2 w 8"/>
              <a:gd name="T9" fmla="*/ 15 h 22"/>
              <a:gd name="T10" fmla="*/ 2 w 8"/>
              <a:gd name="T11" fmla="*/ 9 h 22"/>
              <a:gd name="T12" fmla="*/ 6 w 8"/>
              <a:gd name="T13" fmla="*/ 2 h 22"/>
            </a:gdLst>
            <a:ahLst/>
            <a:cxnLst>
              <a:cxn ang="0">
                <a:pos x="T0" y="T1"/>
              </a:cxn>
              <a:cxn ang="0">
                <a:pos x="T2" y="T3"/>
              </a:cxn>
              <a:cxn ang="0">
                <a:pos x="T4" y="T5"/>
              </a:cxn>
              <a:cxn ang="0">
                <a:pos x="T6" y="T7"/>
              </a:cxn>
              <a:cxn ang="0">
                <a:pos x="T8" y="T9"/>
              </a:cxn>
              <a:cxn ang="0">
                <a:pos x="T10" y="T11"/>
              </a:cxn>
              <a:cxn ang="0">
                <a:pos x="T12" y="T13"/>
              </a:cxn>
            </a:cxnLst>
            <a:rect l="0" t="0" r="r" b="b"/>
            <a:pathLst>
              <a:path w="8" h="22">
                <a:moveTo>
                  <a:pt x="6" y="2"/>
                </a:moveTo>
                <a:lnTo>
                  <a:pt x="8" y="0"/>
                </a:lnTo>
                <a:lnTo>
                  <a:pt x="4" y="15"/>
                </a:lnTo>
                <a:lnTo>
                  <a:pt x="0" y="22"/>
                </a:lnTo>
                <a:lnTo>
                  <a:pt x="2" y="15"/>
                </a:lnTo>
                <a:lnTo>
                  <a:pt x="2" y="9"/>
                </a:lnTo>
                <a:lnTo>
                  <a:pt x="6"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4" name="Freeform 790"/>
          <p:cNvSpPr>
            <a:spLocks/>
          </p:cNvSpPr>
          <p:nvPr/>
        </p:nvSpPr>
        <p:spPr bwMode="auto">
          <a:xfrm>
            <a:off x="7254875" y="3349625"/>
            <a:ext cx="9525" cy="49213"/>
          </a:xfrm>
          <a:custGeom>
            <a:avLst/>
            <a:gdLst>
              <a:gd name="T0" fmla="*/ 0 w 6"/>
              <a:gd name="T1" fmla="*/ 31 h 31"/>
              <a:gd name="T2" fmla="*/ 4 w 6"/>
              <a:gd name="T3" fmla="*/ 8 h 31"/>
              <a:gd name="T4" fmla="*/ 6 w 6"/>
              <a:gd name="T5" fmla="*/ 0 h 31"/>
              <a:gd name="T6" fmla="*/ 4 w 6"/>
              <a:gd name="T7" fmla="*/ 23 h 31"/>
              <a:gd name="T8" fmla="*/ 2 w 6"/>
              <a:gd name="T9" fmla="*/ 29 h 31"/>
              <a:gd name="T10" fmla="*/ 0 w 6"/>
              <a:gd name="T11" fmla="*/ 31 h 31"/>
            </a:gdLst>
            <a:ahLst/>
            <a:cxnLst>
              <a:cxn ang="0">
                <a:pos x="T0" y="T1"/>
              </a:cxn>
              <a:cxn ang="0">
                <a:pos x="T2" y="T3"/>
              </a:cxn>
              <a:cxn ang="0">
                <a:pos x="T4" y="T5"/>
              </a:cxn>
              <a:cxn ang="0">
                <a:pos x="T6" y="T7"/>
              </a:cxn>
              <a:cxn ang="0">
                <a:pos x="T8" y="T9"/>
              </a:cxn>
              <a:cxn ang="0">
                <a:pos x="T10" y="T11"/>
              </a:cxn>
            </a:cxnLst>
            <a:rect l="0" t="0" r="r" b="b"/>
            <a:pathLst>
              <a:path w="6" h="31">
                <a:moveTo>
                  <a:pt x="0" y="31"/>
                </a:moveTo>
                <a:lnTo>
                  <a:pt x="4" y="8"/>
                </a:lnTo>
                <a:lnTo>
                  <a:pt x="6" y="0"/>
                </a:lnTo>
                <a:lnTo>
                  <a:pt x="4" y="23"/>
                </a:lnTo>
                <a:lnTo>
                  <a:pt x="2" y="29"/>
                </a:lnTo>
                <a:lnTo>
                  <a:pt x="0"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791"/>
          <p:cNvSpPr>
            <a:spLocks/>
          </p:cNvSpPr>
          <p:nvPr/>
        </p:nvSpPr>
        <p:spPr bwMode="auto">
          <a:xfrm>
            <a:off x="7254875" y="3349625"/>
            <a:ext cx="9525" cy="49213"/>
          </a:xfrm>
          <a:custGeom>
            <a:avLst/>
            <a:gdLst>
              <a:gd name="T0" fmla="*/ 0 w 6"/>
              <a:gd name="T1" fmla="*/ 31 h 31"/>
              <a:gd name="T2" fmla="*/ 4 w 6"/>
              <a:gd name="T3" fmla="*/ 8 h 31"/>
              <a:gd name="T4" fmla="*/ 6 w 6"/>
              <a:gd name="T5" fmla="*/ 0 h 31"/>
              <a:gd name="T6" fmla="*/ 4 w 6"/>
              <a:gd name="T7" fmla="*/ 23 h 31"/>
              <a:gd name="T8" fmla="*/ 2 w 6"/>
              <a:gd name="T9" fmla="*/ 29 h 31"/>
              <a:gd name="T10" fmla="*/ 0 w 6"/>
              <a:gd name="T11" fmla="*/ 31 h 31"/>
            </a:gdLst>
            <a:ahLst/>
            <a:cxnLst>
              <a:cxn ang="0">
                <a:pos x="T0" y="T1"/>
              </a:cxn>
              <a:cxn ang="0">
                <a:pos x="T2" y="T3"/>
              </a:cxn>
              <a:cxn ang="0">
                <a:pos x="T4" y="T5"/>
              </a:cxn>
              <a:cxn ang="0">
                <a:pos x="T6" y="T7"/>
              </a:cxn>
              <a:cxn ang="0">
                <a:pos x="T8" y="T9"/>
              </a:cxn>
              <a:cxn ang="0">
                <a:pos x="T10" y="T11"/>
              </a:cxn>
            </a:cxnLst>
            <a:rect l="0" t="0" r="r" b="b"/>
            <a:pathLst>
              <a:path w="6" h="31">
                <a:moveTo>
                  <a:pt x="0" y="31"/>
                </a:moveTo>
                <a:lnTo>
                  <a:pt x="4" y="8"/>
                </a:lnTo>
                <a:lnTo>
                  <a:pt x="6" y="0"/>
                </a:lnTo>
                <a:lnTo>
                  <a:pt x="4" y="23"/>
                </a:lnTo>
                <a:lnTo>
                  <a:pt x="2" y="29"/>
                </a:lnTo>
                <a:lnTo>
                  <a:pt x="0" y="3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6" name="Freeform 792"/>
          <p:cNvSpPr>
            <a:spLocks/>
          </p:cNvSpPr>
          <p:nvPr/>
        </p:nvSpPr>
        <p:spPr bwMode="auto">
          <a:xfrm>
            <a:off x="7261225" y="3317875"/>
            <a:ext cx="3175" cy="14288"/>
          </a:xfrm>
          <a:custGeom>
            <a:avLst/>
            <a:gdLst>
              <a:gd name="T0" fmla="*/ 0 w 2"/>
              <a:gd name="T1" fmla="*/ 0 h 9"/>
              <a:gd name="T2" fmla="*/ 2 w 2"/>
              <a:gd name="T3" fmla="*/ 0 h 9"/>
              <a:gd name="T4" fmla="*/ 2 w 2"/>
              <a:gd name="T5" fmla="*/ 0 h 9"/>
              <a:gd name="T6" fmla="*/ 2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2" y="0"/>
                </a:lnTo>
                <a:lnTo>
                  <a:pt x="2" y="0"/>
                </a:lnTo>
                <a:lnTo>
                  <a:pt x="2" y="9"/>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Freeform 793"/>
          <p:cNvSpPr>
            <a:spLocks/>
          </p:cNvSpPr>
          <p:nvPr/>
        </p:nvSpPr>
        <p:spPr bwMode="auto">
          <a:xfrm>
            <a:off x="7261225" y="3317875"/>
            <a:ext cx="3175" cy="14288"/>
          </a:xfrm>
          <a:custGeom>
            <a:avLst/>
            <a:gdLst>
              <a:gd name="T0" fmla="*/ 0 w 2"/>
              <a:gd name="T1" fmla="*/ 0 h 9"/>
              <a:gd name="T2" fmla="*/ 2 w 2"/>
              <a:gd name="T3" fmla="*/ 0 h 9"/>
              <a:gd name="T4" fmla="*/ 2 w 2"/>
              <a:gd name="T5" fmla="*/ 0 h 9"/>
              <a:gd name="T6" fmla="*/ 2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2" y="0"/>
                </a:lnTo>
                <a:lnTo>
                  <a:pt x="2" y="0"/>
                </a:lnTo>
                <a:lnTo>
                  <a:pt x="2" y="9"/>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8" name="Freeform 794"/>
          <p:cNvSpPr>
            <a:spLocks/>
          </p:cNvSpPr>
          <p:nvPr/>
        </p:nvSpPr>
        <p:spPr bwMode="auto">
          <a:xfrm>
            <a:off x="7318375" y="2590800"/>
            <a:ext cx="244475" cy="238125"/>
          </a:xfrm>
          <a:custGeom>
            <a:avLst/>
            <a:gdLst>
              <a:gd name="T0" fmla="*/ 0 w 154"/>
              <a:gd name="T1" fmla="*/ 30 h 150"/>
              <a:gd name="T2" fmla="*/ 47 w 154"/>
              <a:gd name="T3" fmla="*/ 20 h 150"/>
              <a:gd name="T4" fmla="*/ 56 w 154"/>
              <a:gd name="T5" fmla="*/ 20 h 150"/>
              <a:gd name="T6" fmla="*/ 69 w 154"/>
              <a:gd name="T7" fmla="*/ 15 h 150"/>
              <a:gd name="T8" fmla="*/ 73 w 154"/>
              <a:gd name="T9" fmla="*/ 15 h 150"/>
              <a:gd name="T10" fmla="*/ 81 w 154"/>
              <a:gd name="T11" fmla="*/ 11 h 150"/>
              <a:gd name="T12" fmla="*/ 122 w 154"/>
              <a:gd name="T13" fmla="*/ 3 h 150"/>
              <a:gd name="T14" fmla="*/ 132 w 154"/>
              <a:gd name="T15" fmla="*/ 0 h 150"/>
              <a:gd name="T16" fmla="*/ 137 w 154"/>
              <a:gd name="T17" fmla="*/ 0 h 150"/>
              <a:gd name="T18" fmla="*/ 154 w 154"/>
              <a:gd name="T19" fmla="*/ 58 h 150"/>
              <a:gd name="T20" fmla="*/ 154 w 154"/>
              <a:gd name="T21" fmla="*/ 64 h 150"/>
              <a:gd name="T22" fmla="*/ 152 w 154"/>
              <a:gd name="T23" fmla="*/ 71 h 150"/>
              <a:gd name="T24" fmla="*/ 154 w 154"/>
              <a:gd name="T25" fmla="*/ 73 h 150"/>
              <a:gd name="T26" fmla="*/ 154 w 154"/>
              <a:gd name="T27" fmla="*/ 77 h 150"/>
              <a:gd name="T28" fmla="*/ 149 w 154"/>
              <a:gd name="T29" fmla="*/ 75 h 150"/>
              <a:gd name="T30" fmla="*/ 135 w 154"/>
              <a:gd name="T31" fmla="*/ 79 h 150"/>
              <a:gd name="T32" fmla="*/ 120 w 154"/>
              <a:gd name="T33" fmla="*/ 90 h 150"/>
              <a:gd name="T34" fmla="*/ 113 w 154"/>
              <a:gd name="T35" fmla="*/ 88 h 150"/>
              <a:gd name="T36" fmla="*/ 113 w 154"/>
              <a:gd name="T37" fmla="*/ 86 h 150"/>
              <a:gd name="T38" fmla="*/ 109 w 154"/>
              <a:gd name="T39" fmla="*/ 83 h 150"/>
              <a:gd name="T40" fmla="*/ 111 w 154"/>
              <a:gd name="T41" fmla="*/ 90 h 150"/>
              <a:gd name="T42" fmla="*/ 111 w 154"/>
              <a:gd name="T43" fmla="*/ 94 h 150"/>
              <a:gd name="T44" fmla="*/ 90 w 154"/>
              <a:gd name="T45" fmla="*/ 98 h 150"/>
              <a:gd name="T46" fmla="*/ 86 w 154"/>
              <a:gd name="T47" fmla="*/ 103 h 150"/>
              <a:gd name="T48" fmla="*/ 79 w 154"/>
              <a:gd name="T49" fmla="*/ 103 h 150"/>
              <a:gd name="T50" fmla="*/ 73 w 154"/>
              <a:gd name="T51" fmla="*/ 107 h 150"/>
              <a:gd name="T52" fmla="*/ 64 w 154"/>
              <a:gd name="T53" fmla="*/ 107 h 150"/>
              <a:gd name="T54" fmla="*/ 54 w 154"/>
              <a:gd name="T55" fmla="*/ 122 h 150"/>
              <a:gd name="T56" fmla="*/ 49 w 154"/>
              <a:gd name="T57" fmla="*/ 120 h 150"/>
              <a:gd name="T58" fmla="*/ 43 w 154"/>
              <a:gd name="T59" fmla="*/ 126 h 150"/>
              <a:gd name="T60" fmla="*/ 37 w 154"/>
              <a:gd name="T61" fmla="*/ 130 h 150"/>
              <a:gd name="T62" fmla="*/ 22 w 154"/>
              <a:gd name="T63" fmla="*/ 145 h 150"/>
              <a:gd name="T64" fmla="*/ 15 w 154"/>
              <a:gd name="T65" fmla="*/ 150 h 150"/>
              <a:gd name="T66" fmla="*/ 9 w 154"/>
              <a:gd name="T67" fmla="*/ 141 h 150"/>
              <a:gd name="T68" fmla="*/ 9 w 154"/>
              <a:gd name="T69" fmla="*/ 139 h 150"/>
              <a:gd name="T70" fmla="*/ 20 w 154"/>
              <a:gd name="T71" fmla="*/ 126 h 150"/>
              <a:gd name="T72" fmla="*/ 20 w 154"/>
              <a:gd name="T73" fmla="*/ 120 h 150"/>
              <a:gd name="T74" fmla="*/ 15 w 154"/>
              <a:gd name="T75" fmla="*/ 111 h 150"/>
              <a:gd name="T76" fmla="*/ 0 w 154"/>
              <a:gd name="T77"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 h="150">
                <a:moveTo>
                  <a:pt x="0" y="30"/>
                </a:moveTo>
                <a:lnTo>
                  <a:pt x="47" y="20"/>
                </a:lnTo>
                <a:lnTo>
                  <a:pt x="56" y="20"/>
                </a:lnTo>
                <a:lnTo>
                  <a:pt x="69" y="15"/>
                </a:lnTo>
                <a:lnTo>
                  <a:pt x="73" y="15"/>
                </a:lnTo>
                <a:lnTo>
                  <a:pt x="81" y="11"/>
                </a:lnTo>
                <a:lnTo>
                  <a:pt x="122" y="3"/>
                </a:lnTo>
                <a:lnTo>
                  <a:pt x="132" y="0"/>
                </a:lnTo>
                <a:lnTo>
                  <a:pt x="137" y="0"/>
                </a:lnTo>
                <a:lnTo>
                  <a:pt x="154" y="58"/>
                </a:lnTo>
                <a:lnTo>
                  <a:pt x="154" y="64"/>
                </a:lnTo>
                <a:lnTo>
                  <a:pt x="152" y="71"/>
                </a:lnTo>
                <a:lnTo>
                  <a:pt x="154" y="73"/>
                </a:lnTo>
                <a:lnTo>
                  <a:pt x="154" y="77"/>
                </a:lnTo>
                <a:lnTo>
                  <a:pt x="149" y="75"/>
                </a:lnTo>
                <a:lnTo>
                  <a:pt x="135" y="79"/>
                </a:lnTo>
                <a:lnTo>
                  <a:pt x="120" y="90"/>
                </a:lnTo>
                <a:lnTo>
                  <a:pt x="113" y="88"/>
                </a:lnTo>
                <a:lnTo>
                  <a:pt x="113" y="86"/>
                </a:lnTo>
                <a:lnTo>
                  <a:pt x="109" y="83"/>
                </a:lnTo>
                <a:lnTo>
                  <a:pt x="111" y="90"/>
                </a:lnTo>
                <a:lnTo>
                  <a:pt x="111" y="94"/>
                </a:lnTo>
                <a:lnTo>
                  <a:pt x="90" y="98"/>
                </a:lnTo>
                <a:lnTo>
                  <a:pt x="86" y="103"/>
                </a:lnTo>
                <a:lnTo>
                  <a:pt x="79" y="103"/>
                </a:lnTo>
                <a:lnTo>
                  <a:pt x="73" y="107"/>
                </a:lnTo>
                <a:lnTo>
                  <a:pt x="64" y="107"/>
                </a:lnTo>
                <a:lnTo>
                  <a:pt x="54" y="122"/>
                </a:lnTo>
                <a:lnTo>
                  <a:pt x="49" y="120"/>
                </a:lnTo>
                <a:lnTo>
                  <a:pt x="43" y="126"/>
                </a:lnTo>
                <a:lnTo>
                  <a:pt x="37" y="130"/>
                </a:lnTo>
                <a:lnTo>
                  <a:pt x="22" y="145"/>
                </a:lnTo>
                <a:lnTo>
                  <a:pt x="15" y="150"/>
                </a:lnTo>
                <a:lnTo>
                  <a:pt x="9" y="141"/>
                </a:lnTo>
                <a:lnTo>
                  <a:pt x="9" y="139"/>
                </a:lnTo>
                <a:lnTo>
                  <a:pt x="20" y="126"/>
                </a:lnTo>
                <a:lnTo>
                  <a:pt x="20" y="120"/>
                </a:lnTo>
                <a:lnTo>
                  <a:pt x="15" y="111"/>
                </a:lnTo>
                <a:lnTo>
                  <a:pt x="0" y="3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795"/>
          <p:cNvSpPr>
            <a:spLocks/>
          </p:cNvSpPr>
          <p:nvPr/>
        </p:nvSpPr>
        <p:spPr bwMode="auto">
          <a:xfrm>
            <a:off x="7318375" y="2590800"/>
            <a:ext cx="244475" cy="238125"/>
          </a:xfrm>
          <a:custGeom>
            <a:avLst/>
            <a:gdLst>
              <a:gd name="T0" fmla="*/ 0 w 154"/>
              <a:gd name="T1" fmla="*/ 30 h 150"/>
              <a:gd name="T2" fmla="*/ 47 w 154"/>
              <a:gd name="T3" fmla="*/ 20 h 150"/>
              <a:gd name="T4" fmla="*/ 56 w 154"/>
              <a:gd name="T5" fmla="*/ 20 h 150"/>
              <a:gd name="T6" fmla="*/ 69 w 154"/>
              <a:gd name="T7" fmla="*/ 15 h 150"/>
              <a:gd name="T8" fmla="*/ 73 w 154"/>
              <a:gd name="T9" fmla="*/ 15 h 150"/>
              <a:gd name="T10" fmla="*/ 81 w 154"/>
              <a:gd name="T11" fmla="*/ 11 h 150"/>
              <a:gd name="T12" fmla="*/ 122 w 154"/>
              <a:gd name="T13" fmla="*/ 3 h 150"/>
              <a:gd name="T14" fmla="*/ 132 w 154"/>
              <a:gd name="T15" fmla="*/ 0 h 150"/>
              <a:gd name="T16" fmla="*/ 137 w 154"/>
              <a:gd name="T17" fmla="*/ 0 h 150"/>
              <a:gd name="T18" fmla="*/ 154 w 154"/>
              <a:gd name="T19" fmla="*/ 58 h 150"/>
              <a:gd name="T20" fmla="*/ 154 w 154"/>
              <a:gd name="T21" fmla="*/ 64 h 150"/>
              <a:gd name="T22" fmla="*/ 152 w 154"/>
              <a:gd name="T23" fmla="*/ 71 h 150"/>
              <a:gd name="T24" fmla="*/ 154 w 154"/>
              <a:gd name="T25" fmla="*/ 73 h 150"/>
              <a:gd name="T26" fmla="*/ 154 w 154"/>
              <a:gd name="T27" fmla="*/ 77 h 150"/>
              <a:gd name="T28" fmla="*/ 149 w 154"/>
              <a:gd name="T29" fmla="*/ 75 h 150"/>
              <a:gd name="T30" fmla="*/ 135 w 154"/>
              <a:gd name="T31" fmla="*/ 79 h 150"/>
              <a:gd name="T32" fmla="*/ 120 w 154"/>
              <a:gd name="T33" fmla="*/ 90 h 150"/>
              <a:gd name="T34" fmla="*/ 113 w 154"/>
              <a:gd name="T35" fmla="*/ 88 h 150"/>
              <a:gd name="T36" fmla="*/ 113 w 154"/>
              <a:gd name="T37" fmla="*/ 86 h 150"/>
              <a:gd name="T38" fmla="*/ 109 w 154"/>
              <a:gd name="T39" fmla="*/ 83 h 150"/>
              <a:gd name="T40" fmla="*/ 111 w 154"/>
              <a:gd name="T41" fmla="*/ 90 h 150"/>
              <a:gd name="T42" fmla="*/ 111 w 154"/>
              <a:gd name="T43" fmla="*/ 94 h 150"/>
              <a:gd name="T44" fmla="*/ 90 w 154"/>
              <a:gd name="T45" fmla="*/ 98 h 150"/>
              <a:gd name="T46" fmla="*/ 86 w 154"/>
              <a:gd name="T47" fmla="*/ 103 h 150"/>
              <a:gd name="T48" fmla="*/ 79 w 154"/>
              <a:gd name="T49" fmla="*/ 103 h 150"/>
              <a:gd name="T50" fmla="*/ 73 w 154"/>
              <a:gd name="T51" fmla="*/ 107 h 150"/>
              <a:gd name="T52" fmla="*/ 64 w 154"/>
              <a:gd name="T53" fmla="*/ 107 h 150"/>
              <a:gd name="T54" fmla="*/ 54 w 154"/>
              <a:gd name="T55" fmla="*/ 122 h 150"/>
              <a:gd name="T56" fmla="*/ 49 w 154"/>
              <a:gd name="T57" fmla="*/ 120 h 150"/>
              <a:gd name="T58" fmla="*/ 43 w 154"/>
              <a:gd name="T59" fmla="*/ 126 h 150"/>
              <a:gd name="T60" fmla="*/ 37 w 154"/>
              <a:gd name="T61" fmla="*/ 130 h 150"/>
              <a:gd name="T62" fmla="*/ 22 w 154"/>
              <a:gd name="T63" fmla="*/ 145 h 150"/>
              <a:gd name="T64" fmla="*/ 15 w 154"/>
              <a:gd name="T65" fmla="*/ 150 h 150"/>
              <a:gd name="T66" fmla="*/ 9 w 154"/>
              <a:gd name="T67" fmla="*/ 141 h 150"/>
              <a:gd name="T68" fmla="*/ 9 w 154"/>
              <a:gd name="T69" fmla="*/ 139 h 150"/>
              <a:gd name="T70" fmla="*/ 20 w 154"/>
              <a:gd name="T71" fmla="*/ 126 h 150"/>
              <a:gd name="T72" fmla="*/ 20 w 154"/>
              <a:gd name="T73" fmla="*/ 120 h 150"/>
              <a:gd name="T74" fmla="*/ 15 w 154"/>
              <a:gd name="T75" fmla="*/ 111 h 150"/>
              <a:gd name="T76" fmla="*/ 0 w 154"/>
              <a:gd name="T77"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 h="150">
                <a:moveTo>
                  <a:pt x="0" y="30"/>
                </a:moveTo>
                <a:lnTo>
                  <a:pt x="47" y="20"/>
                </a:lnTo>
                <a:lnTo>
                  <a:pt x="56" y="20"/>
                </a:lnTo>
                <a:lnTo>
                  <a:pt x="69" y="15"/>
                </a:lnTo>
                <a:lnTo>
                  <a:pt x="73" y="15"/>
                </a:lnTo>
                <a:lnTo>
                  <a:pt x="81" y="11"/>
                </a:lnTo>
                <a:lnTo>
                  <a:pt x="122" y="3"/>
                </a:lnTo>
                <a:lnTo>
                  <a:pt x="132" y="0"/>
                </a:lnTo>
                <a:lnTo>
                  <a:pt x="137" y="0"/>
                </a:lnTo>
                <a:lnTo>
                  <a:pt x="154" y="58"/>
                </a:lnTo>
                <a:lnTo>
                  <a:pt x="154" y="64"/>
                </a:lnTo>
                <a:lnTo>
                  <a:pt x="152" y="71"/>
                </a:lnTo>
                <a:lnTo>
                  <a:pt x="154" y="73"/>
                </a:lnTo>
                <a:lnTo>
                  <a:pt x="154" y="77"/>
                </a:lnTo>
                <a:lnTo>
                  <a:pt x="149" y="75"/>
                </a:lnTo>
                <a:lnTo>
                  <a:pt x="135" y="79"/>
                </a:lnTo>
                <a:lnTo>
                  <a:pt x="120" y="90"/>
                </a:lnTo>
                <a:lnTo>
                  <a:pt x="113" y="88"/>
                </a:lnTo>
                <a:lnTo>
                  <a:pt x="113" y="86"/>
                </a:lnTo>
                <a:lnTo>
                  <a:pt x="109" y="83"/>
                </a:lnTo>
                <a:lnTo>
                  <a:pt x="111" y="90"/>
                </a:lnTo>
                <a:lnTo>
                  <a:pt x="111" y="94"/>
                </a:lnTo>
                <a:lnTo>
                  <a:pt x="90" y="98"/>
                </a:lnTo>
                <a:lnTo>
                  <a:pt x="86" y="103"/>
                </a:lnTo>
                <a:lnTo>
                  <a:pt x="79" y="103"/>
                </a:lnTo>
                <a:lnTo>
                  <a:pt x="73" y="107"/>
                </a:lnTo>
                <a:lnTo>
                  <a:pt x="64" y="107"/>
                </a:lnTo>
                <a:lnTo>
                  <a:pt x="54" y="122"/>
                </a:lnTo>
                <a:lnTo>
                  <a:pt x="49" y="120"/>
                </a:lnTo>
                <a:lnTo>
                  <a:pt x="43" y="126"/>
                </a:lnTo>
                <a:lnTo>
                  <a:pt x="37" y="130"/>
                </a:lnTo>
                <a:lnTo>
                  <a:pt x="22" y="145"/>
                </a:lnTo>
                <a:lnTo>
                  <a:pt x="15" y="150"/>
                </a:lnTo>
                <a:lnTo>
                  <a:pt x="9" y="141"/>
                </a:lnTo>
                <a:lnTo>
                  <a:pt x="9" y="139"/>
                </a:lnTo>
                <a:lnTo>
                  <a:pt x="20" y="126"/>
                </a:lnTo>
                <a:lnTo>
                  <a:pt x="20" y="120"/>
                </a:lnTo>
                <a:lnTo>
                  <a:pt x="15" y="111"/>
                </a:lnTo>
                <a:lnTo>
                  <a:pt x="0" y="3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0" name="Freeform 796"/>
          <p:cNvSpPr>
            <a:spLocks/>
          </p:cNvSpPr>
          <p:nvPr/>
        </p:nvSpPr>
        <p:spPr bwMode="auto">
          <a:xfrm>
            <a:off x="7389812" y="1997075"/>
            <a:ext cx="233363" cy="493713"/>
          </a:xfrm>
          <a:custGeom>
            <a:avLst/>
            <a:gdLst>
              <a:gd name="T0" fmla="*/ 17 w 147"/>
              <a:gd name="T1" fmla="*/ 311 h 311"/>
              <a:gd name="T2" fmla="*/ 11 w 147"/>
              <a:gd name="T3" fmla="*/ 302 h 311"/>
              <a:gd name="T4" fmla="*/ 7 w 147"/>
              <a:gd name="T5" fmla="*/ 293 h 311"/>
              <a:gd name="T6" fmla="*/ 7 w 147"/>
              <a:gd name="T7" fmla="*/ 287 h 311"/>
              <a:gd name="T8" fmla="*/ 11 w 147"/>
              <a:gd name="T9" fmla="*/ 279 h 311"/>
              <a:gd name="T10" fmla="*/ 7 w 147"/>
              <a:gd name="T11" fmla="*/ 257 h 311"/>
              <a:gd name="T12" fmla="*/ 7 w 147"/>
              <a:gd name="T13" fmla="*/ 242 h 311"/>
              <a:gd name="T14" fmla="*/ 0 w 147"/>
              <a:gd name="T15" fmla="*/ 219 h 311"/>
              <a:gd name="T16" fmla="*/ 2 w 147"/>
              <a:gd name="T17" fmla="*/ 210 h 311"/>
              <a:gd name="T18" fmla="*/ 2 w 147"/>
              <a:gd name="T19" fmla="*/ 200 h 311"/>
              <a:gd name="T20" fmla="*/ 7 w 147"/>
              <a:gd name="T21" fmla="*/ 193 h 311"/>
              <a:gd name="T22" fmla="*/ 9 w 147"/>
              <a:gd name="T23" fmla="*/ 185 h 311"/>
              <a:gd name="T24" fmla="*/ 7 w 147"/>
              <a:gd name="T25" fmla="*/ 178 h 311"/>
              <a:gd name="T26" fmla="*/ 11 w 147"/>
              <a:gd name="T27" fmla="*/ 170 h 311"/>
              <a:gd name="T28" fmla="*/ 9 w 147"/>
              <a:gd name="T29" fmla="*/ 164 h 311"/>
              <a:gd name="T30" fmla="*/ 11 w 147"/>
              <a:gd name="T31" fmla="*/ 151 h 311"/>
              <a:gd name="T32" fmla="*/ 7 w 147"/>
              <a:gd name="T33" fmla="*/ 136 h 311"/>
              <a:gd name="T34" fmla="*/ 7 w 147"/>
              <a:gd name="T35" fmla="*/ 129 h 311"/>
              <a:gd name="T36" fmla="*/ 13 w 147"/>
              <a:gd name="T37" fmla="*/ 121 h 311"/>
              <a:gd name="T38" fmla="*/ 17 w 147"/>
              <a:gd name="T39" fmla="*/ 121 h 311"/>
              <a:gd name="T40" fmla="*/ 28 w 147"/>
              <a:gd name="T41" fmla="*/ 108 h 311"/>
              <a:gd name="T42" fmla="*/ 34 w 147"/>
              <a:gd name="T43" fmla="*/ 98 h 311"/>
              <a:gd name="T44" fmla="*/ 34 w 147"/>
              <a:gd name="T45" fmla="*/ 89 h 311"/>
              <a:gd name="T46" fmla="*/ 32 w 147"/>
              <a:gd name="T47" fmla="*/ 83 h 311"/>
              <a:gd name="T48" fmla="*/ 28 w 147"/>
              <a:gd name="T49" fmla="*/ 76 h 311"/>
              <a:gd name="T50" fmla="*/ 26 w 147"/>
              <a:gd name="T51" fmla="*/ 68 h 311"/>
              <a:gd name="T52" fmla="*/ 30 w 147"/>
              <a:gd name="T53" fmla="*/ 53 h 311"/>
              <a:gd name="T54" fmla="*/ 26 w 147"/>
              <a:gd name="T55" fmla="*/ 44 h 311"/>
              <a:gd name="T56" fmla="*/ 28 w 147"/>
              <a:gd name="T57" fmla="*/ 40 h 311"/>
              <a:gd name="T58" fmla="*/ 28 w 147"/>
              <a:gd name="T59" fmla="*/ 40 h 311"/>
              <a:gd name="T60" fmla="*/ 26 w 147"/>
              <a:gd name="T61" fmla="*/ 32 h 311"/>
              <a:gd name="T62" fmla="*/ 30 w 147"/>
              <a:gd name="T63" fmla="*/ 19 h 311"/>
              <a:gd name="T64" fmla="*/ 30 w 147"/>
              <a:gd name="T65" fmla="*/ 10 h 311"/>
              <a:gd name="T66" fmla="*/ 36 w 147"/>
              <a:gd name="T67" fmla="*/ 6 h 311"/>
              <a:gd name="T68" fmla="*/ 43 w 147"/>
              <a:gd name="T69" fmla="*/ 8 h 311"/>
              <a:gd name="T70" fmla="*/ 51 w 147"/>
              <a:gd name="T71" fmla="*/ 0 h 311"/>
              <a:gd name="T72" fmla="*/ 51 w 147"/>
              <a:gd name="T73" fmla="*/ 4 h 311"/>
              <a:gd name="T74" fmla="*/ 104 w 147"/>
              <a:gd name="T75" fmla="*/ 166 h 311"/>
              <a:gd name="T76" fmla="*/ 113 w 147"/>
              <a:gd name="T77" fmla="*/ 187 h 311"/>
              <a:gd name="T78" fmla="*/ 113 w 147"/>
              <a:gd name="T79" fmla="*/ 196 h 311"/>
              <a:gd name="T80" fmla="*/ 115 w 147"/>
              <a:gd name="T81" fmla="*/ 202 h 311"/>
              <a:gd name="T82" fmla="*/ 119 w 147"/>
              <a:gd name="T83" fmla="*/ 208 h 311"/>
              <a:gd name="T84" fmla="*/ 126 w 147"/>
              <a:gd name="T85" fmla="*/ 215 h 311"/>
              <a:gd name="T86" fmla="*/ 134 w 147"/>
              <a:gd name="T87" fmla="*/ 219 h 311"/>
              <a:gd name="T88" fmla="*/ 134 w 147"/>
              <a:gd name="T89" fmla="*/ 225 h 311"/>
              <a:gd name="T90" fmla="*/ 141 w 147"/>
              <a:gd name="T91" fmla="*/ 232 h 311"/>
              <a:gd name="T92" fmla="*/ 145 w 147"/>
              <a:gd name="T93" fmla="*/ 234 h 311"/>
              <a:gd name="T94" fmla="*/ 147 w 147"/>
              <a:gd name="T95" fmla="*/ 236 h 311"/>
              <a:gd name="T96" fmla="*/ 145 w 147"/>
              <a:gd name="T97" fmla="*/ 251 h 311"/>
              <a:gd name="T98" fmla="*/ 145 w 147"/>
              <a:gd name="T99" fmla="*/ 257 h 311"/>
              <a:gd name="T100" fmla="*/ 141 w 147"/>
              <a:gd name="T101" fmla="*/ 257 h 311"/>
              <a:gd name="T102" fmla="*/ 139 w 147"/>
              <a:gd name="T103" fmla="*/ 259 h 311"/>
              <a:gd name="T104" fmla="*/ 130 w 147"/>
              <a:gd name="T105" fmla="*/ 264 h 311"/>
              <a:gd name="T106" fmla="*/ 126 w 147"/>
              <a:gd name="T107" fmla="*/ 270 h 311"/>
              <a:gd name="T108" fmla="*/ 124 w 147"/>
              <a:gd name="T109" fmla="*/ 270 h 311"/>
              <a:gd name="T110" fmla="*/ 119 w 147"/>
              <a:gd name="T111" fmla="*/ 279 h 311"/>
              <a:gd name="T112" fmla="*/ 111 w 147"/>
              <a:gd name="T113" fmla="*/ 289 h 311"/>
              <a:gd name="T114" fmla="*/ 17 w 147"/>
              <a:gd name="T115"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311">
                <a:moveTo>
                  <a:pt x="17" y="311"/>
                </a:moveTo>
                <a:lnTo>
                  <a:pt x="11" y="302"/>
                </a:lnTo>
                <a:lnTo>
                  <a:pt x="7" y="293"/>
                </a:lnTo>
                <a:lnTo>
                  <a:pt x="7" y="287"/>
                </a:lnTo>
                <a:lnTo>
                  <a:pt x="11" y="279"/>
                </a:lnTo>
                <a:lnTo>
                  <a:pt x="7" y="257"/>
                </a:lnTo>
                <a:lnTo>
                  <a:pt x="7" y="242"/>
                </a:lnTo>
                <a:lnTo>
                  <a:pt x="0" y="219"/>
                </a:lnTo>
                <a:lnTo>
                  <a:pt x="2" y="210"/>
                </a:lnTo>
                <a:lnTo>
                  <a:pt x="2" y="200"/>
                </a:lnTo>
                <a:lnTo>
                  <a:pt x="7" y="193"/>
                </a:lnTo>
                <a:lnTo>
                  <a:pt x="9" y="185"/>
                </a:lnTo>
                <a:lnTo>
                  <a:pt x="7" y="178"/>
                </a:lnTo>
                <a:lnTo>
                  <a:pt x="11" y="170"/>
                </a:lnTo>
                <a:lnTo>
                  <a:pt x="9" y="164"/>
                </a:lnTo>
                <a:lnTo>
                  <a:pt x="11" y="151"/>
                </a:lnTo>
                <a:lnTo>
                  <a:pt x="7" y="136"/>
                </a:lnTo>
                <a:lnTo>
                  <a:pt x="7" y="129"/>
                </a:lnTo>
                <a:lnTo>
                  <a:pt x="13" y="121"/>
                </a:lnTo>
                <a:lnTo>
                  <a:pt x="17" y="121"/>
                </a:lnTo>
                <a:lnTo>
                  <a:pt x="28" y="108"/>
                </a:lnTo>
                <a:lnTo>
                  <a:pt x="34" y="98"/>
                </a:lnTo>
                <a:lnTo>
                  <a:pt x="34" y="89"/>
                </a:lnTo>
                <a:lnTo>
                  <a:pt x="32" y="83"/>
                </a:lnTo>
                <a:lnTo>
                  <a:pt x="28" y="76"/>
                </a:lnTo>
                <a:lnTo>
                  <a:pt x="26" y="68"/>
                </a:lnTo>
                <a:lnTo>
                  <a:pt x="30" y="53"/>
                </a:lnTo>
                <a:lnTo>
                  <a:pt x="26" y="44"/>
                </a:lnTo>
                <a:lnTo>
                  <a:pt x="28" y="40"/>
                </a:lnTo>
                <a:lnTo>
                  <a:pt x="28" y="40"/>
                </a:lnTo>
                <a:lnTo>
                  <a:pt x="26" y="32"/>
                </a:lnTo>
                <a:lnTo>
                  <a:pt x="30" y="19"/>
                </a:lnTo>
                <a:lnTo>
                  <a:pt x="30" y="10"/>
                </a:lnTo>
                <a:lnTo>
                  <a:pt x="36" y="6"/>
                </a:lnTo>
                <a:lnTo>
                  <a:pt x="43" y="8"/>
                </a:lnTo>
                <a:lnTo>
                  <a:pt x="51" y="0"/>
                </a:lnTo>
                <a:lnTo>
                  <a:pt x="51" y="4"/>
                </a:lnTo>
                <a:lnTo>
                  <a:pt x="104" y="166"/>
                </a:lnTo>
                <a:lnTo>
                  <a:pt x="113" y="187"/>
                </a:lnTo>
                <a:lnTo>
                  <a:pt x="113" y="196"/>
                </a:lnTo>
                <a:lnTo>
                  <a:pt x="115" y="202"/>
                </a:lnTo>
                <a:lnTo>
                  <a:pt x="119" y="208"/>
                </a:lnTo>
                <a:lnTo>
                  <a:pt x="126" y="215"/>
                </a:lnTo>
                <a:lnTo>
                  <a:pt x="134" y="219"/>
                </a:lnTo>
                <a:lnTo>
                  <a:pt x="134" y="225"/>
                </a:lnTo>
                <a:lnTo>
                  <a:pt x="141" y="232"/>
                </a:lnTo>
                <a:lnTo>
                  <a:pt x="145" y="234"/>
                </a:lnTo>
                <a:lnTo>
                  <a:pt x="147" y="236"/>
                </a:lnTo>
                <a:lnTo>
                  <a:pt x="145" y="251"/>
                </a:lnTo>
                <a:lnTo>
                  <a:pt x="145" y="257"/>
                </a:lnTo>
                <a:lnTo>
                  <a:pt x="141" y="257"/>
                </a:lnTo>
                <a:lnTo>
                  <a:pt x="139" y="259"/>
                </a:lnTo>
                <a:lnTo>
                  <a:pt x="130" y="264"/>
                </a:lnTo>
                <a:lnTo>
                  <a:pt x="126" y="270"/>
                </a:lnTo>
                <a:lnTo>
                  <a:pt x="124" y="270"/>
                </a:lnTo>
                <a:lnTo>
                  <a:pt x="119" y="279"/>
                </a:lnTo>
                <a:lnTo>
                  <a:pt x="111" y="289"/>
                </a:lnTo>
                <a:lnTo>
                  <a:pt x="17" y="311"/>
                </a:lnTo>
                <a:close/>
              </a:path>
            </a:pathLst>
          </a:custGeom>
          <a:solidFill>
            <a:srgbClr val="FF6969"/>
          </a:solidFill>
          <a:ln>
            <a:noFill/>
          </a:ln>
        </p:spPr>
        <p:txBody>
          <a:bodyPr vert="horz" wrap="square" lIns="91440" tIns="45720" rIns="91440" bIns="45720" numCol="1" anchor="t" anchorCtr="0" compatLnSpc="1">
            <a:prstTxWarp prst="textNoShape">
              <a:avLst/>
            </a:prstTxWarp>
          </a:bodyPr>
          <a:lstStyle/>
          <a:p>
            <a:endParaRPr lang="en-US"/>
          </a:p>
        </p:txBody>
      </p:sp>
      <p:sp>
        <p:nvSpPr>
          <p:cNvPr id="1391" name="Freeform 797"/>
          <p:cNvSpPr>
            <a:spLocks/>
          </p:cNvSpPr>
          <p:nvPr/>
        </p:nvSpPr>
        <p:spPr bwMode="auto">
          <a:xfrm>
            <a:off x="7389812" y="1997075"/>
            <a:ext cx="233363" cy="493713"/>
          </a:xfrm>
          <a:custGeom>
            <a:avLst/>
            <a:gdLst>
              <a:gd name="T0" fmla="*/ 17 w 147"/>
              <a:gd name="T1" fmla="*/ 311 h 311"/>
              <a:gd name="T2" fmla="*/ 11 w 147"/>
              <a:gd name="T3" fmla="*/ 302 h 311"/>
              <a:gd name="T4" fmla="*/ 7 w 147"/>
              <a:gd name="T5" fmla="*/ 293 h 311"/>
              <a:gd name="T6" fmla="*/ 7 w 147"/>
              <a:gd name="T7" fmla="*/ 287 h 311"/>
              <a:gd name="T8" fmla="*/ 11 w 147"/>
              <a:gd name="T9" fmla="*/ 279 h 311"/>
              <a:gd name="T10" fmla="*/ 7 w 147"/>
              <a:gd name="T11" fmla="*/ 257 h 311"/>
              <a:gd name="T12" fmla="*/ 7 w 147"/>
              <a:gd name="T13" fmla="*/ 242 h 311"/>
              <a:gd name="T14" fmla="*/ 0 w 147"/>
              <a:gd name="T15" fmla="*/ 219 h 311"/>
              <a:gd name="T16" fmla="*/ 2 w 147"/>
              <a:gd name="T17" fmla="*/ 210 h 311"/>
              <a:gd name="T18" fmla="*/ 2 w 147"/>
              <a:gd name="T19" fmla="*/ 200 h 311"/>
              <a:gd name="T20" fmla="*/ 7 w 147"/>
              <a:gd name="T21" fmla="*/ 193 h 311"/>
              <a:gd name="T22" fmla="*/ 9 w 147"/>
              <a:gd name="T23" fmla="*/ 185 h 311"/>
              <a:gd name="T24" fmla="*/ 7 w 147"/>
              <a:gd name="T25" fmla="*/ 178 h 311"/>
              <a:gd name="T26" fmla="*/ 11 w 147"/>
              <a:gd name="T27" fmla="*/ 170 h 311"/>
              <a:gd name="T28" fmla="*/ 9 w 147"/>
              <a:gd name="T29" fmla="*/ 164 h 311"/>
              <a:gd name="T30" fmla="*/ 11 w 147"/>
              <a:gd name="T31" fmla="*/ 151 h 311"/>
              <a:gd name="T32" fmla="*/ 7 w 147"/>
              <a:gd name="T33" fmla="*/ 136 h 311"/>
              <a:gd name="T34" fmla="*/ 7 w 147"/>
              <a:gd name="T35" fmla="*/ 129 h 311"/>
              <a:gd name="T36" fmla="*/ 13 w 147"/>
              <a:gd name="T37" fmla="*/ 121 h 311"/>
              <a:gd name="T38" fmla="*/ 17 w 147"/>
              <a:gd name="T39" fmla="*/ 121 h 311"/>
              <a:gd name="T40" fmla="*/ 28 w 147"/>
              <a:gd name="T41" fmla="*/ 108 h 311"/>
              <a:gd name="T42" fmla="*/ 34 w 147"/>
              <a:gd name="T43" fmla="*/ 98 h 311"/>
              <a:gd name="T44" fmla="*/ 34 w 147"/>
              <a:gd name="T45" fmla="*/ 89 h 311"/>
              <a:gd name="T46" fmla="*/ 32 w 147"/>
              <a:gd name="T47" fmla="*/ 83 h 311"/>
              <a:gd name="T48" fmla="*/ 28 w 147"/>
              <a:gd name="T49" fmla="*/ 76 h 311"/>
              <a:gd name="T50" fmla="*/ 26 w 147"/>
              <a:gd name="T51" fmla="*/ 68 h 311"/>
              <a:gd name="T52" fmla="*/ 30 w 147"/>
              <a:gd name="T53" fmla="*/ 53 h 311"/>
              <a:gd name="T54" fmla="*/ 26 w 147"/>
              <a:gd name="T55" fmla="*/ 44 h 311"/>
              <a:gd name="T56" fmla="*/ 28 w 147"/>
              <a:gd name="T57" fmla="*/ 40 h 311"/>
              <a:gd name="T58" fmla="*/ 28 w 147"/>
              <a:gd name="T59" fmla="*/ 40 h 311"/>
              <a:gd name="T60" fmla="*/ 26 w 147"/>
              <a:gd name="T61" fmla="*/ 32 h 311"/>
              <a:gd name="T62" fmla="*/ 30 w 147"/>
              <a:gd name="T63" fmla="*/ 19 h 311"/>
              <a:gd name="T64" fmla="*/ 30 w 147"/>
              <a:gd name="T65" fmla="*/ 10 h 311"/>
              <a:gd name="T66" fmla="*/ 36 w 147"/>
              <a:gd name="T67" fmla="*/ 6 h 311"/>
              <a:gd name="T68" fmla="*/ 43 w 147"/>
              <a:gd name="T69" fmla="*/ 8 h 311"/>
              <a:gd name="T70" fmla="*/ 51 w 147"/>
              <a:gd name="T71" fmla="*/ 0 h 311"/>
              <a:gd name="T72" fmla="*/ 51 w 147"/>
              <a:gd name="T73" fmla="*/ 4 h 311"/>
              <a:gd name="T74" fmla="*/ 104 w 147"/>
              <a:gd name="T75" fmla="*/ 166 h 311"/>
              <a:gd name="T76" fmla="*/ 113 w 147"/>
              <a:gd name="T77" fmla="*/ 187 h 311"/>
              <a:gd name="T78" fmla="*/ 113 w 147"/>
              <a:gd name="T79" fmla="*/ 196 h 311"/>
              <a:gd name="T80" fmla="*/ 115 w 147"/>
              <a:gd name="T81" fmla="*/ 202 h 311"/>
              <a:gd name="T82" fmla="*/ 119 w 147"/>
              <a:gd name="T83" fmla="*/ 208 h 311"/>
              <a:gd name="T84" fmla="*/ 126 w 147"/>
              <a:gd name="T85" fmla="*/ 215 h 311"/>
              <a:gd name="T86" fmla="*/ 134 w 147"/>
              <a:gd name="T87" fmla="*/ 219 h 311"/>
              <a:gd name="T88" fmla="*/ 134 w 147"/>
              <a:gd name="T89" fmla="*/ 225 h 311"/>
              <a:gd name="T90" fmla="*/ 141 w 147"/>
              <a:gd name="T91" fmla="*/ 232 h 311"/>
              <a:gd name="T92" fmla="*/ 145 w 147"/>
              <a:gd name="T93" fmla="*/ 234 h 311"/>
              <a:gd name="T94" fmla="*/ 147 w 147"/>
              <a:gd name="T95" fmla="*/ 236 h 311"/>
              <a:gd name="T96" fmla="*/ 145 w 147"/>
              <a:gd name="T97" fmla="*/ 251 h 311"/>
              <a:gd name="T98" fmla="*/ 145 w 147"/>
              <a:gd name="T99" fmla="*/ 257 h 311"/>
              <a:gd name="T100" fmla="*/ 141 w 147"/>
              <a:gd name="T101" fmla="*/ 257 h 311"/>
              <a:gd name="T102" fmla="*/ 139 w 147"/>
              <a:gd name="T103" fmla="*/ 259 h 311"/>
              <a:gd name="T104" fmla="*/ 130 w 147"/>
              <a:gd name="T105" fmla="*/ 264 h 311"/>
              <a:gd name="T106" fmla="*/ 126 w 147"/>
              <a:gd name="T107" fmla="*/ 270 h 311"/>
              <a:gd name="T108" fmla="*/ 124 w 147"/>
              <a:gd name="T109" fmla="*/ 270 h 311"/>
              <a:gd name="T110" fmla="*/ 119 w 147"/>
              <a:gd name="T111" fmla="*/ 279 h 311"/>
              <a:gd name="T112" fmla="*/ 111 w 147"/>
              <a:gd name="T113" fmla="*/ 289 h 311"/>
              <a:gd name="T114" fmla="*/ 17 w 147"/>
              <a:gd name="T115"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311">
                <a:moveTo>
                  <a:pt x="17" y="311"/>
                </a:moveTo>
                <a:lnTo>
                  <a:pt x="11" y="302"/>
                </a:lnTo>
                <a:lnTo>
                  <a:pt x="7" y="293"/>
                </a:lnTo>
                <a:lnTo>
                  <a:pt x="7" y="287"/>
                </a:lnTo>
                <a:lnTo>
                  <a:pt x="11" y="279"/>
                </a:lnTo>
                <a:lnTo>
                  <a:pt x="7" y="257"/>
                </a:lnTo>
                <a:lnTo>
                  <a:pt x="7" y="242"/>
                </a:lnTo>
                <a:lnTo>
                  <a:pt x="0" y="219"/>
                </a:lnTo>
                <a:lnTo>
                  <a:pt x="2" y="210"/>
                </a:lnTo>
                <a:lnTo>
                  <a:pt x="2" y="200"/>
                </a:lnTo>
                <a:lnTo>
                  <a:pt x="7" y="193"/>
                </a:lnTo>
                <a:lnTo>
                  <a:pt x="9" y="185"/>
                </a:lnTo>
                <a:lnTo>
                  <a:pt x="7" y="178"/>
                </a:lnTo>
                <a:lnTo>
                  <a:pt x="11" y="170"/>
                </a:lnTo>
                <a:lnTo>
                  <a:pt x="9" y="164"/>
                </a:lnTo>
                <a:lnTo>
                  <a:pt x="11" y="151"/>
                </a:lnTo>
                <a:lnTo>
                  <a:pt x="7" y="136"/>
                </a:lnTo>
                <a:lnTo>
                  <a:pt x="7" y="129"/>
                </a:lnTo>
                <a:lnTo>
                  <a:pt x="13" y="121"/>
                </a:lnTo>
                <a:lnTo>
                  <a:pt x="17" y="121"/>
                </a:lnTo>
                <a:lnTo>
                  <a:pt x="28" y="108"/>
                </a:lnTo>
                <a:lnTo>
                  <a:pt x="34" y="98"/>
                </a:lnTo>
                <a:lnTo>
                  <a:pt x="34" y="89"/>
                </a:lnTo>
                <a:lnTo>
                  <a:pt x="32" y="83"/>
                </a:lnTo>
                <a:lnTo>
                  <a:pt x="28" y="76"/>
                </a:lnTo>
                <a:lnTo>
                  <a:pt x="26" y="68"/>
                </a:lnTo>
                <a:lnTo>
                  <a:pt x="30" y="53"/>
                </a:lnTo>
                <a:lnTo>
                  <a:pt x="26" y="44"/>
                </a:lnTo>
                <a:lnTo>
                  <a:pt x="28" y="40"/>
                </a:lnTo>
                <a:lnTo>
                  <a:pt x="28" y="40"/>
                </a:lnTo>
                <a:lnTo>
                  <a:pt x="26" y="32"/>
                </a:lnTo>
                <a:lnTo>
                  <a:pt x="30" y="19"/>
                </a:lnTo>
                <a:lnTo>
                  <a:pt x="30" y="10"/>
                </a:lnTo>
                <a:lnTo>
                  <a:pt x="36" y="6"/>
                </a:lnTo>
                <a:lnTo>
                  <a:pt x="43" y="8"/>
                </a:lnTo>
                <a:lnTo>
                  <a:pt x="51" y="0"/>
                </a:lnTo>
                <a:lnTo>
                  <a:pt x="51" y="4"/>
                </a:lnTo>
                <a:lnTo>
                  <a:pt x="104" y="166"/>
                </a:lnTo>
                <a:lnTo>
                  <a:pt x="113" y="187"/>
                </a:lnTo>
                <a:lnTo>
                  <a:pt x="113" y="196"/>
                </a:lnTo>
                <a:lnTo>
                  <a:pt x="115" y="202"/>
                </a:lnTo>
                <a:lnTo>
                  <a:pt x="119" y="208"/>
                </a:lnTo>
                <a:lnTo>
                  <a:pt x="126" y="215"/>
                </a:lnTo>
                <a:lnTo>
                  <a:pt x="134" y="219"/>
                </a:lnTo>
                <a:lnTo>
                  <a:pt x="134" y="225"/>
                </a:lnTo>
                <a:lnTo>
                  <a:pt x="141" y="232"/>
                </a:lnTo>
                <a:lnTo>
                  <a:pt x="145" y="234"/>
                </a:lnTo>
                <a:lnTo>
                  <a:pt x="147" y="236"/>
                </a:lnTo>
                <a:lnTo>
                  <a:pt x="145" y="251"/>
                </a:lnTo>
                <a:lnTo>
                  <a:pt x="145" y="257"/>
                </a:lnTo>
                <a:lnTo>
                  <a:pt x="141" y="257"/>
                </a:lnTo>
                <a:lnTo>
                  <a:pt x="139" y="259"/>
                </a:lnTo>
                <a:lnTo>
                  <a:pt x="130" y="264"/>
                </a:lnTo>
                <a:lnTo>
                  <a:pt x="126" y="270"/>
                </a:lnTo>
                <a:lnTo>
                  <a:pt x="124" y="270"/>
                </a:lnTo>
                <a:lnTo>
                  <a:pt x="119" y="279"/>
                </a:lnTo>
                <a:lnTo>
                  <a:pt x="111" y="289"/>
                </a:lnTo>
                <a:lnTo>
                  <a:pt x="17" y="31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2" name="Freeform 798"/>
          <p:cNvSpPr>
            <a:spLocks/>
          </p:cNvSpPr>
          <p:nvPr/>
        </p:nvSpPr>
        <p:spPr bwMode="auto">
          <a:xfrm>
            <a:off x="7620000" y="2605088"/>
            <a:ext cx="9525" cy="23813"/>
          </a:xfrm>
          <a:custGeom>
            <a:avLst/>
            <a:gdLst>
              <a:gd name="T0" fmla="*/ 0 w 6"/>
              <a:gd name="T1" fmla="*/ 11 h 15"/>
              <a:gd name="T2" fmla="*/ 6 w 6"/>
              <a:gd name="T3" fmla="*/ 6 h 15"/>
              <a:gd name="T4" fmla="*/ 6 w 6"/>
              <a:gd name="T5" fmla="*/ 0 h 15"/>
              <a:gd name="T6" fmla="*/ 6 w 6"/>
              <a:gd name="T7" fmla="*/ 8 h 15"/>
              <a:gd name="T8" fmla="*/ 4 w 6"/>
              <a:gd name="T9" fmla="*/ 15 h 15"/>
              <a:gd name="T10" fmla="*/ 0 w 6"/>
              <a:gd name="T11" fmla="*/ 11 h 15"/>
            </a:gdLst>
            <a:ahLst/>
            <a:cxnLst>
              <a:cxn ang="0">
                <a:pos x="T0" y="T1"/>
              </a:cxn>
              <a:cxn ang="0">
                <a:pos x="T2" y="T3"/>
              </a:cxn>
              <a:cxn ang="0">
                <a:pos x="T4" y="T5"/>
              </a:cxn>
              <a:cxn ang="0">
                <a:pos x="T6" y="T7"/>
              </a:cxn>
              <a:cxn ang="0">
                <a:pos x="T8" y="T9"/>
              </a:cxn>
              <a:cxn ang="0">
                <a:pos x="T10" y="T11"/>
              </a:cxn>
            </a:cxnLst>
            <a:rect l="0" t="0" r="r" b="b"/>
            <a:pathLst>
              <a:path w="6" h="15">
                <a:moveTo>
                  <a:pt x="0" y="11"/>
                </a:moveTo>
                <a:lnTo>
                  <a:pt x="6" y="6"/>
                </a:lnTo>
                <a:lnTo>
                  <a:pt x="6" y="0"/>
                </a:lnTo>
                <a:lnTo>
                  <a:pt x="6" y="8"/>
                </a:lnTo>
                <a:lnTo>
                  <a:pt x="4" y="15"/>
                </a:lnTo>
                <a:lnTo>
                  <a:pt x="0"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799"/>
          <p:cNvSpPr>
            <a:spLocks/>
          </p:cNvSpPr>
          <p:nvPr/>
        </p:nvSpPr>
        <p:spPr bwMode="auto">
          <a:xfrm>
            <a:off x="7620000" y="2605088"/>
            <a:ext cx="9525" cy="23813"/>
          </a:xfrm>
          <a:custGeom>
            <a:avLst/>
            <a:gdLst>
              <a:gd name="T0" fmla="*/ 0 w 6"/>
              <a:gd name="T1" fmla="*/ 11 h 15"/>
              <a:gd name="T2" fmla="*/ 6 w 6"/>
              <a:gd name="T3" fmla="*/ 6 h 15"/>
              <a:gd name="T4" fmla="*/ 6 w 6"/>
              <a:gd name="T5" fmla="*/ 0 h 15"/>
              <a:gd name="T6" fmla="*/ 6 w 6"/>
              <a:gd name="T7" fmla="*/ 8 h 15"/>
              <a:gd name="T8" fmla="*/ 4 w 6"/>
              <a:gd name="T9" fmla="*/ 15 h 15"/>
              <a:gd name="T10" fmla="*/ 0 w 6"/>
              <a:gd name="T11" fmla="*/ 11 h 15"/>
            </a:gdLst>
            <a:ahLst/>
            <a:cxnLst>
              <a:cxn ang="0">
                <a:pos x="T0" y="T1"/>
              </a:cxn>
              <a:cxn ang="0">
                <a:pos x="T2" y="T3"/>
              </a:cxn>
              <a:cxn ang="0">
                <a:pos x="T4" y="T5"/>
              </a:cxn>
              <a:cxn ang="0">
                <a:pos x="T6" y="T7"/>
              </a:cxn>
              <a:cxn ang="0">
                <a:pos x="T8" y="T9"/>
              </a:cxn>
              <a:cxn ang="0">
                <a:pos x="T10" y="T11"/>
              </a:cxn>
            </a:cxnLst>
            <a:rect l="0" t="0" r="r" b="b"/>
            <a:pathLst>
              <a:path w="6" h="15">
                <a:moveTo>
                  <a:pt x="0" y="11"/>
                </a:moveTo>
                <a:lnTo>
                  <a:pt x="6" y="6"/>
                </a:lnTo>
                <a:lnTo>
                  <a:pt x="6" y="0"/>
                </a:lnTo>
                <a:lnTo>
                  <a:pt x="6" y="8"/>
                </a:lnTo>
                <a:lnTo>
                  <a:pt x="4" y="15"/>
                </a:lnTo>
                <a:lnTo>
                  <a:pt x="0" y="1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4" name="Freeform 800"/>
          <p:cNvSpPr>
            <a:spLocks/>
          </p:cNvSpPr>
          <p:nvPr/>
        </p:nvSpPr>
        <p:spPr bwMode="auto">
          <a:xfrm>
            <a:off x="7535862" y="2578100"/>
            <a:ext cx="77788" cy="134938"/>
          </a:xfrm>
          <a:custGeom>
            <a:avLst/>
            <a:gdLst>
              <a:gd name="T0" fmla="*/ 0 w 49"/>
              <a:gd name="T1" fmla="*/ 8 h 85"/>
              <a:gd name="T2" fmla="*/ 27 w 49"/>
              <a:gd name="T3" fmla="*/ 0 h 85"/>
              <a:gd name="T4" fmla="*/ 34 w 49"/>
              <a:gd name="T5" fmla="*/ 4 h 85"/>
              <a:gd name="T6" fmla="*/ 38 w 49"/>
              <a:gd name="T7" fmla="*/ 13 h 85"/>
              <a:gd name="T8" fmla="*/ 42 w 49"/>
              <a:gd name="T9" fmla="*/ 13 h 85"/>
              <a:gd name="T10" fmla="*/ 42 w 49"/>
              <a:gd name="T11" fmla="*/ 19 h 85"/>
              <a:gd name="T12" fmla="*/ 47 w 49"/>
              <a:gd name="T13" fmla="*/ 23 h 85"/>
              <a:gd name="T14" fmla="*/ 49 w 49"/>
              <a:gd name="T15" fmla="*/ 25 h 85"/>
              <a:gd name="T16" fmla="*/ 44 w 49"/>
              <a:gd name="T17" fmla="*/ 28 h 85"/>
              <a:gd name="T18" fmla="*/ 38 w 49"/>
              <a:gd name="T19" fmla="*/ 21 h 85"/>
              <a:gd name="T20" fmla="*/ 40 w 49"/>
              <a:gd name="T21" fmla="*/ 28 h 85"/>
              <a:gd name="T22" fmla="*/ 38 w 49"/>
              <a:gd name="T23" fmla="*/ 36 h 85"/>
              <a:gd name="T24" fmla="*/ 42 w 49"/>
              <a:gd name="T25" fmla="*/ 43 h 85"/>
              <a:gd name="T26" fmla="*/ 42 w 49"/>
              <a:gd name="T27" fmla="*/ 49 h 85"/>
              <a:gd name="T28" fmla="*/ 47 w 49"/>
              <a:gd name="T29" fmla="*/ 60 h 85"/>
              <a:gd name="T30" fmla="*/ 44 w 49"/>
              <a:gd name="T31" fmla="*/ 68 h 85"/>
              <a:gd name="T32" fmla="*/ 23 w 49"/>
              <a:gd name="T33" fmla="*/ 81 h 85"/>
              <a:gd name="T34" fmla="*/ 17 w 49"/>
              <a:gd name="T35" fmla="*/ 85 h 85"/>
              <a:gd name="T36" fmla="*/ 17 w 49"/>
              <a:gd name="T37" fmla="*/ 81 h 85"/>
              <a:gd name="T38" fmla="*/ 15 w 49"/>
              <a:gd name="T39" fmla="*/ 79 h 85"/>
              <a:gd name="T40" fmla="*/ 17 w 49"/>
              <a:gd name="T41" fmla="*/ 72 h 85"/>
              <a:gd name="T42" fmla="*/ 17 w 49"/>
              <a:gd name="T43" fmla="*/ 66 h 85"/>
              <a:gd name="T44" fmla="*/ 0 w 49"/>
              <a:gd name="T45"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85">
                <a:moveTo>
                  <a:pt x="0" y="8"/>
                </a:moveTo>
                <a:lnTo>
                  <a:pt x="27" y="0"/>
                </a:lnTo>
                <a:lnTo>
                  <a:pt x="34" y="4"/>
                </a:lnTo>
                <a:lnTo>
                  <a:pt x="38" y="13"/>
                </a:lnTo>
                <a:lnTo>
                  <a:pt x="42" y="13"/>
                </a:lnTo>
                <a:lnTo>
                  <a:pt x="42" y="19"/>
                </a:lnTo>
                <a:lnTo>
                  <a:pt x="47" y="23"/>
                </a:lnTo>
                <a:lnTo>
                  <a:pt x="49" y="25"/>
                </a:lnTo>
                <a:lnTo>
                  <a:pt x="44" y="28"/>
                </a:lnTo>
                <a:lnTo>
                  <a:pt x="38" y="21"/>
                </a:lnTo>
                <a:lnTo>
                  <a:pt x="40" y="28"/>
                </a:lnTo>
                <a:lnTo>
                  <a:pt x="38" y="36"/>
                </a:lnTo>
                <a:lnTo>
                  <a:pt x="42" y="43"/>
                </a:lnTo>
                <a:lnTo>
                  <a:pt x="42" y="49"/>
                </a:lnTo>
                <a:lnTo>
                  <a:pt x="47" y="60"/>
                </a:lnTo>
                <a:lnTo>
                  <a:pt x="44" y="68"/>
                </a:lnTo>
                <a:lnTo>
                  <a:pt x="23" y="81"/>
                </a:lnTo>
                <a:lnTo>
                  <a:pt x="17" y="85"/>
                </a:lnTo>
                <a:lnTo>
                  <a:pt x="17" y="81"/>
                </a:lnTo>
                <a:lnTo>
                  <a:pt x="15" y="79"/>
                </a:lnTo>
                <a:lnTo>
                  <a:pt x="17" y="72"/>
                </a:lnTo>
                <a:lnTo>
                  <a:pt x="17" y="66"/>
                </a:lnTo>
                <a:lnTo>
                  <a:pt x="0" y="8"/>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395" name="Freeform 801"/>
          <p:cNvSpPr>
            <a:spLocks/>
          </p:cNvSpPr>
          <p:nvPr/>
        </p:nvSpPr>
        <p:spPr bwMode="auto">
          <a:xfrm>
            <a:off x="7535862" y="2578100"/>
            <a:ext cx="77788" cy="134938"/>
          </a:xfrm>
          <a:custGeom>
            <a:avLst/>
            <a:gdLst>
              <a:gd name="T0" fmla="*/ 0 w 49"/>
              <a:gd name="T1" fmla="*/ 8 h 85"/>
              <a:gd name="T2" fmla="*/ 27 w 49"/>
              <a:gd name="T3" fmla="*/ 0 h 85"/>
              <a:gd name="T4" fmla="*/ 34 w 49"/>
              <a:gd name="T5" fmla="*/ 4 h 85"/>
              <a:gd name="T6" fmla="*/ 38 w 49"/>
              <a:gd name="T7" fmla="*/ 13 h 85"/>
              <a:gd name="T8" fmla="*/ 42 w 49"/>
              <a:gd name="T9" fmla="*/ 13 h 85"/>
              <a:gd name="T10" fmla="*/ 42 w 49"/>
              <a:gd name="T11" fmla="*/ 19 h 85"/>
              <a:gd name="T12" fmla="*/ 47 w 49"/>
              <a:gd name="T13" fmla="*/ 23 h 85"/>
              <a:gd name="T14" fmla="*/ 49 w 49"/>
              <a:gd name="T15" fmla="*/ 25 h 85"/>
              <a:gd name="T16" fmla="*/ 44 w 49"/>
              <a:gd name="T17" fmla="*/ 28 h 85"/>
              <a:gd name="T18" fmla="*/ 38 w 49"/>
              <a:gd name="T19" fmla="*/ 21 h 85"/>
              <a:gd name="T20" fmla="*/ 40 w 49"/>
              <a:gd name="T21" fmla="*/ 28 h 85"/>
              <a:gd name="T22" fmla="*/ 38 w 49"/>
              <a:gd name="T23" fmla="*/ 36 h 85"/>
              <a:gd name="T24" fmla="*/ 42 w 49"/>
              <a:gd name="T25" fmla="*/ 43 h 85"/>
              <a:gd name="T26" fmla="*/ 42 w 49"/>
              <a:gd name="T27" fmla="*/ 49 h 85"/>
              <a:gd name="T28" fmla="*/ 47 w 49"/>
              <a:gd name="T29" fmla="*/ 60 h 85"/>
              <a:gd name="T30" fmla="*/ 44 w 49"/>
              <a:gd name="T31" fmla="*/ 68 h 85"/>
              <a:gd name="T32" fmla="*/ 23 w 49"/>
              <a:gd name="T33" fmla="*/ 81 h 85"/>
              <a:gd name="T34" fmla="*/ 17 w 49"/>
              <a:gd name="T35" fmla="*/ 85 h 85"/>
              <a:gd name="T36" fmla="*/ 17 w 49"/>
              <a:gd name="T37" fmla="*/ 81 h 85"/>
              <a:gd name="T38" fmla="*/ 15 w 49"/>
              <a:gd name="T39" fmla="*/ 79 h 85"/>
              <a:gd name="T40" fmla="*/ 17 w 49"/>
              <a:gd name="T41" fmla="*/ 72 h 85"/>
              <a:gd name="T42" fmla="*/ 17 w 49"/>
              <a:gd name="T43" fmla="*/ 66 h 85"/>
              <a:gd name="T44" fmla="*/ 0 w 49"/>
              <a:gd name="T45"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85">
                <a:moveTo>
                  <a:pt x="0" y="8"/>
                </a:moveTo>
                <a:lnTo>
                  <a:pt x="27" y="0"/>
                </a:lnTo>
                <a:lnTo>
                  <a:pt x="34" y="4"/>
                </a:lnTo>
                <a:lnTo>
                  <a:pt x="38" y="13"/>
                </a:lnTo>
                <a:lnTo>
                  <a:pt x="42" y="13"/>
                </a:lnTo>
                <a:lnTo>
                  <a:pt x="42" y="19"/>
                </a:lnTo>
                <a:lnTo>
                  <a:pt x="47" y="23"/>
                </a:lnTo>
                <a:lnTo>
                  <a:pt x="49" y="25"/>
                </a:lnTo>
                <a:lnTo>
                  <a:pt x="44" y="28"/>
                </a:lnTo>
                <a:lnTo>
                  <a:pt x="38" y="21"/>
                </a:lnTo>
                <a:lnTo>
                  <a:pt x="40" y="28"/>
                </a:lnTo>
                <a:lnTo>
                  <a:pt x="38" y="36"/>
                </a:lnTo>
                <a:lnTo>
                  <a:pt x="42" y="43"/>
                </a:lnTo>
                <a:lnTo>
                  <a:pt x="42" y="49"/>
                </a:lnTo>
                <a:lnTo>
                  <a:pt x="47" y="60"/>
                </a:lnTo>
                <a:lnTo>
                  <a:pt x="44" y="68"/>
                </a:lnTo>
                <a:lnTo>
                  <a:pt x="23" y="81"/>
                </a:lnTo>
                <a:lnTo>
                  <a:pt x="17" y="85"/>
                </a:lnTo>
                <a:lnTo>
                  <a:pt x="17" y="81"/>
                </a:lnTo>
                <a:lnTo>
                  <a:pt x="15" y="79"/>
                </a:lnTo>
                <a:lnTo>
                  <a:pt x="17" y="72"/>
                </a:lnTo>
                <a:lnTo>
                  <a:pt x="17" y="66"/>
                </a:lnTo>
                <a:lnTo>
                  <a:pt x="0" y="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6" name="Freeform 802"/>
          <p:cNvSpPr>
            <a:spLocks/>
          </p:cNvSpPr>
          <p:nvPr/>
        </p:nvSpPr>
        <p:spPr bwMode="auto">
          <a:xfrm>
            <a:off x="7613650" y="2617788"/>
            <a:ext cx="6350" cy="11113"/>
          </a:xfrm>
          <a:custGeom>
            <a:avLst/>
            <a:gdLst>
              <a:gd name="T0" fmla="*/ 0 w 4"/>
              <a:gd name="T1" fmla="*/ 0 h 7"/>
              <a:gd name="T2" fmla="*/ 4 w 4"/>
              <a:gd name="T3" fmla="*/ 3 h 7"/>
              <a:gd name="T4" fmla="*/ 0 w 4"/>
              <a:gd name="T5" fmla="*/ 7 h 7"/>
              <a:gd name="T6" fmla="*/ 0 w 4"/>
              <a:gd name="T7" fmla="*/ 0 h 7"/>
            </a:gdLst>
            <a:ahLst/>
            <a:cxnLst>
              <a:cxn ang="0">
                <a:pos x="T0" y="T1"/>
              </a:cxn>
              <a:cxn ang="0">
                <a:pos x="T2" y="T3"/>
              </a:cxn>
              <a:cxn ang="0">
                <a:pos x="T4" y="T5"/>
              </a:cxn>
              <a:cxn ang="0">
                <a:pos x="T6" y="T7"/>
              </a:cxn>
            </a:cxnLst>
            <a:rect l="0" t="0" r="r" b="b"/>
            <a:pathLst>
              <a:path w="4" h="7">
                <a:moveTo>
                  <a:pt x="0" y="0"/>
                </a:moveTo>
                <a:lnTo>
                  <a:pt x="4" y="3"/>
                </a:lnTo>
                <a:lnTo>
                  <a:pt x="0" y="7"/>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803"/>
          <p:cNvSpPr>
            <a:spLocks/>
          </p:cNvSpPr>
          <p:nvPr/>
        </p:nvSpPr>
        <p:spPr bwMode="auto">
          <a:xfrm>
            <a:off x="7613650" y="2617788"/>
            <a:ext cx="6350" cy="11113"/>
          </a:xfrm>
          <a:custGeom>
            <a:avLst/>
            <a:gdLst>
              <a:gd name="T0" fmla="*/ 0 w 4"/>
              <a:gd name="T1" fmla="*/ 0 h 7"/>
              <a:gd name="T2" fmla="*/ 4 w 4"/>
              <a:gd name="T3" fmla="*/ 3 h 7"/>
              <a:gd name="T4" fmla="*/ 0 w 4"/>
              <a:gd name="T5" fmla="*/ 7 h 7"/>
              <a:gd name="T6" fmla="*/ 0 w 4"/>
              <a:gd name="T7" fmla="*/ 0 h 7"/>
            </a:gdLst>
            <a:ahLst/>
            <a:cxnLst>
              <a:cxn ang="0">
                <a:pos x="T0" y="T1"/>
              </a:cxn>
              <a:cxn ang="0">
                <a:pos x="T2" y="T3"/>
              </a:cxn>
              <a:cxn ang="0">
                <a:pos x="T4" y="T5"/>
              </a:cxn>
              <a:cxn ang="0">
                <a:pos x="T6" y="T7"/>
              </a:cxn>
            </a:cxnLst>
            <a:rect l="0" t="0" r="r" b="b"/>
            <a:pathLst>
              <a:path w="4" h="7">
                <a:moveTo>
                  <a:pt x="0" y="0"/>
                </a:moveTo>
                <a:lnTo>
                  <a:pt x="4" y="3"/>
                </a:lnTo>
                <a:lnTo>
                  <a:pt x="0" y="7"/>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8" name="Freeform 804"/>
          <p:cNvSpPr>
            <a:spLocks/>
          </p:cNvSpPr>
          <p:nvPr/>
        </p:nvSpPr>
        <p:spPr bwMode="auto">
          <a:xfrm>
            <a:off x="7626350" y="2628900"/>
            <a:ext cx="17463" cy="33338"/>
          </a:xfrm>
          <a:custGeom>
            <a:avLst/>
            <a:gdLst>
              <a:gd name="T0" fmla="*/ 0 w 11"/>
              <a:gd name="T1" fmla="*/ 0 h 21"/>
              <a:gd name="T2" fmla="*/ 7 w 11"/>
              <a:gd name="T3" fmla="*/ 2 h 21"/>
              <a:gd name="T4" fmla="*/ 11 w 11"/>
              <a:gd name="T5" fmla="*/ 13 h 21"/>
              <a:gd name="T6" fmla="*/ 11 w 11"/>
              <a:gd name="T7" fmla="*/ 17 h 21"/>
              <a:gd name="T8" fmla="*/ 9 w 11"/>
              <a:gd name="T9" fmla="*/ 21 h 21"/>
              <a:gd name="T10" fmla="*/ 4 w 11"/>
              <a:gd name="T11" fmla="*/ 15 h 21"/>
              <a:gd name="T12" fmla="*/ 0 w 1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0" y="0"/>
                </a:moveTo>
                <a:lnTo>
                  <a:pt x="7" y="2"/>
                </a:lnTo>
                <a:lnTo>
                  <a:pt x="11" y="13"/>
                </a:lnTo>
                <a:lnTo>
                  <a:pt x="11" y="17"/>
                </a:lnTo>
                <a:lnTo>
                  <a:pt x="9" y="21"/>
                </a:lnTo>
                <a:lnTo>
                  <a:pt x="4" y="15"/>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805"/>
          <p:cNvSpPr>
            <a:spLocks/>
          </p:cNvSpPr>
          <p:nvPr/>
        </p:nvSpPr>
        <p:spPr bwMode="auto">
          <a:xfrm>
            <a:off x="7626350" y="2628900"/>
            <a:ext cx="17463" cy="33338"/>
          </a:xfrm>
          <a:custGeom>
            <a:avLst/>
            <a:gdLst>
              <a:gd name="T0" fmla="*/ 0 w 11"/>
              <a:gd name="T1" fmla="*/ 0 h 21"/>
              <a:gd name="T2" fmla="*/ 7 w 11"/>
              <a:gd name="T3" fmla="*/ 2 h 21"/>
              <a:gd name="T4" fmla="*/ 11 w 11"/>
              <a:gd name="T5" fmla="*/ 13 h 21"/>
              <a:gd name="T6" fmla="*/ 11 w 11"/>
              <a:gd name="T7" fmla="*/ 17 h 21"/>
              <a:gd name="T8" fmla="*/ 9 w 11"/>
              <a:gd name="T9" fmla="*/ 21 h 21"/>
              <a:gd name="T10" fmla="*/ 4 w 11"/>
              <a:gd name="T11" fmla="*/ 15 h 21"/>
              <a:gd name="T12" fmla="*/ 0 w 1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0" y="0"/>
                </a:moveTo>
                <a:lnTo>
                  <a:pt x="7" y="2"/>
                </a:lnTo>
                <a:lnTo>
                  <a:pt x="11" y="13"/>
                </a:lnTo>
                <a:lnTo>
                  <a:pt x="11" y="17"/>
                </a:lnTo>
                <a:lnTo>
                  <a:pt x="9" y="21"/>
                </a:lnTo>
                <a:lnTo>
                  <a:pt x="4" y="1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0" name="Freeform 806"/>
          <p:cNvSpPr>
            <a:spLocks/>
          </p:cNvSpPr>
          <p:nvPr/>
        </p:nvSpPr>
        <p:spPr bwMode="auto">
          <a:xfrm>
            <a:off x="774700" y="2273300"/>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807"/>
          <p:cNvSpPr>
            <a:spLocks/>
          </p:cNvSpPr>
          <p:nvPr/>
        </p:nvSpPr>
        <p:spPr bwMode="auto">
          <a:xfrm>
            <a:off x="774700" y="2273300"/>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2" name="Freeform 808"/>
          <p:cNvSpPr>
            <a:spLocks/>
          </p:cNvSpPr>
          <p:nvPr/>
        </p:nvSpPr>
        <p:spPr bwMode="auto">
          <a:xfrm>
            <a:off x="774700" y="2276475"/>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809"/>
          <p:cNvSpPr>
            <a:spLocks/>
          </p:cNvSpPr>
          <p:nvPr/>
        </p:nvSpPr>
        <p:spPr bwMode="auto">
          <a:xfrm>
            <a:off x="774700" y="2276475"/>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4" name="Freeform 810"/>
          <p:cNvSpPr>
            <a:spLocks/>
          </p:cNvSpPr>
          <p:nvPr/>
        </p:nvSpPr>
        <p:spPr bwMode="auto">
          <a:xfrm>
            <a:off x="6565900" y="2611438"/>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811"/>
          <p:cNvSpPr>
            <a:spLocks/>
          </p:cNvSpPr>
          <p:nvPr/>
        </p:nvSpPr>
        <p:spPr bwMode="auto">
          <a:xfrm>
            <a:off x="6565900" y="2611438"/>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6" name="Freeform 812"/>
          <p:cNvSpPr>
            <a:spLocks/>
          </p:cNvSpPr>
          <p:nvPr/>
        </p:nvSpPr>
        <p:spPr bwMode="auto">
          <a:xfrm>
            <a:off x="6575425" y="2628900"/>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813"/>
          <p:cNvSpPr>
            <a:spLocks/>
          </p:cNvSpPr>
          <p:nvPr/>
        </p:nvSpPr>
        <p:spPr bwMode="auto">
          <a:xfrm>
            <a:off x="6575425" y="2628900"/>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8" name="Freeform 814"/>
          <p:cNvSpPr>
            <a:spLocks/>
          </p:cNvSpPr>
          <p:nvPr/>
        </p:nvSpPr>
        <p:spPr bwMode="auto">
          <a:xfrm>
            <a:off x="1149350" y="1420813"/>
            <a:ext cx="20638" cy="28575"/>
          </a:xfrm>
          <a:custGeom>
            <a:avLst/>
            <a:gdLst>
              <a:gd name="T0" fmla="*/ 9 w 13"/>
              <a:gd name="T1" fmla="*/ 3 h 18"/>
              <a:gd name="T2" fmla="*/ 5 w 13"/>
              <a:gd name="T3" fmla="*/ 0 h 18"/>
              <a:gd name="T4" fmla="*/ 0 w 13"/>
              <a:gd name="T5" fmla="*/ 11 h 18"/>
              <a:gd name="T6" fmla="*/ 5 w 13"/>
              <a:gd name="T7" fmla="*/ 18 h 18"/>
              <a:gd name="T8" fmla="*/ 11 w 13"/>
              <a:gd name="T9" fmla="*/ 18 h 18"/>
              <a:gd name="T10" fmla="*/ 13 w 13"/>
              <a:gd name="T11" fmla="*/ 11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5" y="0"/>
                </a:lnTo>
                <a:lnTo>
                  <a:pt x="0" y="11"/>
                </a:lnTo>
                <a:lnTo>
                  <a:pt x="5" y="18"/>
                </a:lnTo>
                <a:lnTo>
                  <a:pt x="11" y="18"/>
                </a:lnTo>
                <a:lnTo>
                  <a:pt x="13" y="11"/>
                </a:lnTo>
                <a:lnTo>
                  <a:pt x="9" y="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815"/>
          <p:cNvSpPr>
            <a:spLocks/>
          </p:cNvSpPr>
          <p:nvPr/>
        </p:nvSpPr>
        <p:spPr bwMode="auto">
          <a:xfrm>
            <a:off x="1149350" y="1420813"/>
            <a:ext cx="20638" cy="28575"/>
          </a:xfrm>
          <a:custGeom>
            <a:avLst/>
            <a:gdLst>
              <a:gd name="T0" fmla="*/ 9 w 13"/>
              <a:gd name="T1" fmla="*/ 3 h 18"/>
              <a:gd name="T2" fmla="*/ 5 w 13"/>
              <a:gd name="T3" fmla="*/ 0 h 18"/>
              <a:gd name="T4" fmla="*/ 0 w 13"/>
              <a:gd name="T5" fmla="*/ 11 h 18"/>
              <a:gd name="T6" fmla="*/ 5 w 13"/>
              <a:gd name="T7" fmla="*/ 18 h 18"/>
              <a:gd name="T8" fmla="*/ 11 w 13"/>
              <a:gd name="T9" fmla="*/ 18 h 18"/>
              <a:gd name="T10" fmla="*/ 13 w 13"/>
              <a:gd name="T11" fmla="*/ 11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5" y="0"/>
                </a:lnTo>
                <a:lnTo>
                  <a:pt x="0" y="11"/>
                </a:lnTo>
                <a:lnTo>
                  <a:pt x="5" y="18"/>
                </a:lnTo>
                <a:lnTo>
                  <a:pt x="11" y="18"/>
                </a:lnTo>
                <a:lnTo>
                  <a:pt x="13" y="11"/>
                </a:lnTo>
                <a:lnTo>
                  <a:pt x="9" y="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0" name="Freeform 816"/>
          <p:cNvSpPr>
            <a:spLocks/>
          </p:cNvSpPr>
          <p:nvPr/>
        </p:nvSpPr>
        <p:spPr bwMode="auto">
          <a:xfrm>
            <a:off x="1181100" y="1414463"/>
            <a:ext cx="22225" cy="20638"/>
          </a:xfrm>
          <a:custGeom>
            <a:avLst/>
            <a:gdLst>
              <a:gd name="T0" fmla="*/ 6 w 14"/>
              <a:gd name="T1" fmla="*/ 0 h 13"/>
              <a:gd name="T2" fmla="*/ 2 w 14"/>
              <a:gd name="T3" fmla="*/ 0 h 13"/>
              <a:gd name="T4" fmla="*/ 0 w 14"/>
              <a:gd name="T5" fmla="*/ 7 h 13"/>
              <a:gd name="T6" fmla="*/ 6 w 14"/>
              <a:gd name="T7" fmla="*/ 13 h 13"/>
              <a:gd name="T8" fmla="*/ 6 w 14"/>
              <a:gd name="T9" fmla="*/ 7 h 13"/>
              <a:gd name="T10" fmla="*/ 10 w 14"/>
              <a:gd name="T11" fmla="*/ 13 h 13"/>
              <a:gd name="T12" fmla="*/ 14 w 14"/>
              <a:gd name="T13" fmla="*/ 7 h 13"/>
              <a:gd name="T14" fmla="*/ 6 w 1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6" y="0"/>
                </a:moveTo>
                <a:lnTo>
                  <a:pt x="2" y="0"/>
                </a:lnTo>
                <a:lnTo>
                  <a:pt x="0" y="7"/>
                </a:lnTo>
                <a:lnTo>
                  <a:pt x="6" y="13"/>
                </a:lnTo>
                <a:lnTo>
                  <a:pt x="6" y="7"/>
                </a:lnTo>
                <a:lnTo>
                  <a:pt x="10" y="13"/>
                </a:lnTo>
                <a:lnTo>
                  <a:pt x="14" y="7"/>
                </a:lnTo>
                <a:lnTo>
                  <a:pt x="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817"/>
          <p:cNvSpPr>
            <a:spLocks/>
          </p:cNvSpPr>
          <p:nvPr/>
        </p:nvSpPr>
        <p:spPr bwMode="auto">
          <a:xfrm>
            <a:off x="1181100" y="1414463"/>
            <a:ext cx="22225" cy="20638"/>
          </a:xfrm>
          <a:custGeom>
            <a:avLst/>
            <a:gdLst>
              <a:gd name="T0" fmla="*/ 6 w 14"/>
              <a:gd name="T1" fmla="*/ 0 h 13"/>
              <a:gd name="T2" fmla="*/ 2 w 14"/>
              <a:gd name="T3" fmla="*/ 0 h 13"/>
              <a:gd name="T4" fmla="*/ 0 w 14"/>
              <a:gd name="T5" fmla="*/ 7 h 13"/>
              <a:gd name="T6" fmla="*/ 6 w 14"/>
              <a:gd name="T7" fmla="*/ 13 h 13"/>
              <a:gd name="T8" fmla="*/ 6 w 14"/>
              <a:gd name="T9" fmla="*/ 7 h 13"/>
              <a:gd name="T10" fmla="*/ 10 w 14"/>
              <a:gd name="T11" fmla="*/ 13 h 13"/>
              <a:gd name="T12" fmla="*/ 14 w 14"/>
              <a:gd name="T13" fmla="*/ 7 h 13"/>
              <a:gd name="T14" fmla="*/ 6 w 1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6" y="0"/>
                </a:moveTo>
                <a:lnTo>
                  <a:pt x="2" y="0"/>
                </a:lnTo>
                <a:lnTo>
                  <a:pt x="0" y="7"/>
                </a:lnTo>
                <a:lnTo>
                  <a:pt x="6" y="13"/>
                </a:lnTo>
                <a:lnTo>
                  <a:pt x="6" y="7"/>
                </a:lnTo>
                <a:lnTo>
                  <a:pt x="10" y="13"/>
                </a:lnTo>
                <a:lnTo>
                  <a:pt x="14" y="7"/>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2" name="Freeform 818"/>
          <p:cNvSpPr>
            <a:spLocks/>
          </p:cNvSpPr>
          <p:nvPr/>
        </p:nvSpPr>
        <p:spPr bwMode="auto">
          <a:xfrm>
            <a:off x="1184275" y="1479550"/>
            <a:ext cx="36513" cy="84138"/>
          </a:xfrm>
          <a:custGeom>
            <a:avLst/>
            <a:gdLst>
              <a:gd name="T0" fmla="*/ 17 w 23"/>
              <a:gd name="T1" fmla="*/ 0 h 53"/>
              <a:gd name="T2" fmla="*/ 15 w 23"/>
              <a:gd name="T3" fmla="*/ 0 h 53"/>
              <a:gd name="T4" fmla="*/ 8 w 23"/>
              <a:gd name="T5" fmla="*/ 4 h 53"/>
              <a:gd name="T6" fmla="*/ 0 w 23"/>
              <a:gd name="T7" fmla="*/ 12 h 53"/>
              <a:gd name="T8" fmla="*/ 4 w 23"/>
              <a:gd name="T9" fmla="*/ 21 h 53"/>
              <a:gd name="T10" fmla="*/ 8 w 23"/>
              <a:gd name="T11" fmla="*/ 27 h 53"/>
              <a:gd name="T12" fmla="*/ 8 w 23"/>
              <a:gd name="T13" fmla="*/ 36 h 53"/>
              <a:gd name="T14" fmla="*/ 10 w 23"/>
              <a:gd name="T15" fmla="*/ 42 h 53"/>
              <a:gd name="T16" fmla="*/ 17 w 23"/>
              <a:gd name="T17" fmla="*/ 49 h 53"/>
              <a:gd name="T18" fmla="*/ 17 w 23"/>
              <a:gd name="T19" fmla="*/ 53 h 53"/>
              <a:gd name="T20" fmla="*/ 23 w 23"/>
              <a:gd name="T21" fmla="*/ 51 h 53"/>
              <a:gd name="T22" fmla="*/ 23 w 23"/>
              <a:gd name="T23" fmla="*/ 44 h 53"/>
              <a:gd name="T24" fmla="*/ 19 w 23"/>
              <a:gd name="T25" fmla="*/ 36 h 53"/>
              <a:gd name="T26" fmla="*/ 10 w 23"/>
              <a:gd name="T27" fmla="*/ 36 h 53"/>
              <a:gd name="T28" fmla="*/ 12 w 23"/>
              <a:gd name="T29" fmla="*/ 21 h 53"/>
              <a:gd name="T30" fmla="*/ 6 w 23"/>
              <a:gd name="T31" fmla="*/ 15 h 53"/>
              <a:gd name="T32" fmla="*/ 12 w 23"/>
              <a:gd name="T33" fmla="*/ 8 h 53"/>
              <a:gd name="T34" fmla="*/ 21 w 23"/>
              <a:gd name="T35" fmla="*/ 6 h 53"/>
              <a:gd name="T36" fmla="*/ 17 w 23"/>
              <a:gd name="T3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53">
                <a:moveTo>
                  <a:pt x="17" y="0"/>
                </a:moveTo>
                <a:lnTo>
                  <a:pt x="15" y="0"/>
                </a:lnTo>
                <a:lnTo>
                  <a:pt x="8" y="4"/>
                </a:lnTo>
                <a:lnTo>
                  <a:pt x="0" y="12"/>
                </a:lnTo>
                <a:lnTo>
                  <a:pt x="4" y="21"/>
                </a:lnTo>
                <a:lnTo>
                  <a:pt x="8" y="27"/>
                </a:lnTo>
                <a:lnTo>
                  <a:pt x="8" y="36"/>
                </a:lnTo>
                <a:lnTo>
                  <a:pt x="10" y="42"/>
                </a:lnTo>
                <a:lnTo>
                  <a:pt x="17" y="49"/>
                </a:lnTo>
                <a:lnTo>
                  <a:pt x="17" y="53"/>
                </a:lnTo>
                <a:lnTo>
                  <a:pt x="23" y="51"/>
                </a:lnTo>
                <a:lnTo>
                  <a:pt x="23" y="44"/>
                </a:lnTo>
                <a:lnTo>
                  <a:pt x="19" y="36"/>
                </a:lnTo>
                <a:lnTo>
                  <a:pt x="10" y="36"/>
                </a:lnTo>
                <a:lnTo>
                  <a:pt x="12" y="21"/>
                </a:lnTo>
                <a:lnTo>
                  <a:pt x="6" y="15"/>
                </a:lnTo>
                <a:lnTo>
                  <a:pt x="12" y="8"/>
                </a:lnTo>
                <a:lnTo>
                  <a:pt x="21" y="6"/>
                </a:lnTo>
                <a:lnTo>
                  <a:pt x="17"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819"/>
          <p:cNvSpPr>
            <a:spLocks/>
          </p:cNvSpPr>
          <p:nvPr/>
        </p:nvSpPr>
        <p:spPr bwMode="auto">
          <a:xfrm>
            <a:off x="1184275" y="1479550"/>
            <a:ext cx="36513" cy="84138"/>
          </a:xfrm>
          <a:custGeom>
            <a:avLst/>
            <a:gdLst>
              <a:gd name="T0" fmla="*/ 17 w 23"/>
              <a:gd name="T1" fmla="*/ 0 h 53"/>
              <a:gd name="T2" fmla="*/ 15 w 23"/>
              <a:gd name="T3" fmla="*/ 0 h 53"/>
              <a:gd name="T4" fmla="*/ 8 w 23"/>
              <a:gd name="T5" fmla="*/ 4 h 53"/>
              <a:gd name="T6" fmla="*/ 0 w 23"/>
              <a:gd name="T7" fmla="*/ 12 h 53"/>
              <a:gd name="T8" fmla="*/ 4 w 23"/>
              <a:gd name="T9" fmla="*/ 21 h 53"/>
              <a:gd name="T10" fmla="*/ 8 w 23"/>
              <a:gd name="T11" fmla="*/ 27 h 53"/>
              <a:gd name="T12" fmla="*/ 8 w 23"/>
              <a:gd name="T13" fmla="*/ 36 h 53"/>
              <a:gd name="T14" fmla="*/ 10 w 23"/>
              <a:gd name="T15" fmla="*/ 42 h 53"/>
              <a:gd name="T16" fmla="*/ 17 w 23"/>
              <a:gd name="T17" fmla="*/ 49 h 53"/>
              <a:gd name="T18" fmla="*/ 17 w 23"/>
              <a:gd name="T19" fmla="*/ 53 h 53"/>
              <a:gd name="T20" fmla="*/ 23 w 23"/>
              <a:gd name="T21" fmla="*/ 51 h 53"/>
              <a:gd name="T22" fmla="*/ 23 w 23"/>
              <a:gd name="T23" fmla="*/ 44 h 53"/>
              <a:gd name="T24" fmla="*/ 19 w 23"/>
              <a:gd name="T25" fmla="*/ 36 h 53"/>
              <a:gd name="T26" fmla="*/ 10 w 23"/>
              <a:gd name="T27" fmla="*/ 36 h 53"/>
              <a:gd name="T28" fmla="*/ 12 w 23"/>
              <a:gd name="T29" fmla="*/ 21 h 53"/>
              <a:gd name="T30" fmla="*/ 6 w 23"/>
              <a:gd name="T31" fmla="*/ 15 h 53"/>
              <a:gd name="T32" fmla="*/ 12 w 23"/>
              <a:gd name="T33" fmla="*/ 8 h 53"/>
              <a:gd name="T34" fmla="*/ 21 w 23"/>
              <a:gd name="T35" fmla="*/ 6 h 53"/>
              <a:gd name="T36" fmla="*/ 17 w 23"/>
              <a:gd name="T3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53">
                <a:moveTo>
                  <a:pt x="17" y="0"/>
                </a:moveTo>
                <a:lnTo>
                  <a:pt x="15" y="0"/>
                </a:lnTo>
                <a:lnTo>
                  <a:pt x="8" y="4"/>
                </a:lnTo>
                <a:lnTo>
                  <a:pt x="0" y="12"/>
                </a:lnTo>
                <a:lnTo>
                  <a:pt x="4" y="21"/>
                </a:lnTo>
                <a:lnTo>
                  <a:pt x="8" y="27"/>
                </a:lnTo>
                <a:lnTo>
                  <a:pt x="8" y="36"/>
                </a:lnTo>
                <a:lnTo>
                  <a:pt x="10" y="42"/>
                </a:lnTo>
                <a:lnTo>
                  <a:pt x="17" y="49"/>
                </a:lnTo>
                <a:lnTo>
                  <a:pt x="17" y="53"/>
                </a:lnTo>
                <a:lnTo>
                  <a:pt x="23" y="51"/>
                </a:lnTo>
                <a:lnTo>
                  <a:pt x="23" y="44"/>
                </a:lnTo>
                <a:lnTo>
                  <a:pt x="19" y="36"/>
                </a:lnTo>
                <a:lnTo>
                  <a:pt x="10" y="36"/>
                </a:lnTo>
                <a:lnTo>
                  <a:pt x="12" y="21"/>
                </a:lnTo>
                <a:lnTo>
                  <a:pt x="6" y="15"/>
                </a:lnTo>
                <a:lnTo>
                  <a:pt x="12" y="8"/>
                </a:lnTo>
                <a:lnTo>
                  <a:pt x="21" y="6"/>
                </a:lnTo>
                <a:lnTo>
                  <a:pt x="17"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4" name="Freeform 820"/>
          <p:cNvSpPr>
            <a:spLocks/>
          </p:cNvSpPr>
          <p:nvPr/>
        </p:nvSpPr>
        <p:spPr bwMode="auto">
          <a:xfrm>
            <a:off x="939800" y="1371600"/>
            <a:ext cx="942975" cy="682625"/>
          </a:xfrm>
          <a:custGeom>
            <a:avLst/>
            <a:gdLst>
              <a:gd name="T0" fmla="*/ 28 w 594"/>
              <a:gd name="T1" fmla="*/ 268 h 430"/>
              <a:gd name="T2" fmla="*/ 9 w 594"/>
              <a:gd name="T3" fmla="*/ 227 h 430"/>
              <a:gd name="T4" fmla="*/ 20 w 594"/>
              <a:gd name="T5" fmla="*/ 255 h 430"/>
              <a:gd name="T6" fmla="*/ 20 w 594"/>
              <a:gd name="T7" fmla="*/ 230 h 430"/>
              <a:gd name="T8" fmla="*/ 30 w 594"/>
              <a:gd name="T9" fmla="*/ 221 h 430"/>
              <a:gd name="T10" fmla="*/ 15 w 594"/>
              <a:gd name="T11" fmla="*/ 193 h 430"/>
              <a:gd name="T12" fmla="*/ 32 w 594"/>
              <a:gd name="T13" fmla="*/ 191 h 430"/>
              <a:gd name="T14" fmla="*/ 13 w 594"/>
              <a:gd name="T15" fmla="*/ 185 h 430"/>
              <a:gd name="T16" fmla="*/ 20 w 594"/>
              <a:gd name="T17" fmla="*/ 108 h 430"/>
              <a:gd name="T18" fmla="*/ 9 w 594"/>
              <a:gd name="T19" fmla="*/ 70 h 430"/>
              <a:gd name="T20" fmla="*/ 15 w 594"/>
              <a:gd name="T21" fmla="*/ 42 h 430"/>
              <a:gd name="T22" fmla="*/ 24 w 594"/>
              <a:gd name="T23" fmla="*/ 27 h 430"/>
              <a:gd name="T24" fmla="*/ 58 w 594"/>
              <a:gd name="T25" fmla="*/ 57 h 430"/>
              <a:gd name="T26" fmla="*/ 105 w 594"/>
              <a:gd name="T27" fmla="*/ 76 h 430"/>
              <a:gd name="T28" fmla="*/ 128 w 594"/>
              <a:gd name="T29" fmla="*/ 87 h 430"/>
              <a:gd name="T30" fmla="*/ 143 w 594"/>
              <a:gd name="T31" fmla="*/ 93 h 430"/>
              <a:gd name="T32" fmla="*/ 149 w 594"/>
              <a:gd name="T33" fmla="*/ 123 h 430"/>
              <a:gd name="T34" fmla="*/ 141 w 594"/>
              <a:gd name="T35" fmla="*/ 123 h 430"/>
              <a:gd name="T36" fmla="*/ 103 w 594"/>
              <a:gd name="T37" fmla="*/ 164 h 430"/>
              <a:gd name="T38" fmla="*/ 109 w 594"/>
              <a:gd name="T39" fmla="*/ 168 h 430"/>
              <a:gd name="T40" fmla="*/ 143 w 594"/>
              <a:gd name="T41" fmla="*/ 134 h 430"/>
              <a:gd name="T42" fmla="*/ 156 w 594"/>
              <a:gd name="T43" fmla="*/ 138 h 430"/>
              <a:gd name="T44" fmla="*/ 143 w 594"/>
              <a:gd name="T45" fmla="*/ 149 h 430"/>
              <a:gd name="T46" fmla="*/ 141 w 594"/>
              <a:gd name="T47" fmla="*/ 187 h 430"/>
              <a:gd name="T48" fmla="*/ 128 w 594"/>
              <a:gd name="T49" fmla="*/ 183 h 430"/>
              <a:gd name="T50" fmla="*/ 126 w 594"/>
              <a:gd name="T51" fmla="*/ 181 h 430"/>
              <a:gd name="T52" fmla="*/ 100 w 594"/>
              <a:gd name="T53" fmla="*/ 191 h 430"/>
              <a:gd name="T54" fmla="*/ 113 w 594"/>
              <a:gd name="T55" fmla="*/ 198 h 430"/>
              <a:gd name="T56" fmla="*/ 139 w 594"/>
              <a:gd name="T57" fmla="*/ 195 h 430"/>
              <a:gd name="T58" fmla="*/ 162 w 594"/>
              <a:gd name="T59" fmla="*/ 161 h 430"/>
              <a:gd name="T60" fmla="*/ 169 w 594"/>
              <a:gd name="T61" fmla="*/ 136 h 430"/>
              <a:gd name="T62" fmla="*/ 181 w 594"/>
              <a:gd name="T63" fmla="*/ 104 h 430"/>
              <a:gd name="T64" fmla="*/ 177 w 594"/>
              <a:gd name="T65" fmla="*/ 72 h 430"/>
              <a:gd name="T66" fmla="*/ 173 w 594"/>
              <a:gd name="T67" fmla="*/ 59 h 430"/>
              <a:gd name="T68" fmla="*/ 186 w 594"/>
              <a:gd name="T69" fmla="*/ 53 h 430"/>
              <a:gd name="T70" fmla="*/ 181 w 594"/>
              <a:gd name="T71" fmla="*/ 27 h 430"/>
              <a:gd name="T72" fmla="*/ 171 w 594"/>
              <a:gd name="T73" fmla="*/ 4 h 430"/>
              <a:gd name="T74" fmla="*/ 522 w 594"/>
              <a:gd name="T75" fmla="*/ 85 h 430"/>
              <a:gd name="T76" fmla="*/ 537 w 594"/>
              <a:gd name="T77" fmla="*/ 379 h 430"/>
              <a:gd name="T78" fmla="*/ 537 w 594"/>
              <a:gd name="T79" fmla="*/ 430 h 430"/>
              <a:gd name="T80" fmla="*/ 360 w 594"/>
              <a:gd name="T81" fmla="*/ 398 h 430"/>
              <a:gd name="T82" fmla="*/ 322 w 594"/>
              <a:gd name="T83" fmla="*/ 396 h 430"/>
              <a:gd name="T84" fmla="*/ 264 w 594"/>
              <a:gd name="T85" fmla="*/ 402 h 430"/>
              <a:gd name="T86" fmla="*/ 220 w 594"/>
              <a:gd name="T87" fmla="*/ 396 h 430"/>
              <a:gd name="T88" fmla="*/ 190 w 594"/>
              <a:gd name="T89" fmla="*/ 383 h 430"/>
              <a:gd name="T90" fmla="*/ 156 w 594"/>
              <a:gd name="T91" fmla="*/ 372 h 430"/>
              <a:gd name="T92" fmla="*/ 120 w 594"/>
              <a:gd name="T93" fmla="*/ 381 h 430"/>
              <a:gd name="T94" fmla="*/ 94 w 594"/>
              <a:gd name="T95" fmla="*/ 368 h 430"/>
              <a:gd name="T96" fmla="*/ 81 w 594"/>
              <a:gd name="T97" fmla="*/ 308 h 430"/>
              <a:gd name="T98" fmla="*/ 56 w 594"/>
              <a:gd name="T99" fmla="*/ 293 h 430"/>
              <a:gd name="T100" fmla="*/ 41 w 594"/>
              <a:gd name="T101" fmla="*/ 27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4" h="430">
                <a:moveTo>
                  <a:pt x="41" y="276"/>
                </a:moveTo>
                <a:lnTo>
                  <a:pt x="39" y="276"/>
                </a:lnTo>
                <a:lnTo>
                  <a:pt x="32" y="274"/>
                </a:lnTo>
                <a:lnTo>
                  <a:pt x="28" y="268"/>
                </a:lnTo>
                <a:lnTo>
                  <a:pt x="13" y="270"/>
                </a:lnTo>
                <a:lnTo>
                  <a:pt x="7" y="264"/>
                </a:lnTo>
                <a:lnTo>
                  <a:pt x="0" y="264"/>
                </a:lnTo>
                <a:lnTo>
                  <a:pt x="9" y="227"/>
                </a:lnTo>
                <a:lnTo>
                  <a:pt x="11" y="236"/>
                </a:lnTo>
                <a:lnTo>
                  <a:pt x="9" y="249"/>
                </a:lnTo>
                <a:lnTo>
                  <a:pt x="15" y="249"/>
                </a:lnTo>
                <a:lnTo>
                  <a:pt x="20" y="255"/>
                </a:lnTo>
                <a:lnTo>
                  <a:pt x="20" y="251"/>
                </a:lnTo>
                <a:lnTo>
                  <a:pt x="15" y="244"/>
                </a:lnTo>
                <a:lnTo>
                  <a:pt x="22" y="236"/>
                </a:lnTo>
                <a:lnTo>
                  <a:pt x="20" y="230"/>
                </a:lnTo>
                <a:lnTo>
                  <a:pt x="24" y="223"/>
                </a:lnTo>
                <a:lnTo>
                  <a:pt x="32" y="227"/>
                </a:lnTo>
                <a:lnTo>
                  <a:pt x="32" y="227"/>
                </a:lnTo>
                <a:lnTo>
                  <a:pt x="30" y="221"/>
                </a:lnTo>
                <a:lnTo>
                  <a:pt x="15" y="215"/>
                </a:lnTo>
                <a:lnTo>
                  <a:pt x="15" y="217"/>
                </a:lnTo>
                <a:lnTo>
                  <a:pt x="13" y="208"/>
                </a:lnTo>
                <a:lnTo>
                  <a:pt x="15" y="193"/>
                </a:lnTo>
                <a:lnTo>
                  <a:pt x="17" y="202"/>
                </a:lnTo>
                <a:lnTo>
                  <a:pt x="28" y="195"/>
                </a:lnTo>
                <a:lnTo>
                  <a:pt x="39" y="195"/>
                </a:lnTo>
                <a:lnTo>
                  <a:pt x="32" y="191"/>
                </a:lnTo>
                <a:lnTo>
                  <a:pt x="26" y="185"/>
                </a:lnTo>
                <a:lnTo>
                  <a:pt x="20" y="178"/>
                </a:lnTo>
                <a:lnTo>
                  <a:pt x="17" y="187"/>
                </a:lnTo>
                <a:lnTo>
                  <a:pt x="13" y="185"/>
                </a:lnTo>
                <a:lnTo>
                  <a:pt x="17" y="176"/>
                </a:lnTo>
                <a:lnTo>
                  <a:pt x="20" y="155"/>
                </a:lnTo>
                <a:lnTo>
                  <a:pt x="15" y="138"/>
                </a:lnTo>
                <a:lnTo>
                  <a:pt x="20" y="108"/>
                </a:lnTo>
                <a:lnTo>
                  <a:pt x="20" y="100"/>
                </a:lnTo>
                <a:lnTo>
                  <a:pt x="15" y="87"/>
                </a:lnTo>
                <a:lnTo>
                  <a:pt x="9" y="78"/>
                </a:lnTo>
                <a:lnTo>
                  <a:pt x="9" y="70"/>
                </a:lnTo>
                <a:lnTo>
                  <a:pt x="9" y="63"/>
                </a:lnTo>
                <a:lnTo>
                  <a:pt x="11" y="57"/>
                </a:lnTo>
                <a:lnTo>
                  <a:pt x="9" y="49"/>
                </a:lnTo>
                <a:lnTo>
                  <a:pt x="15" y="42"/>
                </a:lnTo>
                <a:lnTo>
                  <a:pt x="17" y="34"/>
                </a:lnTo>
                <a:lnTo>
                  <a:pt x="20" y="31"/>
                </a:lnTo>
                <a:lnTo>
                  <a:pt x="17" y="23"/>
                </a:lnTo>
                <a:lnTo>
                  <a:pt x="24" y="27"/>
                </a:lnTo>
                <a:lnTo>
                  <a:pt x="37" y="40"/>
                </a:lnTo>
                <a:lnTo>
                  <a:pt x="45" y="46"/>
                </a:lnTo>
                <a:lnTo>
                  <a:pt x="54" y="51"/>
                </a:lnTo>
                <a:lnTo>
                  <a:pt x="58" y="57"/>
                </a:lnTo>
                <a:lnTo>
                  <a:pt x="68" y="63"/>
                </a:lnTo>
                <a:lnTo>
                  <a:pt x="81" y="68"/>
                </a:lnTo>
                <a:lnTo>
                  <a:pt x="90" y="72"/>
                </a:lnTo>
                <a:lnTo>
                  <a:pt x="105" y="76"/>
                </a:lnTo>
                <a:lnTo>
                  <a:pt x="113" y="83"/>
                </a:lnTo>
                <a:lnTo>
                  <a:pt x="120" y="80"/>
                </a:lnTo>
                <a:lnTo>
                  <a:pt x="126" y="78"/>
                </a:lnTo>
                <a:lnTo>
                  <a:pt x="128" y="87"/>
                </a:lnTo>
                <a:lnTo>
                  <a:pt x="130" y="93"/>
                </a:lnTo>
                <a:lnTo>
                  <a:pt x="137" y="91"/>
                </a:lnTo>
                <a:lnTo>
                  <a:pt x="143" y="102"/>
                </a:lnTo>
                <a:lnTo>
                  <a:pt x="143" y="93"/>
                </a:lnTo>
                <a:lnTo>
                  <a:pt x="152" y="89"/>
                </a:lnTo>
                <a:lnTo>
                  <a:pt x="149" y="95"/>
                </a:lnTo>
                <a:lnTo>
                  <a:pt x="152" y="115"/>
                </a:lnTo>
                <a:lnTo>
                  <a:pt x="149" y="123"/>
                </a:lnTo>
                <a:lnTo>
                  <a:pt x="143" y="129"/>
                </a:lnTo>
                <a:lnTo>
                  <a:pt x="139" y="138"/>
                </a:lnTo>
                <a:lnTo>
                  <a:pt x="139" y="129"/>
                </a:lnTo>
                <a:lnTo>
                  <a:pt x="141" y="123"/>
                </a:lnTo>
                <a:lnTo>
                  <a:pt x="128" y="140"/>
                </a:lnTo>
                <a:lnTo>
                  <a:pt x="122" y="144"/>
                </a:lnTo>
                <a:lnTo>
                  <a:pt x="107" y="155"/>
                </a:lnTo>
                <a:lnTo>
                  <a:pt x="103" y="164"/>
                </a:lnTo>
                <a:lnTo>
                  <a:pt x="109" y="170"/>
                </a:lnTo>
                <a:lnTo>
                  <a:pt x="122" y="166"/>
                </a:lnTo>
                <a:lnTo>
                  <a:pt x="115" y="166"/>
                </a:lnTo>
                <a:lnTo>
                  <a:pt x="109" y="168"/>
                </a:lnTo>
                <a:lnTo>
                  <a:pt x="107" y="159"/>
                </a:lnTo>
                <a:lnTo>
                  <a:pt x="122" y="147"/>
                </a:lnTo>
                <a:lnTo>
                  <a:pt x="137" y="142"/>
                </a:lnTo>
                <a:lnTo>
                  <a:pt x="143" y="134"/>
                </a:lnTo>
                <a:lnTo>
                  <a:pt x="158" y="119"/>
                </a:lnTo>
                <a:lnTo>
                  <a:pt x="162" y="125"/>
                </a:lnTo>
                <a:lnTo>
                  <a:pt x="162" y="134"/>
                </a:lnTo>
                <a:lnTo>
                  <a:pt x="156" y="138"/>
                </a:lnTo>
                <a:lnTo>
                  <a:pt x="149" y="136"/>
                </a:lnTo>
                <a:lnTo>
                  <a:pt x="149" y="144"/>
                </a:lnTo>
                <a:lnTo>
                  <a:pt x="149" y="151"/>
                </a:lnTo>
                <a:lnTo>
                  <a:pt x="143" y="149"/>
                </a:lnTo>
                <a:lnTo>
                  <a:pt x="143" y="155"/>
                </a:lnTo>
                <a:lnTo>
                  <a:pt x="149" y="155"/>
                </a:lnTo>
                <a:lnTo>
                  <a:pt x="152" y="161"/>
                </a:lnTo>
                <a:lnTo>
                  <a:pt x="141" y="187"/>
                </a:lnTo>
                <a:lnTo>
                  <a:pt x="132" y="183"/>
                </a:lnTo>
                <a:lnTo>
                  <a:pt x="139" y="176"/>
                </a:lnTo>
                <a:lnTo>
                  <a:pt x="132" y="176"/>
                </a:lnTo>
                <a:lnTo>
                  <a:pt x="128" y="183"/>
                </a:lnTo>
                <a:lnTo>
                  <a:pt x="126" y="191"/>
                </a:lnTo>
                <a:lnTo>
                  <a:pt x="124" y="193"/>
                </a:lnTo>
                <a:lnTo>
                  <a:pt x="122" y="187"/>
                </a:lnTo>
                <a:lnTo>
                  <a:pt x="126" y="181"/>
                </a:lnTo>
                <a:lnTo>
                  <a:pt x="128" y="172"/>
                </a:lnTo>
                <a:lnTo>
                  <a:pt x="113" y="183"/>
                </a:lnTo>
                <a:lnTo>
                  <a:pt x="107" y="189"/>
                </a:lnTo>
                <a:lnTo>
                  <a:pt x="100" y="191"/>
                </a:lnTo>
                <a:lnTo>
                  <a:pt x="107" y="193"/>
                </a:lnTo>
                <a:lnTo>
                  <a:pt x="107" y="200"/>
                </a:lnTo>
                <a:lnTo>
                  <a:pt x="111" y="204"/>
                </a:lnTo>
                <a:lnTo>
                  <a:pt x="113" y="198"/>
                </a:lnTo>
                <a:lnTo>
                  <a:pt x="120" y="193"/>
                </a:lnTo>
                <a:lnTo>
                  <a:pt x="124" y="202"/>
                </a:lnTo>
                <a:lnTo>
                  <a:pt x="130" y="200"/>
                </a:lnTo>
                <a:lnTo>
                  <a:pt x="139" y="195"/>
                </a:lnTo>
                <a:lnTo>
                  <a:pt x="143" y="189"/>
                </a:lnTo>
                <a:lnTo>
                  <a:pt x="156" y="185"/>
                </a:lnTo>
                <a:lnTo>
                  <a:pt x="162" y="176"/>
                </a:lnTo>
                <a:lnTo>
                  <a:pt x="162" y="161"/>
                </a:lnTo>
                <a:lnTo>
                  <a:pt x="169" y="155"/>
                </a:lnTo>
                <a:lnTo>
                  <a:pt x="162" y="147"/>
                </a:lnTo>
                <a:lnTo>
                  <a:pt x="171" y="142"/>
                </a:lnTo>
                <a:lnTo>
                  <a:pt x="169" y="136"/>
                </a:lnTo>
                <a:lnTo>
                  <a:pt x="177" y="125"/>
                </a:lnTo>
                <a:lnTo>
                  <a:pt x="186" y="119"/>
                </a:lnTo>
                <a:lnTo>
                  <a:pt x="183" y="112"/>
                </a:lnTo>
                <a:lnTo>
                  <a:pt x="181" y="104"/>
                </a:lnTo>
                <a:lnTo>
                  <a:pt x="181" y="89"/>
                </a:lnTo>
                <a:lnTo>
                  <a:pt x="181" y="87"/>
                </a:lnTo>
                <a:lnTo>
                  <a:pt x="183" y="80"/>
                </a:lnTo>
                <a:lnTo>
                  <a:pt x="177" y="72"/>
                </a:lnTo>
                <a:lnTo>
                  <a:pt x="175" y="66"/>
                </a:lnTo>
                <a:lnTo>
                  <a:pt x="169" y="66"/>
                </a:lnTo>
                <a:lnTo>
                  <a:pt x="169" y="57"/>
                </a:lnTo>
                <a:lnTo>
                  <a:pt x="173" y="59"/>
                </a:lnTo>
                <a:lnTo>
                  <a:pt x="181" y="63"/>
                </a:lnTo>
                <a:lnTo>
                  <a:pt x="181" y="57"/>
                </a:lnTo>
                <a:lnTo>
                  <a:pt x="179" y="49"/>
                </a:lnTo>
                <a:lnTo>
                  <a:pt x="186" y="53"/>
                </a:lnTo>
                <a:lnTo>
                  <a:pt x="188" y="46"/>
                </a:lnTo>
                <a:lnTo>
                  <a:pt x="186" y="38"/>
                </a:lnTo>
                <a:lnTo>
                  <a:pt x="188" y="31"/>
                </a:lnTo>
                <a:lnTo>
                  <a:pt x="181" y="27"/>
                </a:lnTo>
                <a:lnTo>
                  <a:pt x="175" y="21"/>
                </a:lnTo>
                <a:lnTo>
                  <a:pt x="175" y="19"/>
                </a:lnTo>
                <a:lnTo>
                  <a:pt x="173" y="10"/>
                </a:lnTo>
                <a:lnTo>
                  <a:pt x="171" y="4"/>
                </a:lnTo>
                <a:lnTo>
                  <a:pt x="177" y="0"/>
                </a:lnTo>
                <a:lnTo>
                  <a:pt x="277" y="27"/>
                </a:lnTo>
                <a:lnTo>
                  <a:pt x="390" y="55"/>
                </a:lnTo>
                <a:lnTo>
                  <a:pt x="522" y="85"/>
                </a:lnTo>
                <a:lnTo>
                  <a:pt x="594" y="100"/>
                </a:lnTo>
                <a:lnTo>
                  <a:pt x="592" y="104"/>
                </a:lnTo>
                <a:lnTo>
                  <a:pt x="539" y="355"/>
                </a:lnTo>
                <a:lnTo>
                  <a:pt x="537" y="379"/>
                </a:lnTo>
                <a:lnTo>
                  <a:pt x="533" y="385"/>
                </a:lnTo>
                <a:lnTo>
                  <a:pt x="537" y="400"/>
                </a:lnTo>
                <a:lnTo>
                  <a:pt x="535" y="423"/>
                </a:lnTo>
                <a:lnTo>
                  <a:pt x="537" y="430"/>
                </a:lnTo>
                <a:lnTo>
                  <a:pt x="445" y="411"/>
                </a:lnTo>
                <a:lnTo>
                  <a:pt x="375" y="394"/>
                </a:lnTo>
                <a:lnTo>
                  <a:pt x="367" y="398"/>
                </a:lnTo>
                <a:lnTo>
                  <a:pt x="360" y="398"/>
                </a:lnTo>
                <a:lnTo>
                  <a:pt x="352" y="396"/>
                </a:lnTo>
                <a:lnTo>
                  <a:pt x="335" y="394"/>
                </a:lnTo>
                <a:lnTo>
                  <a:pt x="330" y="391"/>
                </a:lnTo>
                <a:lnTo>
                  <a:pt x="322" y="396"/>
                </a:lnTo>
                <a:lnTo>
                  <a:pt x="301" y="396"/>
                </a:lnTo>
                <a:lnTo>
                  <a:pt x="286" y="398"/>
                </a:lnTo>
                <a:lnTo>
                  <a:pt x="271" y="400"/>
                </a:lnTo>
                <a:lnTo>
                  <a:pt x="264" y="402"/>
                </a:lnTo>
                <a:lnTo>
                  <a:pt x="256" y="400"/>
                </a:lnTo>
                <a:lnTo>
                  <a:pt x="249" y="394"/>
                </a:lnTo>
                <a:lnTo>
                  <a:pt x="241" y="391"/>
                </a:lnTo>
                <a:lnTo>
                  <a:pt x="220" y="396"/>
                </a:lnTo>
                <a:lnTo>
                  <a:pt x="213" y="394"/>
                </a:lnTo>
                <a:lnTo>
                  <a:pt x="198" y="394"/>
                </a:lnTo>
                <a:lnTo>
                  <a:pt x="196" y="387"/>
                </a:lnTo>
                <a:lnTo>
                  <a:pt x="190" y="383"/>
                </a:lnTo>
                <a:lnTo>
                  <a:pt x="181" y="381"/>
                </a:lnTo>
                <a:lnTo>
                  <a:pt x="175" y="377"/>
                </a:lnTo>
                <a:lnTo>
                  <a:pt x="162" y="377"/>
                </a:lnTo>
                <a:lnTo>
                  <a:pt x="156" y="372"/>
                </a:lnTo>
                <a:lnTo>
                  <a:pt x="149" y="372"/>
                </a:lnTo>
                <a:lnTo>
                  <a:pt x="141" y="377"/>
                </a:lnTo>
                <a:lnTo>
                  <a:pt x="134" y="379"/>
                </a:lnTo>
                <a:lnTo>
                  <a:pt x="120" y="381"/>
                </a:lnTo>
                <a:lnTo>
                  <a:pt x="113" y="379"/>
                </a:lnTo>
                <a:lnTo>
                  <a:pt x="105" y="374"/>
                </a:lnTo>
                <a:lnTo>
                  <a:pt x="100" y="374"/>
                </a:lnTo>
                <a:lnTo>
                  <a:pt x="94" y="368"/>
                </a:lnTo>
                <a:lnTo>
                  <a:pt x="83" y="364"/>
                </a:lnTo>
                <a:lnTo>
                  <a:pt x="79" y="359"/>
                </a:lnTo>
                <a:lnTo>
                  <a:pt x="83" y="323"/>
                </a:lnTo>
                <a:lnTo>
                  <a:pt x="81" y="308"/>
                </a:lnTo>
                <a:lnTo>
                  <a:pt x="73" y="302"/>
                </a:lnTo>
                <a:lnTo>
                  <a:pt x="68" y="296"/>
                </a:lnTo>
                <a:lnTo>
                  <a:pt x="62" y="293"/>
                </a:lnTo>
                <a:lnTo>
                  <a:pt x="56" y="293"/>
                </a:lnTo>
                <a:lnTo>
                  <a:pt x="49" y="287"/>
                </a:lnTo>
                <a:lnTo>
                  <a:pt x="47" y="279"/>
                </a:lnTo>
                <a:lnTo>
                  <a:pt x="45" y="279"/>
                </a:lnTo>
                <a:lnTo>
                  <a:pt x="41" y="276"/>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415" name="Freeform 821"/>
          <p:cNvSpPr>
            <a:spLocks/>
          </p:cNvSpPr>
          <p:nvPr/>
        </p:nvSpPr>
        <p:spPr bwMode="auto">
          <a:xfrm>
            <a:off x="939800" y="1371600"/>
            <a:ext cx="942975" cy="682625"/>
          </a:xfrm>
          <a:custGeom>
            <a:avLst/>
            <a:gdLst>
              <a:gd name="T0" fmla="*/ 28 w 594"/>
              <a:gd name="T1" fmla="*/ 268 h 430"/>
              <a:gd name="T2" fmla="*/ 9 w 594"/>
              <a:gd name="T3" fmla="*/ 227 h 430"/>
              <a:gd name="T4" fmla="*/ 20 w 594"/>
              <a:gd name="T5" fmla="*/ 255 h 430"/>
              <a:gd name="T6" fmla="*/ 20 w 594"/>
              <a:gd name="T7" fmla="*/ 230 h 430"/>
              <a:gd name="T8" fmla="*/ 30 w 594"/>
              <a:gd name="T9" fmla="*/ 221 h 430"/>
              <a:gd name="T10" fmla="*/ 15 w 594"/>
              <a:gd name="T11" fmla="*/ 193 h 430"/>
              <a:gd name="T12" fmla="*/ 32 w 594"/>
              <a:gd name="T13" fmla="*/ 191 h 430"/>
              <a:gd name="T14" fmla="*/ 13 w 594"/>
              <a:gd name="T15" fmla="*/ 185 h 430"/>
              <a:gd name="T16" fmla="*/ 20 w 594"/>
              <a:gd name="T17" fmla="*/ 108 h 430"/>
              <a:gd name="T18" fmla="*/ 9 w 594"/>
              <a:gd name="T19" fmla="*/ 70 h 430"/>
              <a:gd name="T20" fmla="*/ 15 w 594"/>
              <a:gd name="T21" fmla="*/ 42 h 430"/>
              <a:gd name="T22" fmla="*/ 24 w 594"/>
              <a:gd name="T23" fmla="*/ 27 h 430"/>
              <a:gd name="T24" fmla="*/ 58 w 594"/>
              <a:gd name="T25" fmla="*/ 57 h 430"/>
              <a:gd name="T26" fmla="*/ 105 w 594"/>
              <a:gd name="T27" fmla="*/ 76 h 430"/>
              <a:gd name="T28" fmla="*/ 128 w 594"/>
              <a:gd name="T29" fmla="*/ 87 h 430"/>
              <a:gd name="T30" fmla="*/ 143 w 594"/>
              <a:gd name="T31" fmla="*/ 93 h 430"/>
              <a:gd name="T32" fmla="*/ 149 w 594"/>
              <a:gd name="T33" fmla="*/ 123 h 430"/>
              <a:gd name="T34" fmla="*/ 141 w 594"/>
              <a:gd name="T35" fmla="*/ 123 h 430"/>
              <a:gd name="T36" fmla="*/ 103 w 594"/>
              <a:gd name="T37" fmla="*/ 164 h 430"/>
              <a:gd name="T38" fmla="*/ 109 w 594"/>
              <a:gd name="T39" fmla="*/ 168 h 430"/>
              <a:gd name="T40" fmla="*/ 143 w 594"/>
              <a:gd name="T41" fmla="*/ 134 h 430"/>
              <a:gd name="T42" fmla="*/ 156 w 594"/>
              <a:gd name="T43" fmla="*/ 138 h 430"/>
              <a:gd name="T44" fmla="*/ 143 w 594"/>
              <a:gd name="T45" fmla="*/ 149 h 430"/>
              <a:gd name="T46" fmla="*/ 141 w 594"/>
              <a:gd name="T47" fmla="*/ 187 h 430"/>
              <a:gd name="T48" fmla="*/ 128 w 594"/>
              <a:gd name="T49" fmla="*/ 183 h 430"/>
              <a:gd name="T50" fmla="*/ 126 w 594"/>
              <a:gd name="T51" fmla="*/ 181 h 430"/>
              <a:gd name="T52" fmla="*/ 100 w 594"/>
              <a:gd name="T53" fmla="*/ 191 h 430"/>
              <a:gd name="T54" fmla="*/ 113 w 594"/>
              <a:gd name="T55" fmla="*/ 198 h 430"/>
              <a:gd name="T56" fmla="*/ 139 w 594"/>
              <a:gd name="T57" fmla="*/ 195 h 430"/>
              <a:gd name="T58" fmla="*/ 162 w 594"/>
              <a:gd name="T59" fmla="*/ 161 h 430"/>
              <a:gd name="T60" fmla="*/ 169 w 594"/>
              <a:gd name="T61" fmla="*/ 136 h 430"/>
              <a:gd name="T62" fmla="*/ 181 w 594"/>
              <a:gd name="T63" fmla="*/ 104 h 430"/>
              <a:gd name="T64" fmla="*/ 177 w 594"/>
              <a:gd name="T65" fmla="*/ 72 h 430"/>
              <a:gd name="T66" fmla="*/ 173 w 594"/>
              <a:gd name="T67" fmla="*/ 59 h 430"/>
              <a:gd name="T68" fmla="*/ 186 w 594"/>
              <a:gd name="T69" fmla="*/ 53 h 430"/>
              <a:gd name="T70" fmla="*/ 181 w 594"/>
              <a:gd name="T71" fmla="*/ 27 h 430"/>
              <a:gd name="T72" fmla="*/ 171 w 594"/>
              <a:gd name="T73" fmla="*/ 4 h 430"/>
              <a:gd name="T74" fmla="*/ 522 w 594"/>
              <a:gd name="T75" fmla="*/ 85 h 430"/>
              <a:gd name="T76" fmla="*/ 537 w 594"/>
              <a:gd name="T77" fmla="*/ 379 h 430"/>
              <a:gd name="T78" fmla="*/ 537 w 594"/>
              <a:gd name="T79" fmla="*/ 430 h 430"/>
              <a:gd name="T80" fmla="*/ 360 w 594"/>
              <a:gd name="T81" fmla="*/ 398 h 430"/>
              <a:gd name="T82" fmla="*/ 322 w 594"/>
              <a:gd name="T83" fmla="*/ 396 h 430"/>
              <a:gd name="T84" fmla="*/ 264 w 594"/>
              <a:gd name="T85" fmla="*/ 402 h 430"/>
              <a:gd name="T86" fmla="*/ 220 w 594"/>
              <a:gd name="T87" fmla="*/ 396 h 430"/>
              <a:gd name="T88" fmla="*/ 190 w 594"/>
              <a:gd name="T89" fmla="*/ 383 h 430"/>
              <a:gd name="T90" fmla="*/ 156 w 594"/>
              <a:gd name="T91" fmla="*/ 372 h 430"/>
              <a:gd name="T92" fmla="*/ 120 w 594"/>
              <a:gd name="T93" fmla="*/ 381 h 430"/>
              <a:gd name="T94" fmla="*/ 94 w 594"/>
              <a:gd name="T95" fmla="*/ 368 h 430"/>
              <a:gd name="T96" fmla="*/ 81 w 594"/>
              <a:gd name="T97" fmla="*/ 308 h 430"/>
              <a:gd name="T98" fmla="*/ 56 w 594"/>
              <a:gd name="T99" fmla="*/ 293 h 430"/>
              <a:gd name="T100" fmla="*/ 41 w 594"/>
              <a:gd name="T101" fmla="*/ 27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4" h="430">
                <a:moveTo>
                  <a:pt x="41" y="276"/>
                </a:moveTo>
                <a:lnTo>
                  <a:pt x="39" y="276"/>
                </a:lnTo>
                <a:lnTo>
                  <a:pt x="32" y="274"/>
                </a:lnTo>
                <a:lnTo>
                  <a:pt x="28" y="268"/>
                </a:lnTo>
                <a:lnTo>
                  <a:pt x="13" y="270"/>
                </a:lnTo>
                <a:lnTo>
                  <a:pt x="7" y="264"/>
                </a:lnTo>
                <a:lnTo>
                  <a:pt x="0" y="264"/>
                </a:lnTo>
                <a:lnTo>
                  <a:pt x="9" y="227"/>
                </a:lnTo>
                <a:lnTo>
                  <a:pt x="11" y="236"/>
                </a:lnTo>
                <a:lnTo>
                  <a:pt x="9" y="249"/>
                </a:lnTo>
                <a:lnTo>
                  <a:pt x="15" y="249"/>
                </a:lnTo>
                <a:lnTo>
                  <a:pt x="20" y="255"/>
                </a:lnTo>
                <a:lnTo>
                  <a:pt x="20" y="251"/>
                </a:lnTo>
                <a:lnTo>
                  <a:pt x="15" y="244"/>
                </a:lnTo>
                <a:lnTo>
                  <a:pt x="22" y="236"/>
                </a:lnTo>
                <a:lnTo>
                  <a:pt x="20" y="230"/>
                </a:lnTo>
                <a:lnTo>
                  <a:pt x="24" y="223"/>
                </a:lnTo>
                <a:lnTo>
                  <a:pt x="32" y="227"/>
                </a:lnTo>
                <a:lnTo>
                  <a:pt x="32" y="227"/>
                </a:lnTo>
                <a:lnTo>
                  <a:pt x="30" y="221"/>
                </a:lnTo>
                <a:lnTo>
                  <a:pt x="15" y="215"/>
                </a:lnTo>
                <a:lnTo>
                  <a:pt x="15" y="217"/>
                </a:lnTo>
                <a:lnTo>
                  <a:pt x="13" y="208"/>
                </a:lnTo>
                <a:lnTo>
                  <a:pt x="15" y="193"/>
                </a:lnTo>
                <a:lnTo>
                  <a:pt x="17" y="202"/>
                </a:lnTo>
                <a:lnTo>
                  <a:pt x="28" y="195"/>
                </a:lnTo>
                <a:lnTo>
                  <a:pt x="39" y="195"/>
                </a:lnTo>
                <a:lnTo>
                  <a:pt x="32" y="191"/>
                </a:lnTo>
                <a:lnTo>
                  <a:pt x="26" y="185"/>
                </a:lnTo>
                <a:lnTo>
                  <a:pt x="20" y="178"/>
                </a:lnTo>
                <a:lnTo>
                  <a:pt x="17" y="187"/>
                </a:lnTo>
                <a:lnTo>
                  <a:pt x="13" y="185"/>
                </a:lnTo>
                <a:lnTo>
                  <a:pt x="17" y="176"/>
                </a:lnTo>
                <a:lnTo>
                  <a:pt x="20" y="155"/>
                </a:lnTo>
                <a:lnTo>
                  <a:pt x="15" y="138"/>
                </a:lnTo>
                <a:lnTo>
                  <a:pt x="20" y="108"/>
                </a:lnTo>
                <a:lnTo>
                  <a:pt x="20" y="100"/>
                </a:lnTo>
                <a:lnTo>
                  <a:pt x="15" y="87"/>
                </a:lnTo>
                <a:lnTo>
                  <a:pt x="9" y="78"/>
                </a:lnTo>
                <a:lnTo>
                  <a:pt x="9" y="70"/>
                </a:lnTo>
                <a:lnTo>
                  <a:pt x="9" y="63"/>
                </a:lnTo>
                <a:lnTo>
                  <a:pt x="11" y="57"/>
                </a:lnTo>
                <a:lnTo>
                  <a:pt x="9" y="49"/>
                </a:lnTo>
                <a:lnTo>
                  <a:pt x="15" y="42"/>
                </a:lnTo>
                <a:lnTo>
                  <a:pt x="17" y="34"/>
                </a:lnTo>
                <a:lnTo>
                  <a:pt x="20" y="31"/>
                </a:lnTo>
                <a:lnTo>
                  <a:pt x="17" y="23"/>
                </a:lnTo>
                <a:lnTo>
                  <a:pt x="24" y="27"/>
                </a:lnTo>
                <a:lnTo>
                  <a:pt x="37" y="40"/>
                </a:lnTo>
                <a:lnTo>
                  <a:pt x="45" y="46"/>
                </a:lnTo>
                <a:lnTo>
                  <a:pt x="54" y="51"/>
                </a:lnTo>
                <a:lnTo>
                  <a:pt x="58" y="57"/>
                </a:lnTo>
                <a:lnTo>
                  <a:pt x="68" y="63"/>
                </a:lnTo>
                <a:lnTo>
                  <a:pt x="81" y="68"/>
                </a:lnTo>
                <a:lnTo>
                  <a:pt x="90" y="72"/>
                </a:lnTo>
                <a:lnTo>
                  <a:pt x="105" y="76"/>
                </a:lnTo>
                <a:lnTo>
                  <a:pt x="113" y="83"/>
                </a:lnTo>
                <a:lnTo>
                  <a:pt x="120" y="80"/>
                </a:lnTo>
                <a:lnTo>
                  <a:pt x="126" y="78"/>
                </a:lnTo>
                <a:lnTo>
                  <a:pt x="128" y="87"/>
                </a:lnTo>
                <a:lnTo>
                  <a:pt x="130" y="93"/>
                </a:lnTo>
                <a:lnTo>
                  <a:pt x="137" y="91"/>
                </a:lnTo>
                <a:lnTo>
                  <a:pt x="143" y="102"/>
                </a:lnTo>
                <a:lnTo>
                  <a:pt x="143" y="93"/>
                </a:lnTo>
                <a:lnTo>
                  <a:pt x="152" y="89"/>
                </a:lnTo>
                <a:lnTo>
                  <a:pt x="149" y="95"/>
                </a:lnTo>
                <a:lnTo>
                  <a:pt x="152" y="115"/>
                </a:lnTo>
                <a:lnTo>
                  <a:pt x="149" y="123"/>
                </a:lnTo>
                <a:lnTo>
                  <a:pt x="143" y="129"/>
                </a:lnTo>
                <a:lnTo>
                  <a:pt x="139" y="138"/>
                </a:lnTo>
                <a:lnTo>
                  <a:pt x="139" y="129"/>
                </a:lnTo>
                <a:lnTo>
                  <a:pt x="141" y="123"/>
                </a:lnTo>
                <a:lnTo>
                  <a:pt x="128" y="140"/>
                </a:lnTo>
                <a:lnTo>
                  <a:pt x="122" y="144"/>
                </a:lnTo>
                <a:lnTo>
                  <a:pt x="107" y="155"/>
                </a:lnTo>
                <a:lnTo>
                  <a:pt x="103" y="164"/>
                </a:lnTo>
                <a:lnTo>
                  <a:pt x="109" y="170"/>
                </a:lnTo>
                <a:lnTo>
                  <a:pt x="122" y="166"/>
                </a:lnTo>
                <a:lnTo>
                  <a:pt x="115" y="166"/>
                </a:lnTo>
                <a:lnTo>
                  <a:pt x="109" y="168"/>
                </a:lnTo>
                <a:lnTo>
                  <a:pt x="107" y="159"/>
                </a:lnTo>
                <a:lnTo>
                  <a:pt x="122" y="147"/>
                </a:lnTo>
                <a:lnTo>
                  <a:pt x="137" y="142"/>
                </a:lnTo>
                <a:lnTo>
                  <a:pt x="143" y="134"/>
                </a:lnTo>
                <a:lnTo>
                  <a:pt x="158" y="119"/>
                </a:lnTo>
                <a:lnTo>
                  <a:pt x="162" y="125"/>
                </a:lnTo>
                <a:lnTo>
                  <a:pt x="162" y="134"/>
                </a:lnTo>
                <a:lnTo>
                  <a:pt x="156" y="138"/>
                </a:lnTo>
                <a:lnTo>
                  <a:pt x="149" y="136"/>
                </a:lnTo>
                <a:lnTo>
                  <a:pt x="149" y="144"/>
                </a:lnTo>
                <a:lnTo>
                  <a:pt x="149" y="151"/>
                </a:lnTo>
                <a:lnTo>
                  <a:pt x="143" y="149"/>
                </a:lnTo>
                <a:lnTo>
                  <a:pt x="143" y="155"/>
                </a:lnTo>
                <a:lnTo>
                  <a:pt x="149" y="155"/>
                </a:lnTo>
                <a:lnTo>
                  <a:pt x="152" y="161"/>
                </a:lnTo>
                <a:lnTo>
                  <a:pt x="141" y="187"/>
                </a:lnTo>
                <a:lnTo>
                  <a:pt x="132" y="183"/>
                </a:lnTo>
                <a:lnTo>
                  <a:pt x="139" y="176"/>
                </a:lnTo>
                <a:lnTo>
                  <a:pt x="132" y="176"/>
                </a:lnTo>
                <a:lnTo>
                  <a:pt x="128" y="183"/>
                </a:lnTo>
                <a:lnTo>
                  <a:pt x="126" y="191"/>
                </a:lnTo>
                <a:lnTo>
                  <a:pt x="124" y="193"/>
                </a:lnTo>
                <a:lnTo>
                  <a:pt x="122" y="187"/>
                </a:lnTo>
                <a:lnTo>
                  <a:pt x="126" y="181"/>
                </a:lnTo>
                <a:lnTo>
                  <a:pt x="128" y="172"/>
                </a:lnTo>
                <a:lnTo>
                  <a:pt x="113" y="183"/>
                </a:lnTo>
                <a:lnTo>
                  <a:pt x="107" y="189"/>
                </a:lnTo>
                <a:lnTo>
                  <a:pt x="100" y="191"/>
                </a:lnTo>
                <a:lnTo>
                  <a:pt x="107" y="193"/>
                </a:lnTo>
                <a:lnTo>
                  <a:pt x="107" y="200"/>
                </a:lnTo>
                <a:lnTo>
                  <a:pt x="111" y="204"/>
                </a:lnTo>
                <a:lnTo>
                  <a:pt x="113" y="198"/>
                </a:lnTo>
                <a:lnTo>
                  <a:pt x="120" y="193"/>
                </a:lnTo>
                <a:lnTo>
                  <a:pt x="124" y="202"/>
                </a:lnTo>
                <a:lnTo>
                  <a:pt x="130" y="200"/>
                </a:lnTo>
                <a:lnTo>
                  <a:pt x="139" y="195"/>
                </a:lnTo>
                <a:lnTo>
                  <a:pt x="143" y="189"/>
                </a:lnTo>
                <a:lnTo>
                  <a:pt x="156" y="185"/>
                </a:lnTo>
                <a:lnTo>
                  <a:pt x="162" y="176"/>
                </a:lnTo>
                <a:lnTo>
                  <a:pt x="162" y="161"/>
                </a:lnTo>
                <a:lnTo>
                  <a:pt x="169" y="155"/>
                </a:lnTo>
                <a:lnTo>
                  <a:pt x="162" y="147"/>
                </a:lnTo>
                <a:lnTo>
                  <a:pt x="171" y="142"/>
                </a:lnTo>
                <a:lnTo>
                  <a:pt x="169" y="136"/>
                </a:lnTo>
                <a:lnTo>
                  <a:pt x="177" y="125"/>
                </a:lnTo>
                <a:lnTo>
                  <a:pt x="186" y="119"/>
                </a:lnTo>
                <a:lnTo>
                  <a:pt x="183" y="112"/>
                </a:lnTo>
                <a:lnTo>
                  <a:pt x="181" y="104"/>
                </a:lnTo>
                <a:lnTo>
                  <a:pt x="181" y="89"/>
                </a:lnTo>
                <a:lnTo>
                  <a:pt x="181" y="87"/>
                </a:lnTo>
                <a:lnTo>
                  <a:pt x="183" y="80"/>
                </a:lnTo>
                <a:lnTo>
                  <a:pt x="177" y="72"/>
                </a:lnTo>
                <a:lnTo>
                  <a:pt x="175" y="66"/>
                </a:lnTo>
                <a:lnTo>
                  <a:pt x="169" y="66"/>
                </a:lnTo>
                <a:lnTo>
                  <a:pt x="169" y="57"/>
                </a:lnTo>
                <a:lnTo>
                  <a:pt x="173" y="59"/>
                </a:lnTo>
                <a:lnTo>
                  <a:pt x="181" y="63"/>
                </a:lnTo>
                <a:lnTo>
                  <a:pt x="181" y="57"/>
                </a:lnTo>
                <a:lnTo>
                  <a:pt x="179" y="49"/>
                </a:lnTo>
                <a:lnTo>
                  <a:pt x="186" y="53"/>
                </a:lnTo>
                <a:lnTo>
                  <a:pt x="188" y="46"/>
                </a:lnTo>
                <a:lnTo>
                  <a:pt x="186" y="38"/>
                </a:lnTo>
                <a:lnTo>
                  <a:pt x="188" y="31"/>
                </a:lnTo>
                <a:lnTo>
                  <a:pt x="181" y="27"/>
                </a:lnTo>
                <a:lnTo>
                  <a:pt x="175" y="21"/>
                </a:lnTo>
                <a:lnTo>
                  <a:pt x="175" y="19"/>
                </a:lnTo>
                <a:lnTo>
                  <a:pt x="173" y="10"/>
                </a:lnTo>
                <a:lnTo>
                  <a:pt x="171" y="4"/>
                </a:lnTo>
                <a:lnTo>
                  <a:pt x="177" y="0"/>
                </a:lnTo>
                <a:lnTo>
                  <a:pt x="277" y="27"/>
                </a:lnTo>
                <a:lnTo>
                  <a:pt x="390" y="55"/>
                </a:lnTo>
                <a:lnTo>
                  <a:pt x="522" y="85"/>
                </a:lnTo>
                <a:lnTo>
                  <a:pt x="594" y="100"/>
                </a:lnTo>
                <a:lnTo>
                  <a:pt x="592" y="104"/>
                </a:lnTo>
                <a:lnTo>
                  <a:pt x="539" y="355"/>
                </a:lnTo>
                <a:lnTo>
                  <a:pt x="537" y="379"/>
                </a:lnTo>
                <a:lnTo>
                  <a:pt x="533" y="385"/>
                </a:lnTo>
                <a:lnTo>
                  <a:pt x="537" y="400"/>
                </a:lnTo>
                <a:lnTo>
                  <a:pt x="535" y="423"/>
                </a:lnTo>
                <a:lnTo>
                  <a:pt x="537" y="430"/>
                </a:lnTo>
                <a:lnTo>
                  <a:pt x="445" y="411"/>
                </a:lnTo>
                <a:lnTo>
                  <a:pt x="375" y="394"/>
                </a:lnTo>
                <a:lnTo>
                  <a:pt x="367" y="398"/>
                </a:lnTo>
                <a:lnTo>
                  <a:pt x="360" y="398"/>
                </a:lnTo>
                <a:lnTo>
                  <a:pt x="352" y="396"/>
                </a:lnTo>
                <a:lnTo>
                  <a:pt x="335" y="394"/>
                </a:lnTo>
                <a:lnTo>
                  <a:pt x="330" y="391"/>
                </a:lnTo>
                <a:lnTo>
                  <a:pt x="322" y="396"/>
                </a:lnTo>
                <a:lnTo>
                  <a:pt x="301" y="396"/>
                </a:lnTo>
                <a:lnTo>
                  <a:pt x="286" y="398"/>
                </a:lnTo>
                <a:lnTo>
                  <a:pt x="271" y="400"/>
                </a:lnTo>
                <a:lnTo>
                  <a:pt x="264" y="402"/>
                </a:lnTo>
                <a:lnTo>
                  <a:pt x="256" y="400"/>
                </a:lnTo>
                <a:lnTo>
                  <a:pt x="249" y="394"/>
                </a:lnTo>
                <a:lnTo>
                  <a:pt x="241" y="391"/>
                </a:lnTo>
                <a:lnTo>
                  <a:pt x="220" y="396"/>
                </a:lnTo>
                <a:lnTo>
                  <a:pt x="213" y="394"/>
                </a:lnTo>
                <a:lnTo>
                  <a:pt x="198" y="394"/>
                </a:lnTo>
                <a:lnTo>
                  <a:pt x="196" y="387"/>
                </a:lnTo>
                <a:lnTo>
                  <a:pt x="190" y="383"/>
                </a:lnTo>
                <a:lnTo>
                  <a:pt x="181" y="381"/>
                </a:lnTo>
                <a:lnTo>
                  <a:pt x="175" y="377"/>
                </a:lnTo>
                <a:lnTo>
                  <a:pt x="162" y="377"/>
                </a:lnTo>
                <a:lnTo>
                  <a:pt x="156" y="372"/>
                </a:lnTo>
                <a:lnTo>
                  <a:pt x="149" y="372"/>
                </a:lnTo>
                <a:lnTo>
                  <a:pt x="141" y="377"/>
                </a:lnTo>
                <a:lnTo>
                  <a:pt x="134" y="379"/>
                </a:lnTo>
                <a:lnTo>
                  <a:pt x="120" y="381"/>
                </a:lnTo>
                <a:lnTo>
                  <a:pt x="113" y="379"/>
                </a:lnTo>
                <a:lnTo>
                  <a:pt x="105" y="374"/>
                </a:lnTo>
                <a:lnTo>
                  <a:pt x="100" y="374"/>
                </a:lnTo>
                <a:lnTo>
                  <a:pt x="94" y="368"/>
                </a:lnTo>
                <a:lnTo>
                  <a:pt x="83" y="364"/>
                </a:lnTo>
                <a:lnTo>
                  <a:pt x="79" y="359"/>
                </a:lnTo>
                <a:lnTo>
                  <a:pt x="83" y="323"/>
                </a:lnTo>
                <a:lnTo>
                  <a:pt x="81" y="308"/>
                </a:lnTo>
                <a:lnTo>
                  <a:pt x="73" y="302"/>
                </a:lnTo>
                <a:lnTo>
                  <a:pt x="68" y="296"/>
                </a:lnTo>
                <a:lnTo>
                  <a:pt x="62" y="293"/>
                </a:lnTo>
                <a:lnTo>
                  <a:pt x="56" y="293"/>
                </a:lnTo>
                <a:lnTo>
                  <a:pt x="49" y="287"/>
                </a:lnTo>
                <a:lnTo>
                  <a:pt x="47" y="279"/>
                </a:lnTo>
                <a:lnTo>
                  <a:pt x="45" y="279"/>
                </a:lnTo>
                <a:lnTo>
                  <a:pt x="41" y="27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6" name="Freeform 822"/>
          <p:cNvSpPr>
            <a:spLocks/>
          </p:cNvSpPr>
          <p:nvPr/>
        </p:nvSpPr>
        <p:spPr bwMode="auto">
          <a:xfrm>
            <a:off x="1149350" y="1420813"/>
            <a:ext cx="20638" cy="28575"/>
          </a:xfrm>
          <a:custGeom>
            <a:avLst/>
            <a:gdLst>
              <a:gd name="T0" fmla="*/ 9 w 13"/>
              <a:gd name="T1" fmla="*/ 3 h 18"/>
              <a:gd name="T2" fmla="*/ 13 w 13"/>
              <a:gd name="T3" fmla="*/ 11 h 18"/>
              <a:gd name="T4" fmla="*/ 11 w 13"/>
              <a:gd name="T5" fmla="*/ 18 h 18"/>
              <a:gd name="T6" fmla="*/ 5 w 13"/>
              <a:gd name="T7" fmla="*/ 18 h 18"/>
              <a:gd name="T8" fmla="*/ 0 w 13"/>
              <a:gd name="T9" fmla="*/ 11 h 18"/>
              <a:gd name="T10" fmla="*/ 5 w 13"/>
              <a:gd name="T11" fmla="*/ 0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13" y="11"/>
                </a:lnTo>
                <a:lnTo>
                  <a:pt x="11" y="18"/>
                </a:lnTo>
                <a:lnTo>
                  <a:pt x="5" y="18"/>
                </a:lnTo>
                <a:lnTo>
                  <a:pt x="0" y="11"/>
                </a:lnTo>
                <a:lnTo>
                  <a:pt x="5" y="0"/>
                </a:lnTo>
                <a:lnTo>
                  <a:pt x="9" y="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823"/>
          <p:cNvSpPr>
            <a:spLocks/>
          </p:cNvSpPr>
          <p:nvPr/>
        </p:nvSpPr>
        <p:spPr bwMode="auto">
          <a:xfrm>
            <a:off x="1149350" y="1420813"/>
            <a:ext cx="20638" cy="28575"/>
          </a:xfrm>
          <a:custGeom>
            <a:avLst/>
            <a:gdLst>
              <a:gd name="T0" fmla="*/ 9 w 13"/>
              <a:gd name="T1" fmla="*/ 3 h 18"/>
              <a:gd name="T2" fmla="*/ 13 w 13"/>
              <a:gd name="T3" fmla="*/ 11 h 18"/>
              <a:gd name="T4" fmla="*/ 11 w 13"/>
              <a:gd name="T5" fmla="*/ 18 h 18"/>
              <a:gd name="T6" fmla="*/ 5 w 13"/>
              <a:gd name="T7" fmla="*/ 18 h 18"/>
              <a:gd name="T8" fmla="*/ 0 w 13"/>
              <a:gd name="T9" fmla="*/ 11 h 18"/>
              <a:gd name="T10" fmla="*/ 5 w 13"/>
              <a:gd name="T11" fmla="*/ 0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13" y="11"/>
                </a:lnTo>
                <a:lnTo>
                  <a:pt x="11" y="18"/>
                </a:lnTo>
                <a:lnTo>
                  <a:pt x="5" y="18"/>
                </a:lnTo>
                <a:lnTo>
                  <a:pt x="0" y="11"/>
                </a:lnTo>
                <a:lnTo>
                  <a:pt x="5" y="0"/>
                </a:lnTo>
                <a:lnTo>
                  <a:pt x="9" y="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8" name="Freeform 824"/>
          <p:cNvSpPr>
            <a:spLocks/>
          </p:cNvSpPr>
          <p:nvPr/>
        </p:nvSpPr>
        <p:spPr bwMode="auto">
          <a:xfrm>
            <a:off x="2795587" y="3987800"/>
            <a:ext cx="1981200" cy="1930400"/>
          </a:xfrm>
          <a:custGeom>
            <a:avLst/>
            <a:gdLst>
              <a:gd name="T0" fmla="*/ 164 w 1248"/>
              <a:gd name="T1" fmla="*/ 496 h 1216"/>
              <a:gd name="T2" fmla="*/ 373 w 1248"/>
              <a:gd name="T3" fmla="*/ 11 h 1216"/>
              <a:gd name="T4" fmla="*/ 648 w 1248"/>
              <a:gd name="T5" fmla="*/ 17 h 1216"/>
              <a:gd name="T6" fmla="*/ 682 w 1248"/>
              <a:gd name="T7" fmla="*/ 251 h 1216"/>
              <a:gd name="T8" fmla="*/ 714 w 1248"/>
              <a:gd name="T9" fmla="*/ 266 h 1216"/>
              <a:gd name="T10" fmla="*/ 763 w 1248"/>
              <a:gd name="T11" fmla="*/ 283 h 1216"/>
              <a:gd name="T12" fmla="*/ 816 w 1248"/>
              <a:gd name="T13" fmla="*/ 285 h 1216"/>
              <a:gd name="T14" fmla="*/ 841 w 1248"/>
              <a:gd name="T15" fmla="*/ 313 h 1216"/>
              <a:gd name="T16" fmla="*/ 893 w 1248"/>
              <a:gd name="T17" fmla="*/ 315 h 1216"/>
              <a:gd name="T18" fmla="*/ 916 w 1248"/>
              <a:gd name="T19" fmla="*/ 313 h 1216"/>
              <a:gd name="T20" fmla="*/ 952 w 1248"/>
              <a:gd name="T21" fmla="*/ 313 h 1216"/>
              <a:gd name="T22" fmla="*/ 999 w 1248"/>
              <a:gd name="T23" fmla="*/ 317 h 1216"/>
              <a:gd name="T24" fmla="*/ 1057 w 1248"/>
              <a:gd name="T25" fmla="*/ 313 h 1216"/>
              <a:gd name="T26" fmla="*/ 1114 w 1248"/>
              <a:gd name="T27" fmla="*/ 326 h 1216"/>
              <a:gd name="T28" fmla="*/ 1167 w 1248"/>
              <a:gd name="T29" fmla="*/ 343 h 1216"/>
              <a:gd name="T30" fmla="*/ 1218 w 1248"/>
              <a:gd name="T31" fmla="*/ 567 h 1216"/>
              <a:gd name="T32" fmla="*/ 1248 w 1248"/>
              <a:gd name="T33" fmla="*/ 613 h 1216"/>
              <a:gd name="T34" fmla="*/ 1242 w 1248"/>
              <a:gd name="T35" fmla="*/ 660 h 1216"/>
              <a:gd name="T36" fmla="*/ 1235 w 1248"/>
              <a:gd name="T37" fmla="*/ 731 h 1216"/>
              <a:gd name="T38" fmla="*/ 1201 w 1248"/>
              <a:gd name="T39" fmla="*/ 786 h 1216"/>
              <a:gd name="T40" fmla="*/ 1137 w 1248"/>
              <a:gd name="T41" fmla="*/ 814 h 1216"/>
              <a:gd name="T42" fmla="*/ 1137 w 1248"/>
              <a:gd name="T43" fmla="*/ 777 h 1216"/>
              <a:gd name="T44" fmla="*/ 1110 w 1248"/>
              <a:gd name="T45" fmla="*/ 799 h 1216"/>
              <a:gd name="T46" fmla="*/ 1097 w 1248"/>
              <a:gd name="T47" fmla="*/ 846 h 1216"/>
              <a:gd name="T48" fmla="*/ 1022 w 1248"/>
              <a:gd name="T49" fmla="*/ 899 h 1216"/>
              <a:gd name="T50" fmla="*/ 995 w 1248"/>
              <a:gd name="T51" fmla="*/ 920 h 1216"/>
              <a:gd name="T52" fmla="*/ 982 w 1248"/>
              <a:gd name="T53" fmla="*/ 905 h 1216"/>
              <a:gd name="T54" fmla="*/ 956 w 1248"/>
              <a:gd name="T55" fmla="*/ 897 h 1216"/>
              <a:gd name="T56" fmla="*/ 973 w 1248"/>
              <a:gd name="T57" fmla="*/ 929 h 1216"/>
              <a:gd name="T58" fmla="*/ 937 w 1248"/>
              <a:gd name="T59" fmla="*/ 948 h 1216"/>
              <a:gd name="T60" fmla="*/ 912 w 1248"/>
              <a:gd name="T61" fmla="*/ 956 h 1216"/>
              <a:gd name="T62" fmla="*/ 914 w 1248"/>
              <a:gd name="T63" fmla="*/ 965 h 1216"/>
              <a:gd name="T64" fmla="*/ 869 w 1248"/>
              <a:gd name="T65" fmla="*/ 997 h 1216"/>
              <a:gd name="T66" fmla="*/ 863 w 1248"/>
              <a:gd name="T67" fmla="*/ 1056 h 1216"/>
              <a:gd name="T68" fmla="*/ 841 w 1248"/>
              <a:gd name="T69" fmla="*/ 1046 h 1216"/>
              <a:gd name="T70" fmla="*/ 867 w 1248"/>
              <a:gd name="T71" fmla="*/ 1080 h 1216"/>
              <a:gd name="T72" fmla="*/ 867 w 1248"/>
              <a:gd name="T73" fmla="*/ 1114 h 1216"/>
              <a:gd name="T74" fmla="*/ 888 w 1248"/>
              <a:gd name="T75" fmla="*/ 1203 h 1216"/>
              <a:gd name="T76" fmla="*/ 880 w 1248"/>
              <a:gd name="T77" fmla="*/ 1216 h 1216"/>
              <a:gd name="T78" fmla="*/ 820 w 1248"/>
              <a:gd name="T79" fmla="*/ 1193 h 1216"/>
              <a:gd name="T80" fmla="*/ 743 w 1248"/>
              <a:gd name="T81" fmla="*/ 1169 h 1216"/>
              <a:gd name="T82" fmla="*/ 703 w 1248"/>
              <a:gd name="T83" fmla="*/ 1144 h 1216"/>
              <a:gd name="T84" fmla="*/ 669 w 1248"/>
              <a:gd name="T85" fmla="*/ 1071 h 1216"/>
              <a:gd name="T86" fmla="*/ 665 w 1248"/>
              <a:gd name="T87" fmla="*/ 1022 h 1216"/>
              <a:gd name="T88" fmla="*/ 618 w 1248"/>
              <a:gd name="T89" fmla="*/ 971 h 1216"/>
              <a:gd name="T90" fmla="*/ 586 w 1248"/>
              <a:gd name="T91" fmla="*/ 914 h 1216"/>
              <a:gd name="T92" fmla="*/ 556 w 1248"/>
              <a:gd name="T93" fmla="*/ 850 h 1216"/>
              <a:gd name="T94" fmla="*/ 503 w 1248"/>
              <a:gd name="T95" fmla="*/ 788 h 1216"/>
              <a:gd name="T96" fmla="*/ 465 w 1248"/>
              <a:gd name="T97" fmla="*/ 767 h 1216"/>
              <a:gd name="T98" fmla="*/ 396 w 1248"/>
              <a:gd name="T99" fmla="*/ 754 h 1216"/>
              <a:gd name="T100" fmla="*/ 356 w 1248"/>
              <a:gd name="T101" fmla="*/ 777 h 1216"/>
              <a:gd name="T102" fmla="*/ 315 w 1248"/>
              <a:gd name="T103" fmla="*/ 839 h 1216"/>
              <a:gd name="T104" fmla="*/ 273 w 1248"/>
              <a:gd name="T105" fmla="*/ 826 h 1216"/>
              <a:gd name="T106" fmla="*/ 201 w 1248"/>
              <a:gd name="T107" fmla="*/ 777 h 1216"/>
              <a:gd name="T108" fmla="*/ 166 w 1248"/>
              <a:gd name="T109" fmla="*/ 694 h 1216"/>
              <a:gd name="T110" fmla="*/ 139 w 1248"/>
              <a:gd name="T111" fmla="*/ 641 h 1216"/>
              <a:gd name="T112" fmla="*/ 64 w 1248"/>
              <a:gd name="T113" fmla="*/ 564 h 1216"/>
              <a:gd name="T114" fmla="*/ 20 w 1248"/>
              <a:gd name="T115" fmla="*/ 51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8" h="1216">
                <a:moveTo>
                  <a:pt x="9" y="507"/>
                </a:moveTo>
                <a:lnTo>
                  <a:pt x="9" y="503"/>
                </a:lnTo>
                <a:lnTo>
                  <a:pt x="5" y="498"/>
                </a:lnTo>
                <a:lnTo>
                  <a:pt x="0" y="484"/>
                </a:lnTo>
                <a:lnTo>
                  <a:pt x="0" y="481"/>
                </a:lnTo>
                <a:lnTo>
                  <a:pt x="73" y="488"/>
                </a:lnTo>
                <a:lnTo>
                  <a:pt x="164" y="496"/>
                </a:lnTo>
                <a:lnTo>
                  <a:pt x="247" y="503"/>
                </a:lnTo>
                <a:lnTo>
                  <a:pt x="330" y="509"/>
                </a:lnTo>
                <a:lnTo>
                  <a:pt x="335" y="509"/>
                </a:lnTo>
                <a:lnTo>
                  <a:pt x="341" y="501"/>
                </a:lnTo>
                <a:lnTo>
                  <a:pt x="347" y="383"/>
                </a:lnTo>
                <a:lnTo>
                  <a:pt x="356" y="281"/>
                </a:lnTo>
                <a:lnTo>
                  <a:pt x="373" y="11"/>
                </a:lnTo>
                <a:lnTo>
                  <a:pt x="375" y="2"/>
                </a:lnTo>
                <a:lnTo>
                  <a:pt x="379" y="0"/>
                </a:lnTo>
                <a:lnTo>
                  <a:pt x="501" y="9"/>
                </a:lnTo>
                <a:lnTo>
                  <a:pt x="594" y="13"/>
                </a:lnTo>
                <a:lnTo>
                  <a:pt x="631" y="13"/>
                </a:lnTo>
                <a:lnTo>
                  <a:pt x="639" y="13"/>
                </a:lnTo>
                <a:lnTo>
                  <a:pt x="648" y="17"/>
                </a:lnTo>
                <a:lnTo>
                  <a:pt x="641" y="219"/>
                </a:lnTo>
                <a:lnTo>
                  <a:pt x="639" y="230"/>
                </a:lnTo>
                <a:lnTo>
                  <a:pt x="648" y="232"/>
                </a:lnTo>
                <a:lnTo>
                  <a:pt x="654" y="236"/>
                </a:lnTo>
                <a:lnTo>
                  <a:pt x="667" y="251"/>
                </a:lnTo>
                <a:lnTo>
                  <a:pt x="673" y="256"/>
                </a:lnTo>
                <a:lnTo>
                  <a:pt x="682" y="251"/>
                </a:lnTo>
                <a:lnTo>
                  <a:pt x="688" y="254"/>
                </a:lnTo>
                <a:lnTo>
                  <a:pt x="695" y="254"/>
                </a:lnTo>
                <a:lnTo>
                  <a:pt x="699" y="245"/>
                </a:lnTo>
                <a:lnTo>
                  <a:pt x="701" y="249"/>
                </a:lnTo>
                <a:lnTo>
                  <a:pt x="707" y="254"/>
                </a:lnTo>
                <a:lnTo>
                  <a:pt x="714" y="260"/>
                </a:lnTo>
                <a:lnTo>
                  <a:pt x="714" y="266"/>
                </a:lnTo>
                <a:lnTo>
                  <a:pt x="714" y="275"/>
                </a:lnTo>
                <a:lnTo>
                  <a:pt x="722" y="275"/>
                </a:lnTo>
                <a:lnTo>
                  <a:pt x="726" y="277"/>
                </a:lnTo>
                <a:lnTo>
                  <a:pt x="733" y="275"/>
                </a:lnTo>
                <a:lnTo>
                  <a:pt x="741" y="279"/>
                </a:lnTo>
                <a:lnTo>
                  <a:pt x="754" y="283"/>
                </a:lnTo>
                <a:lnTo>
                  <a:pt x="763" y="283"/>
                </a:lnTo>
                <a:lnTo>
                  <a:pt x="769" y="283"/>
                </a:lnTo>
                <a:lnTo>
                  <a:pt x="773" y="288"/>
                </a:lnTo>
                <a:lnTo>
                  <a:pt x="778" y="292"/>
                </a:lnTo>
                <a:lnTo>
                  <a:pt x="786" y="290"/>
                </a:lnTo>
                <a:lnTo>
                  <a:pt x="792" y="285"/>
                </a:lnTo>
                <a:lnTo>
                  <a:pt x="807" y="285"/>
                </a:lnTo>
                <a:lnTo>
                  <a:pt x="816" y="285"/>
                </a:lnTo>
                <a:lnTo>
                  <a:pt x="814" y="292"/>
                </a:lnTo>
                <a:lnTo>
                  <a:pt x="818" y="300"/>
                </a:lnTo>
                <a:lnTo>
                  <a:pt x="827" y="300"/>
                </a:lnTo>
                <a:lnTo>
                  <a:pt x="829" y="305"/>
                </a:lnTo>
                <a:lnTo>
                  <a:pt x="829" y="315"/>
                </a:lnTo>
                <a:lnTo>
                  <a:pt x="835" y="317"/>
                </a:lnTo>
                <a:lnTo>
                  <a:pt x="841" y="313"/>
                </a:lnTo>
                <a:lnTo>
                  <a:pt x="854" y="303"/>
                </a:lnTo>
                <a:lnTo>
                  <a:pt x="861" y="305"/>
                </a:lnTo>
                <a:lnTo>
                  <a:pt x="863" y="313"/>
                </a:lnTo>
                <a:lnTo>
                  <a:pt x="871" y="313"/>
                </a:lnTo>
                <a:lnTo>
                  <a:pt x="873" y="320"/>
                </a:lnTo>
                <a:lnTo>
                  <a:pt x="880" y="320"/>
                </a:lnTo>
                <a:lnTo>
                  <a:pt x="893" y="315"/>
                </a:lnTo>
                <a:lnTo>
                  <a:pt x="899" y="315"/>
                </a:lnTo>
                <a:lnTo>
                  <a:pt x="897" y="322"/>
                </a:lnTo>
                <a:lnTo>
                  <a:pt x="899" y="330"/>
                </a:lnTo>
                <a:lnTo>
                  <a:pt x="901" y="332"/>
                </a:lnTo>
                <a:lnTo>
                  <a:pt x="905" y="330"/>
                </a:lnTo>
                <a:lnTo>
                  <a:pt x="910" y="317"/>
                </a:lnTo>
                <a:lnTo>
                  <a:pt x="916" y="313"/>
                </a:lnTo>
                <a:lnTo>
                  <a:pt x="918" y="307"/>
                </a:lnTo>
                <a:lnTo>
                  <a:pt x="920" y="307"/>
                </a:lnTo>
                <a:lnTo>
                  <a:pt x="927" y="309"/>
                </a:lnTo>
                <a:lnTo>
                  <a:pt x="933" y="315"/>
                </a:lnTo>
                <a:lnTo>
                  <a:pt x="939" y="317"/>
                </a:lnTo>
                <a:lnTo>
                  <a:pt x="946" y="313"/>
                </a:lnTo>
                <a:lnTo>
                  <a:pt x="952" y="313"/>
                </a:lnTo>
                <a:lnTo>
                  <a:pt x="959" y="322"/>
                </a:lnTo>
                <a:lnTo>
                  <a:pt x="965" y="326"/>
                </a:lnTo>
                <a:lnTo>
                  <a:pt x="973" y="328"/>
                </a:lnTo>
                <a:lnTo>
                  <a:pt x="980" y="334"/>
                </a:lnTo>
                <a:lnTo>
                  <a:pt x="982" y="328"/>
                </a:lnTo>
                <a:lnTo>
                  <a:pt x="990" y="328"/>
                </a:lnTo>
                <a:lnTo>
                  <a:pt x="999" y="317"/>
                </a:lnTo>
                <a:lnTo>
                  <a:pt x="1008" y="317"/>
                </a:lnTo>
                <a:lnTo>
                  <a:pt x="1014" y="313"/>
                </a:lnTo>
                <a:lnTo>
                  <a:pt x="1020" y="317"/>
                </a:lnTo>
                <a:lnTo>
                  <a:pt x="1029" y="317"/>
                </a:lnTo>
                <a:lnTo>
                  <a:pt x="1035" y="313"/>
                </a:lnTo>
                <a:lnTo>
                  <a:pt x="1048" y="307"/>
                </a:lnTo>
                <a:lnTo>
                  <a:pt x="1057" y="313"/>
                </a:lnTo>
                <a:lnTo>
                  <a:pt x="1061" y="315"/>
                </a:lnTo>
                <a:lnTo>
                  <a:pt x="1069" y="315"/>
                </a:lnTo>
                <a:lnTo>
                  <a:pt x="1074" y="313"/>
                </a:lnTo>
                <a:lnTo>
                  <a:pt x="1078" y="305"/>
                </a:lnTo>
                <a:lnTo>
                  <a:pt x="1084" y="305"/>
                </a:lnTo>
                <a:lnTo>
                  <a:pt x="1101" y="315"/>
                </a:lnTo>
                <a:lnTo>
                  <a:pt x="1114" y="326"/>
                </a:lnTo>
                <a:lnTo>
                  <a:pt x="1123" y="328"/>
                </a:lnTo>
                <a:lnTo>
                  <a:pt x="1129" y="334"/>
                </a:lnTo>
                <a:lnTo>
                  <a:pt x="1150" y="339"/>
                </a:lnTo>
                <a:lnTo>
                  <a:pt x="1152" y="341"/>
                </a:lnTo>
                <a:lnTo>
                  <a:pt x="1152" y="343"/>
                </a:lnTo>
                <a:lnTo>
                  <a:pt x="1161" y="349"/>
                </a:lnTo>
                <a:lnTo>
                  <a:pt x="1167" y="343"/>
                </a:lnTo>
                <a:lnTo>
                  <a:pt x="1191" y="347"/>
                </a:lnTo>
                <a:lnTo>
                  <a:pt x="1193" y="409"/>
                </a:lnTo>
                <a:lnTo>
                  <a:pt x="1195" y="524"/>
                </a:lnTo>
                <a:lnTo>
                  <a:pt x="1208" y="535"/>
                </a:lnTo>
                <a:lnTo>
                  <a:pt x="1214" y="541"/>
                </a:lnTo>
                <a:lnTo>
                  <a:pt x="1218" y="556"/>
                </a:lnTo>
                <a:lnTo>
                  <a:pt x="1218" y="567"/>
                </a:lnTo>
                <a:lnTo>
                  <a:pt x="1223" y="573"/>
                </a:lnTo>
                <a:lnTo>
                  <a:pt x="1227" y="582"/>
                </a:lnTo>
                <a:lnTo>
                  <a:pt x="1229" y="584"/>
                </a:lnTo>
                <a:lnTo>
                  <a:pt x="1233" y="590"/>
                </a:lnTo>
                <a:lnTo>
                  <a:pt x="1233" y="596"/>
                </a:lnTo>
                <a:lnTo>
                  <a:pt x="1244" y="611"/>
                </a:lnTo>
                <a:lnTo>
                  <a:pt x="1248" y="613"/>
                </a:lnTo>
                <a:lnTo>
                  <a:pt x="1246" y="620"/>
                </a:lnTo>
                <a:lnTo>
                  <a:pt x="1248" y="626"/>
                </a:lnTo>
                <a:lnTo>
                  <a:pt x="1246" y="633"/>
                </a:lnTo>
                <a:lnTo>
                  <a:pt x="1248" y="639"/>
                </a:lnTo>
                <a:lnTo>
                  <a:pt x="1246" y="645"/>
                </a:lnTo>
                <a:lnTo>
                  <a:pt x="1246" y="654"/>
                </a:lnTo>
                <a:lnTo>
                  <a:pt x="1242" y="660"/>
                </a:lnTo>
                <a:lnTo>
                  <a:pt x="1242" y="669"/>
                </a:lnTo>
                <a:lnTo>
                  <a:pt x="1235" y="675"/>
                </a:lnTo>
                <a:lnTo>
                  <a:pt x="1231" y="684"/>
                </a:lnTo>
                <a:lnTo>
                  <a:pt x="1233" y="697"/>
                </a:lnTo>
                <a:lnTo>
                  <a:pt x="1229" y="705"/>
                </a:lnTo>
                <a:lnTo>
                  <a:pt x="1233" y="714"/>
                </a:lnTo>
                <a:lnTo>
                  <a:pt x="1235" y="731"/>
                </a:lnTo>
                <a:lnTo>
                  <a:pt x="1233" y="739"/>
                </a:lnTo>
                <a:lnTo>
                  <a:pt x="1227" y="748"/>
                </a:lnTo>
                <a:lnTo>
                  <a:pt x="1227" y="748"/>
                </a:lnTo>
                <a:lnTo>
                  <a:pt x="1220" y="754"/>
                </a:lnTo>
                <a:lnTo>
                  <a:pt x="1212" y="767"/>
                </a:lnTo>
                <a:lnTo>
                  <a:pt x="1223" y="784"/>
                </a:lnTo>
                <a:lnTo>
                  <a:pt x="1201" y="786"/>
                </a:lnTo>
                <a:lnTo>
                  <a:pt x="1178" y="797"/>
                </a:lnTo>
                <a:lnTo>
                  <a:pt x="1157" y="807"/>
                </a:lnTo>
                <a:lnTo>
                  <a:pt x="1150" y="809"/>
                </a:lnTo>
                <a:lnTo>
                  <a:pt x="1142" y="814"/>
                </a:lnTo>
                <a:lnTo>
                  <a:pt x="1135" y="822"/>
                </a:lnTo>
                <a:lnTo>
                  <a:pt x="1133" y="822"/>
                </a:lnTo>
                <a:lnTo>
                  <a:pt x="1137" y="814"/>
                </a:lnTo>
                <a:lnTo>
                  <a:pt x="1152" y="803"/>
                </a:lnTo>
                <a:lnTo>
                  <a:pt x="1161" y="801"/>
                </a:lnTo>
                <a:lnTo>
                  <a:pt x="1163" y="799"/>
                </a:lnTo>
                <a:lnTo>
                  <a:pt x="1148" y="799"/>
                </a:lnTo>
                <a:lnTo>
                  <a:pt x="1133" y="803"/>
                </a:lnTo>
                <a:lnTo>
                  <a:pt x="1137" y="788"/>
                </a:lnTo>
                <a:lnTo>
                  <a:pt x="1137" y="777"/>
                </a:lnTo>
                <a:lnTo>
                  <a:pt x="1131" y="775"/>
                </a:lnTo>
                <a:lnTo>
                  <a:pt x="1125" y="782"/>
                </a:lnTo>
                <a:lnTo>
                  <a:pt x="1120" y="788"/>
                </a:lnTo>
                <a:lnTo>
                  <a:pt x="1110" y="782"/>
                </a:lnTo>
                <a:lnTo>
                  <a:pt x="1105" y="786"/>
                </a:lnTo>
                <a:lnTo>
                  <a:pt x="1110" y="792"/>
                </a:lnTo>
                <a:lnTo>
                  <a:pt x="1110" y="799"/>
                </a:lnTo>
                <a:lnTo>
                  <a:pt x="1116" y="805"/>
                </a:lnTo>
                <a:lnTo>
                  <a:pt x="1116" y="816"/>
                </a:lnTo>
                <a:lnTo>
                  <a:pt x="1125" y="818"/>
                </a:lnTo>
                <a:lnTo>
                  <a:pt x="1120" y="826"/>
                </a:lnTo>
                <a:lnTo>
                  <a:pt x="1114" y="831"/>
                </a:lnTo>
                <a:lnTo>
                  <a:pt x="1108" y="837"/>
                </a:lnTo>
                <a:lnTo>
                  <a:pt x="1097" y="846"/>
                </a:lnTo>
                <a:lnTo>
                  <a:pt x="1095" y="858"/>
                </a:lnTo>
                <a:lnTo>
                  <a:pt x="1082" y="871"/>
                </a:lnTo>
                <a:lnTo>
                  <a:pt x="1074" y="878"/>
                </a:lnTo>
                <a:lnTo>
                  <a:pt x="1065" y="882"/>
                </a:lnTo>
                <a:lnTo>
                  <a:pt x="1050" y="892"/>
                </a:lnTo>
                <a:lnTo>
                  <a:pt x="1037" y="892"/>
                </a:lnTo>
                <a:lnTo>
                  <a:pt x="1022" y="899"/>
                </a:lnTo>
                <a:lnTo>
                  <a:pt x="1022" y="905"/>
                </a:lnTo>
                <a:lnTo>
                  <a:pt x="1031" y="901"/>
                </a:lnTo>
                <a:lnTo>
                  <a:pt x="1037" y="899"/>
                </a:lnTo>
                <a:lnTo>
                  <a:pt x="1029" y="905"/>
                </a:lnTo>
                <a:lnTo>
                  <a:pt x="1014" y="910"/>
                </a:lnTo>
                <a:lnTo>
                  <a:pt x="993" y="922"/>
                </a:lnTo>
                <a:lnTo>
                  <a:pt x="995" y="920"/>
                </a:lnTo>
                <a:lnTo>
                  <a:pt x="1010" y="912"/>
                </a:lnTo>
                <a:lnTo>
                  <a:pt x="1012" y="905"/>
                </a:lnTo>
                <a:lnTo>
                  <a:pt x="997" y="912"/>
                </a:lnTo>
                <a:lnTo>
                  <a:pt x="1001" y="905"/>
                </a:lnTo>
                <a:lnTo>
                  <a:pt x="993" y="907"/>
                </a:lnTo>
                <a:lnTo>
                  <a:pt x="990" y="899"/>
                </a:lnTo>
                <a:lnTo>
                  <a:pt x="982" y="905"/>
                </a:lnTo>
                <a:lnTo>
                  <a:pt x="976" y="901"/>
                </a:lnTo>
                <a:lnTo>
                  <a:pt x="971" y="892"/>
                </a:lnTo>
                <a:lnTo>
                  <a:pt x="971" y="895"/>
                </a:lnTo>
                <a:lnTo>
                  <a:pt x="978" y="907"/>
                </a:lnTo>
                <a:lnTo>
                  <a:pt x="969" y="912"/>
                </a:lnTo>
                <a:lnTo>
                  <a:pt x="959" y="901"/>
                </a:lnTo>
                <a:lnTo>
                  <a:pt x="956" y="897"/>
                </a:lnTo>
                <a:lnTo>
                  <a:pt x="950" y="897"/>
                </a:lnTo>
                <a:lnTo>
                  <a:pt x="956" y="912"/>
                </a:lnTo>
                <a:lnTo>
                  <a:pt x="965" y="916"/>
                </a:lnTo>
                <a:lnTo>
                  <a:pt x="961" y="924"/>
                </a:lnTo>
                <a:lnTo>
                  <a:pt x="967" y="922"/>
                </a:lnTo>
                <a:lnTo>
                  <a:pt x="976" y="927"/>
                </a:lnTo>
                <a:lnTo>
                  <a:pt x="973" y="929"/>
                </a:lnTo>
                <a:lnTo>
                  <a:pt x="952" y="941"/>
                </a:lnTo>
                <a:lnTo>
                  <a:pt x="946" y="937"/>
                </a:lnTo>
                <a:lnTo>
                  <a:pt x="935" y="924"/>
                </a:lnTo>
                <a:lnTo>
                  <a:pt x="937" y="927"/>
                </a:lnTo>
                <a:lnTo>
                  <a:pt x="933" y="935"/>
                </a:lnTo>
                <a:lnTo>
                  <a:pt x="937" y="941"/>
                </a:lnTo>
                <a:lnTo>
                  <a:pt x="937" y="948"/>
                </a:lnTo>
                <a:lnTo>
                  <a:pt x="929" y="959"/>
                </a:lnTo>
                <a:lnTo>
                  <a:pt x="922" y="963"/>
                </a:lnTo>
                <a:lnTo>
                  <a:pt x="924" y="954"/>
                </a:lnTo>
                <a:lnTo>
                  <a:pt x="922" y="948"/>
                </a:lnTo>
                <a:lnTo>
                  <a:pt x="922" y="954"/>
                </a:lnTo>
                <a:lnTo>
                  <a:pt x="914" y="963"/>
                </a:lnTo>
                <a:lnTo>
                  <a:pt x="912" y="956"/>
                </a:lnTo>
                <a:lnTo>
                  <a:pt x="905" y="961"/>
                </a:lnTo>
                <a:lnTo>
                  <a:pt x="897" y="959"/>
                </a:lnTo>
                <a:lnTo>
                  <a:pt x="899" y="963"/>
                </a:lnTo>
                <a:lnTo>
                  <a:pt x="895" y="969"/>
                </a:lnTo>
                <a:lnTo>
                  <a:pt x="903" y="976"/>
                </a:lnTo>
                <a:lnTo>
                  <a:pt x="905" y="969"/>
                </a:lnTo>
                <a:lnTo>
                  <a:pt x="914" y="965"/>
                </a:lnTo>
                <a:lnTo>
                  <a:pt x="914" y="971"/>
                </a:lnTo>
                <a:lnTo>
                  <a:pt x="910" y="978"/>
                </a:lnTo>
                <a:lnTo>
                  <a:pt x="895" y="997"/>
                </a:lnTo>
                <a:lnTo>
                  <a:pt x="888" y="990"/>
                </a:lnTo>
                <a:lnTo>
                  <a:pt x="873" y="993"/>
                </a:lnTo>
                <a:lnTo>
                  <a:pt x="865" y="995"/>
                </a:lnTo>
                <a:lnTo>
                  <a:pt x="869" y="997"/>
                </a:lnTo>
                <a:lnTo>
                  <a:pt x="876" y="995"/>
                </a:lnTo>
                <a:lnTo>
                  <a:pt x="876" y="1001"/>
                </a:lnTo>
                <a:lnTo>
                  <a:pt x="882" y="1007"/>
                </a:lnTo>
                <a:lnTo>
                  <a:pt x="886" y="1010"/>
                </a:lnTo>
                <a:lnTo>
                  <a:pt x="888" y="1016"/>
                </a:lnTo>
                <a:lnTo>
                  <a:pt x="873" y="1052"/>
                </a:lnTo>
                <a:lnTo>
                  <a:pt x="863" y="1056"/>
                </a:lnTo>
                <a:lnTo>
                  <a:pt x="869" y="1050"/>
                </a:lnTo>
                <a:lnTo>
                  <a:pt x="863" y="1048"/>
                </a:lnTo>
                <a:lnTo>
                  <a:pt x="858" y="1050"/>
                </a:lnTo>
                <a:lnTo>
                  <a:pt x="850" y="1050"/>
                </a:lnTo>
                <a:lnTo>
                  <a:pt x="846" y="1044"/>
                </a:lnTo>
                <a:lnTo>
                  <a:pt x="837" y="1037"/>
                </a:lnTo>
                <a:lnTo>
                  <a:pt x="841" y="1046"/>
                </a:lnTo>
                <a:lnTo>
                  <a:pt x="846" y="1050"/>
                </a:lnTo>
                <a:lnTo>
                  <a:pt x="844" y="1059"/>
                </a:lnTo>
                <a:lnTo>
                  <a:pt x="858" y="1063"/>
                </a:lnTo>
                <a:lnTo>
                  <a:pt x="873" y="1059"/>
                </a:lnTo>
                <a:lnTo>
                  <a:pt x="871" y="1065"/>
                </a:lnTo>
                <a:lnTo>
                  <a:pt x="871" y="1074"/>
                </a:lnTo>
                <a:lnTo>
                  <a:pt x="867" y="1080"/>
                </a:lnTo>
                <a:lnTo>
                  <a:pt x="867" y="1088"/>
                </a:lnTo>
                <a:lnTo>
                  <a:pt x="861" y="1088"/>
                </a:lnTo>
                <a:lnTo>
                  <a:pt x="858" y="1095"/>
                </a:lnTo>
                <a:lnTo>
                  <a:pt x="867" y="1103"/>
                </a:lnTo>
                <a:lnTo>
                  <a:pt x="861" y="1101"/>
                </a:lnTo>
                <a:lnTo>
                  <a:pt x="861" y="1108"/>
                </a:lnTo>
                <a:lnTo>
                  <a:pt x="867" y="1114"/>
                </a:lnTo>
                <a:lnTo>
                  <a:pt x="871" y="1140"/>
                </a:lnTo>
                <a:lnTo>
                  <a:pt x="871" y="1148"/>
                </a:lnTo>
                <a:lnTo>
                  <a:pt x="884" y="1171"/>
                </a:lnTo>
                <a:lnTo>
                  <a:pt x="886" y="1186"/>
                </a:lnTo>
                <a:lnTo>
                  <a:pt x="890" y="1193"/>
                </a:lnTo>
                <a:lnTo>
                  <a:pt x="882" y="1193"/>
                </a:lnTo>
                <a:lnTo>
                  <a:pt x="888" y="1203"/>
                </a:lnTo>
                <a:lnTo>
                  <a:pt x="893" y="1195"/>
                </a:lnTo>
                <a:lnTo>
                  <a:pt x="893" y="1203"/>
                </a:lnTo>
                <a:lnTo>
                  <a:pt x="899" y="1195"/>
                </a:lnTo>
                <a:lnTo>
                  <a:pt x="901" y="1203"/>
                </a:lnTo>
                <a:lnTo>
                  <a:pt x="897" y="1206"/>
                </a:lnTo>
                <a:lnTo>
                  <a:pt x="880" y="1210"/>
                </a:lnTo>
                <a:lnTo>
                  <a:pt x="880" y="1216"/>
                </a:lnTo>
                <a:lnTo>
                  <a:pt x="873" y="1216"/>
                </a:lnTo>
                <a:lnTo>
                  <a:pt x="865" y="1212"/>
                </a:lnTo>
                <a:lnTo>
                  <a:pt x="863" y="1212"/>
                </a:lnTo>
                <a:lnTo>
                  <a:pt x="850" y="1197"/>
                </a:lnTo>
                <a:lnTo>
                  <a:pt x="844" y="1197"/>
                </a:lnTo>
                <a:lnTo>
                  <a:pt x="835" y="1193"/>
                </a:lnTo>
                <a:lnTo>
                  <a:pt x="820" y="1193"/>
                </a:lnTo>
                <a:lnTo>
                  <a:pt x="790" y="1191"/>
                </a:lnTo>
                <a:lnTo>
                  <a:pt x="784" y="1189"/>
                </a:lnTo>
                <a:lnTo>
                  <a:pt x="771" y="1176"/>
                </a:lnTo>
                <a:lnTo>
                  <a:pt x="763" y="1174"/>
                </a:lnTo>
                <a:lnTo>
                  <a:pt x="756" y="1171"/>
                </a:lnTo>
                <a:lnTo>
                  <a:pt x="748" y="1171"/>
                </a:lnTo>
                <a:lnTo>
                  <a:pt x="743" y="1169"/>
                </a:lnTo>
                <a:lnTo>
                  <a:pt x="739" y="1163"/>
                </a:lnTo>
                <a:lnTo>
                  <a:pt x="733" y="1157"/>
                </a:lnTo>
                <a:lnTo>
                  <a:pt x="729" y="1159"/>
                </a:lnTo>
                <a:lnTo>
                  <a:pt x="720" y="1154"/>
                </a:lnTo>
                <a:lnTo>
                  <a:pt x="707" y="1154"/>
                </a:lnTo>
                <a:lnTo>
                  <a:pt x="703" y="1152"/>
                </a:lnTo>
                <a:lnTo>
                  <a:pt x="703" y="1144"/>
                </a:lnTo>
                <a:lnTo>
                  <a:pt x="697" y="1137"/>
                </a:lnTo>
                <a:lnTo>
                  <a:pt x="695" y="1123"/>
                </a:lnTo>
                <a:lnTo>
                  <a:pt x="688" y="1108"/>
                </a:lnTo>
                <a:lnTo>
                  <a:pt x="684" y="1099"/>
                </a:lnTo>
                <a:lnTo>
                  <a:pt x="675" y="1086"/>
                </a:lnTo>
                <a:lnTo>
                  <a:pt x="669" y="1078"/>
                </a:lnTo>
                <a:lnTo>
                  <a:pt x="669" y="1071"/>
                </a:lnTo>
                <a:lnTo>
                  <a:pt x="671" y="1065"/>
                </a:lnTo>
                <a:lnTo>
                  <a:pt x="671" y="1056"/>
                </a:lnTo>
                <a:lnTo>
                  <a:pt x="663" y="1052"/>
                </a:lnTo>
                <a:lnTo>
                  <a:pt x="667" y="1044"/>
                </a:lnTo>
                <a:lnTo>
                  <a:pt x="667" y="1035"/>
                </a:lnTo>
                <a:lnTo>
                  <a:pt x="665" y="1029"/>
                </a:lnTo>
                <a:lnTo>
                  <a:pt x="665" y="1022"/>
                </a:lnTo>
                <a:lnTo>
                  <a:pt x="663" y="1018"/>
                </a:lnTo>
                <a:lnTo>
                  <a:pt x="656" y="1014"/>
                </a:lnTo>
                <a:lnTo>
                  <a:pt x="643" y="1010"/>
                </a:lnTo>
                <a:lnTo>
                  <a:pt x="631" y="990"/>
                </a:lnTo>
                <a:lnTo>
                  <a:pt x="629" y="984"/>
                </a:lnTo>
                <a:lnTo>
                  <a:pt x="624" y="976"/>
                </a:lnTo>
                <a:lnTo>
                  <a:pt x="618" y="971"/>
                </a:lnTo>
                <a:lnTo>
                  <a:pt x="616" y="965"/>
                </a:lnTo>
                <a:lnTo>
                  <a:pt x="609" y="954"/>
                </a:lnTo>
                <a:lnTo>
                  <a:pt x="601" y="950"/>
                </a:lnTo>
                <a:lnTo>
                  <a:pt x="594" y="946"/>
                </a:lnTo>
                <a:lnTo>
                  <a:pt x="588" y="931"/>
                </a:lnTo>
                <a:lnTo>
                  <a:pt x="584" y="916"/>
                </a:lnTo>
                <a:lnTo>
                  <a:pt x="586" y="914"/>
                </a:lnTo>
                <a:lnTo>
                  <a:pt x="580" y="905"/>
                </a:lnTo>
                <a:lnTo>
                  <a:pt x="575" y="899"/>
                </a:lnTo>
                <a:lnTo>
                  <a:pt x="571" y="892"/>
                </a:lnTo>
                <a:lnTo>
                  <a:pt x="571" y="890"/>
                </a:lnTo>
                <a:lnTo>
                  <a:pt x="569" y="884"/>
                </a:lnTo>
                <a:lnTo>
                  <a:pt x="560" y="867"/>
                </a:lnTo>
                <a:lnTo>
                  <a:pt x="556" y="850"/>
                </a:lnTo>
                <a:lnTo>
                  <a:pt x="550" y="841"/>
                </a:lnTo>
                <a:lnTo>
                  <a:pt x="541" y="826"/>
                </a:lnTo>
                <a:lnTo>
                  <a:pt x="522" y="812"/>
                </a:lnTo>
                <a:lnTo>
                  <a:pt x="520" y="805"/>
                </a:lnTo>
                <a:lnTo>
                  <a:pt x="514" y="801"/>
                </a:lnTo>
                <a:lnTo>
                  <a:pt x="505" y="797"/>
                </a:lnTo>
                <a:lnTo>
                  <a:pt x="503" y="788"/>
                </a:lnTo>
                <a:lnTo>
                  <a:pt x="496" y="790"/>
                </a:lnTo>
                <a:lnTo>
                  <a:pt x="494" y="784"/>
                </a:lnTo>
                <a:lnTo>
                  <a:pt x="490" y="777"/>
                </a:lnTo>
                <a:lnTo>
                  <a:pt x="486" y="771"/>
                </a:lnTo>
                <a:lnTo>
                  <a:pt x="479" y="767"/>
                </a:lnTo>
                <a:lnTo>
                  <a:pt x="473" y="763"/>
                </a:lnTo>
                <a:lnTo>
                  <a:pt x="465" y="767"/>
                </a:lnTo>
                <a:lnTo>
                  <a:pt x="445" y="763"/>
                </a:lnTo>
                <a:lnTo>
                  <a:pt x="439" y="763"/>
                </a:lnTo>
                <a:lnTo>
                  <a:pt x="430" y="760"/>
                </a:lnTo>
                <a:lnTo>
                  <a:pt x="424" y="763"/>
                </a:lnTo>
                <a:lnTo>
                  <a:pt x="416" y="760"/>
                </a:lnTo>
                <a:lnTo>
                  <a:pt x="405" y="754"/>
                </a:lnTo>
                <a:lnTo>
                  <a:pt x="396" y="754"/>
                </a:lnTo>
                <a:lnTo>
                  <a:pt x="392" y="760"/>
                </a:lnTo>
                <a:lnTo>
                  <a:pt x="386" y="763"/>
                </a:lnTo>
                <a:lnTo>
                  <a:pt x="379" y="763"/>
                </a:lnTo>
                <a:lnTo>
                  <a:pt x="371" y="765"/>
                </a:lnTo>
                <a:lnTo>
                  <a:pt x="364" y="767"/>
                </a:lnTo>
                <a:lnTo>
                  <a:pt x="360" y="769"/>
                </a:lnTo>
                <a:lnTo>
                  <a:pt x="356" y="777"/>
                </a:lnTo>
                <a:lnTo>
                  <a:pt x="343" y="807"/>
                </a:lnTo>
                <a:lnTo>
                  <a:pt x="339" y="809"/>
                </a:lnTo>
                <a:lnTo>
                  <a:pt x="337" y="818"/>
                </a:lnTo>
                <a:lnTo>
                  <a:pt x="335" y="824"/>
                </a:lnTo>
                <a:lnTo>
                  <a:pt x="328" y="826"/>
                </a:lnTo>
                <a:lnTo>
                  <a:pt x="324" y="835"/>
                </a:lnTo>
                <a:lnTo>
                  <a:pt x="315" y="839"/>
                </a:lnTo>
                <a:lnTo>
                  <a:pt x="313" y="846"/>
                </a:lnTo>
                <a:lnTo>
                  <a:pt x="303" y="846"/>
                </a:lnTo>
                <a:lnTo>
                  <a:pt x="296" y="843"/>
                </a:lnTo>
                <a:lnTo>
                  <a:pt x="294" y="841"/>
                </a:lnTo>
                <a:lnTo>
                  <a:pt x="288" y="841"/>
                </a:lnTo>
                <a:lnTo>
                  <a:pt x="281" y="835"/>
                </a:lnTo>
                <a:lnTo>
                  <a:pt x="273" y="826"/>
                </a:lnTo>
                <a:lnTo>
                  <a:pt x="254" y="818"/>
                </a:lnTo>
                <a:lnTo>
                  <a:pt x="252" y="812"/>
                </a:lnTo>
                <a:lnTo>
                  <a:pt x="237" y="807"/>
                </a:lnTo>
                <a:lnTo>
                  <a:pt x="230" y="805"/>
                </a:lnTo>
                <a:lnTo>
                  <a:pt x="213" y="790"/>
                </a:lnTo>
                <a:lnTo>
                  <a:pt x="207" y="782"/>
                </a:lnTo>
                <a:lnTo>
                  <a:pt x="201" y="777"/>
                </a:lnTo>
                <a:lnTo>
                  <a:pt x="194" y="775"/>
                </a:lnTo>
                <a:lnTo>
                  <a:pt x="183" y="765"/>
                </a:lnTo>
                <a:lnTo>
                  <a:pt x="169" y="728"/>
                </a:lnTo>
                <a:lnTo>
                  <a:pt x="169" y="716"/>
                </a:lnTo>
                <a:lnTo>
                  <a:pt x="171" y="707"/>
                </a:lnTo>
                <a:lnTo>
                  <a:pt x="171" y="701"/>
                </a:lnTo>
                <a:lnTo>
                  <a:pt x="166" y="694"/>
                </a:lnTo>
                <a:lnTo>
                  <a:pt x="160" y="679"/>
                </a:lnTo>
                <a:lnTo>
                  <a:pt x="156" y="677"/>
                </a:lnTo>
                <a:lnTo>
                  <a:pt x="154" y="662"/>
                </a:lnTo>
                <a:lnTo>
                  <a:pt x="152" y="654"/>
                </a:lnTo>
                <a:lnTo>
                  <a:pt x="147" y="652"/>
                </a:lnTo>
                <a:lnTo>
                  <a:pt x="145" y="645"/>
                </a:lnTo>
                <a:lnTo>
                  <a:pt x="139" y="641"/>
                </a:lnTo>
                <a:lnTo>
                  <a:pt x="124" y="628"/>
                </a:lnTo>
                <a:lnTo>
                  <a:pt x="117" y="624"/>
                </a:lnTo>
                <a:lnTo>
                  <a:pt x="109" y="620"/>
                </a:lnTo>
                <a:lnTo>
                  <a:pt x="96" y="605"/>
                </a:lnTo>
                <a:lnTo>
                  <a:pt x="92" y="596"/>
                </a:lnTo>
                <a:lnTo>
                  <a:pt x="79" y="584"/>
                </a:lnTo>
                <a:lnTo>
                  <a:pt x="64" y="564"/>
                </a:lnTo>
                <a:lnTo>
                  <a:pt x="58" y="558"/>
                </a:lnTo>
                <a:lnTo>
                  <a:pt x="45" y="550"/>
                </a:lnTo>
                <a:lnTo>
                  <a:pt x="37" y="545"/>
                </a:lnTo>
                <a:lnTo>
                  <a:pt x="30" y="530"/>
                </a:lnTo>
                <a:lnTo>
                  <a:pt x="30" y="524"/>
                </a:lnTo>
                <a:lnTo>
                  <a:pt x="26" y="518"/>
                </a:lnTo>
                <a:lnTo>
                  <a:pt x="20" y="511"/>
                </a:lnTo>
                <a:lnTo>
                  <a:pt x="15" y="511"/>
                </a:lnTo>
                <a:lnTo>
                  <a:pt x="15" y="509"/>
                </a:lnTo>
                <a:lnTo>
                  <a:pt x="9" y="507"/>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419" name="Freeform 825"/>
          <p:cNvSpPr>
            <a:spLocks/>
          </p:cNvSpPr>
          <p:nvPr/>
        </p:nvSpPr>
        <p:spPr bwMode="auto">
          <a:xfrm>
            <a:off x="2795587" y="3987800"/>
            <a:ext cx="1981200" cy="1930400"/>
          </a:xfrm>
          <a:custGeom>
            <a:avLst/>
            <a:gdLst>
              <a:gd name="T0" fmla="*/ 164 w 1248"/>
              <a:gd name="T1" fmla="*/ 496 h 1216"/>
              <a:gd name="T2" fmla="*/ 373 w 1248"/>
              <a:gd name="T3" fmla="*/ 11 h 1216"/>
              <a:gd name="T4" fmla="*/ 648 w 1248"/>
              <a:gd name="T5" fmla="*/ 17 h 1216"/>
              <a:gd name="T6" fmla="*/ 682 w 1248"/>
              <a:gd name="T7" fmla="*/ 251 h 1216"/>
              <a:gd name="T8" fmla="*/ 714 w 1248"/>
              <a:gd name="T9" fmla="*/ 266 h 1216"/>
              <a:gd name="T10" fmla="*/ 763 w 1248"/>
              <a:gd name="T11" fmla="*/ 283 h 1216"/>
              <a:gd name="T12" fmla="*/ 816 w 1248"/>
              <a:gd name="T13" fmla="*/ 285 h 1216"/>
              <a:gd name="T14" fmla="*/ 841 w 1248"/>
              <a:gd name="T15" fmla="*/ 313 h 1216"/>
              <a:gd name="T16" fmla="*/ 893 w 1248"/>
              <a:gd name="T17" fmla="*/ 315 h 1216"/>
              <a:gd name="T18" fmla="*/ 916 w 1248"/>
              <a:gd name="T19" fmla="*/ 313 h 1216"/>
              <a:gd name="T20" fmla="*/ 952 w 1248"/>
              <a:gd name="T21" fmla="*/ 313 h 1216"/>
              <a:gd name="T22" fmla="*/ 999 w 1248"/>
              <a:gd name="T23" fmla="*/ 317 h 1216"/>
              <a:gd name="T24" fmla="*/ 1057 w 1248"/>
              <a:gd name="T25" fmla="*/ 313 h 1216"/>
              <a:gd name="T26" fmla="*/ 1114 w 1248"/>
              <a:gd name="T27" fmla="*/ 326 h 1216"/>
              <a:gd name="T28" fmla="*/ 1167 w 1248"/>
              <a:gd name="T29" fmla="*/ 343 h 1216"/>
              <a:gd name="T30" fmla="*/ 1218 w 1248"/>
              <a:gd name="T31" fmla="*/ 567 h 1216"/>
              <a:gd name="T32" fmla="*/ 1248 w 1248"/>
              <a:gd name="T33" fmla="*/ 613 h 1216"/>
              <a:gd name="T34" fmla="*/ 1242 w 1248"/>
              <a:gd name="T35" fmla="*/ 660 h 1216"/>
              <a:gd name="T36" fmla="*/ 1235 w 1248"/>
              <a:gd name="T37" fmla="*/ 731 h 1216"/>
              <a:gd name="T38" fmla="*/ 1201 w 1248"/>
              <a:gd name="T39" fmla="*/ 786 h 1216"/>
              <a:gd name="T40" fmla="*/ 1137 w 1248"/>
              <a:gd name="T41" fmla="*/ 814 h 1216"/>
              <a:gd name="T42" fmla="*/ 1137 w 1248"/>
              <a:gd name="T43" fmla="*/ 777 h 1216"/>
              <a:gd name="T44" fmla="*/ 1110 w 1248"/>
              <a:gd name="T45" fmla="*/ 799 h 1216"/>
              <a:gd name="T46" fmla="*/ 1097 w 1248"/>
              <a:gd name="T47" fmla="*/ 846 h 1216"/>
              <a:gd name="T48" fmla="*/ 1022 w 1248"/>
              <a:gd name="T49" fmla="*/ 899 h 1216"/>
              <a:gd name="T50" fmla="*/ 995 w 1248"/>
              <a:gd name="T51" fmla="*/ 920 h 1216"/>
              <a:gd name="T52" fmla="*/ 982 w 1248"/>
              <a:gd name="T53" fmla="*/ 905 h 1216"/>
              <a:gd name="T54" fmla="*/ 956 w 1248"/>
              <a:gd name="T55" fmla="*/ 897 h 1216"/>
              <a:gd name="T56" fmla="*/ 973 w 1248"/>
              <a:gd name="T57" fmla="*/ 929 h 1216"/>
              <a:gd name="T58" fmla="*/ 937 w 1248"/>
              <a:gd name="T59" fmla="*/ 948 h 1216"/>
              <a:gd name="T60" fmla="*/ 912 w 1248"/>
              <a:gd name="T61" fmla="*/ 956 h 1216"/>
              <a:gd name="T62" fmla="*/ 914 w 1248"/>
              <a:gd name="T63" fmla="*/ 965 h 1216"/>
              <a:gd name="T64" fmla="*/ 869 w 1248"/>
              <a:gd name="T65" fmla="*/ 997 h 1216"/>
              <a:gd name="T66" fmla="*/ 863 w 1248"/>
              <a:gd name="T67" fmla="*/ 1056 h 1216"/>
              <a:gd name="T68" fmla="*/ 841 w 1248"/>
              <a:gd name="T69" fmla="*/ 1046 h 1216"/>
              <a:gd name="T70" fmla="*/ 867 w 1248"/>
              <a:gd name="T71" fmla="*/ 1080 h 1216"/>
              <a:gd name="T72" fmla="*/ 867 w 1248"/>
              <a:gd name="T73" fmla="*/ 1114 h 1216"/>
              <a:gd name="T74" fmla="*/ 888 w 1248"/>
              <a:gd name="T75" fmla="*/ 1203 h 1216"/>
              <a:gd name="T76" fmla="*/ 880 w 1248"/>
              <a:gd name="T77" fmla="*/ 1216 h 1216"/>
              <a:gd name="T78" fmla="*/ 820 w 1248"/>
              <a:gd name="T79" fmla="*/ 1193 h 1216"/>
              <a:gd name="T80" fmla="*/ 743 w 1248"/>
              <a:gd name="T81" fmla="*/ 1169 h 1216"/>
              <a:gd name="T82" fmla="*/ 703 w 1248"/>
              <a:gd name="T83" fmla="*/ 1144 h 1216"/>
              <a:gd name="T84" fmla="*/ 669 w 1248"/>
              <a:gd name="T85" fmla="*/ 1071 h 1216"/>
              <a:gd name="T86" fmla="*/ 665 w 1248"/>
              <a:gd name="T87" fmla="*/ 1022 h 1216"/>
              <a:gd name="T88" fmla="*/ 618 w 1248"/>
              <a:gd name="T89" fmla="*/ 971 h 1216"/>
              <a:gd name="T90" fmla="*/ 586 w 1248"/>
              <a:gd name="T91" fmla="*/ 914 h 1216"/>
              <a:gd name="T92" fmla="*/ 556 w 1248"/>
              <a:gd name="T93" fmla="*/ 850 h 1216"/>
              <a:gd name="T94" fmla="*/ 503 w 1248"/>
              <a:gd name="T95" fmla="*/ 788 h 1216"/>
              <a:gd name="T96" fmla="*/ 465 w 1248"/>
              <a:gd name="T97" fmla="*/ 767 h 1216"/>
              <a:gd name="T98" fmla="*/ 396 w 1248"/>
              <a:gd name="T99" fmla="*/ 754 h 1216"/>
              <a:gd name="T100" fmla="*/ 356 w 1248"/>
              <a:gd name="T101" fmla="*/ 777 h 1216"/>
              <a:gd name="T102" fmla="*/ 315 w 1248"/>
              <a:gd name="T103" fmla="*/ 839 h 1216"/>
              <a:gd name="T104" fmla="*/ 273 w 1248"/>
              <a:gd name="T105" fmla="*/ 826 h 1216"/>
              <a:gd name="T106" fmla="*/ 201 w 1248"/>
              <a:gd name="T107" fmla="*/ 777 h 1216"/>
              <a:gd name="T108" fmla="*/ 166 w 1248"/>
              <a:gd name="T109" fmla="*/ 694 h 1216"/>
              <a:gd name="T110" fmla="*/ 139 w 1248"/>
              <a:gd name="T111" fmla="*/ 641 h 1216"/>
              <a:gd name="T112" fmla="*/ 64 w 1248"/>
              <a:gd name="T113" fmla="*/ 564 h 1216"/>
              <a:gd name="T114" fmla="*/ 20 w 1248"/>
              <a:gd name="T115" fmla="*/ 51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8" h="1216">
                <a:moveTo>
                  <a:pt x="9" y="507"/>
                </a:moveTo>
                <a:lnTo>
                  <a:pt x="9" y="503"/>
                </a:lnTo>
                <a:lnTo>
                  <a:pt x="5" y="498"/>
                </a:lnTo>
                <a:lnTo>
                  <a:pt x="0" y="484"/>
                </a:lnTo>
                <a:lnTo>
                  <a:pt x="0" y="481"/>
                </a:lnTo>
                <a:lnTo>
                  <a:pt x="73" y="488"/>
                </a:lnTo>
                <a:lnTo>
                  <a:pt x="164" y="496"/>
                </a:lnTo>
                <a:lnTo>
                  <a:pt x="247" y="503"/>
                </a:lnTo>
                <a:lnTo>
                  <a:pt x="330" y="509"/>
                </a:lnTo>
                <a:lnTo>
                  <a:pt x="335" y="509"/>
                </a:lnTo>
                <a:lnTo>
                  <a:pt x="341" y="501"/>
                </a:lnTo>
                <a:lnTo>
                  <a:pt x="347" y="383"/>
                </a:lnTo>
                <a:lnTo>
                  <a:pt x="356" y="281"/>
                </a:lnTo>
                <a:lnTo>
                  <a:pt x="373" y="11"/>
                </a:lnTo>
                <a:lnTo>
                  <a:pt x="375" y="2"/>
                </a:lnTo>
                <a:lnTo>
                  <a:pt x="379" y="0"/>
                </a:lnTo>
                <a:lnTo>
                  <a:pt x="501" y="9"/>
                </a:lnTo>
                <a:lnTo>
                  <a:pt x="594" y="13"/>
                </a:lnTo>
                <a:lnTo>
                  <a:pt x="631" y="13"/>
                </a:lnTo>
                <a:lnTo>
                  <a:pt x="639" y="13"/>
                </a:lnTo>
                <a:lnTo>
                  <a:pt x="648" y="17"/>
                </a:lnTo>
                <a:lnTo>
                  <a:pt x="641" y="219"/>
                </a:lnTo>
                <a:lnTo>
                  <a:pt x="639" y="230"/>
                </a:lnTo>
                <a:lnTo>
                  <a:pt x="648" y="232"/>
                </a:lnTo>
                <a:lnTo>
                  <a:pt x="654" y="236"/>
                </a:lnTo>
                <a:lnTo>
                  <a:pt x="667" y="251"/>
                </a:lnTo>
                <a:lnTo>
                  <a:pt x="673" y="256"/>
                </a:lnTo>
                <a:lnTo>
                  <a:pt x="682" y="251"/>
                </a:lnTo>
                <a:lnTo>
                  <a:pt x="688" y="254"/>
                </a:lnTo>
                <a:lnTo>
                  <a:pt x="695" y="254"/>
                </a:lnTo>
                <a:lnTo>
                  <a:pt x="699" y="245"/>
                </a:lnTo>
                <a:lnTo>
                  <a:pt x="701" y="249"/>
                </a:lnTo>
                <a:lnTo>
                  <a:pt x="707" y="254"/>
                </a:lnTo>
                <a:lnTo>
                  <a:pt x="714" y="260"/>
                </a:lnTo>
                <a:lnTo>
                  <a:pt x="714" y="266"/>
                </a:lnTo>
                <a:lnTo>
                  <a:pt x="714" y="275"/>
                </a:lnTo>
                <a:lnTo>
                  <a:pt x="722" y="275"/>
                </a:lnTo>
                <a:lnTo>
                  <a:pt x="726" y="277"/>
                </a:lnTo>
                <a:lnTo>
                  <a:pt x="733" y="275"/>
                </a:lnTo>
                <a:lnTo>
                  <a:pt x="741" y="279"/>
                </a:lnTo>
                <a:lnTo>
                  <a:pt x="754" y="283"/>
                </a:lnTo>
                <a:lnTo>
                  <a:pt x="763" y="283"/>
                </a:lnTo>
                <a:lnTo>
                  <a:pt x="769" y="283"/>
                </a:lnTo>
                <a:lnTo>
                  <a:pt x="773" y="288"/>
                </a:lnTo>
                <a:lnTo>
                  <a:pt x="778" y="292"/>
                </a:lnTo>
                <a:lnTo>
                  <a:pt x="786" y="290"/>
                </a:lnTo>
                <a:lnTo>
                  <a:pt x="792" y="285"/>
                </a:lnTo>
                <a:lnTo>
                  <a:pt x="807" y="285"/>
                </a:lnTo>
                <a:lnTo>
                  <a:pt x="816" y="285"/>
                </a:lnTo>
                <a:lnTo>
                  <a:pt x="814" y="292"/>
                </a:lnTo>
                <a:lnTo>
                  <a:pt x="818" y="300"/>
                </a:lnTo>
                <a:lnTo>
                  <a:pt x="827" y="300"/>
                </a:lnTo>
                <a:lnTo>
                  <a:pt x="829" y="305"/>
                </a:lnTo>
                <a:lnTo>
                  <a:pt x="829" y="315"/>
                </a:lnTo>
                <a:lnTo>
                  <a:pt x="835" y="317"/>
                </a:lnTo>
                <a:lnTo>
                  <a:pt x="841" y="313"/>
                </a:lnTo>
                <a:lnTo>
                  <a:pt x="854" y="303"/>
                </a:lnTo>
                <a:lnTo>
                  <a:pt x="861" y="305"/>
                </a:lnTo>
                <a:lnTo>
                  <a:pt x="863" y="313"/>
                </a:lnTo>
                <a:lnTo>
                  <a:pt x="871" y="313"/>
                </a:lnTo>
                <a:lnTo>
                  <a:pt x="873" y="320"/>
                </a:lnTo>
                <a:lnTo>
                  <a:pt x="880" y="320"/>
                </a:lnTo>
                <a:lnTo>
                  <a:pt x="893" y="315"/>
                </a:lnTo>
                <a:lnTo>
                  <a:pt x="899" y="315"/>
                </a:lnTo>
                <a:lnTo>
                  <a:pt x="897" y="322"/>
                </a:lnTo>
                <a:lnTo>
                  <a:pt x="899" y="330"/>
                </a:lnTo>
                <a:lnTo>
                  <a:pt x="901" y="332"/>
                </a:lnTo>
                <a:lnTo>
                  <a:pt x="905" y="330"/>
                </a:lnTo>
                <a:lnTo>
                  <a:pt x="910" y="317"/>
                </a:lnTo>
                <a:lnTo>
                  <a:pt x="916" y="313"/>
                </a:lnTo>
                <a:lnTo>
                  <a:pt x="918" y="307"/>
                </a:lnTo>
                <a:lnTo>
                  <a:pt x="920" y="307"/>
                </a:lnTo>
                <a:lnTo>
                  <a:pt x="927" y="309"/>
                </a:lnTo>
                <a:lnTo>
                  <a:pt x="933" y="315"/>
                </a:lnTo>
                <a:lnTo>
                  <a:pt x="939" y="317"/>
                </a:lnTo>
                <a:lnTo>
                  <a:pt x="946" y="313"/>
                </a:lnTo>
                <a:lnTo>
                  <a:pt x="952" y="313"/>
                </a:lnTo>
                <a:lnTo>
                  <a:pt x="959" y="322"/>
                </a:lnTo>
                <a:lnTo>
                  <a:pt x="965" y="326"/>
                </a:lnTo>
                <a:lnTo>
                  <a:pt x="973" y="328"/>
                </a:lnTo>
                <a:lnTo>
                  <a:pt x="980" y="334"/>
                </a:lnTo>
                <a:lnTo>
                  <a:pt x="982" y="328"/>
                </a:lnTo>
                <a:lnTo>
                  <a:pt x="990" y="328"/>
                </a:lnTo>
                <a:lnTo>
                  <a:pt x="999" y="317"/>
                </a:lnTo>
                <a:lnTo>
                  <a:pt x="1008" y="317"/>
                </a:lnTo>
                <a:lnTo>
                  <a:pt x="1014" y="313"/>
                </a:lnTo>
                <a:lnTo>
                  <a:pt x="1020" y="317"/>
                </a:lnTo>
                <a:lnTo>
                  <a:pt x="1029" y="317"/>
                </a:lnTo>
                <a:lnTo>
                  <a:pt x="1035" y="313"/>
                </a:lnTo>
                <a:lnTo>
                  <a:pt x="1048" y="307"/>
                </a:lnTo>
                <a:lnTo>
                  <a:pt x="1057" y="313"/>
                </a:lnTo>
                <a:lnTo>
                  <a:pt x="1061" y="315"/>
                </a:lnTo>
                <a:lnTo>
                  <a:pt x="1069" y="315"/>
                </a:lnTo>
                <a:lnTo>
                  <a:pt x="1074" y="313"/>
                </a:lnTo>
                <a:lnTo>
                  <a:pt x="1078" y="305"/>
                </a:lnTo>
                <a:lnTo>
                  <a:pt x="1084" y="305"/>
                </a:lnTo>
                <a:lnTo>
                  <a:pt x="1101" y="315"/>
                </a:lnTo>
                <a:lnTo>
                  <a:pt x="1114" y="326"/>
                </a:lnTo>
                <a:lnTo>
                  <a:pt x="1123" y="328"/>
                </a:lnTo>
                <a:lnTo>
                  <a:pt x="1129" y="334"/>
                </a:lnTo>
                <a:lnTo>
                  <a:pt x="1150" y="339"/>
                </a:lnTo>
                <a:lnTo>
                  <a:pt x="1152" y="341"/>
                </a:lnTo>
                <a:lnTo>
                  <a:pt x="1152" y="343"/>
                </a:lnTo>
                <a:lnTo>
                  <a:pt x="1161" y="349"/>
                </a:lnTo>
                <a:lnTo>
                  <a:pt x="1167" y="343"/>
                </a:lnTo>
                <a:lnTo>
                  <a:pt x="1191" y="347"/>
                </a:lnTo>
                <a:lnTo>
                  <a:pt x="1193" y="409"/>
                </a:lnTo>
                <a:lnTo>
                  <a:pt x="1195" y="524"/>
                </a:lnTo>
                <a:lnTo>
                  <a:pt x="1208" y="535"/>
                </a:lnTo>
                <a:lnTo>
                  <a:pt x="1214" y="541"/>
                </a:lnTo>
                <a:lnTo>
                  <a:pt x="1218" y="556"/>
                </a:lnTo>
                <a:lnTo>
                  <a:pt x="1218" y="567"/>
                </a:lnTo>
                <a:lnTo>
                  <a:pt x="1223" y="573"/>
                </a:lnTo>
                <a:lnTo>
                  <a:pt x="1227" y="582"/>
                </a:lnTo>
                <a:lnTo>
                  <a:pt x="1229" y="584"/>
                </a:lnTo>
                <a:lnTo>
                  <a:pt x="1233" y="590"/>
                </a:lnTo>
                <a:lnTo>
                  <a:pt x="1233" y="596"/>
                </a:lnTo>
                <a:lnTo>
                  <a:pt x="1244" y="611"/>
                </a:lnTo>
                <a:lnTo>
                  <a:pt x="1248" y="613"/>
                </a:lnTo>
                <a:lnTo>
                  <a:pt x="1246" y="620"/>
                </a:lnTo>
                <a:lnTo>
                  <a:pt x="1248" y="626"/>
                </a:lnTo>
                <a:lnTo>
                  <a:pt x="1246" y="633"/>
                </a:lnTo>
                <a:lnTo>
                  <a:pt x="1248" y="639"/>
                </a:lnTo>
                <a:lnTo>
                  <a:pt x="1246" y="645"/>
                </a:lnTo>
                <a:lnTo>
                  <a:pt x="1246" y="654"/>
                </a:lnTo>
                <a:lnTo>
                  <a:pt x="1242" y="660"/>
                </a:lnTo>
                <a:lnTo>
                  <a:pt x="1242" y="669"/>
                </a:lnTo>
                <a:lnTo>
                  <a:pt x="1235" y="675"/>
                </a:lnTo>
                <a:lnTo>
                  <a:pt x="1231" y="684"/>
                </a:lnTo>
                <a:lnTo>
                  <a:pt x="1233" y="697"/>
                </a:lnTo>
                <a:lnTo>
                  <a:pt x="1229" y="705"/>
                </a:lnTo>
                <a:lnTo>
                  <a:pt x="1233" y="714"/>
                </a:lnTo>
                <a:lnTo>
                  <a:pt x="1235" y="731"/>
                </a:lnTo>
                <a:lnTo>
                  <a:pt x="1233" y="739"/>
                </a:lnTo>
                <a:lnTo>
                  <a:pt x="1227" y="748"/>
                </a:lnTo>
                <a:lnTo>
                  <a:pt x="1227" y="748"/>
                </a:lnTo>
                <a:lnTo>
                  <a:pt x="1220" y="754"/>
                </a:lnTo>
                <a:lnTo>
                  <a:pt x="1212" y="767"/>
                </a:lnTo>
                <a:lnTo>
                  <a:pt x="1223" y="784"/>
                </a:lnTo>
                <a:lnTo>
                  <a:pt x="1201" y="786"/>
                </a:lnTo>
                <a:lnTo>
                  <a:pt x="1178" y="797"/>
                </a:lnTo>
                <a:lnTo>
                  <a:pt x="1157" y="807"/>
                </a:lnTo>
                <a:lnTo>
                  <a:pt x="1150" y="809"/>
                </a:lnTo>
                <a:lnTo>
                  <a:pt x="1142" y="814"/>
                </a:lnTo>
                <a:lnTo>
                  <a:pt x="1135" y="822"/>
                </a:lnTo>
                <a:lnTo>
                  <a:pt x="1133" y="822"/>
                </a:lnTo>
                <a:lnTo>
                  <a:pt x="1137" y="814"/>
                </a:lnTo>
                <a:lnTo>
                  <a:pt x="1152" y="803"/>
                </a:lnTo>
                <a:lnTo>
                  <a:pt x="1161" y="801"/>
                </a:lnTo>
                <a:lnTo>
                  <a:pt x="1163" y="799"/>
                </a:lnTo>
                <a:lnTo>
                  <a:pt x="1148" y="799"/>
                </a:lnTo>
                <a:lnTo>
                  <a:pt x="1133" y="803"/>
                </a:lnTo>
                <a:lnTo>
                  <a:pt x="1137" y="788"/>
                </a:lnTo>
                <a:lnTo>
                  <a:pt x="1137" y="777"/>
                </a:lnTo>
                <a:lnTo>
                  <a:pt x="1131" y="775"/>
                </a:lnTo>
                <a:lnTo>
                  <a:pt x="1125" y="782"/>
                </a:lnTo>
                <a:lnTo>
                  <a:pt x="1120" y="788"/>
                </a:lnTo>
                <a:lnTo>
                  <a:pt x="1110" y="782"/>
                </a:lnTo>
                <a:lnTo>
                  <a:pt x="1105" y="786"/>
                </a:lnTo>
                <a:lnTo>
                  <a:pt x="1110" y="792"/>
                </a:lnTo>
                <a:lnTo>
                  <a:pt x="1110" y="799"/>
                </a:lnTo>
                <a:lnTo>
                  <a:pt x="1116" y="805"/>
                </a:lnTo>
                <a:lnTo>
                  <a:pt x="1116" y="816"/>
                </a:lnTo>
                <a:lnTo>
                  <a:pt x="1125" y="818"/>
                </a:lnTo>
                <a:lnTo>
                  <a:pt x="1120" y="826"/>
                </a:lnTo>
                <a:lnTo>
                  <a:pt x="1114" y="831"/>
                </a:lnTo>
                <a:lnTo>
                  <a:pt x="1108" y="837"/>
                </a:lnTo>
                <a:lnTo>
                  <a:pt x="1097" y="846"/>
                </a:lnTo>
                <a:lnTo>
                  <a:pt x="1095" y="858"/>
                </a:lnTo>
                <a:lnTo>
                  <a:pt x="1082" y="871"/>
                </a:lnTo>
                <a:lnTo>
                  <a:pt x="1074" y="878"/>
                </a:lnTo>
                <a:lnTo>
                  <a:pt x="1065" y="882"/>
                </a:lnTo>
                <a:lnTo>
                  <a:pt x="1050" y="892"/>
                </a:lnTo>
                <a:lnTo>
                  <a:pt x="1037" y="892"/>
                </a:lnTo>
                <a:lnTo>
                  <a:pt x="1022" y="899"/>
                </a:lnTo>
                <a:lnTo>
                  <a:pt x="1022" y="905"/>
                </a:lnTo>
                <a:lnTo>
                  <a:pt x="1031" y="901"/>
                </a:lnTo>
                <a:lnTo>
                  <a:pt x="1037" y="899"/>
                </a:lnTo>
                <a:lnTo>
                  <a:pt x="1029" y="905"/>
                </a:lnTo>
                <a:lnTo>
                  <a:pt x="1014" y="910"/>
                </a:lnTo>
                <a:lnTo>
                  <a:pt x="993" y="922"/>
                </a:lnTo>
                <a:lnTo>
                  <a:pt x="995" y="920"/>
                </a:lnTo>
                <a:lnTo>
                  <a:pt x="1010" y="912"/>
                </a:lnTo>
                <a:lnTo>
                  <a:pt x="1012" y="905"/>
                </a:lnTo>
                <a:lnTo>
                  <a:pt x="997" y="912"/>
                </a:lnTo>
                <a:lnTo>
                  <a:pt x="1001" y="905"/>
                </a:lnTo>
                <a:lnTo>
                  <a:pt x="993" y="907"/>
                </a:lnTo>
                <a:lnTo>
                  <a:pt x="990" y="899"/>
                </a:lnTo>
                <a:lnTo>
                  <a:pt x="982" y="905"/>
                </a:lnTo>
                <a:lnTo>
                  <a:pt x="976" y="901"/>
                </a:lnTo>
                <a:lnTo>
                  <a:pt x="971" y="892"/>
                </a:lnTo>
                <a:lnTo>
                  <a:pt x="971" y="895"/>
                </a:lnTo>
                <a:lnTo>
                  <a:pt x="978" y="907"/>
                </a:lnTo>
                <a:lnTo>
                  <a:pt x="969" y="912"/>
                </a:lnTo>
                <a:lnTo>
                  <a:pt x="959" y="901"/>
                </a:lnTo>
                <a:lnTo>
                  <a:pt x="956" y="897"/>
                </a:lnTo>
                <a:lnTo>
                  <a:pt x="950" y="897"/>
                </a:lnTo>
                <a:lnTo>
                  <a:pt x="956" y="912"/>
                </a:lnTo>
                <a:lnTo>
                  <a:pt x="965" y="916"/>
                </a:lnTo>
                <a:lnTo>
                  <a:pt x="961" y="924"/>
                </a:lnTo>
                <a:lnTo>
                  <a:pt x="967" y="922"/>
                </a:lnTo>
                <a:lnTo>
                  <a:pt x="976" y="927"/>
                </a:lnTo>
                <a:lnTo>
                  <a:pt x="973" y="929"/>
                </a:lnTo>
                <a:lnTo>
                  <a:pt x="952" y="941"/>
                </a:lnTo>
                <a:lnTo>
                  <a:pt x="946" y="937"/>
                </a:lnTo>
                <a:lnTo>
                  <a:pt x="935" y="924"/>
                </a:lnTo>
                <a:lnTo>
                  <a:pt x="937" y="927"/>
                </a:lnTo>
                <a:lnTo>
                  <a:pt x="933" y="935"/>
                </a:lnTo>
                <a:lnTo>
                  <a:pt x="937" y="941"/>
                </a:lnTo>
                <a:lnTo>
                  <a:pt x="937" y="948"/>
                </a:lnTo>
                <a:lnTo>
                  <a:pt x="929" y="959"/>
                </a:lnTo>
                <a:lnTo>
                  <a:pt x="922" y="963"/>
                </a:lnTo>
                <a:lnTo>
                  <a:pt x="924" y="954"/>
                </a:lnTo>
                <a:lnTo>
                  <a:pt x="922" y="948"/>
                </a:lnTo>
                <a:lnTo>
                  <a:pt x="922" y="954"/>
                </a:lnTo>
                <a:lnTo>
                  <a:pt x="914" y="963"/>
                </a:lnTo>
                <a:lnTo>
                  <a:pt x="912" y="956"/>
                </a:lnTo>
                <a:lnTo>
                  <a:pt x="905" y="961"/>
                </a:lnTo>
                <a:lnTo>
                  <a:pt x="897" y="959"/>
                </a:lnTo>
                <a:lnTo>
                  <a:pt x="899" y="963"/>
                </a:lnTo>
                <a:lnTo>
                  <a:pt x="895" y="969"/>
                </a:lnTo>
                <a:lnTo>
                  <a:pt x="903" y="976"/>
                </a:lnTo>
                <a:lnTo>
                  <a:pt x="905" y="969"/>
                </a:lnTo>
                <a:lnTo>
                  <a:pt x="914" y="965"/>
                </a:lnTo>
                <a:lnTo>
                  <a:pt x="914" y="971"/>
                </a:lnTo>
                <a:lnTo>
                  <a:pt x="910" y="978"/>
                </a:lnTo>
                <a:lnTo>
                  <a:pt x="895" y="997"/>
                </a:lnTo>
                <a:lnTo>
                  <a:pt x="888" y="990"/>
                </a:lnTo>
                <a:lnTo>
                  <a:pt x="873" y="993"/>
                </a:lnTo>
                <a:lnTo>
                  <a:pt x="865" y="995"/>
                </a:lnTo>
                <a:lnTo>
                  <a:pt x="869" y="997"/>
                </a:lnTo>
                <a:lnTo>
                  <a:pt x="876" y="995"/>
                </a:lnTo>
                <a:lnTo>
                  <a:pt x="876" y="1001"/>
                </a:lnTo>
                <a:lnTo>
                  <a:pt x="882" y="1007"/>
                </a:lnTo>
                <a:lnTo>
                  <a:pt x="886" y="1010"/>
                </a:lnTo>
                <a:lnTo>
                  <a:pt x="888" y="1016"/>
                </a:lnTo>
                <a:lnTo>
                  <a:pt x="873" y="1052"/>
                </a:lnTo>
                <a:lnTo>
                  <a:pt x="863" y="1056"/>
                </a:lnTo>
                <a:lnTo>
                  <a:pt x="869" y="1050"/>
                </a:lnTo>
                <a:lnTo>
                  <a:pt x="863" y="1048"/>
                </a:lnTo>
                <a:lnTo>
                  <a:pt x="858" y="1050"/>
                </a:lnTo>
                <a:lnTo>
                  <a:pt x="850" y="1050"/>
                </a:lnTo>
                <a:lnTo>
                  <a:pt x="846" y="1044"/>
                </a:lnTo>
                <a:lnTo>
                  <a:pt x="837" y="1037"/>
                </a:lnTo>
                <a:lnTo>
                  <a:pt x="841" y="1046"/>
                </a:lnTo>
                <a:lnTo>
                  <a:pt x="846" y="1050"/>
                </a:lnTo>
                <a:lnTo>
                  <a:pt x="844" y="1059"/>
                </a:lnTo>
                <a:lnTo>
                  <a:pt x="858" y="1063"/>
                </a:lnTo>
                <a:lnTo>
                  <a:pt x="873" y="1059"/>
                </a:lnTo>
                <a:lnTo>
                  <a:pt x="871" y="1065"/>
                </a:lnTo>
                <a:lnTo>
                  <a:pt x="871" y="1074"/>
                </a:lnTo>
                <a:lnTo>
                  <a:pt x="867" y="1080"/>
                </a:lnTo>
                <a:lnTo>
                  <a:pt x="867" y="1088"/>
                </a:lnTo>
                <a:lnTo>
                  <a:pt x="861" y="1088"/>
                </a:lnTo>
                <a:lnTo>
                  <a:pt x="858" y="1095"/>
                </a:lnTo>
                <a:lnTo>
                  <a:pt x="867" y="1103"/>
                </a:lnTo>
                <a:lnTo>
                  <a:pt x="861" y="1101"/>
                </a:lnTo>
                <a:lnTo>
                  <a:pt x="861" y="1108"/>
                </a:lnTo>
                <a:lnTo>
                  <a:pt x="867" y="1114"/>
                </a:lnTo>
                <a:lnTo>
                  <a:pt x="871" y="1140"/>
                </a:lnTo>
                <a:lnTo>
                  <a:pt x="871" y="1148"/>
                </a:lnTo>
                <a:lnTo>
                  <a:pt x="884" y="1171"/>
                </a:lnTo>
                <a:lnTo>
                  <a:pt x="886" y="1186"/>
                </a:lnTo>
                <a:lnTo>
                  <a:pt x="890" y="1193"/>
                </a:lnTo>
                <a:lnTo>
                  <a:pt x="882" y="1193"/>
                </a:lnTo>
                <a:lnTo>
                  <a:pt x="888" y="1203"/>
                </a:lnTo>
                <a:lnTo>
                  <a:pt x="893" y="1195"/>
                </a:lnTo>
                <a:lnTo>
                  <a:pt x="893" y="1203"/>
                </a:lnTo>
                <a:lnTo>
                  <a:pt x="899" y="1195"/>
                </a:lnTo>
                <a:lnTo>
                  <a:pt x="901" y="1203"/>
                </a:lnTo>
                <a:lnTo>
                  <a:pt x="897" y="1206"/>
                </a:lnTo>
                <a:lnTo>
                  <a:pt x="880" y="1210"/>
                </a:lnTo>
                <a:lnTo>
                  <a:pt x="880" y="1216"/>
                </a:lnTo>
                <a:lnTo>
                  <a:pt x="873" y="1216"/>
                </a:lnTo>
                <a:lnTo>
                  <a:pt x="865" y="1212"/>
                </a:lnTo>
                <a:lnTo>
                  <a:pt x="863" y="1212"/>
                </a:lnTo>
                <a:lnTo>
                  <a:pt x="850" y="1197"/>
                </a:lnTo>
                <a:lnTo>
                  <a:pt x="844" y="1197"/>
                </a:lnTo>
                <a:lnTo>
                  <a:pt x="835" y="1193"/>
                </a:lnTo>
                <a:lnTo>
                  <a:pt x="820" y="1193"/>
                </a:lnTo>
                <a:lnTo>
                  <a:pt x="790" y="1191"/>
                </a:lnTo>
                <a:lnTo>
                  <a:pt x="784" y="1189"/>
                </a:lnTo>
                <a:lnTo>
                  <a:pt x="771" y="1176"/>
                </a:lnTo>
                <a:lnTo>
                  <a:pt x="763" y="1174"/>
                </a:lnTo>
                <a:lnTo>
                  <a:pt x="756" y="1171"/>
                </a:lnTo>
                <a:lnTo>
                  <a:pt x="748" y="1171"/>
                </a:lnTo>
                <a:lnTo>
                  <a:pt x="743" y="1169"/>
                </a:lnTo>
                <a:lnTo>
                  <a:pt x="739" y="1163"/>
                </a:lnTo>
                <a:lnTo>
                  <a:pt x="733" y="1157"/>
                </a:lnTo>
                <a:lnTo>
                  <a:pt x="729" y="1159"/>
                </a:lnTo>
                <a:lnTo>
                  <a:pt x="720" y="1154"/>
                </a:lnTo>
                <a:lnTo>
                  <a:pt x="707" y="1154"/>
                </a:lnTo>
                <a:lnTo>
                  <a:pt x="703" y="1152"/>
                </a:lnTo>
                <a:lnTo>
                  <a:pt x="703" y="1144"/>
                </a:lnTo>
                <a:lnTo>
                  <a:pt x="697" y="1137"/>
                </a:lnTo>
                <a:lnTo>
                  <a:pt x="695" y="1123"/>
                </a:lnTo>
                <a:lnTo>
                  <a:pt x="688" y="1108"/>
                </a:lnTo>
                <a:lnTo>
                  <a:pt x="684" y="1099"/>
                </a:lnTo>
                <a:lnTo>
                  <a:pt x="675" y="1086"/>
                </a:lnTo>
                <a:lnTo>
                  <a:pt x="669" y="1078"/>
                </a:lnTo>
                <a:lnTo>
                  <a:pt x="669" y="1071"/>
                </a:lnTo>
                <a:lnTo>
                  <a:pt x="671" y="1065"/>
                </a:lnTo>
                <a:lnTo>
                  <a:pt x="671" y="1056"/>
                </a:lnTo>
                <a:lnTo>
                  <a:pt x="663" y="1052"/>
                </a:lnTo>
                <a:lnTo>
                  <a:pt x="667" y="1044"/>
                </a:lnTo>
                <a:lnTo>
                  <a:pt x="667" y="1035"/>
                </a:lnTo>
                <a:lnTo>
                  <a:pt x="665" y="1029"/>
                </a:lnTo>
                <a:lnTo>
                  <a:pt x="665" y="1022"/>
                </a:lnTo>
                <a:lnTo>
                  <a:pt x="663" y="1018"/>
                </a:lnTo>
                <a:lnTo>
                  <a:pt x="656" y="1014"/>
                </a:lnTo>
                <a:lnTo>
                  <a:pt x="643" y="1010"/>
                </a:lnTo>
                <a:lnTo>
                  <a:pt x="631" y="990"/>
                </a:lnTo>
                <a:lnTo>
                  <a:pt x="629" y="984"/>
                </a:lnTo>
                <a:lnTo>
                  <a:pt x="624" y="976"/>
                </a:lnTo>
                <a:lnTo>
                  <a:pt x="618" y="971"/>
                </a:lnTo>
                <a:lnTo>
                  <a:pt x="616" y="965"/>
                </a:lnTo>
                <a:lnTo>
                  <a:pt x="609" y="954"/>
                </a:lnTo>
                <a:lnTo>
                  <a:pt x="601" y="950"/>
                </a:lnTo>
                <a:lnTo>
                  <a:pt x="594" y="946"/>
                </a:lnTo>
                <a:lnTo>
                  <a:pt x="588" y="931"/>
                </a:lnTo>
                <a:lnTo>
                  <a:pt x="584" y="916"/>
                </a:lnTo>
                <a:lnTo>
                  <a:pt x="586" y="914"/>
                </a:lnTo>
                <a:lnTo>
                  <a:pt x="580" y="905"/>
                </a:lnTo>
                <a:lnTo>
                  <a:pt x="575" y="899"/>
                </a:lnTo>
                <a:lnTo>
                  <a:pt x="571" y="892"/>
                </a:lnTo>
                <a:lnTo>
                  <a:pt x="571" y="890"/>
                </a:lnTo>
                <a:lnTo>
                  <a:pt x="569" y="884"/>
                </a:lnTo>
                <a:lnTo>
                  <a:pt x="560" y="867"/>
                </a:lnTo>
                <a:lnTo>
                  <a:pt x="556" y="850"/>
                </a:lnTo>
                <a:lnTo>
                  <a:pt x="550" y="841"/>
                </a:lnTo>
                <a:lnTo>
                  <a:pt x="541" y="826"/>
                </a:lnTo>
                <a:lnTo>
                  <a:pt x="522" y="812"/>
                </a:lnTo>
                <a:lnTo>
                  <a:pt x="520" y="805"/>
                </a:lnTo>
                <a:lnTo>
                  <a:pt x="514" y="801"/>
                </a:lnTo>
                <a:lnTo>
                  <a:pt x="505" y="797"/>
                </a:lnTo>
                <a:lnTo>
                  <a:pt x="503" y="788"/>
                </a:lnTo>
                <a:lnTo>
                  <a:pt x="496" y="790"/>
                </a:lnTo>
                <a:lnTo>
                  <a:pt x="494" y="784"/>
                </a:lnTo>
                <a:lnTo>
                  <a:pt x="490" y="777"/>
                </a:lnTo>
                <a:lnTo>
                  <a:pt x="486" y="771"/>
                </a:lnTo>
                <a:lnTo>
                  <a:pt x="479" y="767"/>
                </a:lnTo>
                <a:lnTo>
                  <a:pt x="473" y="763"/>
                </a:lnTo>
                <a:lnTo>
                  <a:pt x="465" y="767"/>
                </a:lnTo>
                <a:lnTo>
                  <a:pt x="445" y="763"/>
                </a:lnTo>
                <a:lnTo>
                  <a:pt x="439" y="763"/>
                </a:lnTo>
                <a:lnTo>
                  <a:pt x="430" y="760"/>
                </a:lnTo>
                <a:lnTo>
                  <a:pt x="424" y="763"/>
                </a:lnTo>
                <a:lnTo>
                  <a:pt x="416" y="760"/>
                </a:lnTo>
                <a:lnTo>
                  <a:pt x="405" y="754"/>
                </a:lnTo>
                <a:lnTo>
                  <a:pt x="396" y="754"/>
                </a:lnTo>
                <a:lnTo>
                  <a:pt x="392" y="760"/>
                </a:lnTo>
                <a:lnTo>
                  <a:pt x="386" y="763"/>
                </a:lnTo>
                <a:lnTo>
                  <a:pt x="379" y="763"/>
                </a:lnTo>
                <a:lnTo>
                  <a:pt x="371" y="765"/>
                </a:lnTo>
                <a:lnTo>
                  <a:pt x="364" y="767"/>
                </a:lnTo>
                <a:lnTo>
                  <a:pt x="360" y="769"/>
                </a:lnTo>
                <a:lnTo>
                  <a:pt x="356" y="777"/>
                </a:lnTo>
                <a:lnTo>
                  <a:pt x="343" y="807"/>
                </a:lnTo>
                <a:lnTo>
                  <a:pt x="339" y="809"/>
                </a:lnTo>
                <a:lnTo>
                  <a:pt x="337" y="818"/>
                </a:lnTo>
                <a:lnTo>
                  <a:pt x="335" y="824"/>
                </a:lnTo>
                <a:lnTo>
                  <a:pt x="328" y="826"/>
                </a:lnTo>
                <a:lnTo>
                  <a:pt x="324" y="835"/>
                </a:lnTo>
                <a:lnTo>
                  <a:pt x="315" y="839"/>
                </a:lnTo>
                <a:lnTo>
                  <a:pt x="313" y="846"/>
                </a:lnTo>
                <a:lnTo>
                  <a:pt x="303" y="846"/>
                </a:lnTo>
                <a:lnTo>
                  <a:pt x="296" y="843"/>
                </a:lnTo>
                <a:lnTo>
                  <a:pt x="294" y="841"/>
                </a:lnTo>
                <a:lnTo>
                  <a:pt x="288" y="841"/>
                </a:lnTo>
                <a:lnTo>
                  <a:pt x="281" y="835"/>
                </a:lnTo>
                <a:lnTo>
                  <a:pt x="273" y="826"/>
                </a:lnTo>
                <a:lnTo>
                  <a:pt x="254" y="818"/>
                </a:lnTo>
                <a:lnTo>
                  <a:pt x="252" y="812"/>
                </a:lnTo>
                <a:lnTo>
                  <a:pt x="237" y="807"/>
                </a:lnTo>
                <a:lnTo>
                  <a:pt x="230" y="805"/>
                </a:lnTo>
                <a:lnTo>
                  <a:pt x="213" y="790"/>
                </a:lnTo>
                <a:lnTo>
                  <a:pt x="207" y="782"/>
                </a:lnTo>
                <a:lnTo>
                  <a:pt x="201" y="777"/>
                </a:lnTo>
                <a:lnTo>
                  <a:pt x="194" y="775"/>
                </a:lnTo>
                <a:lnTo>
                  <a:pt x="183" y="765"/>
                </a:lnTo>
                <a:lnTo>
                  <a:pt x="169" y="728"/>
                </a:lnTo>
                <a:lnTo>
                  <a:pt x="169" y="716"/>
                </a:lnTo>
                <a:lnTo>
                  <a:pt x="171" y="707"/>
                </a:lnTo>
                <a:lnTo>
                  <a:pt x="171" y="701"/>
                </a:lnTo>
                <a:lnTo>
                  <a:pt x="166" y="694"/>
                </a:lnTo>
                <a:lnTo>
                  <a:pt x="160" y="679"/>
                </a:lnTo>
                <a:lnTo>
                  <a:pt x="156" y="677"/>
                </a:lnTo>
                <a:lnTo>
                  <a:pt x="154" y="662"/>
                </a:lnTo>
                <a:lnTo>
                  <a:pt x="152" y="654"/>
                </a:lnTo>
                <a:lnTo>
                  <a:pt x="147" y="652"/>
                </a:lnTo>
                <a:lnTo>
                  <a:pt x="145" y="645"/>
                </a:lnTo>
                <a:lnTo>
                  <a:pt x="139" y="641"/>
                </a:lnTo>
                <a:lnTo>
                  <a:pt x="124" y="628"/>
                </a:lnTo>
                <a:lnTo>
                  <a:pt x="117" y="624"/>
                </a:lnTo>
                <a:lnTo>
                  <a:pt x="109" y="620"/>
                </a:lnTo>
                <a:lnTo>
                  <a:pt x="96" y="605"/>
                </a:lnTo>
                <a:lnTo>
                  <a:pt x="92" y="596"/>
                </a:lnTo>
                <a:lnTo>
                  <a:pt x="79" y="584"/>
                </a:lnTo>
                <a:lnTo>
                  <a:pt x="64" y="564"/>
                </a:lnTo>
                <a:lnTo>
                  <a:pt x="58" y="558"/>
                </a:lnTo>
                <a:lnTo>
                  <a:pt x="45" y="550"/>
                </a:lnTo>
                <a:lnTo>
                  <a:pt x="37" y="545"/>
                </a:lnTo>
                <a:lnTo>
                  <a:pt x="30" y="530"/>
                </a:lnTo>
                <a:lnTo>
                  <a:pt x="30" y="524"/>
                </a:lnTo>
                <a:lnTo>
                  <a:pt x="26" y="518"/>
                </a:lnTo>
                <a:lnTo>
                  <a:pt x="20" y="511"/>
                </a:lnTo>
                <a:lnTo>
                  <a:pt x="15" y="511"/>
                </a:lnTo>
                <a:lnTo>
                  <a:pt x="15" y="509"/>
                </a:lnTo>
                <a:lnTo>
                  <a:pt x="9" y="50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0" name="Freeform 826"/>
          <p:cNvSpPr>
            <a:spLocks/>
          </p:cNvSpPr>
          <p:nvPr/>
        </p:nvSpPr>
        <p:spPr bwMode="auto">
          <a:xfrm>
            <a:off x="4186237" y="5684838"/>
            <a:ext cx="33338" cy="185738"/>
          </a:xfrm>
          <a:custGeom>
            <a:avLst/>
            <a:gdLst>
              <a:gd name="T0" fmla="*/ 4 w 21"/>
              <a:gd name="T1" fmla="*/ 54 h 117"/>
              <a:gd name="T2" fmla="*/ 8 w 21"/>
              <a:gd name="T3" fmla="*/ 64 h 117"/>
              <a:gd name="T4" fmla="*/ 10 w 21"/>
              <a:gd name="T5" fmla="*/ 73 h 117"/>
              <a:gd name="T6" fmla="*/ 14 w 21"/>
              <a:gd name="T7" fmla="*/ 79 h 117"/>
              <a:gd name="T8" fmla="*/ 17 w 21"/>
              <a:gd name="T9" fmla="*/ 96 h 117"/>
              <a:gd name="T10" fmla="*/ 19 w 21"/>
              <a:gd name="T11" fmla="*/ 111 h 117"/>
              <a:gd name="T12" fmla="*/ 21 w 21"/>
              <a:gd name="T13" fmla="*/ 117 h 117"/>
              <a:gd name="T14" fmla="*/ 19 w 21"/>
              <a:gd name="T15" fmla="*/ 96 h 117"/>
              <a:gd name="T16" fmla="*/ 17 w 21"/>
              <a:gd name="T17" fmla="*/ 81 h 117"/>
              <a:gd name="T18" fmla="*/ 4 w 21"/>
              <a:gd name="T19" fmla="*/ 41 h 117"/>
              <a:gd name="T20" fmla="*/ 0 w 21"/>
              <a:gd name="T21" fmla="*/ 15 h 117"/>
              <a:gd name="T22" fmla="*/ 0 w 21"/>
              <a:gd name="T23" fmla="*/ 0 h 117"/>
              <a:gd name="T24" fmla="*/ 0 w 21"/>
              <a:gd name="T25" fmla="*/ 17 h 117"/>
              <a:gd name="T26" fmla="*/ 0 w 21"/>
              <a:gd name="T27" fmla="*/ 24 h 117"/>
              <a:gd name="T28" fmla="*/ 0 w 21"/>
              <a:gd name="T29" fmla="*/ 39 h 117"/>
              <a:gd name="T30" fmla="*/ 4 w 21"/>
              <a:gd name="T31" fmla="*/ 45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8" y="64"/>
                </a:lnTo>
                <a:lnTo>
                  <a:pt x="10" y="73"/>
                </a:lnTo>
                <a:lnTo>
                  <a:pt x="14" y="79"/>
                </a:lnTo>
                <a:lnTo>
                  <a:pt x="17" y="96"/>
                </a:lnTo>
                <a:lnTo>
                  <a:pt x="19" y="111"/>
                </a:lnTo>
                <a:lnTo>
                  <a:pt x="21" y="117"/>
                </a:lnTo>
                <a:lnTo>
                  <a:pt x="19" y="96"/>
                </a:lnTo>
                <a:lnTo>
                  <a:pt x="17" y="81"/>
                </a:lnTo>
                <a:lnTo>
                  <a:pt x="4" y="41"/>
                </a:lnTo>
                <a:lnTo>
                  <a:pt x="0" y="15"/>
                </a:lnTo>
                <a:lnTo>
                  <a:pt x="0" y="0"/>
                </a:lnTo>
                <a:lnTo>
                  <a:pt x="0" y="17"/>
                </a:lnTo>
                <a:lnTo>
                  <a:pt x="0" y="24"/>
                </a:lnTo>
                <a:lnTo>
                  <a:pt x="0" y="39"/>
                </a:lnTo>
                <a:lnTo>
                  <a:pt x="4" y="45"/>
                </a:lnTo>
                <a:lnTo>
                  <a:pt x="4" y="5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827"/>
          <p:cNvSpPr>
            <a:spLocks/>
          </p:cNvSpPr>
          <p:nvPr/>
        </p:nvSpPr>
        <p:spPr bwMode="auto">
          <a:xfrm>
            <a:off x="4186237" y="5684838"/>
            <a:ext cx="33338" cy="185738"/>
          </a:xfrm>
          <a:custGeom>
            <a:avLst/>
            <a:gdLst>
              <a:gd name="T0" fmla="*/ 4 w 21"/>
              <a:gd name="T1" fmla="*/ 54 h 117"/>
              <a:gd name="T2" fmla="*/ 8 w 21"/>
              <a:gd name="T3" fmla="*/ 64 h 117"/>
              <a:gd name="T4" fmla="*/ 10 w 21"/>
              <a:gd name="T5" fmla="*/ 73 h 117"/>
              <a:gd name="T6" fmla="*/ 14 w 21"/>
              <a:gd name="T7" fmla="*/ 79 h 117"/>
              <a:gd name="T8" fmla="*/ 17 w 21"/>
              <a:gd name="T9" fmla="*/ 96 h 117"/>
              <a:gd name="T10" fmla="*/ 19 w 21"/>
              <a:gd name="T11" fmla="*/ 111 h 117"/>
              <a:gd name="T12" fmla="*/ 21 w 21"/>
              <a:gd name="T13" fmla="*/ 117 h 117"/>
              <a:gd name="T14" fmla="*/ 19 w 21"/>
              <a:gd name="T15" fmla="*/ 96 h 117"/>
              <a:gd name="T16" fmla="*/ 17 w 21"/>
              <a:gd name="T17" fmla="*/ 81 h 117"/>
              <a:gd name="T18" fmla="*/ 4 w 21"/>
              <a:gd name="T19" fmla="*/ 41 h 117"/>
              <a:gd name="T20" fmla="*/ 0 w 21"/>
              <a:gd name="T21" fmla="*/ 15 h 117"/>
              <a:gd name="T22" fmla="*/ 0 w 21"/>
              <a:gd name="T23" fmla="*/ 0 h 117"/>
              <a:gd name="T24" fmla="*/ 0 w 21"/>
              <a:gd name="T25" fmla="*/ 17 h 117"/>
              <a:gd name="T26" fmla="*/ 0 w 21"/>
              <a:gd name="T27" fmla="*/ 24 h 117"/>
              <a:gd name="T28" fmla="*/ 0 w 21"/>
              <a:gd name="T29" fmla="*/ 39 h 117"/>
              <a:gd name="T30" fmla="*/ 4 w 21"/>
              <a:gd name="T31" fmla="*/ 45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8" y="64"/>
                </a:lnTo>
                <a:lnTo>
                  <a:pt x="10" y="73"/>
                </a:lnTo>
                <a:lnTo>
                  <a:pt x="14" y="79"/>
                </a:lnTo>
                <a:lnTo>
                  <a:pt x="17" y="96"/>
                </a:lnTo>
                <a:lnTo>
                  <a:pt x="19" y="111"/>
                </a:lnTo>
                <a:lnTo>
                  <a:pt x="21" y="117"/>
                </a:lnTo>
                <a:lnTo>
                  <a:pt x="19" y="96"/>
                </a:lnTo>
                <a:lnTo>
                  <a:pt x="17" y="81"/>
                </a:lnTo>
                <a:lnTo>
                  <a:pt x="4" y="41"/>
                </a:lnTo>
                <a:lnTo>
                  <a:pt x="0" y="15"/>
                </a:lnTo>
                <a:lnTo>
                  <a:pt x="0" y="0"/>
                </a:lnTo>
                <a:lnTo>
                  <a:pt x="0" y="17"/>
                </a:lnTo>
                <a:lnTo>
                  <a:pt x="0" y="24"/>
                </a:lnTo>
                <a:lnTo>
                  <a:pt x="0" y="39"/>
                </a:lnTo>
                <a:lnTo>
                  <a:pt x="4" y="45"/>
                </a:lnTo>
                <a:lnTo>
                  <a:pt x="4" y="5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2" name="Freeform 828"/>
          <p:cNvSpPr>
            <a:spLocks/>
          </p:cNvSpPr>
          <p:nvPr/>
        </p:nvSpPr>
        <p:spPr bwMode="auto">
          <a:xfrm>
            <a:off x="4189412" y="5570538"/>
            <a:ext cx="39688" cy="107950"/>
          </a:xfrm>
          <a:custGeom>
            <a:avLst/>
            <a:gdLst>
              <a:gd name="T0" fmla="*/ 12 w 25"/>
              <a:gd name="T1" fmla="*/ 32 h 68"/>
              <a:gd name="T2" fmla="*/ 25 w 25"/>
              <a:gd name="T3" fmla="*/ 8 h 68"/>
              <a:gd name="T4" fmla="*/ 25 w 25"/>
              <a:gd name="T5" fmla="*/ 0 h 68"/>
              <a:gd name="T6" fmla="*/ 19 w 25"/>
              <a:gd name="T7" fmla="*/ 15 h 68"/>
              <a:gd name="T8" fmla="*/ 15 w 25"/>
              <a:gd name="T9" fmla="*/ 21 h 68"/>
              <a:gd name="T10" fmla="*/ 4 w 25"/>
              <a:gd name="T11" fmla="*/ 38 h 68"/>
              <a:gd name="T12" fmla="*/ 0 w 25"/>
              <a:gd name="T13" fmla="*/ 53 h 68"/>
              <a:gd name="T14" fmla="*/ 0 w 25"/>
              <a:gd name="T15" fmla="*/ 68 h 68"/>
              <a:gd name="T16" fmla="*/ 6 w 25"/>
              <a:gd name="T17" fmla="*/ 45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25" y="8"/>
                </a:lnTo>
                <a:lnTo>
                  <a:pt x="25" y="0"/>
                </a:lnTo>
                <a:lnTo>
                  <a:pt x="19" y="15"/>
                </a:lnTo>
                <a:lnTo>
                  <a:pt x="15" y="21"/>
                </a:lnTo>
                <a:lnTo>
                  <a:pt x="4" y="38"/>
                </a:lnTo>
                <a:lnTo>
                  <a:pt x="0" y="53"/>
                </a:lnTo>
                <a:lnTo>
                  <a:pt x="0" y="68"/>
                </a:lnTo>
                <a:lnTo>
                  <a:pt x="6" y="45"/>
                </a:lnTo>
                <a:lnTo>
                  <a:pt x="12"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829"/>
          <p:cNvSpPr>
            <a:spLocks/>
          </p:cNvSpPr>
          <p:nvPr/>
        </p:nvSpPr>
        <p:spPr bwMode="auto">
          <a:xfrm>
            <a:off x="4189412" y="5570538"/>
            <a:ext cx="39688" cy="107950"/>
          </a:xfrm>
          <a:custGeom>
            <a:avLst/>
            <a:gdLst>
              <a:gd name="T0" fmla="*/ 12 w 25"/>
              <a:gd name="T1" fmla="*/ 32 h 68"/>
              <a:gd name="T2" fmla="*/ 25 w 25"/>
              <a:gd name="T3" fmla="*/ 8 h 68"/>
              <a:gd name="T4" fmla="*/ 25 w 25"/>
              <a:gd name="T5" fmla="*/ 0 h 68"/>
              <a:gd name="T6" fmla="*/ 19 w 25"/>
              <a:gd name="T7" fmla="*/ 15 h 68"/>
              <a:gd name="T8" fmla="*/ 15 w 25"/>
              <a:gd name="T9" fmla="*/ 21 h 68"/>
              <a:gd name="T10" fmla="*/ 4 w 25"/>
              <a:gd name="T11" fmla="*/ 38 h 68"/>
              <a:gd name="T12" fmla="*/ 0 w 25"/>
              <a:gd name="T13" fmla="*/ 53 h 68"/>
              <a:gd name="T14" fmla="*/ 0 w 25"/>
              <a:gd name="T15" fmla="*/ 68 h 68"/>
              <a:gd name="T16" fmla="*/ 6 w 25"/>
              <a:gd name="T17" fmla="*/ 45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25" y="8"/>
                </a:lnTo>
                <a:lnTo>
                  <a:pt x="25" y="0"/>
                </a:lnTo>
                <a:lnTo>
                  <a:pt x="19" y="15"/>
                </a:lnTo>
                <a:lnTo>
                  <a:pt x="15" y="21"/>
                </a:lnTo>
                <a:lnTo>
                  <a:pt x="4" y="38"/>
                </a:lnTo>
                <a:lnTo>
                  <a:pt x="0" y="53"/>
                </a:lnTo>
                <a:lnTo>
                  <a:pt x="0" y="68"/>
                </a:lnTo>
                <a:lnTo>
                  <a:pt x="6" y="45"/>
                </a:lnTo>
                <a:lnTo>
                  <a:pt x="12" y="3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4" name="Freeform 830"/>
          <p:cNvSpPr>
            <a:spLocks/>
          </p:cNvSpPr>
          <p:nvPr/>
        </p:nvSpPr>
        <p:spPr bwMode="auto">
          <a:xfrm>
            <a:off x="4249737" y="5516563"/>
            <a:ext cx="23813" cy="36513"/>
          </a:xfrm>
          <a:custGeom>
            <a:avLst/>
            <a:gdLst>
              <a:gd name="T0" fmla="*/ 15 w 15"/>
              <a:gd name="T1" fmla="*/ 2 h 23"/>
              <a:gd name="T2" fmla="*/ 11 w 15"/>
              <a:gd name="T3" fmla="*/ 0 h 23"/>
              <a:gd name="T4" fmla="*/ 6 w 15"/>
              <a:gd name="T5" fmla="*/ 8 h 23"/>
              <a:gd name="T6" fmla="*/ 4 w 15"/>
              <a:gd name="T7" fmla="*/ 15 h 23"/>
              <a:gd name="T8" fmla="*/ 0 w 15"/>
              <a:gd name="T9" fmla="*/ 21 h 23"/>
              <a:gd name="T10" fmla="*/ 0 w 15"/>
              <a:gd name="T11" fmla="*/ 23 h 23"/>
              <a:gd name="T12" fmla="*/ 11 w 15"/>
              <a:gd name="T13" fmla="*/ 1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0"/>
                </a:lnTo>
                <a:lnTo>
                  <a:pt x="6" y="8"/>
                </a:lnTo>
                <a:lnTo>
                  <a:pt x="4" y="15"/>
                </a:lnTo>
                <a:lnTo>
                  <a:pt x="0" y="21"/>
                </a:lnTo>
                <a:lnTo>
                  <a:pt x="0" y="23"/>
                </a:lnTo>
                <a:lnTo>
                  <a:pt x="11" y="10"/>
                </a:lnTo>
                <a:lnTo>
                  <a:pt x="15"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831"/>
          <p:cNvSpPr>
            <a:spLocks/>
          </p:cNvSpPr>
          <p:nvPr/>
        </p:nvSpPr>
        <p:spPr bwMode="auto">
          <a:xfrm>
            <a:off x="4249737" y="5516563"/>
            <a:ext cx="23813" cy="36513"/>
          </a:xfrm>
          <a:custGeom>
            <a:avLst/>
            <a:gdLst>
              <a:gd name="T0" fmla="*/ 15 w 15"/>
              <a:gd name="T1" fmla="*/ 2 h 23"/>
              <a:gd name="T2" fmla="*/ 11 w 15"/>
              <a:gd name="T3" fmla="*/ 0 h 23"/>
              <a:gd name="T4" fmla="*/ 6 w 15"/>
              <a:gd name="T5" fmla="*/ 8 h 23"/>
              <a:gd name="T6" fmla="*/ 4 w 15"/>
              <a:gd name="T7" fmla="*/ 15 h 23"/>
              <a:gd name="T8" fmla="*/ 0 w 15"/>
              <a:gd name="T9" fmla="*/ 21 h 23"/>
              <a:gd name="T10" fmla="*/ 0 w 15"/>
              <a:gd name="T11" fmla="*/ 23 h 23"/>
              <a:gd name="T12" fmla="*/ 11 w 15"/>
              <a:gd name="T13" fmla="*/ 1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0"/>
                </a:lnTo>
                <a:lnTo>
                  <a:pt x="6" y="8"/>
                </a:lnTo>
                <a:lnTo>
                  <a:pt x="4" y="15"/>
                </a:lnTo>
                <a:lnTo>
                  <a:pt x="0" y="21"/>
                </a:lnTo>
                <a:lnTo>
                  <a:pt x="0" y="23"/>
                </a:lnTo>
                <a:lnTo>
                  <a:pt x="11" y="10"/>
                </a:lnTo>
                <a:lnTo>
                  <a:pt x="15"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6" name="Freeform 832"/>
          <p:cNvSpPr>
            <a:spLocks/>
          </p:cNvSpPr>
          <p:nvPr/>
        </p:nvSpPr>
        <p:spPr bwMode="auto">
          <a:xfrm>
            <a:off x="4279900" y="5465763"/>
            <a:ext cx="65088" cy="50800"/>
          </a:xfrm>
          <a:custGeom>
            <a:avLst/>
            <a:gdLst>
              <a:gd name="T0" fmla="*/ 2 w 41"/>
              <a:gd name="T1" fmla="*/ 23 h 32"/>
              <a:gd name="T2" fmla="*/ 0 w 41"/>
              <a:gd name="T3" fmla="*/ 25 h 32"/>
              <a:gd name="T4" fmla="*/ 2 w 41"/>
              <a:gd name="T5" fmla="*/ 32 h 32"/>
              <a:gd name="T6" fmla="*/ 24 w 41"/>
              <a:gd name="T7" fmla="*/ 17 h 32"/>
              <a:gd name="T8" fmla="*/ 38 w 41"/>
              <a:gd name="T9" fmla="*/ 10 h 32"/>
              <a:gd name="T10" fmla="*/ 41 w 41"/>
              <a:gd name="T11" fmla="*/ 2 h 32"/>
              <a:gd name="T12" fmla="*/ 38 w 41"/>
              <a:gd name="T13" fmla="*/ 0 h 32"/>
              <a:gd name="T14" fmla="*/ 30 w 41"/>
              <a:gd name="T15" fmla="*/ 8 h 32"/>
              <a:gd name="T16" fmla="*/ 17 w 41"/>
              <a:gd name="T17" fmla="*/ 15 h 32"/>
              <a:gd name="T18" fmla="*/ 11 w 41"/>
              <a:gd name="T19" fmla="*/ 23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0" y="25"/>
                </a:lnTo>
                <a:lnTo>
                  <a:pt x="2" y="32"/>
                </a:lnTo>
                <a:lnTo>
                  <a:pt x="24" y="17"/>
                </a:lnTo>
                <a:lnTo>
                  <a:pt x="38" y="10"/>
                </a:lnTo>
                <a:lnTo>
                  <a:pt x="41" y="2"/>
                </a:lnTo>
                <a:lnTo>
                  <a:pt x="38" y="0"/>
                </a:lnTo>
                <a:lnTo>
                  <a:pt x="30" y="8"/>
                </a:lnTo>
                <a:lnTo>
                  <a:pt x="17" y="15"/>
                </a:lnTo>
                <a:lnTo>
                  <a:pt x="11" y="23"/>
                </a:lnTo>
                <a:lnTo>
                  <a:pt x="2"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833"/>
          <p:cNvSpPr>
            <a:spLocks/>
          </p:cNvSpPr>
          <p:nvPr/>
        </p:nvSpPr>
        <p:spPr bwMode="auto">
          <a:xfrm>
            <a:off x="4279900" y="5465763"/>
            <a:ext cx="65088" cy="50800"/>
          </a:xfrm>
          <a:custGeom>
            <a:avLst/>
            <a:gdLst>
              <a:gd name="T0" fmla="*/ 2 w 41"/>
              <a:gd name="T1" fmla="*/ 23 h 32"/>
              <a:gd name="T2" fmla="*/ 0 w 41"/>
              <a:gd name="T3" fmla="*/ 25 h 32"/>
              <a:gd name="T4" fmla="*/ 2 w 41"/>
              <a:gd name="T5" fmla="*/ 32 h 32"/>
              <a:gd name="T6" fmla="*/ 24 w 41"/>
              <a:gd name="T7" fmla="*/ 17 h 32"/>
              <a:gd name="T8" fmla="*/ 38 w 41"/>
              <a:gd name="T9" fmla="*/ 10 h 32"/>
              <a:gd name="T10" fmla="*/ 41 w 41"/>
              <a:gd name="T11" fmla="*/ 2 h 32"/>
              <a:gd name="T12" fmla="*/ 38 w 41"/>
              <a:gd name="T13" fmla="*/ 0 h 32"/>
              <a:gd name="T14" fmla="*/ 30 w 41"/>
              <a:gd name="T15" fmla="*/ 8 h 32"/>
              <a:gd name="T16" fmla="*/ 17 w 41"/>
              <a:gd name="T17" fmla="*/ 15 h 32"/>
              <a:gd name="T18" fmla="*/ 11 w 41"/>
              <a:gd name="T19" fmla="*/ 23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0" y="25"/>
                </a:lnTo>
                <a:lnTo>
                  <a:pt x="2" y="32"/>
                </a:lnTo>
                <a:lnTo>
                  <a:pt x="24" y="17"/>
                </a:lnTo>
                <a:lnTo>
                  <a:pt x="38" y="10"/>
                </a:lnTo>
                <a:lnTo>
                  <a:pt x="41" y="2"/>
                </a:lnTo>
                <a:lnTo>
                  <a:pt x="38" y="0"/>
                </a:lnTo>
                <a:lnTo>
                  <a:pt x="30" y="8"/>
                </a:lnTo>
                <a:lnTo>
                  <a:pt x="17" y="15"/>
                </a:lnTo>
                <a:lnTo>
                  <a:pt x="11" y="23"/>
                </a:lnTo>
                <a:lnTo>
                  <a:pt x="2" y="2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8" name="Freeform 834"/>
          <p:cNvSpPr>
            <a:spLocks/>
          </p:cNvSpPr>
          <p:nvPr/>
        </p:nvSpPr>
        <p:spPr bwMode="auto">
          <a:xfrm>
            <a:off x="4549775" y="5295900"/>
            <a:ext cx="44450" cy="38100"/>
          </a:xfrm>
          <a:custGeom>
            <a:avLst/>
            <a:gdLst>
              <a:gd name="T0" fmla="*/ 22 w 28"/>
              <a:gd name="T1" fmla="*/ 9 h 24"/>
              <a:gd name="T2" fmla="*/ 28 w 28"/>
              <a:gd name="T3" fmla="*/ 0 h 24"/>
              <a:gd name="T4" fmla="*/ 20 w 28"/>
              <a:gd name="T5" fmla="*/ 5 h 24"/>
              <a:gd name="T6" fmla="*/ 11 w 28"/>
              <a:gd name="T7" fmla="*/ 15 h 24"/>
              <a:gd name="T8" fmla="*/ 3 w 28"/>
              <a:gd name="T9" fmla="*/ 19 h 24"/>
              <a:gd name="T10" fmla="*/ 0 w 28"/>
              <a:gd name="T11" fmla="*/ 24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28" y="0"/>
                </a:lnTo>
                <a:lnTo>
                  <a:pt x="20" y="5"/>
                </a:lnTo>
                <a:lnTo>
                  <a:pt x="11" y="15"/>
                </a:lnTo>
                <a:lnTo>
                  <a:pt x="3" y="19"/>
                </a:lnTo>
                <a:lnTo>
                  <a:pt x="0" y="24"/>
                </a:lnTo>
                <a:lnTo>
                  <a:pt x="22" y="9"/>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835"/>
          <p:cNvSpPr>
            <a:spLocks/>
          </p:cNvSpPr>
          <p:nvPr/>
        </p:nvSpPr>
        <p:spPr bwMode="auto">
          <a:xfrm>
            <a:off x="4549775" y="5295900"/>
            <a:ext cx="44450" cy="38100"/>
          </a:xfrm>
          <a:custGeom>
            <a:avLst/>
            <a:gdLst>
              <a:gd name="T0" fmla="*/ 22 w 28"/>
              <a:gd name="T1" fmla="*/ 9 h 24"/>
              <a:gd name="T2" fmla="*/ 28 w 28"/>
              <a:gd name="T3" fmla="*/ 0 h 24"/>
              <a:gd name="T4" fmla="*/ 20 w 28"/>
              <a:gd name="T5" fmla="*/ 5 h 24"/>
              <a:gd name="T6" fmla="*/ 11 w 28"/>
              <a:gd name="T7" fmla="*/ 15 h 24"/>
              <a:gd name="T8" fmla="*/ 3 w 28"/>
              <a:gd name="T9" fmla="*/ 19 h 24"/>
              <a:gd name="T10" fmla="*/ 0 w 28"/>
              <a:gd name="T11" fmla="*/ 24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28" y="0"/>
                </a:lnTo>
                <a:lnTo>
                  <a:pt x="20" y="5"/>
                </a:lnTo>
                <a:lnTo>
                  <a:pt x="11" y="15"/>
                </a:lnTo>
                <a:lnTo>
                  <a:pt x="3" y="19"/>
                </a:lnTo>
                <a:lnTo>
                  <a:pt x="0" y="24"/>
                </a:lnTo>
                <a:lnTo>
                  <a:pt x="22" y="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0" name="Freeform 836"/>
          <p:cNvSpPr>
            <a:spLocks/>
          </p:cNvSpPr>
          <p:nvPr/>
        </p:nvSpPr>
        <p:spPr bwMode="auto">
          <a:xfrm>
            <a:off x="4186237" y="5684838"/>
            <a:ext cx="33338" cy="185738"/>
          </a:xfrm>
          <a:custGeom>
            <a:avLst/>
            <a:gdLst>
              <a:gd name="T0" fmla="*/ 4 w 21"/>
              <a:gd name="T1" fmla="*/ 54 h 117"/>
              <a:gd name="T2" fmla="*/ 4 w 21"/>
              <a:gd name="T3" fmla="*/ 45 h 117"/>
              <a:gd name="T4" fmla="*/ 0 w 21"/>
              <a:gd name="T5" fmla="*/ 39 h 117"/>
              <a:gd name="T6" fmla="*/ 0 w 21"/>
              <a:gd name="T7" fmla="*/ 24 h 117"/>
              <a:gd name="T8" fmla="*/ 0 w 21"/>
              <a:gd name="T9" fmla="*/ 17 h 117"/>
              <a:gd name="T10" fmla="*/ 0 w 21"/>
              <a:gd name="T11" fmla="*/ 0 h 117"/>
              <a:gd name="T12" fmla="*/ 0 w 21"/>
              <a:gd name="T13" fmla="*/ 15 h 117"/>
              <a:gd name="T14" fmla="*/ 4 w 21"/>
              <a:gd name="T15" fmla="*/ 41 h 117"/>
              <a:gd name="T16" fmla="*/ 17 w 21"/>
              <a:gd name="T17" fmla="*/ 81 h 117"/>
              <a:gd name="T18" fmla="*/ 19 w 21"/>
              <a:gd name="T19" fmla="*/ 96 h 117"/>
              <a:gd name="T20" fmla="*/ 21 w 21"/>
              <a:gd name="T21" fmla="*/ 117 h 117"/>
              <a:gd name="T22" fmla="*/ 19 w 21"/>
              <a:gd name="T23" fmla="*/ 111 h 117"/>
              <a:gd name="T24" fmla="*/ 17 w 21"/>
              <a:gd name="T25" fmla="*/ 96 h 117"/>
              <a:gd name="T26" fmla="*/ 14 w 21"/>
              <a:gd name="T27" fmla="*/ 79 h 117"/>
              <a:gd name="T28" fmla="*/ 10 w 21"/>
              <a:gd name="T29" fmla="*/ 73 h 117"/>
              <a:gd name="T30" fmla="*/ 8 w 21"/>
              <a:gd name="T31" fmla="*/ 64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4" y="45"/>
                </a:lnTo>
                <a:lnTo>
                  <a:pt x="0" y="39"/>
                </a:lnTo>
                <a:lnTo>
                  <a:pt x="0" y="24"/>
                </a:lnTo>
                <a:lnTo>
                  <a:pt x="0" y="17"/>
                </a:lnTo>
                <a:lnTo>
                  <a:pt x="0" y="0"/>
                </a:lnTo>
                <a:lnTo>
                  <a:pt x="0" y="15"/>
                </a:lnTo>
                <a:lnTo>
                  <a:pt x="4" y="41"/>
                </a:lnTo>
                <a:lnTo>
                  <a:pt x="17" y="81"/>
                </a:lnTo>
                <a:lnTo>
                  <a:pt x="19" y="96"/>
                </a:lnTo>
                <a:lnTo>
                  <a:pt x="21" y="117"/>
                </a:lnTo>
                <a:lnTo>
                  <a:pt x="19" y="111"/>
                </a:lnTo>
                <a:lnTo>
                  <a:pt x="17" y="96"/>
                </a:lnTo>
                <a:lnTo>
                  <a:pt x="14" y="79"/>
                </a:lnTo>
                <a:lnTo>
                  <a:pt x="10" y="73"/>
                </a:lnTo>
                <a:lnTo>
                  <a:pt x="8" y="64"/>
                </a:lnTo>
                <a:lnTo>
                  <a:pt x="4" y="5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837"/>
          <p:cNvSpPr>
            <a:spLocks/>
          </p:cNvSpPr>
          <p:nvPr/>
        </p:nvSpPr>
        <p:spPr bwMode="auto">
          <a:xfrm>
            <a:off x="4186237" y="5684838"/>
            <a:ext cx="33338" cy="185738"/>
          </a:xfrm>
          <a:custGeom>
            <a:avLst/>
            <a:gdLst>
              <a:gd name="T0" fmla="*/ 4 w 21"/>
              <a:gd name="T1" fmla="*/ 54 h 117"/>
              <a:gd name="T2" fmla="*/ 4 w 21"/>
              <a:gd name="T3" fmla="*/ 45 h 117"/>
              <a:gd name="T4" fmla="*/ 0 w 21"/>
              <a:gd name="T5" fmla="*/ 39 h 117"/>
              <a:gd name="T6" fmla="*/ 0 w 21"/>
              <a:gd name="T7" fmla="*/ 24 h 117"/>
              <a:gd name="T8" fmla="*/ 0 w 21"/>
              <a:gd name="T9" fmla="*/ 17 h 117"/>
              <a:gd name="T10" fmla="*/ 0 w 21"/>
              <a:gd name="T11" fmla="*/ 0 h 117"/>
              <a:gd name="T12" fmla="*/ 0 w 21"/>
              <a:gd name="T13" fmla="*/ 15 h 117"/>
              <a:gd name="T14" fmla="*/ 4 w 21"/>
              <a:gd name="T15" fmla="*/ 41 h 117"/>
              <a:gd name="T16" fmla="*/ 17 w 21"/>
              <a:gd name="T17" fmla="*/ 81 h 117"/>
              <a:gd name="T18" fmla="*/ 19 w 21"/>
              <a:gd name="T19" fmla="*/ 96 h 117"/>
              <a:gd name="T20" fmla="*/ 21 w 21"/>
              <a:gd name="T21" fmla="*/ 117 h 117"/>
              <a:gd name="T22" fmla="*/ 19 w 21"/>
              <a:gd name="T23" fmla="*/ 111 h 117"/>
              <a:gd name="T24" fmla="*/ 17 w 21"/>
              <a:gd name="T25" fmla="*/ 96 h 117"/>
              <a:gd name="T26" fmla="*/ 14 w 21"/>
              <a:gd name="T27" fmla="*/ 79 h 117"/>
              <a:gd name="T28" fmla="*/ 10 w 21"/>
              <a:gd name="T29" fmla="*/ 73 h 117"/>
              <a:gd name="T30" fmla="*/ 8 w 21"/>
              <a:gd name="T31" fmla="*/ 64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4" y="45"/>
                </a:lnTo>
                <a:lnTo>
                  <a:pt x="0" y="39"/>
                </a:lnTo>
                <a:lnTo>
                  <a:pt x="0" y="24"/>
                </a:lnTo>
                <a:lnTo>
                  <a:pt x="0" y="17"/>
                </a:lnTo>
                <a:lnTo>
                  <a:pt x="0" y="0"/>
                </a:lnTo>
                <a:lnTo>
                  <a:pt x="0" y="15"/>
                </a:lnTo>
                <a:lnTo>
                  <a:pt x="4" y="41"/>
                </a:lnTo>
                <a:lnTo>
                  <a:pt x="17" y="81"/>
                </a:lnTo>
                <a:lnTo>
                  <a:pt x="19" y="96"/>
                </a:lnTo>
                <a:lnTo>
                  <a:pt x="21" y="117"/>
                </a:lnTo>
                <a:lnTo>
                  <a:pt x="19" y="111"/>
                </a:lnTo>
                <a:lnTo>
                  <a:pt x="17" y="96"/>
                </a:lnTo>
                <a:lnTo>
                  <a:pt x="14" y="79"/>
                </a:lnTo>
                <a:lnTo>
                  <a:pt x="10" y="73"/>
                </a:lnTo>
                <a:lnTo>
                  <a:pt x="8" y="64"/>
                </a:lnTo>
                <a:lnTo>
                  <a:pt x="4" y="5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2" name="Freeform 838"/>
          <p:cNvSpPr>
            <a:spLocks/>
          </p:cNvSpPr>
          <p:nvPr/>
        </p:nvSpPr>
        <p:spPr bwMode="auto">
          <a:xfrm>
            <a:off x="4189412" y="5570538"/>
            <a:ext cx="39688" cy="107950"/>
          </a:xfrm>
          <a:custGeom>
            <a:avLst/>
            <a:gdLst>
              <a:gd name="T0" fmla="*/ 12 w 25"/>
              <a:gd name="T1" fmla="*/ 32 h 68"/>
              <a:gd name="T2" fmla="*/ 6 w 25"/>
              <a:gd name="T3" fmla="*/ 45 h 68"/>
              <a:gd name="T4" fmla="*/ 0 w 25"/>
              <a:gd name="T5" fmla="*/ 68 h 68"/>
              <a:gd name="T6" fmla="*/ 0 w 25"/>
              <a:gd name="T7" fmla="*/ 53 h 68"/>
              <a:gd name="T8" fmla="*/ 4 w 25"/>
              <a:gd name="T9" fmla="*/ 38 h 68"/>
              <a:gd name="T10" fmla="*/ 15 w 25"/>
              <a:gd name="T11" fmla="*/ 21 h 68"/>
              <a:gd name="T12" fmla="*/ 19 w 25"/>
              <a:gd name="T13" fmla="*/ 15 h 68"/>
              <a:gd name="T14" fmla="*/ 25 w 25"/>
              <a:gd name="T15" fmla="*/ 0 h 68"/>
              <a:gd name="T16" fmla="*/ 25 w 25"/>
              <a:gd name="T17" fmla="*/ 8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6" y="45"/>
                </a:lnTo>
                <a:lnTo>
                  <a:pt x="0" y="68"/>
                </a:lnTo>
                <a:lnTo>
                  <a:pt x="0" y="53"/>
                </a:lnTo>
                <a:lnTo>
                  <a:pt x="4" y="38"/>
                </a:lnTo>
                <a:lnTo>
                  <a:pt x="15" y="21"/>
                </a:lnTo>
                <a:lnTo>
                  <a:pt x="19" y="15"/>
                </a:lnTo>
                <a:lnTo>
                  <a:pt x="25" y="0"/>
                </a:lnTo>
                <a:lnTo>
                  <a:pt x="25" y="8"/>
                </a:lnTo>
                <a:lnTo>
                  <a:pt x="12"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839"/>
          <p:cNvSpPr>
            <a:spLocks/>
          </p:cNvSpPr>
          <p:nvPr/>
        </p:nvSpPr>
        <p:spPr bwMode="auto">
          <a:xfrm>
            <a:off x="4189412" y="5570538"/>
            <a:ext cx="39688" cy="107950"/>
          </a:xfrm>
          <a:custGeom>
            <a:avLst/>
            <a:gdLst>
              <a:gd name="T0" fmla="*/ 12 w 25"/>
              <a:gd name="T1" fmla="*/ 32 h 68"/>
              <a:gd name="T2" fmla="*/ 6 w 25"/>
              <a:gd name="T3" fmla="*/ 45 h 68"/>
              <a:gd name="T4" fmla="*/ 0 w 25"/>
              <a:gd name="T5" fmla="*/ 68 h 68"/>
              <a:gd name="T6" fmla="*/ 0 w 25"/>
              <a:gd name="T7" fmla="*/ 53 h 68"/>
              <a:gd name="T8" fmla="*/ 4 w 25"/>
              <a:gd name="T9" fmla="*/ 38 h 68"/>
              <a:gd name="T10" fmla="*/ 15 w 25"/>
              <a:gd name="T11" fmla="*/ 21 h 68"/>
              <a:gd name="T12" fmla="*/ 19 w 25"/>
              <a:gd name="T13" fmla="*/ 15 h 68"/>
              <a:gd name="T14" fmla="*/ 25 w 25"/>
              <a:gd name="T15" fmla="*/ 0 h 68"/>
              <a:gd name="T16" fmla="*/ 25 w 25"/>
              <a:gd name="T17" fmla="*/ 8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6" y="45"/>
                </a:lnTo>
                <a:lnTo>
                  <a:pt x="0" y="68"/>
                </a:lnTo>
                <a:lnTo>
                  <a:pt x="0" y="53"/>
                </a:lnTo>
                <a:lnTo>
                  <a:pt x="4" y="38"/>
                </a:lnTo>
                <a:lnTo>
                  <a:pt x="15" y="21"/>
                </a:lnTo>
                <a:lnTo>
                  <a:pt x="19" y="15"/>
                </a:lnTo>
                <a:lnTo>
                  <a:pt x="25" y="0"/>
                </a:lnTo>
                <a:lnTo>
                  <a:pt x="25" y="8"/>
                </a:lnTo>
                <a:lnTo>
                  <a:pt x="12" y="3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4" name="Freeform 840"/>
          <p:cNvSpPr>
            <a:spLocks/>
          </p:cNvSpPr>
          <p:nvPr/>
        </p:nvSpPr>
        <p:spPr bwMode="auto">
          <a:xfrm>
            <a:off x="4249737" y="5516563"/>
            <a:ext cx="23813" cy="36513"/>
          </a:xfrm>
          <a:custGeom>
            <a:avLst/>
            <a:gdLst>
              <a:gd name="T0" fmla="*/ 15 w 15"/>
              <a:gd name="T1" fmla="*/ 2 h 23"/>
              <a:gd name="T2" fmla="*/ 11 w 15"/>
              <a:gd name="T3" fmla="*/ 10 h 23"/>
              <a:gd name="T4" fmla="*/ 0 w 15"/>
              <a:gd name="T5" fmla="*/ 23 h 23"/>
              <a:gd name="T6" fmla="*/ 0 w 15"/>
              <a:gd name="T7" fmla="*/ 21 h 23"/>
              <a:gd name="T8" fmla="*/ 4 w 15"/>
              <a:gd name="T9" fmla="*/ 15 h 23"/>
              <a:gd name="T10" fmla="*/ 6 w 15"/>
              <a:gd name="T11" fmla="*/ 8 h 23"/>
              <a:gd name="T12" fmla="*/ 11 w 15"/>
              <a:gd name="T13" fmla="*/ 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10"/>
                </a:lnTo>
                <a:lnTo>
                  <a:pt x="0" y="23"/>
                </a:lnTo>
                <a:lnTo>
                  <a:pt x="0" y="21"/>
                </a:lnTo>
                <a:lnTo>
                  <a:pt x="4" y="15"/>
                </a:lnTo>
                <a:lnTo>
                  <a:pt x="6" y="8"/>
                </a:lnTo>
                <a:lnTo>
                  <a:pt x="11" y="0"/>
                </a:lnTo>
                <a:lnTo>
                  <a:pt x="15"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841"/>
          <p:cNvSpPr>
            <a:spLocks/>
          </p:cNvSpPr>
          <p:nvPr/>
        </p:nvSpPr>
        <p:spPr bwMode="auto">
          <a:xfrm>
            <a:off x="4249737" y="5516563"/>
            <a:ext cx="23813" cy="36513"/>
          </a:xfrm>
          <a:custGeom>
            <a:avLst/>
            <a:gdLst>
              <a:gd name="T0" fmla="*/ 15 w 15"/>
              <a:gd name="T1" fmla="*/ 2 h 23"/>
              <a:gd name="T2" fmla="*/ 11 w 15"/>
              <a:gd name="T3" fmla="*/ 10 h 23"/>
              <a:gd name="T4" fmla="*/ 0 w 15"/>
              <a:gd name="T5" fmla="*/ 23 h 23"/>
              <a:gd name="T6" fmla="*/ 0 w 15"/>
              <a:gd name="T7" fmla="*/ 21 h 23"/>
              <a:gd name="T8" fmla="*/ 4 w 15"/>
              <a:gd name="T9" fmla="*/ 15 h 23"/>
              <a:gd name="T10" fmla="*/ 6 w 15"/>
              <a:gd name="T11" fmla="*/ 8 h 23"/>
              <a:gd name="T12" fmla="*/ 11 w 15"/>
              <a:gd name="T13" fmla="*/ 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10"/>
                </a:lnTo>
                <a:lnTo>
                  <a:pt x="0" y="23"/>
                </a:lnTo>
                <a:lnTo>
                  <a:pt x="0" y="21"/>
                </a:lnTo>
                <a:lnTo>
                  <a:pt x="4" y="15"/>
                </a:lnTo>
                <a:lnTo>
                  <a:pt x="6" y="8"/>
                </a:lnTo>
                <a:lnTo>
                  <a:pt x="11" y="0"/>
                </a:lnTo>
                <a:lnTo>
                  <a:pt x="15"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6" name="Freeform 842"/>
          <p:cNvSpPr>
            <a:spLocks/>
          </p:cNvSpPr>
          <p:nvPr/>
        </p:nvSpPr>
        <p:spPr bwMode="auto">
          <a:xfrm>
            <a:off x="4279900" y="5465763"/>
            <a:ext cx="65088" cy="50800"/>
          </a:xfrm>
          <a:custGeom>
            <a:avLst/>
            <a:gdLst>
              <a:gd name="T0" fmla="*/ 2 w 41"/>
              <a:gd name="T1" fmla="*/ 23 h 32"/>
              <a:gd name="T2" fmla="*/ 11 w 41"/>
              <a:gd name="T3" fmla="*/ 23 h 32"/>
              <a:gd name="T4" fmla="*/ 17 w 41"/>
              <a:gd name="T5" fmla="*/ 15 h 32"/>
              <a:gd name="T6" fmla="*/ 30 w 41"/>
              <a:gd name="T7" fmla="*/ 8 h 32"/>
              <a:gd name="T8" fmla="*/ 38 w 41"/>
              <a:gd name="T9" fmla="*/ 0 h 32"/>
              <a:gd name="T10" fmla="*/ 41 w 41"/>
              <a:gd name="T11" fmla="*/ 2 h 32"/>
              <a:gd name="T12" fmla="*/ 38 w 41"/>
              <a:gd name="T13" fmla="*/ 10 h 32"/>
              <a:gd name="T14" fmla="*/ 24 w 41"/>
              <a:gd name="T15" fmla="*/ 17 h 32"/>
              <a:gd name="T16" fmla="*/ 2 w 41"/>
              <a:gd name="T17" fmla="*/ 32 h 32"/>
              <a:gd name="T18" fmla="*/ 0 w 41"/>
              <a:gd name="T19" fmla="*/ 25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11" y="23"/>
                </a:lnTo>
                <a:lnTo>
                  <a:pt x="17" y="15"/>
                </a:lnTo>
                <a:lnTo>
                  <a:pt x="30" y="8"/>
                </a:lnTo>
                <a:lnTo>
                  <a:pt x="38" y="0"/>
                </a:lnTo>
                <a:lnTo>
                  <a:pt x="41" y="2"/>
                </a:lnTo>
                <a:lnTo>
                  <a:pt x="38" y="10"/>
                </a:lnTo>
                <a:lnTo>
                  <a:pt x="24" y="17"/>
                </a:lnTo>
                <a:lnTo>
                  <a:pt x="2" y="32"/>
                </a:lnTo>
                <a:lnTo>
                  <a:pt x="0" y="25"/>
                </a:lnTo>
                <a:lnTo>
                  <a:pt x="2"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843"/>
          <p:cNvSpPr>
            <a:spLocks/>
          </p:cNvSpPr>
          <p:nvPr/>
        </p:nvSpPr>
        <p:spPr bwMode="auto">
          <a:xfrm>
            <a:off x="4279900" y="5465763"/>
            <a:ext cx="65088" cy="50800"/>
          </a:xfrm>
          <a:custGeom>
            <a:avLst/>
            <a:gdLst>
              <a:gd name="T0" fmla="*/ 2 w 41"/>
              <a:gd name="T1" fmla="*/ 23 h 32"/>
              <a:gd name="T2" fmla="*/ 11 w 41"/>
              <a:gd name="T3" fmla="*/ 23 h 32"/>
              <a:gd name="T4" fmla="*/ 17 w 41"/>
              <a:gd name="T5" fmla="*/ 15 h 32"/>
              <a:gd name="T6" fmla="*/ 30 w 41"/>
              <a:gd name="T7" fmla="*/ 8 h 32"/>
              <a:gd name="T8" fmla="*/ 38 w 41"/>
              <a:gd name="T9" fmla="*/ 0 h 32"/>
              <a:gd name="T10" fmla="*/ 41 w 41"/>
              <a:gd name="T11" fmla="*/ 2 h 32"/>
              <a:gd name="T12" fmla="*/ 38 w 41"/>
              <a:gd name="T13" fmla="*/ 10 h 32"/>
              <a:gd name="T14" fmla="*/ 24 w 41"/>
              <a:gd name="T15" fmla="*/ 17 h 32"/>
              <a:gd name="T16" fmla="*/ 2 w 41"/>
              <a:gd name="T17" fmla="*/ 32 h 32"/>
              <a:gd name="T18" fmla="*/ 0 w 41"/>
              <a:gd name="T19" fmla="*/ 25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11" y="23"/>
                </a:lnTo>
                <a:lnTo>
                  <a:pt x="17" y="15"/>
                </a:lnTo>
                <a:lnTo>
                  <a:pt x="30" y="8"/>
                </a:lnTo>
                <a:lnTo>
                  <a:pt x="38" y="0"/>
                </a:lnTo>
                <a:lnTo>
                  <a:pt x="41" y="2"/>
                </a:lnTo>
                <a:lnTo>
                  <a:pt x="38" y="10"/>
                </a:lnTo>
                <a:lnTo>
                  <a:pt x="24" y="17"/>
                </a:lnTo>
                <a:lnTo>
                  <a:pt x="2" y="32"/>
                </a:lnTo>
                <a:lnTo>
                  <a:pt x="0" y="25"/>
                </a:lnTo>
                <a:lnTo>
                  <a:pt x="2" y="2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8" name="Freeform 844"/>
          <p:cNvSpPr>
            <a:spLocks/>
          </p:cNvSpPr>
          <p:nvPr/>
        </p:nvSpPr>
        <p:spPr bwMode="auto">
          <a:xfrm>
            <a:off x="4549775" y="5295900"/>
            <a:ext cx="44450" cy="38100"/>
          </a:xfrm>
          <a:custGeom>
            <a:avLst/>
            <a:gdLst>
              <a:gd name="T0" fmla="*/ 22 w 28"/>
              <a:gd name="T1" fmla="*/ 9 h 24"/>
              <a:gd name="T2" fmla="*/ 0 w 28"/>
              <a:gd name="T3" fmla="*/ 24 h 24"/>
              <a:gd name="T4" fmla="*/ 3 w 28"/>
              <a:gd name="T5" fmla="*/ 19 h 24"/>
              <a:gd name="T6" fmla="*/ 11 w 28"/>
              <a:gd name="T7" fmla="*/ 15 h 24"/>
              <a:gd name="T8" fmla="*/ 20 w 28"/>
              <a:gd name="T9" fmla="*/ 5 h 24"/>
              <a:gd name="T10" fmla="*/ 28 w 28"/>
              <a:gd name="T11" fmla="*/ 0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0" y="24"/>
                </a:lnTo>
                <a:lnTo>
                  <a:pt x="3" y="19"/>
                </a:lnTo>
                <a:lnTo>
                  <a:pt x="11" y="15"/>
                </a:lnTo>
                <a:lnTo>
                  <a:pt x="20" y="5"/>
                </a:lnTo>
                <a:lnTo>
                  <a:pt x="28" y="0"/>
                </a:lnTo>
                <a:lnTo>
                  <a:pt x="22" y="9"/>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845"/>
          <p:cNvSpPr>
            <a:spLocks/>
          </p:cNvSpPr>
          <p:nvPr/>
        </p:nvSpPr>
        <p:spPr bwMode="auto">
          <a:xfrm>
            <a:off x="4549775" y="5295900"/>
            <a:ext cx="44450" cy="38100"/>
          </a:xfrm>
          <a:custGeom>
            <a:avLst/>
            <a:gdLst>
              <a:gd name="T0" fmla="*/ 22 w 28"/>
              <a:gd name="T1" fmla="*/ 9 h 24"/>
              <a:gd name="T2" fmla="*/ 0 w 28"/>
              <a:gd name="T3" fmla="*/ 24 h 24"/>
              <a:gd name="T4" fmla="*/ 3 w 28"/>
              <a:gd name="T5" fmla="*/ 19 h 24"/>
              <a:gd name="T6" fmla="*/ 11 w 28"/>
              <a:gd name="T7" fmla="*/ 15 h 24"/>
              <a:gd name="T8" fmla="*/ 20 w 28"/>
              <a:gd name="T9" fmla="*/ 5 h 24"/>
              <a:gd name="T10" fmla="*/ 28 w 28"/>
              <a:gd name="T11" fmla="*/ 0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0" y="24"/>
                </a:lnTo>
                <a:lnTo>
                  <a:pt x="3" y="19"/>
                </a:lnTo>
                <a:lnTo>
                  <a:pt x="11" y="15"/>
                </a:lnTo>
                <a:lnTo>
                  <a:pt x="20" y="5"/>
                </a:lnTo>
                <a:lnTo>
                  <a:pt x="28" y="0"/>
                </a:lnTo>
                <a:lnTo>
                  <a:pt x="22" y="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0" name="Freeform 846"/>
          <p:cNvSpPr>
            <a:spLocks/>
          </p:cNvSpPr>
          <p:nvPr/>
        </p:nvSpPr>
        <p:spPr bwMode="auto">
          <a:xfrm>
            <a:off x="5016500" y="5226050"/>
            <a:ext cx="50800" cy="26988"/>
          </a:xfrm>
          <a:custGeom>
            <a:avLst/>
            <a:gdLst>
              <a:gd name="T0" fmla="*/ 32 w 32"/>
              <a:gd name="T1" fmla="*/ 8 h 17"/>
              <a:gd name="T2" fmla="*/ 32 w 32"/>
              <a:gd name="T3" fmla="*/ 8 h 17"/>
              <a:gd name="T4" fmla="*/ 30 w 32"/>
              <a:gd name="T5" fmla="*/ 6 h 17"/>
              <a:gd name="T6" fmla="*/ 15 w 32"/>
              <a:gd name="T7" fmla="*/ 0 h 17"/>
              <a:gd name="T8" fmla="*/ 0 w 32"/>
              <a:gd name="T9" fmla="*/ 6 h 17"/>
              <a:gd name="T10" fmla="*/ 5 w 32"/>
              <a:gd name="T11" fmla="*/ 10 h 17"/>
              <a:gd name="T12" fmla="*/ 13 w 32"/>
              <a:gd name="T13" fmla="*/ 12 h 17"/>
              <a:gd name="T14" fmla="*/ 19 w 32"/>
              <a:gd name="T15" fmla="*/ 17 h 17"/>
              <a:gd name="T16" fmla="*/ 28 w 32"/>
              <a:gd name="T17" fmla="*/ 15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32" y="8"/>
                </a:lnTo>
                <a:lnTo>
                  <a:pt x="30" y="6"/>
                </a:lnTo>
                <a:lnTo>
                  <a:pt x="15" y="0"/>
                </a:lnTo>
                <a:lnTo>
                  <a:pt x="0" y="6"/>
                </a:lnTo>
                <a:lnTo>
                  <a:pt x="5" y="10"/>
                </a:lnTo>
                <a:lnTo>
                  <a:pt x="13" y="12"/>
                </a:lnTo>
                <a:lnTo>
                  <a:pt x="19" y="17"/>
                </a:lnTo>
                <a:lnTo>
                  <a:pt x="28" y="15"/>
                </a:lnTo>
                <a:lnTo>
                  <a:pt x="32" y="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847"/>
          <p:cNvSpPr>
            <a:spLocks/>
          </p:cNvSpPr>
          <p:nvPr/>
        </p:nvSpPr>
        <p:spPr bwMode="auto">
          <a:xfrm>
            <a:off x="5016500" y="5226050"/>
            <a:ext cx="50800" cy="26988"/>
          </a:xfrm>
          <a:custGeom>
            <a:avLst/>
            <a:gdLst>
              <a:gd name="T0" fmla="*/ 32 w 32"/>
              <a:gd name="T1" fmla="*/ 8 h 17"/>
              <a:gd name="T2" fmla="*/ 32 w 32"/>
              <a:gd name="T3" fmla="*/ 8 h 17"/>
              <a:gd name="T4" fmla="*/ 30 w 32"/>
              <a:gd name="T5" fmla="*/ 6 h 17"/>
              <a:gd name="T6" fmla="*/ 15 w 32"/>
              <a:gd name="T7" fmla="*/ 0 h 17"/>
              <a:gd name="T8" fmla="*/ 0 w 32"/>
              <a:gd name="T9" fmla="*/ 6 h 17"/>
              <a:gd name="T10" fmla="*/ 5 w 32"/>
              <a:gd name="T11" fmla="*/ 10 h 17"/>
              <a:gd name="T12" fmla="*/ 13 w 32"/>
              <a:gd name="T13" fmla="*/ 12 h 17"/>
              <a:gd name="T14" fmla="*/ 19 w 32"/>
              <a:gd name="T15" fmla="*/ 17 h 17"/>
              <a:gd name="T16" fmla="*/ 28 w 32"/>
              <a:gd name="T17" fmla="*/ 15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32" y="8"/>
                </a:lnTo>
                <a:lnTo>
                  <a:pt x="30" y="6"/>
                </a:lnTo>
                <a:lnTo>
                  <a:pt x="15" y="0"/>
                </a:lnTo>
                <a:lnTo>
                  <a:pt x="0" y="6"/>
                </a:lnTo>
                <a:lnTo>
                  <a:pt x="5" y="10"/>
                </a:lnTo>
                <a:lnTo>
                  <a:pt x="13" y="12"/>
                </a:lnTo>
                <a:lnTo>
                  <a:pt x="19" y="17"/>
                </a:lnTo>
                <a:lnTo>
                  <a:pt x="28" y="15"/>
                </a:lnTo>
                <a:lnTo>
                  <a:pt x="32" y="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2" name="Freeform 848"/>
          <p:cNvSpPr>
            <a:spLocks/>
          </p:cNvSpPr>
          <p:nvPr/>
        </p:nvSpPr>
        <p:spPr bwMode="auto">
          <a:xfrm>
            <a:off x="5135562" y="5265738"/>
            <a:ext cx="23813" cy="26988"/>
          </a:xfrm>
          <a:custGeom>
            <a:avLst/>
            <a:gdLst>
              <a:gd name="T0" fmla="*/ 15 w 15"/>
              <a:gd name="T1" fmla="*/ 15 h 17"/>
              <a:gd name="T2" fmla="*/ 13 w 15"/>
              <a:gd name="T3" fmla="*/ 9 h 17"/>
              <a:gd name="T4" fmla="*/ 6 w 15"/>
              <a:gd name="T5" fmla="*/ 0 h 17"/>
              <a:gd name="T6" fmla="*/ 0 w 15"/>
              <a:gd name="T7" fmla="*/ 9 h 17"/>
              <a:gd name="T8" fmla="*/ 0 w 15"/>
              <a:gd name="T9" fmla="*/ 11 h 17"/>
              <a:gd name="T10" fmla="*/ 6 w 15"/>
              <a:gd name="T11" fmla="*/ 17 h 17"/>
              <a:gd name="T12" fmla="*/ 13 w 15"/>
              <a:gd name="T13" fmla="*/ 17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9"/>
                </a:lnTo>
                <a:lnTo>
                  <a:pt x="6" y="0"/>
                </a:lnTo>
                <a:lnTo>
                  <a:pt x="0" y="9"/>
                </a:lnTo>
                <a:lnTo>
                  <a:pt x="0" y="11"/>
                </a:lnTo>
                <a:lnTo>
                  <a:pt x="6" y="17"/>
                </a:lnTo>
                <a:lnTo>
                  <a:pt x="13" y="17"/>
                </a:lnTo>
                <a:lnTo>
                  <a:pt x="15" y="1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849"/>
          <p:cNvSpPr>
            <a:spLocks/>
          </p:cNvSpPr>
          <p:nvPr/>
        </p:nvSpPr>
        <p:spPr bwMode="auto">
          <a:xfrm>
            <a:off x="5135562" y="5265738"/>
            <a:ext cx="23813" cy="26988"/>
          </a:xfrm>
          <a:custGeom>
            <a:avLst/>
            <a:gdLst>
              <a:gd name="T0" fmla="*/ 15 w 15"/>
              <a:gd name="T1" fmla="*/ 15 h 17"/>
              <a:gd name="T2" fmla="*/ 13 w 15"/>
              <a:gd name="T3" fmla="*/ 9 h 17"/>
              <a:gd name="T4" fmla="*/ 6 w 15"/>
              <a:gd name="T5" fmla="*/ 0 h 17"/>
              <a:gd name="T6" fmla="*/ 0 w 15"/>
              <a:gd name="T7" fmla="*/ 9 h 17"/>
              <a:gd name="T8" fmla="*/ 0 w 15"/>
              <a:gd name="T9" fmla="*/ 11 h 17"/>
              <a:gd name="T10" fmla="*/ 6 w 15"/>
              <a:gd name="T11" fmla="*/ 17 h 17"/>
              <a:gd name="T12" fmla="*/ 13 w 15"/>
              <a:gd name="T13" fmla="*/ 17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9"/>
                </a:lnTo>
                <a:lnTo>
                  <a:pt x="6" y="0"/>
                </a:lnTo>
                <a:lnTo>
                  <a:pt x="0" y="9"/>
                </a:lnTo>
                <a:lnTo>
                  <a:pt x="0" y="11"/>
                </a:lnTo>
                <a:lnTo>
                  <a:pt x="6" y="17"/>
                </a:lnTo>
                <a:lnTo>
                  <a:pt x="13" y="17"/>
                </a:lnTo>
                <a:lnTo>
                  <a:pt x="15" y="1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4" name="Freeform 850"/>
          <p:cNvSpPr>
            <a:spLocks/>
          </p:cNvSpPr>
          <p:nvPr/>
        </p:nvSpPr>
        <p:spPr bwMode="auto">
          <a:xfrm>
            <a:off x="4689475" y="4616450"/>
            <a:ext cx="800100" cy="709613"/>
          </a:xfrm>
          <a:custGeom>
            <a:avLst/>
            <a:gdLst>
              <a:gd name="T0" fmla="*/ 264 w 504"/>
              <a:gd name="T1" fmla="*/ 11 h 447"/>
              <a:gd name="T2" fmla="*/ 270 w 504"/>
              <a:gd name="T3" fmla="*/ 28 h 447"/>
              <a:gd name="T4" fmla="*/ 281 w 504"/>
              <a:gd name="T5" fmla="*/ 51 h 447"/>
              <a:gd name="T6" fmla="*/ 287 w 504"/>
              <a:gd name="T7" fmla="*/ 68 h 447"/>
              <a:gd name="T8" fmla="*/ 291 w 504"/>
              <a:gd name="T9" fmla="*/ 79 h 447"/>
              <a:gd name="T10" fmla="*/ 289 w 504"/>
              <a:gd name="T11" fmla="*/ 96 h 447"/>
              <a:gd name="T12" fmla="*/ 283 w 504"/>
              <a:gd name="T13" fmla="*/ 111 h 447"/>
              <a:gd name="T14" fmla="*/ 255 w 504"/>
              <a:gd name="T15" fmla="*/ 149 h 447"/>
              <a:gd name="T16" fmla="*/ 245 w 504"/>
              <a:gd name="T17" fmla="*/ 171 h 447"/>
              <a:gd name="T18" fmla="*/ 234 w 504"/>
              <a:gd name="T19" fmla="*/ 200 h 447"/>
              <a:gd name="T20" fmla="*/ 330 w 504"/>
              <a:gd name="T21" fmla="*/ 224 h 447"/>
              <a:gd name="T22" fmla="*/ 413 w 504"/>
              <a:gd name="T23" fmla="*/ 254 h 447"/>
              <a:gd name="T24" fmla="*/ 436 w 504"/>
              <a:gd name="T25" fmla="*/ 292 h 447"/>
              <a:gd name="T26" fmla="*/ 438 w 504"/>
              <a:gd name="T27" fmla="*/ 311 h 447"/>
              <a:gd name="T28" fmla="*/ 419 w 504"/>
              <a:gd name="T29" fmla="*/ 305 h 447"/>
              <a:gd name="T30" fmla="*/ 383 w 504"/>
              <a:gd name="T31" fmla="*/ 290 h 447"/>
              <a:gd name="T32" fmla="*/ 370 w 504"/>
              <a:gd name="T33" fmla="*/ 326 h 447"/>
              <a:gd name="T34" fmla="*/ 421 w 504"/>
              <a:gd name="T35" fmla="*/ 318 h 447"/>
              <a:gd name="T36" fmla="*/ 432 w 504"/>
              <a:gd name="T37" fmla="*/ 322 h 447"/>
              <a:gd name="T38" fmla="*/ 434 w 504"/>
              <a:gd name="T39" fmla="*/ 343 h 447"/>
              <a:gd name="T40" fmla="*/ 458 w 504"/>
              <a:gd name="T41" fmla="*/ 328 h 447"/>
              <a:gd name="T42" fmla="*/ 460 w 504"/>
              <a:gd name="T43" fmla="*/ 352 h 447"/>
              <a:gd name="T44" fmla="*/ 447 w 504"/>
              <a:gd name="T45" fmla="*/ 367 h 447"/>
              <a:gd name="T46" fmla="*/ 445 w 504"/>
              <a:gd name="T47" fmla="*/ 386 h 447"/>
              <a:gd name="T48" fmla="*/ 487 w 504"/>
              <a:gd name="T49" fmla="*/ 401 h 447"/>
              <a:gd name="T50" fmla="*/ 498 w 504"/>
              <a:gd name="T51" fmla="*/ 420 h 447"/>
              <a:gd name="T52" fmla="*/ 479 w 504"/>
              <a:gd name="T53" fmla="*/ 433 h 447"/>
              <a:gd name="T54" fmla="*/ 477 w 504"/>
              <a:gd name="T55" fmla="*/ 418 h 447"/>
              <a:gd name="T56" fmla="*/ 453 w 504"/>
              <a:gd name="T57" fmla="*/ 413 h 447"/>
              <a:gd name="T58" fmla="*/ 432 w 504"/>
              <a:gd name="T59" fmla="*/ 399 h 447"/>
              <a:gd name="T60" fmla="*/ 387 w 504"/>
              <a:gd name="T61" fmla="*/ 381 h 447"/>
              <a:gd name="T62" fmla="*/ 404 w 504"/>
              <a:gd name="T63" fmla="*/ 420 h 447"/>
              <a:gd name="T64" fmla="*/ 385 w 504"/>
              <a:gd name="T65" fmla="*/ 418 h 447"/>
              <a:gd name="T66" fmla="*/ 355 w 504"/>
              <a:gd name="T67" fmla="*/ 413 h 447"/>
              <a:gd name="T68" fmla="*/ 334 w 504"/>
              <a:gd name="T69" fmla="*/ 430 h 447"/>
              <a:gd name="T70" fmla="*/ 298 w 504"/>
              <a:gd name="T71" fmla="*/ 426 h 447"/>
              <a:gd name="T72" fmla="*/ 283 w 504"/>
              <a:gd name="T73" fmla="*/ 392 h 447"/>
              <a:gd name="T74" fmla="*/ 277 w 504"/>
              <a:gd name="T75" fmla="*/ 396 h 447"/>
              <a:gd name="T76" fmla="*/ 245 w 504"/>
              <a:gd name="T77" fmla="*/ 371 h 447"/>
              <a:gd name="T78" fmla="*/ 208 w 504"/>
              <a:gd name="T79" fmla="*/ 367 h 447"/>
              <a:gd name="T80" fmla="*/ 202 w 504"/>
              <a:gd name="T81" fmla="*/ 390 h 447"/>
              <a:gd name="T82" fmla="*/ 130 w 504"/>
              <a:gd name="T83" fmla="*/ 388 h 447"/>
              <a:gd name="T84" fmla="*/ 79 w 504"/>
              <a:gd name="T85" fmla="*/ 371 h 447"/>
              <a:gd name="T86" fmla="*/ 79 w 504"/>
              <a:gd name="T87" fmla="*/ 343 h 447"/>
              <a:gd name="T88" fmla="*/ 40 w 504"/>
              <a:gd name="T89" fmla="*/ 379 h 447"/>
              <a:gd name="T90" fmla="*/ 36 w 504"/>
              <a:gd name="T91" fmla="*/ 360 h 447"/>
              <a:gd name="T92" fmla="*/ 42 w 504"/>
              <a:gd name="T93" fmla="*/ 335 h 447"/>
              <a:gd name="T94" fmla="*/ 42 w 504"/>
              <a:gd name="T95" fmla="*/ 279 h 447"/>
              <a:gd name="T96" fmla="*/ 55 w 504"/>
              <a:gd name="T97" fmla="*/ 243 h 447"/>
              <a:gd name="T98" fmla="*/ 51 w 504"/>
              <a:gd name="T99" fmla="*/ 215 h 447"/>
              <a:gd name="T100" fmla="*/ 30 w 504"/>
              <a:gd name="T101" fmla="*/ 177 h 447"/>
              <a:gd name="T102" fmla="*/ 2 w 504"/>
              <a:gd name="T103" fmla="*/ 12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447">
                <a:moveTo>
                  <a:pt x="0" y="13"/>
                </a:moveTo>
                <a:lnTo>
                  <a:pt x="115" y="9"/>
                </a:lnTo>
                <a:lnTo>
                  <a:pt x="268" y="0"/>
                </a:lnTo>
                <a:lnTo>
                  <a:pt x="266" y="4"/>
                </a:lnTo>
                <a:lnTo>
                  <a:pt x="264" y="11"/>
                </a:lnTo>
                <a:lnTo>
                  <a:pt x="270" y="7"/>
                </a:lnTo>
                <a:lnTo>
                  <a:pt x="277" y="7"/>
                </a:lnTo>
                <a:lnTo>
                  <a:pt x="277" y="13"/>
                </a:lnTo>
                <a:lnTo>
                  <a:pt x="270" y="19"/>
                </a:lnTo>
                <a:lnTo>
                  <a:pt x="270" y="28"/>
                </a:lnTo>
                <a:lnTo>
                  <a:pt x="279" y="32"/>
                </a:lnTo>
                <a:lnTo>
                  <a:pt x="270" y="41"/>
                </a:lnTo>
                <a:lnTo>
                  <a:pt x="272" y="45"/>
                </a:lnTo>
                <a:lnTo>
                  <a:pt x="285" y="43"/>
                </a:lnTo>
                <a:lnTo>
                  <a:pt x="281" y="51"/>
                </a:lnTo>
                <a:lnTo>
                  <a:pt x="285" y="58"/>
                </a:lnTo>
                <a:lnTo>
                  <a:pt x="279" y="56"/>
                </a:lnTo>
                <a:lnTo>
                  <a:pt x="277" y="58"/>
                </a:lnTo>
                <a:lnTo>
                  <a:pt x="281" y="64"/>
                </a:lnTo>
                <a:lnTo>
                  <a:pt x="287" y="68"/>
                </a:lnTo>
                <a:lnTo>
                  <a:pt x="289" y="73"/>
                </a:lnTo>
                <a:lnTo>
                  <a:pt x="298" y="75"/>
                </a:lnTo>
                <a:lnTo>
                  <a:pt x="298" y="77"/>
                </a:lnTo>
                <a:lnTo>
                  <a:pt x="298" y="79"/>
                </a:lnTo>
                <a:lnTo>
                  <a:pt x="291" y="79"/>
                </a:lnTo>
                <a:lnTo>
                  <a:pt x="287" y="85"/>
                </a:lnTo>
                <a:lnTo>
                  <a:pt x="279" y="88"/>
                </a:lnTo>
                <a:lnTo>
                  <a:pt x="274" y="96"/>
                </a:lnTo>
                <a:lnTo>
                  <a:pt x="281" y="96"/>
                </a:lnTo>
                <a:lnTo>
                  <a:pt x="289" y="96"/>
                </a:lnTo>
                <a:lnTo>
                  <a:pt x="283" y="102"/>
                </a:lnTo>
                <a:lnTo>
                  <a:pt x="283" y="107"/>
                </a:lnTo>
                <a:lnTo>
                  <a:pt x="277" y="107"/>
                </a:lnTo>
                <a:lnTo>
                  <a:pt x="283" y="109"/>
                </a:lnTo>
                <a:lnTo>
                  <a:pt x="283" y="111"/>
                </a:lnTo>
                <a:lnTo>
                  <a:pt x="268" y="130"/>
                </a:lnTo>
                <a:lnTo>
                  <a:pt x="262" y="132"/>
                </a:lnTo>
                <a:lnTo>
                  <a:pt x="257" y="139"/>
                </a:lnTo>
                <a:lnTo>
                  <a:pt x="264" y="143"/>
                </a:lnTo>
                <a:lnTo>
                  <a:pt x="255" y="149"/>
                </a:lnTo>
                <a:lnTo>
                  <a:pt x="255" y="156"/>
                </a:lnTo>
                <a:lnTo>
                  <a:pt x="247" y="162"/>
                </a:lnTo>
                <a:lnTo>
                  <a:pt x="253" y="162"/>
                </a:lnTo>
                <a:lnTo>
                  <a:pt x="253" y="164"/>
                </a:lnTo>
                <a:lnTo>
                  <a:pt x="245" y="171"/>
                </a:lnTo>
                <a:lnTo>
                  <a:pt x="249" y="186"/>
                </a:lnTo>
                <a:lnTo>
                  <a:pt x="240" y="186"/>
                </a:lnTo>
                <a:lnTo>
                  <a:pt x="247" y="192"/>
                </a:lnTo>
                <a:lnTo>
                  <a:pt x="245" y="198"/>
                </a:lnTo>
                <a:lnTo>
                  <a:pt x="234" y="200"/>
                </a:lnTo>
                <a:lnTo>
                  <a:pt x="238" y="207"/>
                </a:lnTo>
                <a:lnTo>
                  <a:pt x="238" y="215"/>
                </a:lnTo>
                <a:lnTo>
                  <a:pt x="243" y="222"/>
                </a:lnTo>
                <a:lnTo>
                  <a:pt x="236" y="230"/>
                </a:lnTo>
                <a:lnTo>
                  <a:pt x="330" y="224"/>
                </a:lnTo>
                <a:lnTo>
                  <a:pt x="419" y="217"/>
                </a:lnTo>
                <a:lnTo>
                  <a:pt x="421" y="220"/>
                </a:lnTo>
                <a:lnTo>
                  <a:pt x="419" y="226"/>
                </a:lnTo>
                <a:lnTo>
                  <a:pt x="415" y="241"/>
                </a:lnTo>
                <a:lnTo>
                  <a:pt x="413" y="254"/>
                </a:lnTo>
                <a:lnTo>
                  <a:pt x="415" y="260"/>
                </a:lnTo>
                <a:lnTo>
                  <a:pt x="419" y="269"/>
                </a:lnTo>
                <a:lnTo>
                  <a:pt x="430" y="277"/>
                </a:lnTo>
                <a:lnTo>
                  <a:pt x="432" y="283"/>
                </a:lnTo>
                <a:lnTo>
                  <a:pt x="436" y="292"/>
                </a:lnTo>
                <a:lnTo>
                  <a:pt x="434" y="294"/>
                </a:lnTo>
                <a:lnTo>
                  <a:pt x="438" y="303"/>
                </a:lnTo>
                <a:lnTo>
                  <a:pt x="445" y="305"/>
                </a:lnTo>
                <a:lnTo>
                  <a:pt x="447" y="307"/>
                </a:lnTo>
                <a:lnTo>
                  <a:pt x="438" y="311"/>
                </a:lnTo>
                <a:lnTo>
                  <a:pt x="438" y="309"/>
                </a:lnTo>
                <a:lnTo>
                  <a:pt x="436" y="311"/>
                </a:lnTo>
                <a:lnTo>
                  <a:pt x="428" y="309"/>
                </a:lnTo>
                <a:lnTo>
                  <a:pt x="421" y="303"/>
                </a:lnTo>
                <a:lnTo>
                  <a:pt x="419" y="305"/>
                </a:lnTo>
                <a:lnTo>
                  <a:pt x="415" y="303"/>
                </a:lnTo>
                <a:lnTo>
                  <a:pt x="406" y="303"/>
                </a:lnTo>
                <a:lnTo>
                  <a:pt x="400" y="296"/>
                </a:lnTo>
                <a:lnTo>
                  <a:pt x="392" y="292"/>
                </a:lnTo>
                <a:lnTo>
                  <a:pt x="383" y="290"/>
                </a:lnTo>
                <a:lnTo>
                  <a:pt x="377" y="292"/>
                </a:lnTo>
                <a:lnTo>
                  <a:pt x="366" y="307"/>
                </a:lnTo>
                <a:lnTo>
                  <a:pt x="360" y="313"/>
                </a:lnTo>
                <a:lnTo>
                  <a:pt x="360" y="322"/>
                </a:lnTo>
                <a:lnTo>
                  <a:pt x="370" y="326"/>
                </a:lnTo>
                <a:lnTo>
                  <a:pt x="381" y="326"/>
                </a:lnTo>
                <a:lnTo>
                  <a:pt x="402" y="324"/>
                </a:lnTo>
                <a:lnTo>
                  <a:pt x="409" y="320"/>
                </a:lnTo>
                <a:lnTo>
                  <a:pt x="415" y="313"/>
                </a:lnTo>
                <a:lnTo>
                  <a:pt x="421" y="318"/>
                </a:lnTo>
                <a:lnTo>
                  <a:pt x="426" y="311"/>
                </a:lnTo>
                <a:lnTo>
                  <a:pt x="428" y="318"/>
                </a:lnTo>
                <a:lnTo>
                  <a:pt x="434" y="313"/>
                </a:lnTo>
                <a:lnTo>
                  <a:pt x="436" y="313"/>
                </a:lnTo>
                <a:lnTo>
                  <a:pt x="432" y="322"/>
                </a:lnTo>
                <a:lnTo>
                  <a:pt x="417" y="330"/>
                </a:lnTo>
                <a:lnTo>
                  <a:pt x="417" y="332"/>
                </a:lnTo>
                <a:lnTo>
                  <a:pt x="424" y="337"/>
                </a:lnTo>
                <a:lnTo>
                  <a:pt x="430" y="337"/>
                </a:lnTo>
                <a:lnTo>
                  <a:pt x="434" y="343"/>
                </a:lnTo>
                <a:lnTo>
                  <a:pt x="441" y="343"/>
                </a:lnTo>
                <a:lnTo>
                  <a:pt x="445" y="337"/>
                </a:lnTo>
                <a:lnTo>
                  <a:pt x="445" y="328"/>
                </a:lnTo>
                <a:lnTo>
                  <a:pt x="455" y="320"/>
                </a:lnTo>
                <a:lnTo>
                  <a:pt x="458" y="328"/>
                </a:lnTo>
                <a:lnTo>
                  <a:pt x="458" y="337"/>
                </a:lnTo>
                <a:lnTo>
                  <a:pt x="464" y="339"/>
                </a:lnTo>
                <a:lnTo>
                  <a:pt x="464" y="345"/>
                </a:lnTo>
                <a:lnTo>
                  <a:pt x="462" y="354"/>
                </a:lnTo>
                <a:lnTo>
                  <a:pt x="460" y="352"/>
                </a:lnTo>
                <a:lnTo>
                  <a:pt x="453" y="350"/>
                </a:lnTo>
                <a:lnTo>
                  <a:pt x="445" y="358"/>
                </a:lnTo>
                <a:lnTo>
                  <a:pt x="449" y="364"/>
                </a:lnTo>
                <a:lnTo>
                  <a:pt x="453" y="371"/>
                </a:lnTo>
                <a:lnTo>
                  <a:pt x="447" y="367"/>
                </a:lnTo>
                <a:lnTo>
                  <a:pt x="441" y="369"/>
                </a:lnTo>
                <a:lnTo>
                  <a:pt x="443" y="373"/>
                </a:lnTo>
                <a:lnTo>
                  <a:pt x="434" y="375"/>
                </a:lnTo>
                <a:lnTo>
                  <a:pt x="438" y="384"/>
                </a:lnTo>
                <a:lnTo>
                  <a:pt x="445" y="386"/>
                </a:lnTo>
                <a:lnTo>
                  <a:pt x="453" y="388"/>
                </a:lnTo>
                <a:lnTo>
                  <a:pt x="458" y="396"/>
                </a:lnTo>
                <a:lnTo>
                  <a:pt x="466" y="396"/>
                </a:lnTo>
                <a:lnTo>
                  <a:pt x="475" y="401"/>
                </a:lnTo>
                <a:lnTo>
                  <a:pt x="487" y="401"/>
                </a:lnTo>
                <a:lnTo>
                  <a:pt x="494" y="405"/>
                </a:lnTo>
                <a:lnTo>
                  <a:pt x="498" y="413"/>
                </a:lnTo>
                <a:lnTo>
                  <a:pt x="504" y="416"/>
                </a:lnTo>
                <a:lnTo>
                  <a:pt x="504" y="418"/>
                </a:lnTo>
                <a:lnTo>
                  <a:pt x="498" y="420"/>
                </a:lnTo>
                <a:lnTo>
                  <a:pt x="498" y="424"/>
                </a:lnTo>
                <a:lnTo>
                  <a:pt x="496" y="430"/>
                </a:lnTo>
                <a:lnTo>
                  <a:pt x="494" y="437"/>
                </a:lnTo>
                <a:lnTo>
                  <a:pt x="483" y="426"/>
                </a:lnTo>
                <a:lnTo>
                  <a:pt x="479" y="433"/>
                </a:lnTo>
                <a:lnTo>
                  <a:pt x="477" y="441"/>
                </a:lnTo>
                <a:lnTo>
                  <a:pt x="468" y="447"/>
                </a:lnTo>
                <a:lnTo>
                  <a:pt x="475" y="433"/>
                </a:lnTo>
                <a:lnTo>
                  <a:pt x="479" y="426"/>
                </a:lnTo>
                <a:lnTo>
                  <a:pt x="477" y="418"/>
                </a:lnTo>
                <a:lnTo>
                  <a:pt x="475" y="428"/>
                </a:lnTo>
                <a:lnTo>
                  <a:pt x="468" y="426"/>
                </a:lnTo>
                <a:lnTo>
                  <a:pt x="464" y="418"/>
                </a:lnTo>
                <a:lnTo>
                  <a:pt x="462" y="411"/>
                </a:lnTo>
                <a:lnTo>
                  <a:pt x="453" y="413"/>
                </a:lnTo>
                <a:lnTo>
                  <a:pt x="445" y="411"/>
                </a:lnTo>
                <a:lnTo>
                  <a:pt x="441" y="405"/>
                </a:lnTo>
                <a:lnTo>
                  <a:pt x="434" y="407"/>
                </a:lnTo>
                <a:lnTo>
                  <a:pt x="426" y="407"/>
                </a:lnTo>
                <a:lnTo>
                  <a:pt x="432" y="399"/>
                </a:lnTo>
                <a:lnTo>
                  <a:pt x="428" y="396"/>
                </a:lnTo>
                <a:lnTo>
                  <a:pt x="421" y="392"/>
                </a:lnTo>
                <a:lnTo>
                  <a:pt x="415" y="392"/>
                </a:lnTo>
                <a:lnTo>
                  <a:pt x="387" y="381"/>
                </a:lnTo>
                <a:lnTo>
                  <a:pt x="387" y="381"/>
                </a:lnTo>
                <a:lnTo>
                  <a:pt x="389" y="388"/>
                </a:lnTo>
                <a:lnTo>
                  <a:pt x="404" y="396"/>
                </a:lnTo>
                <a:lnTo>
                  <a:pt x="406" y="411"/>
                </a:lnTo>
                <a:lnTo>
                  <a:pt x="398" y="413"/>
                </a:lnTo>
                <a:lnTo>
                  <a:pt x="404" y="420"/>
                </a:lnTo>
                <a:lnTo>
                  <a:pt x="400" y="426"/>
                </a:lnTo>
                <a:lnTo>
                  <a:pt x="394" y="433"/>
                </a:lnTo>
                <a:lnTo>
                  <a:pt x="387" y="435"/>
                </a:lnTo>
                <a:lnTo>
                  <a:pt x="383" y="428"/>
                </a:lnTo>
                <a:lnTo>
                  <a:pt x="385" y="418"/>
                </a:lnTo>
                <a:lnTo>
                  <a:pt x="377" y="416"/>
                </a:lnTo>
                <a:lnTo>
                  <a:pt x="370" y="418"/>
                </a:lnTo>
                <a:lnTo>
                  <a:pt x="366" y="409"/>
                </a:lnTo>
                <a:lnTo>
                  <a:pt x="364" y="411"/>
                </a:lnTo>
                <a:lnTo>
                  <a:pt x="355" y="413"/>
                </a:lnTo>
                <a:lnTo>
                  <a:pt x="349" y="416"/>
                </a:lnTo>
                <a:lnTo>
                  <a:pt x="347" y="422"/>
                </a:lnTo>
                <a:lnTo>
                  <a:pt x="347" y="433"/>
                </a:lnTo>
                <a:lnTo>
                  <a:pt x="340" y="435"/>
                </a:lnTo>
                <a:lnTo>
                  <a:pt x="334" y="430"/>
                </a:lnTo>
                <a:lnTo>
                  <a:pt x="332" y="430"/>
                </a:lnTo>
                <a:lnTo>
                  <a:pt x="323" y="435"/>
                </a:lnTo>
                <a:lnTo>
                  <a:pt x="311" y="426"/>
                </a:lnTo>
                <a:lnTo>
                  <a:pt x="302" y="428"/>
                </a:lnTo>
                <a:lnTo>
                  <a:pt x="298" y="426"/>
                </a:lnTo>
                <a:lnTo>
                  <a:pt x="298" y="418"/>
                </a:lnTo>
                <a:lnTo>
                  <a:pt x="296" y="411"/>
                </a:lnTo>
                <a:lnTo>
                  <a:pt x="287" y="405"/>
                </a:lnTo>
                <a:lnTo>
                  <a:pt x="283" y="399"/>
                </a:lnTo>
                <a:lnTo>
                  <a:pt x="283" y="392"/>
                </a:lnTo>
                <a:lnTo>
                  <a:pt x="285" y="390"/>
                </a:lnTo>
                <a:lnTo>
                  <a:pt x="283" y="384"/>
                </a:lnTo>
                <a:lnTo>
                  <a:pt x="283" y="390"/>
                </a:lnTo>
                <a:lnTo>
                  <a:pt x="281" y="390"/>
                </a:lnTo>
                <a:lnTo>
                  <a:pt x="277" y="396"/>
                </a:lnTo>
                <a:lnTo>
                  <a:pt x="264" y="392"/>
                </a:lnTo>
                <a:lnTo>
                  <a:pt x="255" y="392"/>
                </a:lnTo>
                <a:lnTo>
                  <a:pt x="253" y="381"/>
                </a:lnTo>
                <a:lnTo>
                  <a:pt x="247" y="377"/>
                </a:lnTo>
                <a:lnTo>
                  <a:pt x="245" y="371"/>
                </a:lnTo>
                <a:lnTo>
                  <a:pt x="230" y="371"/>
                </a:lnTo>
                <a:lnTo>
                  <a:pt x="223" y="373"/>
                </a:lnTo>
                <a:lnTo>
                  <a:pt x="221" y="371"/>
                </a:lnTo>
                <a:lnTo>
                  <a:pt x="223" y="362"/>
                </a:lnTo>
                <a:lnTo>
                  <a:pt x="208" y="367"/>
                </a:lnTo>
                <a:lnTo>
                  <a:pt x="202" y="371"/>
                </a:lnTo>
                <a:lnTo>
                  <a:pt x="198" y="373"/>
                </a:lnTo>
                <a:lnTo>
                  <a:pt x="191" y="373"/>
                </a:lnTo>
                <a:lnTo>
                  <a:pt x="198" y="379"/>
                </a:lnTo>
                <a:lnTo>
                  <a:pt x="202" y="390"/>
                </a:lnTo>
                <a:lnTo>
                  <a:pt x="196" y="390"/>
                </a:lnTo>
                <a:lnTo>
                  <a:pt x="185" y="396"/>
                </a:lnTo>
                <a:lnTo>
                  <a:pt x="179" y="396"/>
                </a:lnTo>
                <a:lnTo>
                  <a:pt x="142" y="392"/>
                </a:lnTo>
                <a:lnTo>
                  <a:pt x="130" y="388"/>
                </a:lnTo>
                <a:lnTo>
                  <a:pt x="121" y="384"/>
                </a:lnTo>
                <a:lnTo>
                  <a:pt x="108" y="377"/>
                </a:lnTo>
                <a:lnTo>
                  <a:pt x="93" y="373"/>
                </a:lnTo>
                <a:lnTo>
                  <a:pt x="85" y="373"/>
                </a:lnTo>
                <a:lnTo>
                  <a:pt x="79" y="371"/>
                </a:lnTo>
                <a:lnTo>
                  <a:pt x="81" y="367"/>
                </a:lnTo>
                <a:lnTo>
                  <a:pt x="87" y="364"/>
                </a:lnTo>
                <a:lnTo>
                  <a:pt x="87" y="356"/>
                </a:lnTo>
                <a:lnTo>
                  <a:pt x="85" y="350"/>
                </a:lnTo>
                <a:lnTo>
                  <a:pt x="79" y="343"/>
                </a:lnTo>
                <a:lnTo>
                  <a:pt x="76" y="360"/>
                </a:lnTo>
                <a:lnTo>
                  <a:pt x="70" y="367"/>
                </a:lnTo>
                <a:lnTo>
                  <a:pt x="76" y="371"/>
                </a:lnTo>
                <a:lnTo>
                  <a:pt x="74" y="375"/>
                </a:lnTo>
                <a:lnTo>
                  <a:pt x="40" y="379"/>
                </a:lnTo>
                <a:lnTo>
                  <a:pt x="34" y="384"/>
                </a:lnTo>
                <a:lnTo>
                  <a:pt x="25" y="377"/>
                </a:lnTo>
                <a:lnTo>
                  <a:pt x="27" y="371"/>
                </a:lnTo>
                <a:lnTo>
                  <a:pt x="34" y="367"/>
                </a:lnTo>
                <a:lnTo>
                  <a:pt x="36" y="360"/>
                </a:lnTo>
                <a:lnTo>
                  <a:pt x="34" y="352"/>
                </a:lnTo>
                <a:lnTo>
                  <a:pt x="34" y="352"/>
                </a:lnTo>
                <a:lnTo>
                  <a:pt x="34" y="352"/>
                </a:lnTo>
                <a:lnTo>
                  <a:pt x="40" y="343"/>
                </a:lnTo>
                <a:lnTo>
                  <a:pt x="42" y="335"/>
                </a:lnTo>
                <a:lnTo>
                  <a:pt x="40" y="318"/>
                </a:lnTo>
                <a:lnTo>
                  <a:pt x="36" y="309"/>
                </a:lnTo>
                <a:lnTo>
                  <a:pt x="40" y="301"/>
                </a:lnTo>
                <a:lnTo>
                  <a:pt x="38" y="288"/>
                </a:lnTo>
                <a:lnTo>
                  <a:pt x="42" y="279"/>
                </a:lnTo>
                <a:lnTo>
                  <a:pt x="49" y="273"/>
                </a:lnTo>
                <a:lnTo>
                  <a:pt x="49" y="264"/>
                </a:lnTo>
                <a:lnTo>
                  <a:pt x="53" y="258"/>
                </a:lnTo>
                <a:lnTo>
                  <a:pt x="53" y="249"/>
                </a:lnTo>
                <a:lnTo>
                  <a:pt x="55" y="243"/>
                </a:lnTo>
                <a:lnTo>
                  <a:pt x="53" y="237"/>
                </a:lnTo>
                <a:lnTo>
                  <a:pt x="55" y="230"/>
                </a:lnTo>
                <a:lnTo>
                  <a:pt x="53" y="224"/>
                </a:lnTo>
                <a:lnTo>
                  <a:pt x="55" y="217"/>
                </a:lnTo>
                <a:lnTo>
                  <a:pt x="51" y="215"/>
                </a:lnTo>
                <a:lnTo>
                  <a:pt x="40" y="200"/>
                </a:lnTo>
                <a:lnTo>
                  <a:pt x="40" y="194"/>
                </a:lnTo>
                <a:lnTo>
                  <a:pt x="36" y="188"/>
                </a:lnTo>
                <a:lnTo>
                  <a:pt x="34" y="186"/>
                </a:lnTo>
                <a:lnTo>
                  <a:pt x="30" y="177"/>
                </a:lnTo>
                <a:lnTo>
                  <a:pt x="25" y="171"/>
                </a:lnTo>
                <a:lnTo>
                  <a:pt x="25" y="160"/>
                </a:lnTo>
                <a:lnTo>
                  <a:pt x="21" y="145"/>
                </a:lnTo>
                <a:lnTo>
                  <a:pt x="15" y="139"/>
                </a:lnTo>
                <a:lnTo>
                  <a:pt x="2" y="128"/>
                </a:lnTo>
                <a:lnTo>
                  <a:pt x="0" y="13"/>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445" name="Freeform 851"/>
          <p:cNvSpPr>
            <a:spLocks/>
          </p:cNvSpPr>
          <p:nvPr/>
        </p:nvSpPr>
        <p:spPr bwMode="auto">
          <a:xfrm>
            <a:off x="4689475" y="4616450"/>
            <a:ext cx="800100" cy="709613"/>
          </a:xfrm>
          <a:custGeom>
            <a:avLst/>
            <a:gdLst>
              <a:gd name="T0" fmla="*/ 264 w 504"/>
              <a:gd name="T1" fmla="*/ 11 h 447"/>
              <a:gd name="T2" fmla="*/ 270 w 504"/>
              <a:gd name="T3" fmla="*/ 28 h 447"/>
              <a:gd name="T4" fmla="*/ 281 w 504"/>
              <a:gd name="T5" fmla="*/ 51 h 447"/>
              <a:gd name="T6" fmla="*/ 287 w 504"/>
              <a:gd name="T7" fmla="*/ 68 h 447"/>
              <a:gd name="T8" fmla="*/ 291 w 504"/>
              <a:gd name="T9" fmla="*/ 79 h 447"/>
              <a:gd name="T10" fmla="*/ 289 w 504"/>
              <a:gd name="T11" fmla="*/ 96 h 447"/>
              <a:gd name="T12" fmla="*/ 283 w 504"/>
              <a:gd name="T13" fmla="*/ 111 h 447"/>
              <a:gd name="T14" fmla="*/ 255 w 504"/>
              <a:gd name="T15" fmla="*/ 149 h 447"/>
              <a:gd name="T16" fmla="*/ 245 w 504"/>
              <a:gd name="T17" fmla="*/ 171 h 447"/>
              <a:gd name="T18" fmla="*/ 234 w 504"/>
              <a:gd name="T19" fmla="*/ 200 h 447"/>
              <a:gd name="T20" fmla="*/ 330 w 504"/>
              <a:gd name="T21" fmla="*/ 224 h 447"/>
              <a:gd name="T22" fmla="*/ 413 w 504"/>
              <a:gd name="T23" fmla="*/ 254 h 447"/>
              <a:gd name="T24" fmla="*/ 436 w 504"/>
              <a:gd name="T25" fmla="*/ 292 h 447"/>
              <a:gd name="T26" fmla="*/ 438 w 504"/>
              <a:gd name="T27" fmla="*/ 311 h 447"/>
              <a:gd name="T28" fmla="*/ 419 w 504"/>
              <a:gd name="T29" fmla="*/ 305 h 447"/>
              <a:gd name="T30" fmla="*/ 383 w 504"/>
              <a:gd name="T31" fmla="*/ 290 h 447"/>
              <a:gd name="T32" fmla="*/ 370 w 504"/>
              <a:gd name="T33" fmla="*/ 326 h 447"/>
              <a:gd name="T34" fmla="*/ 421 w 504"/>
              <a:gd name="T35" fmla="*/ 318 h 447"/>
              <a:gd name="T36" fmla="*/ 432 w 504"/>
              <a:gd name="T37" fmla="*/ 322 h 447"/>
              <a:gd name="T38" fmla="*/ 434 w 504"/>
              <a:gd name="T39" fmla="*/ 343 h 447"/>
              <a:gd name="T40" fmla="*/ 458 w 504"/>
              <a:gd name="T41" fmla="*/ 328 h 447"/>
              <a:gd name="T42" fmla="*/ 460 w 504"/>
              <a:gd name="T43" fmla="*/ 352 h 447"/>
              <a:gd name="T44" fmla="*/ 447 w 504"/>
              <a:gd name="T45" fmla="*/ 367 h 447"/>
              <a:gd name="T46" fmla="*/ 445 w 504"/>
              <a:gd name="T47" fmla="*/ 386 h 447"/>
              <a:gd name="T48" fmla="*/ 487 w 504"/>
              <a:gd name="T49" fmla="*/ 401 h 447"/>
              <a:gd name="T50" fmla="*/ 498 w 504"/>
              <a:gd name="T51" fmla="*/ 420 h 447"/>
              <a:gd name="T52" fmla="*/ 479 w 504"/>
              <a:gd name="T53" fmla="*/ 433 h 447"/>
              <a:gd name="T54" fmla="*/ 477 w 504"/>
              <a:gd name="T55" fmla="*/ 418 h 447"/>
              <a:gd name="T56" fmla="*/ 453 w 504"/>
              <a:gd name="T57" fmla="*/ 413 h 447"/>
              <a:gd name="T58" fmla="*/ 432 w 504"/>
              <a:gd name="T59" fmla="*/ 399 h 447"/>
              <a:gd name="T60" fmla="*/ 387 w 504"/>
              <a:gd name="T61" fmla="*/ 381 h 447"/>
              <a:gd name="T62" fmla="*/ 404 w 504"/>
              <a:gd name="T63" fmla="*/ 420 h 447"/>
              <a:gd name="T64" fmla="*/ 385 w 504"/>
              <a:gd name="T65" fmla="*/ 418 h 447"/>
              <a:gd name="T66" fmla="*/ 355 w 504"/>
              <a:gd name="T67" fmla="*/ 413 h 447"/>
              <a:gd name="T68" fmla="*/ 334 w 504"/>
              <a:gd name="T69" fmla="*/ 430 h 447"/>
              <a:gd name="T70" fmla="*/ 298 w 504"/>
              <a:gd name="T71" fmla="*/ 426 h 447"/>
              <a:gd name="T72" fmla="*/ 283 w 504"/>
              <a:gd name="T73" fmla="*/ 392 h 447"/>
              <a:gd name="T74" fmla="*/ 277 w 504"/>
              <a:gd name="T75" fmla="*/ 396 h 447"/>
              <a:gd name="T76" fmla="*/ 245 w 504"/>
              <a:gd name="T77" fmla="*/ 371 h 447"/>
              <a:gd name="T78" fmla="*/ 208 w 504"/>
              <a:gd name="T79" fmla="*/ 367 h 447"/>
              <a:gd name="T80" fmla="*/ 202 w 504"/>
              <a:gd name="T81" fmla="*/ 390 h 447"/>
              <a:gd name="T82" fmla="*/ 130 w 504"/>
              <a:gd name="T83" fmla="*/ 388 h 447"/>
              <a:gd name="T84" fmla="*/ 79 w 504"/>
              <a:gd name="T85" fmla="*/ 371 h 447"/>
              <a:gd name="T86" fmla="*/ 79 w 504"/>
              <a:gd name="T87" fmla="*/ 343 h 447"/>
              <a:gd name="T88" fmla="*/ 40 w 504"/>
              <a:gd name="T89" fmla="*/ 379 h 447"/>
              <a:gd name="T90" fmla="*/ 36 w 504"/>
              <a:gd name="T91" fmla="*/ 360 h 447"/>
              <a:gd name="T92" fmla="*/ 42 w 504"/>
              <a:gd name="T93" fmla="*/ 335 h 447"/>
              <a:gd name="T94" fmla="*/ 42 w 504"/>
              <a:gd name="T95" fmla="*/ 279 h 447"/>
              <a:gd name="T96" fmla="*/ 55 w 504"/>
              <a:gd name="T97" fmla="*/ 243 h 447"/>
              <a:gd name="T98" fmla="*/ 51 w 504"/>
              <a:gd name="T99" fmla="*/ 215 h 447"/>
              <a:gd name="T100" fmla="*/ 30 w 504"/>
              <a:gd name="T101" fmla="*/ 177 h 447"/>
              <a:gd name="T102" fmla="*/ 2 w 504"/>
              <a:gd name="T103" fmla="*/ 12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447">
                <a:moveTo>
                  <a:pt x="0" y="13"/>
                </a:moveTo>
                <a:lnTo>
                  <a:pt x="115" y="9"/>
                </a:lnTo>
                <a:lnTo>
                  <a:pt x="268" y="0"/>
                </a:lnTo>
                <a:lnTo>
                  <a:pt x="266" y="4"/>
                </a:lnTo>
                <a:lnTo>
                  <a:pt x="264" y="11"/>
                </a:lnTo>
                <a:lnTo>
                  <a:pt x="270" y="7"/>
                </a:lnTo>
                <a:lnTo>
                  <a:pt x="277" y="7"/>
                </a:lnTo>
                <a:lnTo>
                  <a:pt x="277" y="13"/>
                </a:lnTo>
                <a:lnTo>
                  <a:pt x="270" y="19"/>
                </a:lnTo>
                <a:lnTo>
                  <a:pt x="270" y="28"/>
                </a:lnTo>
                <a:lnTo>
                  <a:pt x="279" y="32"/>
                </a:lnTo>
                <a:lnTo>
                  <a:pt x="270" y="41"/>
                </a:lnTo>
                <a:lnTo>
                  <a:pt x="272" y="45"/>
                </a:lnTo>
                <a:lnTo>
                  <a:pt x="285" y="43"/>
                </a:lnTo>
                <a:lnTo>
                  <a:pt x="281" y="51"/>
                </a:lnTo>
                <a:lnTo>
                  <a:pt x="285" y="58"/>
                </a:lnTo>
                <a:lnTo>
                  <a:pt x="279" y="56"/>
                </a:lnTo>
                <a:lnTo>
                  <a:pt x="277" y="58"/>
                </a:lnTo>
                <a:lnTo>
                  <a:pt x="281" y="64"/>
                </a:lnTo>
                <a:lnTo>
                  <a:pt x="287" y="68"/>
                </a:lnTo>
                <a:lnTo>
                  <a:pt x="289" y="73"/>
                </a:lnTo>
                <a:lnTo>
                  <a:pt x="298" y="75"/>
                </a:lnTo>
                <a:lnTo>
                  <a:pt x="298" y="77"/>
                </a:lnTo>
                <a:lnTo>
                  <a:pt x="298" y="79"/>
                </a:lnTo>
                <a:lnTo>
                  <a:pt x="291" y="79"/>
                </a:lnTo>
                <a:lnTo>
                  <a:pt x="287" y="85"/>
                </a:lnTo>
                <a:lnTo>
                  <a:pt x="279" y="88"/>
                </a:lnTo>
                <a:lnTo>
                  <a:pt x="274" y="96"/>
                </a:lnTo>
                <a:lnTo>
                  <a:pt x="281" y="96"/>
                </a:lnTo>
                <a:lnTo>
                  <a:pt x="289" y="96"/>
                </a:lnTo>
                <a:lnTo>
                  <a:pt x="283" y="102"/>
                </a:lnTo>
                <a:lnTo>
                  <a:pt x="283" y="107"/>
                </a:lnTo>
                <a:lnTo>
                  <a:pt x="277" y="107"/>
                </a:lnTo>
                <a:lnTo>
                  <a:pt x="283" y="109"/>
                </a:lnTo>
                <a:lnTo>
                  <a:pt x="283" y="111"/>
                </a:lnTo>
                <a:lnTo>
                  <a:pt x="268" y="130"/>
                </a:lnTo>
                <a:lnTo>
                  <a:pt x="262" y="132"/>
                </a:lnTo>
                <a:lnTo>
                  <a:pt x="257" y="139"/>
                </a:lnTo>
                <a:lnTo>
                  <a:pt x="264" y="143"/>
                </a:lnTo>
                <a:lnTo>
                  <a:pt x="255" y="149"/>
                </a:lnTo>
                <a:lnTo>
                  <a:pt x="255" y="156"/>
                </a:lnTo>
                <a:lnTo>
                  <a:pt x="247" y="162"/>
                </a:lnTo>
                <a:lnTo>
                  <a:pt x="253" y="162"/>
                </a:lnTo>
                <a:lnTo>
                  <a:pt x="253" y="164"/>
                </a:lnTo>
                <a:lnTo>
                  <a:pt x="245" y="171"/>
                </a:lnTo>
                <a:lnTo>
                  <a:pt x="249" y="186"/>
                </a:lnTo>
                <a:lnTo>
                  <a:pt x="240" y="186"/>
                </a:lnTo>
                <a:lnTo>
                  <a:pt x="247" y="192"/>
                </a:lnTo>
                <a:lnTo>
                  <a:pt x="245" y="198"/>
                </a:lnTo>
                <a:lnTo>
                  <a:pt x="234" y="200"/>
                </a:lnTo>
                <a:lnTo>
                  <a:pt x="238" y="207"/>
                </a:lnTo>
                <a:lnTo>
                  <a:pt x="238" y="215"/>
                </a:lnTo>
                <a:lnTo>
                  <a:pt x="243" y="222"/>
                </a:lnTo>
                <a:lnTo>
                  <a:pt x="236" y="230"/>
                </a:lnTo>
                <a:lnTo>
                  <a:pt x="330" y="224"/>
                </a:lnTo>
                <a:lnTo>
                  <a:pt x="419" y="217"/>
                </a:lnTo>
                <a:lnTo>
                  <a:pt x="421" y="220"/>
                </a:lnTo>
                <a:lnTo>
                  <a:pt x="419" y="226"/>
                </a:lnTo>
                <a:lnTo>
                  <a:pt x="415" y="241"/>
                </a:lnTo>
                <a:lnTo>
                  <a:pt x="413" y="254"/>
                </a:lnTo>
                <a:lnTo>
                  <a:pt x="415" y="260"/>
                </a:lnTo>
                <a:lnTo>
                  <a:pt x="419" y="269"/>
                </a:lnTo>
                <a:lnTo>
                  <a:pt x="430" y="277"/>
                </a:lnTo>
                <a:lnTo>
                  <a:pt x="432" y="283"/>
                </a:lnTo>
                <a:lnTo>
                  <a:pt x="436" y="292"/>
                </a:lnTo>
                <a:lnTo>
                  <a:pt x="434" y="294"/>
                </a:lnTo>
                <a:lnTo>
                  <a:pt x="438" y="303"/>
                </a:lnTo>
                <a:lnTo>
                  <a:pt x="445" y="305"/>
                </a:lnTo>
                <a:lnTo>
                  <a:pt x="447" y="307"/>
                </a:lnTo>
                <a:lnTo>
                  <a:pt x="438" y="311"/>
                </a:lnTo>
                <a:lnTo>
                  <a:pt x="438" y="309"/>
                </a:lnTo>
                <a:lnTo>
                  <a:pt x="436" y="311"/>
                </a:lnTo>
                <a:lnTo>
                  <a:pt x="428" y="309"/>
                </a:lnTo>
                <a:lnTo>
                  <a:pt x="421" y="303"/>
                </a:lnTo>
                <a:lnTo>
                  <a:pt x="419" y="305"/>
                </a:lnTo>
                <a:lnTo>
                  <a:pt x="415" y="303"/>
                </a:lnTo>
                <a:lnTo>
                  <a:pt x="406" y="303"/>
                </a:lnTo>
                <a:lnTo>
                  <a:pt x="400" y="296"/>
                </a:lnTo>
                <a:lnTo>
                  <a:pt x="392" y="292"/>
                </a:lnTo>
                <a:lnTo>
                  <a:pt x="383" y="290"/>
                </a:lnTo>
                <a:lnTo>
                  <a:pt x="377" y="292"/>
                </a:lnTo>
                <a:lnTo>
                  <a:pt x="366" y="307"/>
                </a:lnTo>
                <a:lnTo>
                  <a:pt x="360" y="313"/>
                </a:lnTo>
                <a:lnTo>
                  <a:pt x="360" y="322"/>
                </a:lnTo>
                <a:lnTo>
                  <a:pt x="370" y="326"/>
                </a:lnTo>
                <a:lnTo>
                  <a:pt x="381" y="326"/>
                </a:lnTo>
                <a:lnTo>
                  <a:pt x="402" y="324"/>
                </a:lnTo>
                <a:lnTo>
                  <a:pt x="409" y="320"/>
                </a:lnTo>
                <a:lnTo>
                  <a:pt x="415" y="313"/>
                </a:lnTo>
                <a:lnTo>
                  <a:pt x="421" y="318"/>
                </a:lnTo>
                <a:lnTo>
                  <a:pt x="426" y="311"/>
                </a:lnTo>
                <a:lnTo>
                  <a:pt x="428" y="318"/>
                </a:lnTo>
                <a:lnTo>
                  <a:pt x="434" y="313"/>
                </a:lnTo>
                <a:lnTo>
                  <a:pt x="436" y="313"/>
                </a:lnTo>
                <a:lnTo>
                  <a:pt x="432" y="322"/>
                </a:lnTo>
                <a:lnTo>
                  <a:pt x="417" y="330"/>
                </a:lnTo>
                <a:lnTo>
                  <a:pt x="417" y="332"/>
                </a:lnTo>
                <a:lnTo>
                  <a:pt x="424" y="337"/>
                </a:lnTo>
                <a:lnTo>
                  <a:pt x="430" y="337"/>
                </a:lnTo>
                <a:lnTo>
                  <a:pt x="434" y="343"/>
                </a:lnTo>
                <a:lnTo>
                  <a:pt x="441" y="343"/>
                </a:lnTo>
                <a:lnTo>
                  <a:pt x="445" y="337"/>
                </a:lnTo>
                <a:lnTo>
                  <a:pt x="445" y="328"/>
                </a:lnTo>
                <a:lnTo>
                  <a:pt x="455" y="320"/>
                </a:lnTo>
                <a:lnTo>
                  <a:pt x="458" y="328"/>
                </a:lnTo>
                <a:lnTo>
                  <a:pt x="458" y="337"/>
                </a:lnTo>
                <a:lnTo>
                  <a:pt x="464" y="339"/>
                </a:lnTo>
                <a:lnTo>
                  <a:pt x="464" y="345"/>
                </a:lnTo>
                <a:lnTo>
                  <a:pt x="462" y="354"/>
                </a:lnTo>
                <a:lnTo>
                  <a:pt x="460" y="352"/>
                </a:lnTo>
                <a:lnTo>
                  <a:pt x="453" y="350"/>
                </a:lnTo>
                <a:lnTo>
                  <a:pt x="445" y="358"/>
                </a:lnTo>
                <a:lnTo>
                  <a:pt x="449" y="364"/>
                </a:lnTo>
                <a:lnTo>
                  <a:pt x="453" y="371"/>
                </a:lnTo>
                <a:lnTo>
                  <a:pt x="447" y="367"/>
                </a:lnTo>
                <a:lnTo>
                  <a:pt x="441" y="369"/>
                </a:lnTo>
                <a:lnTo>
                  <a:pt x="443" y="373"/>
                </a:lnTo>
                <a:lnTo>
                  <a:pt x="434" y="375"/>
                </a:lnTo>
                <a:lnTo>
                  <a:pt x="438" y="384"/>
                </a:lnTo>
                <a:lnTo>
                  <a:pt x="445" y="386"/>
                </a:lnTo>
                <a:lnTo>
                  <a:pt x="453" y="388"/>
                </a:lnTo>
                <a:lnTo>
                  <a:pt x="458" y="396"/>
                </a:lnTo>
                <a:lnTo>
                  <a:pt x="466" y="396"/>
                </a:lnTo>
                <a:lnTo>
                  <a:pt x="475" y="401"/>
                </a:lnTo>
                <a:lnTo>
                  <a:pt x="487" y="401"/>
                </a:lnTo>
                <a:lnTo>
                  <a:pt x="494" y="405"/>
                </a:lnTo>
                <a:lnTo>
                  <a:pt x="498" y="413"/>
                </a:lnTo>
                <a:lnTo>
                  <a:pt x="504" y="416"/>
                </a:lnTo>
                <a:lnTo>
                  <a:pt x="504" y="418"/>
                </a:lnTo>
                <a:lnTo>
                  <a:pt x="498" y="420"/>
                </a:lnTo>
                <a:lnTo>
                  <a:pt x="498" y="424"/>
                </a:lnTo>
                <a:lnTo>
                  <a:pt x="496" y="430"/>
                </a:lnTo>
                <a:lnTo>
                  <a:pt x="494" y="437"/>
                </a:lnTo>
                <a:lnTo>
                  <a:pt x="483" y="426"/>
                </a:lnTo>
                <a:lnTo>
                  <a:pt x="479" y="433"/>
                </a:lnTo>
                <a:lnTo>
                  <a:pt x="477" y="441"/>
                </a:lnTo>
                <a:lnTo>
                  <a:pt x="468" y="447"/>
                </a:lnTo>
                <a:lnTo>
                  <a:pt x="475" y="433"/>
                </a:lnTo>
                <a:lnTo>
                  <a:pt x="479" y="426"/>
                </a:lnTo>
                <a:lnTo>
                  <a:pt x="477" y="418"/>
                </a:lnTo>
                <a:lnTo>
                  <a:pt x="475" y="428"/>
                </a:lnTo>
                <a:lnTo>
                  <a:pt x="468" y="426"/>
                </a:lnTo>
                <a:lnTo>
                  <a:pt x="464" y="418"/>
                </a:lnTo>
                <a:lnTo>
                  <a:pt x="462" y="411"/>
                </a:lnTo>
                <a:lnTo>
                  <a:pt x="453" y="413"/>
                </a:lnTo>
                <a:lnTo>
                  <a:pt x="445" y="411"/>
                </a:lnTo>
                <a:lnTo>
                  <a:pt x="441" y="405"/>
                </a:lnTo>
                <a:lnTo>
                  <a:pt x="434" y="407"/>
                </a:lnTo>
                <a:lnTo>
                  <a:pt x="426" y="407"/>
                </a:lnTo>
                <a:lnTo>
                  <a:pt x="432" y="399"/>
                </a:lnTo>
                <a:lnTo>
                  <a:pt x="428" y="396"/>
                </a:lnTo>
                <a:lnTo>
                  <a:pt x="421" y="392"/>
                </a:lnTo>
                <a:lnTo>
                  <a:pt x="415" y="392"/>
                </a:lnTo>
                <a:lnTo>
                  <a:pt x="387" y="381"/>
                </a:lnTo>
                <a:lnTo>
                  <a:pt x="387" y="381"/>
                </a:lnTo>
                <a:lnTo>
                  <a:pt x="389" y="388"/>
                </a:lnTo>
                <a:lnTo>
                  <a:pt x="404" y="396"/>
                </a:lnTo>
                <a:lnTo>
                  <a:pt x="406" y="411"/>
                </a:lnTo>
                <a:lnTo>
                  <a:pt x="398" y="413"/>
                </a:lnTo>
                <a:lnTo>
                  <a:pt x="404" y="420"/>
                </a:lnTo>
                <a:lnTo>
                  <a:pt x="400" y="426"/>
                </a:lnTo>
                <a:lnTo>
                  <a:pt x="394" y="433"/>
                </a:lnTo>
                <a:lnTo>
                  <a:pt x="387" y="435"/>
                </a:lnTo>
                <a:lnTo>
                  <a:pt x="383" y="428"/>
                </a:lnTo>
                <a:lnTo>
                  <a:pt x="385" y="418"/>
                </a:lnTo>
                <a:lnTo>
                  <a:pt x="377" y="416"/>
                </a:lnTo>
                <a:lnTo>
                  <a:pt x="370" y="418"/>
                </a:lnTo>
                <a:lnTo>
                  <a:pt x="366" y="409"/>
                </a:lnTo>
                <a:lnTo>
                  <a:pt x="364" y="411"/>
                </a:lnTo>
                <a:lnTo>
                  <a:pt x="355" y="413"/>
                </a:lnTo>
                <a:lnTo>
                  <a:pt x="349" y="416"/>
                </a:lnTo>
                <a:lnTo>
                  <a:pt x="347" y="422"/>
                </a:lnTo>
                <a:lnTo>
                  <a:pt x="347" y="433"/>
                </a:lnTo>
                <a:lnTo>
                  <a:pt x="340" y="435"/>
                </a:lnTo>
                <a:lnTo>
                  <a:pt x="334" y="430"/>
                </a:lnTo>
                <a:lnTo>
                  <a:pt x="332" y="430"/>
                </a:lnTo>
                <a:lnTo>
                  <a:pt x="323" y="435"/>
                </a:lnTo>
                <a:lnTo>
                  <a:pt x="311" y="426"/>
                </a:lnTo>
                <a:lnTo>
                  <a:pt x="302" y="428"/>
                </a:lnTo>
                <a:lnTo>
                  <a:pt x="298" y="426"/>
                </a:lnTo>
                <a:lnTo>
                  <a:pt x="298" y="418"/>
                </a:lnTo>
                <a:lnTo>
                  <a:pt x="296" y="411"/>
                </a:lnTo>
                <a:lnTo>
                  <a:pt x="287" y="405"/>
                </a:lnTo>
                <a:lnTo>
                  <a:pt x="283" y="399"/>
                </a:lnTo>
                <a:lnTo>
                  <a:pt x="283" y="392"/>
                </a:lnTo>
                <a:lnTo>
                  <a:pt x="285" y="390"/>
                </a:lnTo>
                <a:lnTo>
                  <a:pt x="283" y="384"/>
                </a:lnTo>
                <a:lnTo>
                  <a:pt x="283" y="390"/>
                </a:lnTo>
                <a:lnTo>
                  <a:pt x="281" y="390"/>
                </a:lnTo>
                <a:lnTo>
                  <a:pt x="277" y="396"/>
                </a:lnTo>
                <a:lnTo>
                  <a:pt x="264" y="392"/>
                </a:lnTo>
                <a:lnTo>
                  <a:pt x="255" y="392"/>
                </a:lnTo>
                <a:lnTo>
                  <a:pt x="253" y="381"/>
                </a:lnTo>
                <a:lnTo>
                  <a:pt x="247" y="377"/>
                </a:lnTo>
                <a:lnTo>
                  <a:pt x="245" y="371"/>
                </a:lnTo>
                <a:lnTo>
                  <a:pt x="230" y="371"/>
                </a:lnTo>
                <a:lnTo>
                  <a:pt x="223" y="373"/>
                </a:lnTo>
                <a:lnTo>
                  <a:pt x="221" y="371"/>
                </a:lnTo>
                <a:lnTo>
                  <a:pt x="223" y="362"/>
                </a:lnTo>
                <a:lnTo>
                  <a:pt x="208" y="367"/>
                </a:lnTo>
                <a:lnTo>
                  <a:pt x="202" y="371"/>
                </a:lnTo>
                <a:lnTo>
                  <a:pt x="198" y="373"/>
                </a:lnTo>
                <a:lnTo>
                  <a:pt x="191" y="373"/>
                </a:lnTo>
                <a:lnTo>
                  <a:pt x="198" y="379"/>
                </a:lnTo>
                <a:lnTo>
                  <a:pt x="202" y="390"/>
                </a:lnTo>
                <a:lnTo>
                  <a:pt x="196" y="390"/>
                </a:lnTo>
                <a:lnTo>
                  <a:pt x="185" y="396"/>
                </a:lnTo>
                <a:lnTo>
                  <a:pt x="179" y="396"/>
                </a:lnTo>
                <a:lnTo>
                  <a:pt x="142" y="392"/>
                </a:lnTo>
                <a:lnTo>
                  <a:pt x="130" y="388"/>
                </a:lnTo>
                <a:lnTo>
                  <a:pt x="121" y="384"/>
                </a:lnTo>
                <a:lnTo>
                  <a:pt x="108" y="377"/>
                </a:lnTo>
                <a:lnTo>
                  <a:pt x="93" y="373"/>
                </a:lnTo>
                <a:lnTo>
                  <a:pt x="85" y="373"/>
                </a:lnTo>
                <a:lnTo>
                  <a:pt x="79" y="371"/>
                </a:lnTo>
                <a:lnTo>
                  <a:pt x="81" y="367"/>
                </a:lnTo>
                <a:lnTo>
                  <a:pt x="87" y="364"/>
                </a:lnTo>
                <a:lnTo>
                  <a:pt x="87" y="356"/>
                </a:lnTo>
                <a:lnTo>
                  <a:pt x="85" y="350"/>
                </a:lnTo>
                <a:lnTo>
                  <a:pt x="79" y="343"/>
                </a:lnTo>
                <a:lnTo>
                  <a:pt x="76" y="360"/>
                </a:lnTo>
                <a:lnTo>
                  <a:pt x="70" y="367"/>
                </a:lnTo>
                <a:lnTo>
                  <a:pt x="76" y="371"/>
                </a:lnTo>
                <a:lnTo>
                  <a:pt x="74" y="375"/>
                </a:lnTo>
                <a:lnTo>
                  <a:pt x="40" y="379"/>
                </a:lnTo>
                <a:lnTo>
                  <a:pt x="34" y="384"/>
                </a:lnTo>
                <a:lnTo>
                  <a:pt x="25" y="377"/>
                </a:lnTo>
                <a:lnTo>
                  <a:pt x="27" y="371"/>
                </a:lnTo>
                <a:lnTo>
                  <a:pt x="34" y="367"/>
                </a:lnTo>
                <a:lnTo>
                  <a:pt x="36" y="360"/>
                </a:lnTo>
                <a:lnTo>
                  <a:pt x="34" y="352"/>
                </a:lnTo>
                <a:lnTo>
                  <a:pt x="34" y="352"/>
                </a:lnTo>
                <a:lnTo>
                  <a:pt x="34" y="352"/>
                </a:lnTo>
                <a:lnTo>
                  <a:pt x="40" y="343"/>
                </a:lnTo>
                <a:lnTo>
                  <a:pt x="42" y="335"/>
                </a:lnTo>
                <a:lnTo>
                  <a:pt x="40" y="318"/>
                </a:lnTo>
                <a:lnTo>
                  <a:pt x="36" y="309"/>
                </a:lnTo>
                <a:lnTo>
                  <a:pt x="40" y="301"/>
                </a:lnTo>
                <a:lnTo>
                  <a:pt x="38" y="288"/>
                </a:lnTo>
                <a:lnTo>
                  <a:pt x="42" y="279"/>
                </a:lnTo>
                <a:lnTo>
                  <a:pt x="49" y="273"/>
                </a:lnTo>
                <a:lnTo>
                  <a:pt x="49" y="264"/>
                </a:lnTo>
                <a:lnTo>
                  <a:pt x="53" y="258"/>
                </a:lnTo>
                <a:lnTo>
                  <a:pt x="53" y="249"/>
                </a:lnTo>
                <a:lnTo>
                  <a:pt x="55" y="243"/>
                </a:lnTo>
                <a:lnTo>
                  <a:pt x="53" y="237"/>
                </a:lnTo>
                <a:lnTo>
                  <a:pt x="55" y="230"/>
                </a:lnTo>
                <a:lnTo>
                  <a:pt x="53" y="224"/>
                </a:lnTo>
                <a:lnTo>
                  <a:pt x="55" y="217"/>
                </a:lnTo>
                <a:lnTo>
                  <a:pt x="51" y="215"/>
                </a:lnTo>
                <a:lnTo>
                  <a:pt x="40" y="200"/>
                </a:lnTo>
                <a:lnTo>
                  <a:pt x="40" y="194"/>
                </a:lnTo>
                <a:lnTo>
                  <a:pt x="36" y="188"/>
                </a:lnTo>
                <a:lnTo>
                  <a:pt x="34" y="186"/>
                </a:lnTo>
                <a:lnTo>
                  <a:pt x="30" y="177"/>
                </a:lnTo>
                <a:lnTo>
                  <a:pt x="25" y="171"/>
                </a:lnTo>
                <a:lnTo>
                  <a:pt x="25" y="160"/>
                </a:lnTo>
                <a:lnTo>
                  <a:pt x="21" y="145"/>
                </a:lnTo>
                <a:lnTo>
                  <a:pt x="15" y="139"/>
                </a:lnTo>
                <a:lnTo>
                  <a:pt x="2" y="128"/>
                </a:lnTo>
                <a:lnTo>
                  <a:pt x="0"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6" name="Freeform 852"/>
          <p:cNvSpPr>
            <a:spLocks/>
          </p:cNvSpPr>
          <p:nvPr/>
        </p:nvSpPr>
        <p:spPr bwMode="auto">
          <a:xfrm>
            <a:off x="5016500" y="5226050"/>
            <a:ext cx="50800" cy="26988"/>
          </a:xfrm>
          <a:custGeom>
            <a:avLst/>
            <a:gdLst>
              <a:gd name="T0" fmla="*/ 32 w 32"/>
              <a:gd name="T1" fmla="*/ 8 h 17"/>
              <a:gd name="T2" fmla="*/ 28 w 32"/>
              <a:gd name="T3" fmla="*/ 15 h 17"/>
              <a:gd name="T4" fmla="*/ 19 w 32"/>
              <a:gd name="T5" fmla="*/ 17 h 17"/>
              <a:gd name="T6" fmla="*/ 13 w 32"/>
              <a:gd name="T7" fmla="*/ 12 h 17"/>
              <a:gd name="T8" fmla="*/ 5 w 32"/>
              <a:gd name="T9" fmla="*/ 10 h 17"/>
              <a:gd name="T10" fmla="*/ 0 w 32"/>
              <a:gd name="T11" fmla="*/ 6 h 17"/>
              <a:gd name="T12" fmla="*/ 15 w 32"/>
              <a:gd name="T13" fmla="*/ 0 h 17"/>
              <a:gd name="T14" fmla="*/ 30 w 32"/>
              <a:gd name="T15" fmla="*/ 6 h 17"/>
              <a:gd name="T16" fmla="*/ 32 w 32"/>
              <a:gd name="T17" fmla="*/ 8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28" y="15"/>
                </a:lnTo>
                <a:lnTo>
                  <a:pt x="19" y="17"/>
                </a:lnTo>
                <a:lnTo>
                  <a:pt x="13" y="12"/>
                </a:lnTo>
                <a:lnTo>
                  <a:pt x="5" y="10"/>
                </a:lnTo>
                <a:lnTo>
                  <a:pt x="0" y="6"/>
                </a:lnTo>
                <a:lnTo>
                  <a:pt x="15" y="0"/>
                </a:lnTo>
                <a:lnTo>
                  <a:pt x="30" y="6"/>
                </a:lnTo>
                <a:lnTo>
                  <a:pt x="32" y="8"/>
                </a:lnTo>
                <a:lnTo>
                  <a:pt x="32" y="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853"/>
          <p:cNvSpPr>
            <a:spLocks/>
          </p:cNvSpPr>
          <p:nvPr/>
        </p:nvSpPr>
        <p:spPr bwMode="auto">
          <a:xfrm>
            <a:off x="5016500" y="5226050"/>
            <a:ext cx="50800" cy="26988"/>
          </a:xfrm>
          <a:custGeom>
            <a:avLst/>
            <a:gdLst>
              <a:gd name="T0" fmla="*/ 32 w 32"/>
              <a:gd name="T1" fmla="*/ 8 h 17"/>
              <a:gd name="T2" fmla="*/ 28 w 32"/>
              <a:gd name="T3" fmla="*/ 15 h 17"/>
              <a:gd name="T4" fmla="*/ 19 w 32"/>
              <a:gd name="T5" fmla="*/ 17 h 17"/>
              <a:gd name="T6" fmla="*/ 13 w 32"/>
              <a:gd name="T7" fmla="*/ 12 h 17"/>
              <a:gd name="T8" fmla="*/ 5 w 32"/>
              <a:gd name="T9" fmla="*/ 10 h 17"/>
              <a:gd name="T10" fmla="*/ 0 w 32"/>
              <a:gd name="T11" fmla="*/ 6 h 17"/>
              <a:gd name="T12" fmla="*/ 15 w 32"/>
              <a:gd name="T13" fmla="*/ 0 h 17"/>
              <a:gd name="T14" fmla="*/ 30 w 32"/>
              <a:gd name="T15" fmla="*/ 6 h 17"/>
              <a:gd name="T16" fmla="*/ 32 w 32"/>
              <a:gd name="T17" fmla="*/ 8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28" y="15"/>
                </a:lnTo>
                <a:lnTo>
                  <a:pt x="19" y="17"/>
                </a:lnTo>
                <a:lnTo>
                  <a:pt x="13" y="12"/>
                </a:lnTo>
                <a:lnTo>
                  <a:pt x="5" y="10"/>
                </a:lnTo>
                <a:lnTo>
                  <a:pt x="0" y="6"/>
                </a:lnTo>
                <a:lnTo>
                  <a:pt x="15" y="0"/>
                </a:lnTo>
                <a:lnTo>
                  <a:pt x="30" y="6"/>
                </a:lnTo>
                <a:lnTo>
                  <a:pt x="32" y="8"/>
                </a:lnTo>
                <a:lnTo>
                  <a:pt x="32" y="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8" name="Freeform 854"/>
          <p:cNvSpPr>
            <a:spLocks/>
          </p:cNvSpPr>
          <p:nvPr/>
        </p:nvSpPr>
        <p:spPr bwMode="auto">
          <a:xfrm>
            <a:off x="5135562" y="5265738"/>
            <a:ext cx="23813" cy="26988"/>
          </a:xfrm>
          <a:custGeom>
            <a:avLst/>
            <a:gdLst>
              <a:gd name="T0" fmla="*/ 15 w 15"/>
              <a:gd name="T1" fmla="*/ 15 h 17"/>
              <a:gd name="T2" fmla="*/ 13 w 15"/>
              <a:gd name="T3" fmla="*/ 17 h 17"/>
              <a:gd name="T4" fmla="*/ 6 w 15"/>
              <a:gd name="T5" fmla="*/ 17 h 17"/>
              <a:gd name="T6" fmla="*/ 0 w 15"/>
              <a:gd name="T7" fmla="*/ 11 h 17"/>
              <a:gd name="T8" fmla="*/ 0 w 15"/>
              <a:gd name="T9" fmla="*/ 9 h 17"/>
              <a:gd name="T10" fmla="*/ 6 w 15"/>
              <a:gd name="T11" fmla="*/ 0 h 17"/>
              <a:gd name="T12" fmla="*/ 13 w 15"/>
              <a:gd name="T13" fmla="*/ 9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17"/>
                </a:lnTo>
                <a:lnTo>
                  <a:pt x="6" y="17"/>
                </a:lnTo>
                <a:lnTo>
                  <a:pt x="0" y="11"/>
                </a:lnTo>
                <a:lnTo>
                  <a:pt x="0" y="9"/>
                </a:lnTo>
                <a:lnTo>
                  <a:pt x="6" y="0"/>
                </a:lnTo>
                <a:lnTo>
                  <a:pt x="13" y="9"/>
                </a:lnTo>
                <a:lnTo>
                  <a:pt x="15" y="1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855"/>
          <p:cNvSpPr>
            <a:spLocks/>
          </p:cNvSpPr>
          <p:nvPr/>
        </p:nvSpPr>
        <p:spPr bwMode="auto">
          <a:xfrm>
            <a:off x="5135562" y="5265738"/>
            <a:ext cx="23813" cy="26988"/>
          </a:xfrm>
          <a:custGeom>
            <a:avLst/>
            <a:gdLst>
              <a:gd name="T0" fmla="*/ 15 w 15"/>
              <a:gd name="T1" fmla="*/ 15 h 17"/>
              <a:gd name="T2" fmla="*/ 13 w 15"/>
              <a:gd name="T3" fmla="*/ 17 h 17"/>
              <a:gd name="T4" fmla="*/ 6 w 15"/>
              <a:gd name="T5" fmla="*/ 17 h 17"/>
              <a:gd name="T6" fmla="*/ 0 w 15"/>
              <a:gd name="T7" fmla="*/ 11 h 17"/>
              <a:gd name="T8" fmla="*/ 0 w 15"/>
              <a:gd name="T9" fmla="*/ 9 h 17"/>
              <a:gd name="T10" fmla="*/ 6 w 15"/>
              <a:gd name="T11" fmla="*/ 0 h 17"/>
              <a:gd name="T12" fmla="*/ 13 w 15"/>
              <a:gd name="T13" fmla="*/ 9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17"/>
                </a:lnTo>
                <a:lnTo>
                  <a:pt x="6" y="17"/>
                </a:lnTo>
                <a:lnTo>
                  <a:pt x="0" y="11"/>
                </a:lnTo>
                <a:lnTo>
                  <a:pt x="0" y="9"/>
                </a:lnTo>
                <a:lnTo>
                  <a:pt x="6" y="0"/>
                </a:lnTo>
                <a:lnTo>
                  <a:pt x="13" y="9"/>
                </a:lnTo>
                <a:lnTo>
                  <a:pt x="15" y="1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0" name="Freeform 856"/>
          <p:cNvSpPr>
            <a:spLocks/>
          </p:cNvSpPr>
          <p:nvPr/>
        </p:nvSpPr>
        <p:spPr bwMode="auto">
          <a:xfrm>
            <a:off x="5013325" y="2128838"/>
            <a:ext cx="20638" cy="23813"/>
          </a:xfrm>
          <a:custGeom>
            <a:avLst/>
            <a:gdLst>
              <a:gd name="T0" fmla="*/ 13 w 13"/>
              <a:gd name="T1" fmla="*/ 0 h 15"/>
              <a:gd name="T2" fmla="*/ 11 w 13"/>
              <a:gd name="T3" fmla="*/ 0 h 15"/>
              <a:gd name="T4" fmla="*/ 4 w 13"/>
              <a:gd name="T5" fmla="*/ 6 h 15"/>
              <a:gd name="T6" fmla="*/ 0 w 13"/>
              <a:gd name="T7" fmla="*/ 15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11" y="0"/>
                </a:lnTo>
                <a:lnTo>
                  <a:pt x="4" y="6"/>
                </a:lnTo>
                <a:lnTo>
                  <a:pt x="0" y="15"/>
                </a:lnTo>
                <a:lnTo>
                  <a:pt x="13"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857"/>
          <p:cNvSpPr>
            <a:spLocks/>
          </p:cNvSpPr>
          <p:nvPr/>
        </p:nvSpPr>
        <p:spPr bwMode="auto">
          <a:xfrm>
            <a:off x="5013325" y="2128838"/>
            <a:ext cx="20638" cy="23813"/>
          </a:xfrm>
          <a:custGeom>
            <a:avLst/>
            <a:gdLst>
              <a:gd name="T0" fmla="*/ 13 w 13"/>
              <a:gd name="T1" fmla="*/ 0 h 15"/>
              <a:gd name="T2" fmla="*/ 11 w 13"/>
              <a:gd name="T3" fmla="*/ 0 h 15"/>
              <a:gd name="T4" fmla="*/ 4 w 13"/>
              <a:gd name="T5" fmla="*/ 6 h 15"/>
              <a:gd name="T6" fmla="*/ 0 w 13"/>
              <a:gd name="T7" fmla="*/ 15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11" y="0"/>
                </a:lnTo>
                <a:lnTo>
                  <a:pt x="4" y="6"/>
                </a:lnTo>
                <a:lnTo>
                  <a:pt x="0" y="15"/>
                </a:lnTo>
                <a:lnTo>
                  <a:pt x="13"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2" name="Freeform 858"/>
          <p:cNvSpPr>
            <a:spLocks/>
          </p:cNvSpPr>
          <p:nvPr/>
        </p:nvSpPr>
        <p:spPr bwMode="auto">
          <a:xfrm>
            <a:off x="5030787" y="2111375"/>
            <a:ext cx="12700" cy="9525"/>
          </a:xfrm>
          <a:custGeom>
            <a:avLst/>
            <a:gdLst>
              <a:gd name="T0" fmla="*/ 8 w 8"/>
              <a:gd name="T1" fmla="*/ 2 h 6"/>
              <a:gd name="T2" fmla="*/ 6 w 8"/>
              <a:gd name="T3" fmla="*/ 0 h 6"/>
              <a:gd name="T4" fmla="*/ 0 w 8"/>
              <a:gd name="T5" fmla="*/ 6 h 6"/>
              <a:gd name="T6" fmla="*/ 8 w 8"/>
              <a:gd name="T7" fmla="*/ 2 h 6"/>
            </a:gdLst>
            <a:ahLst/>
            <a:cxnLst>
              <a:cxn ang="0">
                <a:pos x="T0" y="T1"/>
              </a:cxn>
              <a:cxn ang="0">
                <a:pos x="T2" y="T3"/>
              </a:cxn>
              <a:cxn ang="0">
                <a:pos x="T4" y="T5"/>
              </a:cxn>
              <a:cxn ang="0">
                <a:pos x="T6" y="T7"/>
              </a:cxn>
            </a:cxnLst>
            <a:rect l="0" t="0" r="r" b="b"/>
            <a:pathLst>
              <a:path w="8" h="6">
                <a:moveTo>
                  <a:pt x="8" y="2"/>
                </a:moveTo>
                <a:lnTo>
                  <a:pt x="6" y="0"/>
                </a:lnTo>
                <a:lnTo>
                  <a:pt x="0" y="6"/>
                </a:lnTo>
                <a:lnTo>
                  <a:pt x="8"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859"/>
          <p:cNvSpPr>
            <a:spLocks/>
          </p:cNvSpPr>
          <p:nvPr/>
        </p:nvSpPr>
        <p:spPr bwMode="auto">
          <a:xfrm>
            <a:off x="5030787" y="2111375"/>
            <a:ext cx="12700" cy="9525"/>
          </a:xfrm>
          <a:custGeom>
            <a:avLst/>
            <a:gdLst>
              <a:gd name="T0" fmla="*/ 8 w 8"/>
              <a:gd name="T1" fmla="*/ 2 h 6"/>
              <a:gd name="T2" fmla="*/ 6 w 8"/>
              <a:gd name="T3" fmla="*/ 0 h 6"/>
              <a:gd name="T4" fmla="*/ 0 w 8"/>
              <a:gd name="T5" fmla="*/ 6 h 6"/>
              <a:gd name="T6" fmla="*/ 8 w 8"/>
              <a:gd name="T7" fmla="*/ 2 h 6"/>
            </a:gdLst>
            <a:ahLst/>
            <a:cxnLst>
              <a:cxn ang="0">
                <a:pos x="T0" y="T1"/>
              </a:cxn>
              <a:cxn ang="0">
                <a:pos x="T2" y="T3"/>
              </a:cxn>
              <a:cxn ang="0">
                <a:pos x="T4" y="T5"/>
              </a:cxn>
              <a:cxn ang="0">
                <a:pos x="T6" y="T7"/>
              </a:cxn>
            </a:cxnLst>
            <a:rect l="0" t="0" r="r" b="b"/>
            <a:pathLst>
              <a:path w="8" h="6">
                <a:moveTo>
                  <a:pt x="8" y="2"/>
                </a:moveTo>
                <a:lnTo>
                  <a:pt x="6" y="0"/>
                </a:lnTo>
                <a:lnTo>
                  <a:pt x="0" y="6"/>
                </a:lnTo>
                <a:lnTo>
                  <a:pt x="8"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4" name="Freeform 860"/>
          <p:cNvSpPr>
            <a:spLocks/>
          </p:cNvSpPr>
          <p:nvPr/>
        </p:nvSpPr>
        <p:spPr bwMode="auto">
          <a:xfrm>
            <a:off x="5051425" y="2090738"/>
            <a:ext cx="3175" cy="14288"/>
          </a:xfrm>
          <a:custGeom>
            <a:avLst/>
            <a:gdLst>
              <a:gd name="T0" fmla="*/ 2 w 2"/>
              <a:gd name="T1" fmla="*/ 2 h 9"/>
              <a:gd name="T2" fmla="*/ 0 w 2"/>
              <a:gd name="T3" fmla="*/ 0 h 9"/>
              <a:gd name="T4" fmla="*/ 0 w 2"/>
              <a:gd name="T5" fmla="*/ 9 h 9"/>
              <a:gd name="T6" fmla="*/ 2 w 2"/>
              <a:gd name="T7" fmla="*/ 2 h 9"/>
            </a:gdLst>
            <a:ahLst/>
            <a:cxnLst>
              <a:cxn ang="0">
                <a:pos x="T0" y="T1"/>
              </a:cxn>
              <a:cxn ang="0">
                <a:pos x="T2" y="T3"/>
              </a:cxn>
              <a:cxn ang="0">
                <a:pos x="T4" y="T5"/>
              </a:cxn>
              <a:cxn ang="0">
                <a:pos x="T6" y="T7"/>
              </a:cxn>
            </a:cxnLst>
            <a:rect l="0" t="0" r="r" b="b"/>
            <a:pathLst>
              <a:path w="2" h="9">
                <a:moveTo>
                  <a:pt x="2" y="2"/>
                </a:moveTo>
                <a:lnTo>
                  <a:pt x="0" y="0"/>
                </a:lnTo>
                <a:lnTo>
                  <a:pt x="0" y="9"/>
                </a:lnTo>
                <a:lnTo>
                  <a:pt x="2"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861"/>
          <p:cNvSpPr>
            <a:spLocks/>
          </p:cNvSpPr>
          <p:nvPr/>
        </p:nvSpPr>
        <p:spPr bwMode="auto">
          <a:xfrm>
            <a:off x="5051425" y="2090738"/>
            <a:ext cx="3175" cy="14288"/>
          </a:xfrm>
          <a:custGeom>
            <a:avLst/>
            <a:gdLst>
              <a:gd name="T0" fmla="*/ 2 w 2"/>
              <a:gd name="T1" fmla="*/ 2 h 9"/>
              <a:gd name="T2" fmla="*/ 0 w 2"/>
              <a:gd name="T3" fmla="*/ 0 h 9"/>
              <a:gd name="T4" fmla="*/ 0 w 2"/>
              <a:gd name="T5" fmla="*/ 9 h 9"/>
              <a:gd name="T6" fmla="*/ 2 w 2"/>
              <a:gd name="T7" fmla="*/ 2 h 9"/>
            </a:gdLst>
            <a:ahLst/>
            <a:cxnLst>
              <a:cxn ang="0">
                <a:pos x="T0" y="T1"/>
              </a:cxn>
              <a:cxn ang="0">
                <a:pos x="T2" y="T3"/>
              </a:cxn>
              <a:cxn ang="0">
                <a:pos x="T4" y="T5"/>
              </a:cxn>
              <a:cxn ang="0">
                <a:pos x="T6" y="T7"/>
              </a:cxn>
            </a:cxnLst>
            <a:rect l="0" t="0" r="r" b="b"/>
            <a:pathLst>
              <a:path w="2" h="9">
                <a:moveTo>
                  <a:pt x="2" y="2"/>
                </a:moveTo>
                <a:lnTo>
                  <a:pt x="0" y="0"/>
                </a:lnTo>
                <a:lnTo>
                  <a:pt x="0" y="9"/>
                </a:lnTo>
                <a:lnTo>
                  <a:pt x="2"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6" name="Freeform 862"/>
          <p:cNvSpPr>
            <a:spLocks/>
          </p:cNvSpPr>
          <p:nvPr/>
        </p:nvSpPr>
        <p:spPr bwMode="auto">
          <a:xfrm>
            <a:off x="4764087" y="2114550"/>
            <a:ext cx="709613" cy="792163"/>
          </a:xfrm>
          <a:custGeom>
            <a:avLst/>
            <a:gdLst>
              <a:gd name="T0" fmla="*/ 70 w 447"/>
              <a:gd name="T1" fmla="*/ 36 h 499"/>
              <a:gd name="T2" fmla="*/ 119 w 447"/>
              <a:gd name="T3" fmla="*/ 15 h 499"/>
              <a:gd name="T4" fmla="*/ 140 w 447"/>
              <a:gd name="T5" fmla="*/ 4 h 499"/>
              <a:gd name="T6" fmla="*/ 155 w 447"/>
              <a:gd name="T7" fmla="*/ 13 h 499"/>
              <a:gd name="T8" fmla="*/ 149 w 447"/>
              <a:gd name="T9" fmla="*/ 34 h 499"/>
              <a:gd name="T10" fmla="*/ 159 w 447"/>
              <a:gd name="T11" fmla="*/ 34 h 499"/>
              <a:gd name="T12" fmla="*/ 187 w 447"/>
              <a:gd name="T13" fmla="*/ 41 h 499"/>
              <a:gd name="T14" fmla="*/ 206 w 447"/>
              <a:gd name="T15" fmla="*/ 51 h 499"/>
              <a:gd name="T16" fmla="*/ 315 w 447"/>
              <a:gd name="T17" fmla="*/ 92 h 499"/>
              <a:gd name="T18" fmla="*/ 340 w 447"/>
              <a:gd name="T19" fmla="*/ 92 h 499"/>
              <a:gd name="T20" fmla="*/ 372 w 447"/>
              <a:gd name="T21" fmla="*/ 100 h 499"/>
              <a:gd name="T22" fmla="*/ 391 w 447"/>
              <a:gd name="T23" fmla="*/ 117 h 499"/>
              <a:gd name="T24" fmla="*/ 400 w 447"/>
              <a:gd name="T25" fmla="*/ 132 h 499"/>
              <a:gd name="T26" fmla="*/ 400 w 447"/>
              <a:gd name="T27" fmla="*/ 160 h 499"/>
              <a:gd name="T28" fmla="*/ 411 w 447"/>
              <a:gd name="T29" fmla="*/ 173 h 499"/>
              <a:gd name="T30" fmla="*/ 419 w 447"/>
              <a:gd name="T31" fmla="*/ 185 h 499"/>
              <a:gd name="T32" fmla="*/ 419 w 447"/>
              <a:gd name="T33" fmla="*/ 198 h 499"/>
              <a:gd name="T34" fmla="*/ 404 w 447"/>
              <a:gd name="T35" fmla="*/ 213 h 499"/>
              <a:gd name="T36" fmla="*/ 394 w 447"/>
              <a:gd name="T37" fmla="*/ 245 h 499"/>
              <a:gd name="T38" fmla="*/ 404 w 447"/>
              <a:gd name="T39" fmla="*/ 245 h 499"/>
              <a:gd name="T40" fmla="*/ 417 w 447"/>
              <a:gd name="T41" fmla="*/ 226 h 499"/>
              <a:gd name="T42" fmla="*/ 436 w 447"/>
              <a:gd name="T43" fmla="*/ 211 h 499"/>
              <a:gd name="T44" fmla="*/ 445 w 447"/>
              <a:gd name="T45" fmla="*/ 232 h 499"/>
              <a:gd name="T46" fmla="*/ 434 w 447"/>
              <a:gd name="T47" fmla="*/ 275 h 499"/>
              <a:gd name="T48" fmla="*/ 432 w 447"/>
              <a:gd name="T49" fmla="*/ 298 h 499"/>
              <a:gd name="T50" fmla="*/ 425 w 447"/>
              <a:gd name="T51" fmla="*/ 326 h 499"/>
              <a:gd name="T52" fmla="*/ 423 w 447"/>
              <a:gd name="T53" fmla="*/ 358 h 499"/>
              <a:gd name="T54" fmla="*/ 419 w 447"/>
              <a:gd name="T55" fmla="*/ 388 h 499"/>
              <a:gd name="T56" fmla="*/ 419 w 447"/>
              <a:gd name="T57" fmla="*/ 424 h 499"/>
              <a:gd name="T58" fmla="*/ 430 w 447"/>
              <a:gd name="T59" fmla="*/ 445 h 499"/>
              <a:gd name="T60" fmla="*/ 432 w 447"/>
              <a:gd name="T61" fmla="*/ 467 h 499"/>
              <a:gd name="T62" fmla="*/ 332 w 447"/>
              <a:gd name="T63" fmla="*/ 490 h 499"/>
              <a:gd name="T64" fmla="*/ 172 w 447"/>
              <a:gd name="T65" fmla="*/ 479 h 499"/>
              <a:gd name="T66" fmla="*/ 159 w 447"/>
              <a:gd name="T67" fmla="*/ 460 h 499"/>
              <a:gd name="T68" fmla="*/ 151 w 447"/>
              <a:gd name="T69" fmla="*/ 430 h 499"/>
              <a:gd name="T70" fmla="*/ 149 w 447"/>
              <a:gd name="T71" fmla="*/ 407 h 499"/>
              <a:gd name="T72" fmla="*/ 144 w 447"/>
              <a:gd name="T73" fmla="*/ 390 h 499"/>
              <a:gd name="T74" fmla="*/ 140 w 447"/>
              <a:gd name="T75" fmla="*/ 373 h 499"/>
              <a:gd name="T76" fmla="*/ 125 w 447"/>
              <a:gd name="T77" fmla="*/ 337 h 499"/>
              <a:gd name="T78" fmla="*/ 104 w 447"/>
              <a:gd name="T79" fmla="*/ 326 h 499"/>
              <a:gd name="T80" fmla="*/ 70 w 447"/>
              <a:gd name="T81" fmla="*/ 292 h 499"/>
              <a:gd name="T82" fmla="*/ 49 w 447"/>
              <a:gd name="T83" fmla="*/ 277 h 499"/>
              <a:gd name="T84" fmla="*/ 21 w 447"/>
              <a:gd name="T85" fmla="*/ 264 h 499"/>
              <a:gd name="T86" fmla="*/ 12 w 447"/>
              <a:gd name="T87" fmla="*/ 237 h 499"/>
              <a:gd name="T88" fmla="*/ 10 w 447"/>
              <a:gd name="T89" fmla="*/ 198 h 499"/>
              <a:gd name="T90" fmla="*/ 4 w 447"/>
              <a:gd name="T91" fmla="*/ 164 h 499"/>
              <a:gd name="T92" fmla="*/ 4 w 447"/>
              <a:gd name="T93" fmla="*/ 143 h 499"/>
              <a:gd name="T94" fmla="*/ 25 w 447"/>
              <a:gd name="T95" fmla="*/ 119 h 499"/>
              <a:gd name="T96" fmla="*/ 44 w 447"/>
              <a:gd name="T97" fmla="*/ 96 h 499"/>
              <a:gd name="T98" fmla="*/ 51 w 447"/>
              <a:gd name="T99" fmla="*/ 3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499">
                <a:moveTo>
                  <a:pt x="55" y="28"/>
                </a:moveTo>
                <a:lnTo>
                  <a:pt x="61" y="34"/>
                </a:lnTo>
                <a:lnTo>
                  <a:pt x="70" y="36"/>
                </a:lnTo>
                <a:lnTo>
                  <a:pt x="76" y="34"/>
                </a:lnTo>
                <a:lnTo>
                  <a:pt x="104" y="24"/>
                </a:lnTo>
                <a:lnTo>
                  <a:pt x="119" y="15"/>
                </a:lnTo>
                <a:lnTo>
                  <a:pt x="125" y="13"/>
                </a:lnTo>
                <a:lnTo>
                  <a:pt x="134" y="9"/>
                </a:lnTo>
                <a:lnTo>
                  <a:pt x="140" y="4"/>
                </a:lnTo>
                <a:lnTo>
                  <a:pt x="149" y="0"/>
                </a:lnTo>
                <a:lnTo>
                  <a:pt x="157" y="4"/>
                </a:lnTo>
                <a:lnTo>
                  <a:pt x="155" y="13"/>
                </a:lnTo>
                <a:lnTo>
                  <a:pt x="151" y="19"/>
                </a:lnTo>
                <a:lnTo>
                  <a:pt x="151" y="26"/>
                </a:lnTo>
                <a:lnTo>
                  <a:pt x="149" y="34"/>
                </a:lnTo>
                <a:lnTo>
                  <a:pt x="147" y="38"/>
                </a:lnTo>
                <a:lnTo>
                  <a:pt x="153" y="38"/>
                </a:lnTo>
                <a:lnTo>
                  <a:pt x="159" y="34"/>
                </a:lnTo>
                <a:lnTo>
                  <a:pt x="168" y="36"/>
                </a:lnTo>
                <a:lnTo>
                  <a:pt x="174" y="38"/>
                </a:lnTo>
                <a:lnTo>
                  <a:pt x="187" y="41"/>
                </a:lnTo>
                <a:lnTo>
                  <a:pt x="191" y="43"/>
                </a:lnTo>
                <a:lnTo>
                  <a:pt x="198" y="47"/>
                </a:lnTo>
                <a:lnTo>
                  <a:pt x="206" y="51"/>
                </a:lnTo>
                <a:lnTo>
                  <a:pt x="215" y="66"/>
                </a:lnTo>
                <a:lnTo>
                  <a:pt x="289" y="81"/>
                </a:lnTo>
                <a:lnTo>
                  <a:pt x="315" y="92"/>
                </a:lnTo>
                <a:lnTo>
                  <a:pt x="317" y="92"/>
                </a:lnTo>
                <a:lnTo>
                  <a:pt x="332" y="94"/>
                </a:lnTo>
                <a:lnTo>
                  <a:pt x="340" y="92"/>
                </a:lnTo>
                <a:lnTo>
                  <a:pt x="347" y="94"/>
                </a:lnTo>
                <a:lnTo>
                  <a:pt x="366" y="96"/>
                </a:lnTo>
                <a:lnTo>
                  <a:pt x="372" y="100"/>
                </a:lnTo>
                <a:lnTo>
                  <a:pt x="374" y="113"/>
                </a:lnTo>
                <a:lnTo>
                  <a:pt x="381" y="113"/>
                </a:lnTo>
                <a:lnTo>
                  <a:pt x="391" y="117"/>
                </a:lnTo>
                <a:lnTo>
                  <a:pt x="400" y="124"/>
                </a:lnTo>
                <a:lnTo>
                  <a:pt x="398" y="126"/>
                </a:lnTo>
                <a:lnTo>
                  <a:pt x="400" y="132"/>
                </a:lnTo>
                <a:lnTo>
                  <a:pt x="400" y="147"/>
                </a:lnTo>
                <a:lnTo>
                  <a:pt x="398" y="156"/>
                </a:lnTo>
                <a:lnTo>
                  <a:pt x="400" y="160"/>
                </a:lnTo>
                <a:lnTo>
                  <a:pt x="406" y="158"/>
                </a:lnTo>
                <a:lnTo>
                  <a:pt x="415" y="158"/>
                </a:lnTo>
                <a:lnTo>
                  <a:pt x="411" y="173"/>
                </a:lnTo>
                <a:lnTo>
                  <a:pt x="411" y="179"/>
                </a:lnTo>
                <a:lnTo>
                  <a:pt x="417" y="185"/>
                </a:lnTo>
                <a:lnTo>
                  <a:pt x="419" y="185"/>
                </a:lnTo>
                <a:lnTo>
                  <a:pt x="421" y="188"/>
                </a:lnTo>
                <a:lnTo>
                  <a:pt x="419" y="194"/>
                </a:lnTo>
                <a:lnTo>
                  <a:pt x="419" y="198"/>
                </a:lnTo>
                <a:lnTo>
                  <a:pt x="413" y="205"/>
                </a:lnTo>
                <a:lnTo>
                  <a:pt x="404" y="207"/>
                </a:lnTo>
                <a:lnTo>
                  <a:pt x="404" y="213"/>
                </a:lnTo>
                <a:lnTo>
                  <a:pt x="400" y="222"/>
                </a:lnTo>
                <a:lnTo>
                  <a:pt x="396" y="237"/>
                </a:lnTo>
                <a:lnTo>
                  <a:pt x="394" y="245"/>
                </a:lnTo>
                <a:lnTo>
                  <a:pt x="394" y="251"/>
                </a:lnTo>
                <a:lnTo>
                  <a:pt x="400" y="251"/>
                </a:lnTo>
                <a:lnTo>
                  <a:pt x="404" y="245"/>
                </a:lnTo>
                <a:lnTo>
                  <a:pt x="411" y="241"/>
                </a:lnTo>
                <a:lnTo>
                  <a:pt x="417" y="232"/>
                </a:lnTo>
                <a:lnTo>
                  <a:pt x="417" y="226"/>
                </a:lnTo>
                <a:lnTo>
                  <a:pt x="421" y="217"/>
                </a:lnTo>
                <a:lnTo>
                  <a:pt x="430" y="215"/>
                </a:lnTo>
                <a:lnTo>
                  <a:pt x="436" y="211"/>
                </a:lnTo>
                <a:lnTo>
                  <a:pt x="443" y="217"/>
                </a:lnTo>
                <a:lnTo>
                  <a:pt x="447" y="224"/>
                </a:lnTo>
                <a:lnTo>
                  <a:pt x="445" y="232"/>
                </a:lnTo>
                <a:lnTo>
                  <a:pt x="436" y="251"/>
                </a:lnTo>
                <a:lnTo>
                  <a:pt x="436" y="266"/>
                </a:lnTo>
                <a:lnTo>
                  <a:pt x="434" y="275"/>
                </a:lnTo>
                <a:lnTo>
                  <a:pt x="438" y="288"/>
                </a:lnTo>
                <a:lnTo>
                  <a:pt x="438" y="292"/>
                </a:lnTo>
                <a:lnTo>
                  <a:pt x="432" y="298"/>
                </a:lnTo>
                <a:lnTo>
                  <a:pt x="428" y="305"/>
                </a:lnTo>
                <a:lnTo>
                  <a:pt x="425" y="320"/>
                </a:lnTo>
                <a:lnTo>
                  <a:pt x="425" y="326"/>
                </a:lnTo>
                <a:lnTo>
                  <a:pt x="428" y="341"/>
                </a:lnTo>
                <a:lnTo>
                  <a:pt x="428" y="349"/>
                </a:lnTo>
                <a:lnTo>
                  <a:pt x="423" y="358"/>
                </a:lnTo>
                <a:lnTo>
                  <a:pt x="423" y="364"/>
                </a:lnTo>
                <a:lnTo>
                  <a:pt x="423" y="371"/>
                </a:lnTo>
                <a:lnTo>
                  <a:pt x="419" y="388"/>
                </a:lnTo>
                <a:lnTo>
                  <a:pt x="417" y="401"/>
                </a:lnTo>
                <a:lnTo>
                  <a:pt x="421" y="418"/>
                </a:lnTo>
                <a:lnTo>
                  <a:pt x="419" y="424"/>
                </a:lnTo>
                <a:lnTo>
                  <a:pt x="425" y="430"/>
                </a:lnTo>
                <a:lnTo>
                  <a:pt x="425" y="439"/>
                </a:lnTo>
                <a:lnTo>
                  <a:pt x="430" y="445"/>
                </a:lnTo>
                <a:lnTo>
                  <a:pt x="432" y="452"/>
                </a:lnTo>
                <a:lnTo>
                  <a:pt x="432" y="460"/>
                </a:lnTo>
                <a:lnTo>
                  <a:pt x="432" y="467"/>
                </a:lnTo>
                <a:lnTo>
                  <a:pt x="434" y="481"/>
                </a:lnTo>
                <a:lnTo>
                  <a:pt x="430" y="481"/>
                </a:lnTo>
                <a:lnTo>
                  <a:pt x="332" y="490"/>
                </a:lnTo>
                <a:lnTo>
                  <a:pt x="200" y="499"/>
                </a:lnTo>
                <a:lnTo>
                  <a:pt x="193" y="484"/>
                </a:lnTo>
                <a:lnTo>
                  <a:pt x="172" y="479"/>
                </a:lnTo>
                <a:lnTo>
                  <a:pt x="166" y="477"/>
                </a:lnTo>
                <a:lnTo>
                  <a:pt x="161" y="469"/>
                </a:lnTo>
                <a:lnTo>
                  <a:pt x="159" y="460"/>
                </a:lnTo>
                <a:lnTo>
                  <a:pt x="155" y="454"/>
                </a:lnTo>
                <a:lnTo>
                  <a:pt x="155" y="441"/>
                </a:lnTo>
                <a:lnTo>
                  <a:pt x="151" y="430"/>
                </a:lnTo>
                <a:lnTo>
                  <a:pt x="159" y="415"/>
                </a:lnTo>
                <a:lnTo>
                  <a:pt x="155" y="409"/>
                </a:lnTo>
                <a:lnTo>
                  <a:pt x="149" y="407"/>
                </a:lnTo>
                <a:lnTo>
                  <a:pt x="147" y="398"/>
                </a:lnTo>
                <a:lnTo>
                  <a:pt x="144" y="396"/>
                </a:lnTo>
                <a:lnTo>
                  <a:pt x="144" y="390"/>
                </a:lnTo>
                <a:lnTo>
                  <a:pt x="142" y="383"/>
                </a:lnTo>
                <a:lnTo>
                  <a:pt x="142" y="379"/>
                </a:lnTo>
                <a:lnTo>
                  <a:pt x="140" y="373"/>
                </a:lnTo>
                <a:lnTo>
                  <a:pt x="138" y="354"/>
                </a:lnTo>
                <a:lnTo>
                  <a:pt x="132" y="343"/>
                </a:lnTo>
                <a:lnTo>
                  <a:pt x="125" y="337"/>
                </a:lnTo>
                <a:lnTo>
                  <a:pt x="119" y="332"/>
                </a:lnTo>
                <a:lnTo>
                  <a:pt x="110" y="330"/>
                </a:lnTo>
                <a:lnTo>
                  <a:pt x="104" y="326"/>
                </a:lnTo>
                <a:lnTo>
                  <a:pt x="89" y="313"/>
                </a:lnTo>
                <a:lnTo>
                  <a:pt x="81" y="298"/>
                </a:lnTo>
                <a:lnTo>
                  <a:pt x="70" y="292"/>
                </a:lnTo>
                <a:lnTo>
                  <a:pt x="59" y="288"/>
                </a:lnTo>
                <a:lnTo>
                  <a:pt x="53" y="283"/>
                </a:lnTo>
                <a:lnTo>
                  <a:pt x="49" y="277"/>
                </a:lnTo>
                <a:lnTo>
                  <a:pt x="36" y="275"/>
                </a:lnTo>
                <a:lnTo>
                  <a:pt x="27" y="271"/>
                </a:lnTo>
                <a:lnTo>
                  <a:pt x="21" y="264"/>
                </a:lnTo>
                <a:lnTo>
                  <a:pt x="10" y="256"/>
                </a:lnTo>
                <a:lnTo>
                  <a:pt x="12" y="247"/>
                </a:lnTo>
                <a:lnTo>
                  <a:pt x="12" y="237"/>
                </a:lnTo>
                <a:lnTo>
                  <a:pt x="10" y="219"/>
                </a:lnTo>
                <a:lnTo>
                  <a:pt x="12" y="213"/>
                </a:lnTo>
                <a:lnTo>
                  <a:pt x="10" y="198"/>
                </a:lnTo>
                <a:lnTo>
                  <a:pt x="19" y="181"/>
                </a:lnTo>
                <a:lnTo>
                  <a:pt x="10" y="166"/>
                </a:lnTo>
                <a:lnTo>
                  <a:pt x="4" y="164"/>
                </a:lnTo>
                <a:lnTo>
                  <a:pt x="0" y="158"/>
                </a:lnTo>
                <a:lnTo>
                  <a:pt x="0" y="149"/>
                </a:lnTo>
                <a:lnTo>
                  <a:pt x="4" y="143"/>
                </a:lnTo>
                <a:lnTo>
                  <a:pt x="8" y="136"/>
                </a:lnTo>
                <a:lnTo>
                  <a:pt x="10" y="128"/>
                </a:lnTo>
                <a:lnTo>
                  <a:pt x="25" y="119"/>
                </a:lnTo>
                <a:lnTo>
                  <a:pt x="38" y="111"/>
                </a:lnTo>
                <a:lnTo>
                  <a:pt x="42" y="104"/>
                </a:lnTo>
                <a:lnTo>
                  <a:pt x="44" y="96"/>
                </a:lnTo>
                <a:lnTo>
                  <a:pt x="40" y="38"/>
                </a:lnTo>
                <a:lnTo>
                  <a:pt x="46" y="38"/>
                </a:lnTo>
                <a:lnTo>
                  <a:pt x="51" y="32"/>
                </a:lnTo>
                <a:lnTo>
                  <a:pt x="51" y="30"/>
                </a:lnTo>
                <a:lnTo>
                  <a:pt x="55" y="2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863"/>
          <p:cNvSpPr>
            <a:spLocks/>
          </p:cNvSpPr>
          <p:nvPr/>
        </p:nvSpPr>
        <p:spPr bwMode="auto">
          <a:xfrm>
            <a:off x="4764087" y="2114550"/>
            <a:ext cx="709613" cy="792163"/>
          </a:xfrm>
          <a:custGeom>
            <a:avLst/>
            <a:gdLst>
              <a:gd name="T0" fmla="*/ 70 w 447"/>
              <a:gd name="T1" fmla="*/ 36 h 499"/>
              <a:gd name="T2" fmla="*/ 119 w 447"/>
              <a:gd name="T3" fmla="*/ 15 h 499"/>
              <a:gd name="T4" fmla="*/ 140 w 447"/>
              <a:gd name="T5" fmla="*/ 4 h 499"/>
              <a:gd name="T6" fmla="*/ 155 w 447"/>
              <a:gd name="T7" fmla="*/ 13 h 499"/>
              <a:gd name="T8" fmla="*/ 149 w 447"/>
              <a:gd name="T9" fmla="*/ 34 h 499"/>
              <a:gd name="T10" fmla="*/ 159 w 447"/>
              <a:gd name="T11" fmla="*/ 34 h 499"/>
              <a:gd name="T12" fmla="*/ 187 w 447"/>
              <a:gd name="T13" fmla="*/ 41 h 499"/>
              <a:gd name="T14" fmla="*/ 206 w 447"/>
              <a:gd name="T15" fmla="*/ 51 h 499"/>
              <a:gd name="T16" fmla="*/ 315 w 447"/>
              <a:gd name="T17" fmla="*/ 92 h 499"/>
              <a:gd name="T18" fmla="*/ 340 w 447"/>
              <a:gd name="T19" fmla="*/ 92 h 499"/>
              <a:gd name="T20" fmla="*/ 372 w 447"/>
              <a:gd name="T21" fmla="*/ 100 h 499"/>
              <a:gd name="T22" fmla="*/ 391 w 447"/>
              <a:gd name="T23" fmla="*/ 117 h 499"/>
              <a:gd name="T24" fmla="*/ 400 w 447"/>
              <a:gd name="T25" fmla="*/ 132 h 499"/>
              <a:gd name="T26" fmla="*/ 400 w 447"/>
              <a:gd name="T27" fmla="*/ 160 h 499"/>
              <a:gd name="T28" fmla="*/ 411 w 447"/>
              <a:gd name="T29" fmla="*/ 173 h 499"/>
              <a:gd name="T30" fmla="*/ 419 w 447"/>
              <a:gd name="T31" fmla="*/ 185 h 499"/>
              <a:gd name="T32" fmla="*/ 419 w 447"/>
              <a:gd name="T33" fmla="*/ 198 h 499"/>
              <a:gd name="T34" fmla="*/ 404 w 447"/>
              <a:gd name="T35" fmla="*/ 213 h 499"/>
              <a:gd name="T36" fmla="*/ 394 w 447"/>
              <a:gd name="T37" fmla="*/ 245 h 499"/>
              <a:gd name="T38" fmla="*/ 404 w 447"/>
              <a:gd name="T39" fmla="*/ 245 h 499"/>
              <a:gd name="T40" fmla="*/ 417 w 447"/>
              <a:gd name="T41" fmla="*/ 226 h 499"/>
              <a:gd name="T42" fmla="*/ 436 w 447"/>
              <a:gd name="T43" fmla="*/ 211 h 499"/>
              <a:gd name="T44" fmla="*/ 445 w 447"/>
              <a:gd name="T45" fmla="*/ 232 h 499"/>
              <a:gd name="T46" fmla="*/ 434 w 447"/>
              <a:gd name="T47" fmla="*/ 275 h 499"/>
              <a:gd name="T48" fmla="*/ 432 w 447"/>
              <a:gd name="T49" fmla="*/ 298 h 499"/>
              <a:gd name="T50" fmla="*/ 425 w 447"/>
              <a:gd name="T51" fmla="*/ 326 h 499"/>
              <a:gd name="T52" fmla="*/ 423 w 447"/>
              <a:gd name="T53" fmla="*/ 358 h 499"/>
              <a:gd name="T54" fmla="*/ 419 w 447"/>
              <a:gd name="T55" fmla="*/ 388 h 499"/>
              <a:gd name="T56" fmla="*/ 419 w 447"/>
              <a:gd name="T57" fmla="*/ 424 h 499"/>
              <a:gd name="T58" fmla="*/ 430 w 447"/>
              <a:gd name="T59" fmla="*/ 445 h 499"/>
              <a:gd name="T60" fmla="*/ 432 w 447"/>
              <a:gd name="T61" fmla="*/ 467 h 499"/>
              <a:gd name="T62" fmla="*/ 332 w 447"/>
              <a:gd name="T63" fmla="*/ 490 h 499"/>
              <a:gd name="T64" fmla="*/ 172 w 447"/>
              <a:gd name="T65" fmla="*/ 479 h 499"/>
              <a:gd name="T66" fmla="*/ 159 w 447"/>
              <a:gd name="T67" fmla="*/ 460 h 499"/>
              <a:gd name="T68" fmla="*/ 151 w 447"/>
              <a:gd name="T69" fmla="*/ 430 h 499"/>
              <a:gd name="T70" fmla="*/ 149 w 447"/>
              <a:gd name="T71" fmla="*/ 407 h 499"/>
              <a:gd name="T72" fmla="*/ 144 w 447"/>
              <a:gd name="T73" fmla="*/ 390 h 499"/>
              <a:gd name="T74" fmla="*/ 140 w 447"/>
              <a:gd name="T75" fmla="*/ 373 h 499"/>
              <a:gd name="T76" fmla="*/ 125 w 447"/>
              <a:gd name="T77" fmla="*/ 337 h 499"/>
              <a:gd name="T78" fmla="*/ 104 w 447"/>
              <a:gd name="T79" fmla="*/ 326 h 499"/>
              <a:gd name="T80" fmla="*/ 70 w 447"/>
              <a:gd name="T81" fmla="*/ 292 h 499"/>
              <a:gd name="T82" fmla="*/ 49 w 447"/>
              <a:gd name="T83" fmla="*/ 277 h 499"/>
              <a:gd name="T84" fmla="*/ 21 w 447"/>
              <a:gd name="T85" fmla="*/ 264 h 499"/>
              <a:gd name="T86" fmla="*/ 12 w 447"/>
              <a:gd name="T87" fmla="*/ 237 h 499"/>
              <a:gd name="T88" fmla="*/ 10 w 447"/>
              <a:gd name="T89" fmla="*/ 198 h 499"/>
              <a:gd name="T90" fmla="*/ 4 w 447"/>
              <a:gd name="T91" fmla="*/ 164 h 499"/>
              <a:gd name="T92" fmla="*/ 4 w 447"/>
              <a:gd name="T93" fmla="*/ 143 h 499"/>
              <a:gd name="T94" fmla="*/ 25 w 447"/>
              <a:gd name="T95" fmla="*/ 119 h 499"/>
              <a:gd name="T96" fmla="*/ 44 w 447"/>
              <a:gd name="T97" fmla="*/ 96 h 499"/>
              <a:gd name="T98" fmla="*/ 51 w 447"/>
              <a:gd name="T99" fmla="*/ 3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499">
                <a:moveTo>
                  <a:pt x="55" y="28"/>
                </a:moveTo>
                <a:lnTo>
                  <a:pt x="61" y="34"/>
                </a:lnTo>
                <a:lnTo>
                  <a:pt x="70" y="36"/>
                </a:lnTo>
                <a:lnTo>
                  <a:pt x="76" y="34"/>
                </a:lnTo>
                <a:lnTo>
                  <a:pt x="104" y="24"/>
                </a:lnTo>
                <a:lnTo>
                  <a:pt x="119" y="15"/>
                </a:lnTo>
                <a:lnTo>
                  <a:pt x="125" y="13"/>
                </a:lnTo>
                <a:lnTo>
                  <a:pt x="134" y="9"/>
                </a:lnTo>
                <a:lnTo>
                  <a:pt x="140" y="4"/>
                </a:lnTo>
                <a:lnTo>
                  <a:pt x="149" y="0"/>
                </a:lnTo>
                <a:lnTo>
                  <a:pt x="157" y="4"/>
                </a:lnTo>
                <a:lnTo>
                  <a:pt x="155" y="13"/>
                </a:lnTo>
                <a:lnTo>
                  <a:pt x="151" y="19"/>
                </a:lnTo>
                <a:lnTo>
                  <a:pt x="151" y="26"/>
                </a:lnTo>
                <a:lnTo>
                  <a:pt x="149" y="34"/>
                </a:lnTo>
                <a:lnTo>
                  <a:pt x="147" y="38"/>
                </a:lnTo>
                <a:lnTo>
                  <a:pt x="153" y="38"/>
                </a:lnTo>
                <a:lnTo>
                  <a:pt x="159" y="34"/>
                </a:lnTo>
                <a:lnTo>
                  <a:pt x="168" y="36"/>
                </a:lnTo>
                <a:lnTo>
                  <a:pt x="174" y="38"/>
                </a:lnTo>
                <a:lnTo>
                  <a:pt x="187" y="41"/>
                </a:lnTo>
                <a:lnTo>
                  <a:pt x="191" y="43"/>
                </a:lnTo>
                <a:lnTo>
                  <a:pt x="198" y="47"/>
                </a:lnTo>
                <a:lnTo>
                  <a:pt x="206" y="51"/>
                </a:lnTo>
                <a:lnTo>
                  <a:pt x="215" y="66"/>
                </a:lnTo>
                <a:lnTo>
                  <a:pt x="289" y="81"/>
                </a:lnTo>
                <a:lnTo>
                  <a:pt x="315" y="92"/>
                </a:lnTo>
                <a:lnTo>
                  <a:pt x="317" y="92"/>
                </a:lnTo>
                <a:lnTo>
                  <a:pt x="332" y="94"/>
                </a:lnTo>
                <a:lnTo>
                  <a:pt x="340" y="92"/>
                </a:lnTo>
                <a:lnTo>
                  <a:pt x="347" y="94"/>
                </a:lnTo>
                <a:lnTo>
                  <a:pt x="366" y="96"/>
                </a:lnTo>
                <a:lnTo>
                  <a:pt x="372" y="100"/>
                </a:lnTo>
                <a:lnTo>
                  <a:pt x="374" y="113"/>
                </a:lnTo>
                <a:lnTo>
                  <a:pt x="381" y="113"/>
                </a:lnTo>
                <a:lnTo>
                  <a:pt x="391" y="117"/>
                </a:lnTo>
                <a:lnTo>
                  <a:pt x="400" y="124"/>
                </a:lnTo>
                <a:lnTo>
                  <a:pt x="398" y="126"/>
                </a:lnTo>
                <a:lnTo>
                  <a:pt x="400" y="132"/>
                </a:lnTo>
                <a:lnTo>
                  <a:pt x="400" y="147"/>
                </a:lnTo>
                <a:lnTo>
                  <a:pt x="398" y="156"/>
                </a:lnTo>
                <a:lnTo>
                  <a:pt x="400" y="160"/>
                </a:lnTo>
                <a:lnTo>
                  <a:pt x="406" y="158"/>
                </a:lnTo>
                <a:lnTo>
                  <a:pt x="415" y="158"/>
                </a:lnTo>
                <a:lnTo>
                  <a:pt x="411" y="173"/>
                </a:lnTo>
                <a:lnTo>
                  <a:pt x="411" y="179"/>
                </a:lnTo>
                <a:lnTo>
                  <a:pt x="417" y="185"/>
                </a:lnTo>
                <a:lnTo>
                  <a:pt x="419" y="185"/>
                </a:lnTo>
                <a:lnTo>
                  <a:pt x="421" y="188"/>
                </a:lnTo>
                <a:lnTo>
                  <a:pt x="419" y="194"/>
                </a:lnTo>
                <a:lnTo>
                  <a:pt x="419" y="198"/>
                </a:lnTo>
                <a:lnTo>
                  <a:pt x="413" y="205"/>
                </a:lnTo>
                <a:lnTo>
                  <a:pt x="404" y="207"/>
                </a:lnTo>
                <a:lnTo>
                  <a:pt x="404" y="213"/>
                </a:lnTo>
                <a:lnTo>
                  <a:pt x="400" y="222"/>
                </a:lnTo>
                <a:lnTo>
                  <a:pt x="396" y="237"/>
                </a:lnTo>
                <a:lnTo>
                  <a:pt x="394" y="245"/>
                </a:lnTo>
                <a:lnTo>
                  <a:pt x="394" y="251"/>
                </a:lnTo>
                <a:lnTo>
                  <a:pt x="400" y="251"/>
                </a:lnTo>
                <a:lnTo>
                  <a:pt x="404" y="245"/>
                </a:lnTo>
                <a:lnTo>
                  <a:pt x="411" y="241"/>
                </a:lnTo>
                <a:lnTo>
                  <a:pt x="417" y="232"/>
                </a:lnTo>
                <a:lnTo>
                  <a:pt x="417" y="226"/>
                </a:lnTo>
                <a:lnTo>
                  <a:pt x="421" y="217"/>
                </a:lnTo>
                <a:lnTo>
                  <a:pt x="430" y="215"/>
                </a:lnTo>
                <a:lnTo>
                  <a:pt x="436" y="211"/>
                </a:lnTo>
                <a:lnTo>
                  <a:pt x="443" y="217"/>
                </a:lnTo>
                <a:lnTo>
                  <a:pt x="447" y="224"/>
                </a:lnTo>
                <a:lnTo>
                  <a:pt x="445" y="232"/>
                </a:lnTo>
                <a:lnTo>
                  <a:pt x="436" y="251"/>
                </a:lnTo>
                <a:lnTo>
                  <a:pt x="436" y="266"/>
                </a:lnTo>
                <a:lnTo>
                  <a:pt x="434" y="275"/>
                </a:lnTo>
                <a:lnTo>
                  <a:pt x="438" y="288"/>
                </a:lnTo>
                <a:lnTo>
                  <a:pt x="438" y="292"/>
                </a:lnTo>
                <a:lnTo>
                  <a:pt x="432" y="298"/>
                </a:lnTo>
                <a:lnTo>
                  <a:pt x="428" y="305"/>
                </a:lnTo>
                <a:lnTo>
                  <a:pt x="425" y="320"/>
                </a:lnTo>
                <a:lnTo>
                  <a:pt x="425" y="326"/>
                </a:lnTo>
                <a:lnTo>
                  <a:pt x="428" y="341"/>
                </a:lnTo>
                <a:lnTo>
                  <a:pt x="428" y="349"/>
                </a:lnTo>
                <a:lnTo>
                  <a:pt x="423" y="358"/>
                </a:lnTo>
                <a:lnTo>
                  <a:pt x="423" y="364"/>
                </a:lnTo>
                <a:lnTo>
                  <a:pt x="423" y="371"/>
                </a:lnTo>
                <a:lnTo>
                  <a:pt x="419" y="388"/>
                </a:lnTo>
                <a:lnTo>
                  <a:pt x="417" y="401"/>
                </a:lnTo>
                <a:lnTo>
                  <a:pt x="421" y="418"/>
                </a:lnTo>
                <a:lnTo>
                  <a:pt x="419" y="424"/>
                </a:lnTo>
                <a:lnTo>
                  <a:pt x="425" y="430"/>
                </a:lnTo>
                <a:lnTo>
                  <a:pt x="425" y="439"/>
                </a:lnTo>
                <a:lnTo>
                  <a:pt x="430" y="445"/>
                </a:lnTo>
                <a:lnTo>
                  <a:pt x="432" y="452"/>
                </a:lnTo>
                <a:lnTo>
                  <a:pt x="432" y="460"/>
                </a:lnTo>
                <a:lnTo>
                  <a:pt x="432" y="467"/>
                </a:lnTo>
                <a:lnTo>
                  <a:pt x="434" y="481"/>
                </a:lnTo>
                <a:lnTo>
                  <a:pt x="430" y="481"/>
                </a:lnTo>
                <a:lnTo>
                  <a:pt x="332" y="490"/>
                </a:lnTo>
                <a:lnTo>
                  <a:pt x="200" y="499"/>
                </a:lnTo>
                <a:lnTo>
                  <a:pt x="193" y="484"/>
                </a:lnTo>
                <a:lnTo>
                  <a:pt x="172" y="479"/>
                </a:lnTo>
                <a:lnTo>
                  <a:pt x="166" y="477"/>
                </a:lnTo>
                <a:lnTo>
                  <a:pt x="161" y="469"/>
                </a:lnTo>
                <a:lnTo>
                  <a:pt x="159" y="460"/>
                </a:lnTo>
                <a:lnTo>
                  <a:pt x="155" y="454"/>
                </a:lnTo>
                <a:lnTo>
                  <a:pt x="155" y="441"/>
                </a:lnTo>
                <a:lnTo>
                  <a:pt x="151" y="430"/>
                </a:lnTo>
                <a:lnTo>
                  <a:pt x="159" y="415"/>
                </a:lnTo>
                <a:lnTo>
                  <a:pt x="155" y="409"/>
                </a:lnTo>
                <a:lnTo>
                  <a:pt x="149" y="407"/>
                </a:lnTo>
                <a:lnTo>
                  <a:pt x="147" y="398"/>
                </a:lnTo>
                <a:lnTo>
                  <a:pt x="144" y="396"/>
                </a:lnTo>
                <a:lnTo>
                  <a:pt x="144" y="390"/>
                </a:lnTo>
                <a:lnTo>
                  <a:pt x="142" y="383"/>
                </a:lnTo>
                <a:lnTo>
                  <a:pt x="142" y="379"/>
                </a:lnTo>
                <a:lnTo>
                  <a:pt x="140" y="373"/>
                </a:lnTo>
                <a:lnTo>
                  <a:pt x="138" y="354"/>
                </a:lnTo>
                <a:lnTo>
                  <a:pt x="132" y="343"/>
                </a:lnTo>
                <a:lnTo>
                  <a:pt x="125" y="337"/>
                </a:lnTo>
                <a:lnTo>
                  <a:pt x="119" y="332"/>
                </a:lnTo>
                <a:lnTo>
                  <a:pt x="110" y="330"/>
                </a:lnTo>
                <a:lnTo>
                  <a:pt x="104" y="326"/>
                </a:lnTo>
                <a:lnTo>
                  <a:pt x="89" y="313"/>
                </a:lnTo>
                <a:lnTo>
                  <a:pt x="81" y="298"/>
                </a:lnTo>
                <a:lnTo>
                  <a:pt x="70" y="292"/>
                </a:lnTo>
                <a:lnTo>
                  <a:pt x="59" y="288"/>
                </a:lnTo>
                <a:lnTo>
                  <a:pt x="53" y="283"/>
                </a:lnTo>
                <a:lnTo>
                  <a:pt x="49" y="277"/>
                </a:lnTo>
                <a:lnTo>
                  <a:pt x="36" y="275"/>
                </a:lnTo>
                <a:lnTo>
                  <a:pt x="27" y="271"/>
                </a:lnTo>
                <a:lnTo>
                  <a:pt x="21" y="264"/>
                </a:lnTo>
                <a:lnTo>
                  <a:pt x="10" y="256"/>
                </a:lnTo>
                <a:lnTo>
                  <a:pt x="12" y="247"/>
                </a:lnTo>
                <a:lnTo>
                  <a:pt x="12" y="237"/>
                </a:lnTo>
                <a:lnTo>
                  <a:pt x="10" y="219"/>
                </a:lnTo>
                <a:lnTo>
                  <a:pt x="12" y="213"/>
                </a:lnTo>
                <a:lnTo>
                  <a:pt x="10" y="198"/>
                </a:lnTo>
                <a:lnTo>
                  <a:pt x="19" y="181"/>
                </a:lnTo>
                <a:lnTo>
                  <a:pt x="10" y="166"/>
                </a:lnTo>
                <a:lnTo>
                  <a:pt x="4" y="164"/>
                </a:lnTo>
                <a:lnTo>
                  <a:pt x="0" y="158"/>
                </a:lnTo>
                <a:lnTo>
                  <a:pt x="0" y="149"/>
                </a:lnTo>
                <a:lnTo>
                  <a:pt x="4" y="143"/>
                </a:lnTo>
                <a:lnTo>
                  <a:pt x="8" y="136"/>
                </a:lnTo>
                <a:lnTo>
                  <a:pt x="10" y="128"/>
                </a:lnTo>
                <a:lnTo>
                  <a:pt x="25" y="119"/>
                </a:lnTo>
                <a:lnTo>
                  <a:pt x="38" y="111"/>
                </a:lnTo>
                <a:lnTo>
                  <a:pt x="42" y="104"/>
                </a:lnTo>
                <a:lnTo>
                  <a:pt x="44" y="96"/>
                </a:lnTo>
                <a:lnTo>
                  <a:pt x="40" y="38"/>
                </a:lnTo>
                <a:lnTo>
                  <a:pt x="46" y="38"/>
                </a:lnTo>
                <a:lnTo>
                  <a:pt x="51" y="32"/>
                </a:lnTo>
                <a:lnTo>
                  <a:pt x="51" y="30"/>
                </a:lnTo>
                <a:lnTo>
                  <a:pt x="55" y="2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8" name="Freeform 864"/>
          <p:cNvSpPr>
            <a:spLocks/>
          </p:cNvSpPr>
          <p:nvPr/>
        </p:nvSpPr>
        <p:spPr bwMode="auto">
          <a:xfrm>
            <a:off x="5459412" y="2371725"/>
            <a:ext cx="47625" cy="84138"/>
          </a:xfrm>
          <a:custGeom>
            <a:avLst/>
            <a:gdLst>
              <a:gd name="T0" fmla="*/ 2 w 30"/>
              <a:gd name="T1" fmla="*/ 34 h 53"/>
              <a:gd name="T2" fmla="*/ 0 w 30"/>
              <a:gd name="T3" fmla="*/ 47 h 53"/>
              <a:gd name="T4" fmla="*/ 5 w 30"/>
              <a:gd name="T5" fmla="*/ 53 h 53"/>
              <a:gd name="T6" fmla="*/ 11 w 30"/>
              <a:gd name="T7" fmla="*/ 53 h 53"/>
              <a:gd name="T8" fmla="*/ 15 w 30"/>
              <a:gd name="T9" fmla="*/ 47 h 53"/>
              <a:gd name="T10" fmla="*/ 19 w 30"/>
              <a:gd name="T11" fmla="*/ 40 h 53"/>
              <a:gd name="T12" fmla="*/ 19 w 30"/>
              <a:gd name="T13" fmla="*/ 34 h 53"/>
              <a:gd name="T14" fmla="*/ 24 w 30"/>
              <a:gd name="T15" fmla="*/ 23 h 53"/>
              <a:gd name="T16" fmla="*/ 24 w 30"/>
              <a:gd name="T17" fmla="*/ 17 h 53"/>
              <a:gd name="T18" fmla="*/ 30 w 30"/>
              <a:gd name="T19" fmla="*/ 2 h 53"/>
              <a:gd name="T20" fmla="*/ 28 w 30"/>
              <a:gd name="T21" fmla="*/ 0 h 53"/>
              <a:gd name="T22" fmla="*/ 22 w 30"/>
              <a:gd name="T23" fmla="*/ 6 h 53"/>
              <a:gd name="T24" fmla="*/ 17 w 30"/>
              <a:gd name="T25" fmla="*/ 13 h 53"/>
              <a:gd name="T26" fmla="*/ 9 w 30"/>
              <a:gd name="T27" fmla="*/ 21 h 53"/>
              <a:gd name="T28" fmla="*/ 9 w 30"/>
              <a:gd name="T29" fmla="*/ 28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0" y="47"/>
                </a:lnTo>
                <a:lnTo>
                  <a:pt x="5" y="53"/>
                </a:lnTo>
                <a:lnTo>
                  <a:pt x="11" y="53"/>
                </a:lnTo>
                <a:lnTo>
                  <a:pt x="15" y="47"/>
                </a:lnTo>
                <a:lnTo>
                  <a:pt x="19" y="40"/>
                </a:lnTo>
                <a:lnTo>
                  <a:pt x="19" y="34"/>
                </a:lnTo>
                <a:lnTo>
                  <a:pt x="24" y="23"/>
                </a:lnTo>
                <a:lnTo>
                  <a:pt x="24" y="17"/>
                </a:lnTo>
                <a:lnTo>
                  <a:pt x="30" y="2"/>
                </a:lnTo>
                <a:lnTo>
                  <a:pt x="28" y="0"/>
                </a:lnTo>
                <a:lnTo>
                  <a:pt x="22" y="6"/>
                </a:lnTo>
                <a:lnTo>
                  <a:pt x="17" y="13"/>
                </a:lnTo>
                <a:lnTo>
                  <a:pt x="9" y="21"/>
                </a:lnTo>
                <a:lnTo>
                  <a:pt x="9" y="28"/>
                </a:lnTo>
                <a:lnTo>
                  <a:pt x="2" y="3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865"/>
          <p:cNvSpPr>
            <a:spLocks/>
          </p:cNvSpPr>
          <p:nvPr/>
        </p:nvSpPr>
        <p:spPr bwMode="auto">
          <a:xfrm>
            <a:off x="5459412" y="2371725"/>
            <a:ext cx="47625" cy="84138"/>
          </a:xfrm>
          <a:custGeom>
            <a:avLst/>
            <a:gdLst>
              <a:gd name="T0" fmla="*/ 2 w 30"/>
              <a:gd name="T1" fmla="*/ 34 h 53"/>
              <a:gd name="T2" fmla="*/ 0 w 30"/>
              <a:gd name="T3" fmla="*/ 47 h 53"/>
              <a:gd name="T4" fmla="*/ 5 w 30"/>
              <a:gd name="T5" fmla="*/ 53 h 53"/>
              <a:gd name="T6" fmla="*/ 11 w 30"/>
              <a:gd name="T7" fmla="*/ 53 h 53"/>
              <a:gd name="T8" fmla="*/ 15 w 30"/>
              <a:gd name="T9" fmla="*/ 47 h 53"/>
              <a:gd name="T10" fmla="*/ 19 w 30"/>
              <a:gd name="T11" fmla="*/ 40 h 53"/>
              <a:gd name="T12" fmla="*/ 19 w 30"/>
              <a:gd name="T13" fmla="*/ 34 h 53"/>
              <a:gd name="T14" fmla="*/ 24 w 30"/>
              <a:gd name="T15" fmla="*/ 23 h 53"/>
              <a:gd name="T16" fmla="*/ 24 w 30"/>
              <a:gd name="T17" fmla="*/ 17 h 53"/>
              <a:gd name="T18" fmla="*/ 30 w 30"/>
              <a:gd name="T19" fmla="*/ 2 h 53"/>
              <a:gd name="T20" fmla="*/ 28 w 30"/>
              <a:gd name="T21" fmla="*/ 0 h 53"/>
              <a:gd name="T22" fmla="*/ 22 w 30"/>
              <a:gd name="T23" fmla="*/ 6 h 53"/>
              <a:gd name="T24" fmla="*/ 17 w 30"/>
              <a:gd name="T25" fmla="*/ 13 h 53"/>
              <a:gd name="T26" fmla="*/ 9 w 30"/>
              <a:gd name="T27" fmla="*/ 21 h 53"/>
              <a:gd name="T28" fmla="*/ 9 w 30"/>
              <a:gd name="T29" fmla="*/ 28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0" y="47"/>
                </a:lnTo>
                <a:lnTo>
                  <a:pt x="5" y="53"/>
                </a:lnTo>
                <a:lnTo>
                  <a:pt x="11" y="53"/>
                </a:lnTo>
                <a:lnTo>
                  <a:pt x="15" y="47"/>
                </a:lnTo>
                <a:lnTo>
                  <a:pt x="19" y="40"/>
                </a:lnTo>
                <a:lnTo>
                  <a:pt x="19" y="34"/>
                </a:lnTo>
                <a:lnTo>
                  <a:pt x="24" y="23"/>
                </a:lnTo>
                <a:lnTo>
                  <a:pt x="24" y="17"/>
                </a:lnTo>
                <a:lnTo>
                  <a:pt x="30" y="2"/>
                </a:lnTo>
                <a:lnTo>
                  <a:pt x="28" y="0"/>
                </a:lnTo>
                <a:lnTo>
                  <a:pt x="22" y="6"/>
                </a:lnTo>
                <a:lnTo>
                  <a:pt x="17" y="13"/>
                </a:lnTo>
                <a:lnTo>
                  <a:pt x="9" y="21"/>
                </a:lnTo>
                <a:lnTo>
                  <a:pt x="9" y="28"/>
                </a:lnTo>
                <a:lnTo>
                  <a:pt x="2" y="3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0" name="Freeform 866"/>
          <p:cNvSpPr>
            <a:spLocks/>
          </p:cNvSpPr>
          <p:nvPr/>
        </p:nvSpPr>
        <p:spPr bwMode="auto">
          <a:xfrm>
            <a:off x="5013325" y="2128838"/>
            <a:ext cx="20638" cy="23813"/>
          </a:xfrm>
          <a:custGeom>
            <a:avLst/>
            <a:gdLst>
              <a:gd name="T0" fmla="*/ 13 w 13"/>
              <a:gd name="T1" fmla="*/ 0 h 15"/>
              <a:gd name="T2" fmla="*/ 0 w 13"/>
              <a:gd name="T3" fmla="*/ 15 h 15"/>
              <a:gd name="T4" fmla="*/ 4 w 13"/>
              <a:gd name="T5" fmla="*/ 6 h 15"/>
              <a:gd name="T6" fmla="*/ 11 w 13"/>
              <a:gd name="T7" fmla="*/ 0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0" y="15"/>
                </a:lnTo>
                <a:lnTo>
                  <a:pt x="4" y="6"/>
                </a:lnTo>
                <a:lnTo>
                  <a:pt x="11" y="0"/>
                </a:lnTo>
                <a:lnTo>
                  <a:pt x="13"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867"/>
          <p:cNvSpPr>
            <a:spLocks/>
          </p:cNvSpPr>
          <p:nvPr/>
        </p:nvSpPr>
        <p:spPr bwMode="auto">
          <a:xfrm>
            <a:off x="5013325" y="2128838"/>
            <a:ext cx="20638" cy="23813"/>
          </a:xfrm>
          <a:custGeom>
            <a:avLst/>
            <a:gdLst>
              <a:gd name="T0" fmla="*/ 13 w 13"/>
              <a:gd name="T1" fmla="*/ 0 h 15"/>
              <a:gd name="T2" fmla="*/ 0 w 13"/>
              <a:gd name="T3" fmla="*/ 15 h 15"/>
              <a:gd name="T4" fmla="*/ 4 w 13"/>
              <a:gd name="T5" fmla="*/ 6 h 15"/>
              <a:gd name="T6" fmla="*/ 11 w 13"/>
              <a:gd name="T7" fmla="*/ 0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0" y="15"/>
                </a:lnTo>
                <a:lnTo>
                  <a:pt x="4" y="6"/>
                </a:lnTo>
                <a:lnTo>
                  <a:pt x="11" y="0"/>
                </a:lnTo>
                <a:lnTo>
                  <a:pt x="13"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2" name="Freeform 868"/>
          <p:cNvSpPr>
            <a:spLocks/>
          </p:cNvSpPr>
          <p:nvPr/>
        </p:nvSpPr>
        <p:spPr bwMode="auto">
          <a:xfrm>
            <a:off x="5051425" y="2090738"/>
            <a:ext cx="3175" cy="14288"/>
          </a:xfrm>
          <a:custGeom>
            <a:avLst/>
            <a:gdLst>
              <a:gd name="T0" fmla="*/ 2 w 2"/>
              <a:gd name="T1" fmla="*/ 2 h 9"/>
              <a:gd name="T2" fmla="*/ 0 w 2"/>
              <a:gd name="T3" fmla="*/ 9 h 9"/>
              <a:gd name="T4" fmla="*/ 0 w 2"/>
              <a:gd name="T5" fmla="*/ 0 h 9"/>
              <a:gd name="T6" fmla="*/ 2 w 2"/>
              <a:gd name="T7" fmla="*/ 2 h 9"/>
            </a:gdLst>
            <a:ahLst/>
            <a:cxnLst>
              <a:cxn ang="0">
                <a:pos x="T0" y="T1"/>
              </a:cxn>
              <a:cxn ang="0">
                <a:pos x="T2" y="T3"/>
              </a:cxn>
              <a:cxn ang="0">
                <a:pos x="T4" y="T5"/>
              </a:cxn>
              <a:cxn ang="0">
                <a:pos x="T6" y="T7"/>
              </a:cxn>
            </a:cxnLst>
            <a:rect l="0" t="0" r="r" b="b"/>
            <a:pathLst>
              <a:path w="2" h="9">
                <a:moveTo>
                  <a:pt x="2" y="2"/>
                </a:moveTo>
                <a:lnTo>
                  <a:pt x="0" y="9"/>
                </a:lnTo>
                <a:lnTo>
                  <a:pt x="0" y="0"/>
                </a:lnTo>
                <a:lnTo>
                  <a:pt x="2"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869"/>
          <p:cNvSpPr>
            <a:spLocks/>
          </p:cNvSpPr>
          <p:nvPr/>
        </p:nvSpPr>
        <p:spPr bwMode="auto">
          <a:xfrm>
            <a:off x="5051425" y="2090738"/>
            <a:ext cx="3175" cy="14288"/>
          </a:xfrm>
          <a:custGeom>
            <a:avLst/>
            <a:gdLst>
              <a:gd name="T0" fmla="*/ 2 w 2"/>
              <a:gd name="T1" fmla="*/ 2 h 9"/>
              <a:gd name="T2" fmla="*/ 0 w 2"/>
              <a:gd name="T3" fmla="*/ 9 h 9"/>
              <a:gd name="T4" fmla="*/ 0 w 2"/>
              <a:gd name="T5" fmla="*/ 0 h 9"/>
              <a:gd name="T6" fmla="*/ 2 w 2"/>
              <a:gd name="T7" fmla="*/ 2 h 9"/>
            </a:gdLst>
            <a:ahLst/>
            <a:cxnLst>
              <a:cxn ang="0">
                <a:pos x="T0" y="T1"/>
              </a:cxn>
              <a:cxn ang="0">
                <a:pos x="T2" y="T3"/>
              </a:cxn>
              <a:cxn ang="0">
                <a:pos x="T4" y="T5"/>
              </a:cxn>
              <a:cxn ang="0">
                <a:pos x="T6" y="T7"/>
              </a:cxn>
            </a:cxnLst>
            <a:rect l="0" t="0" r="r" b="b"/>
            <a:pathLst>
              <a:path w="2" h="9">
                <a:moveTo>
                  <a:pt x="2" y="2"/>
                </a:moveTo>
                <a:lnTo>
                  <a:pt x="0" y="9"/>
                </a:lnTo>
                <a:lnTo>
                  <a:pt x="0" y="0"/>
                </a:lnTo>
                <a:lnTo>
                  <a:pt x="2"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4" name="Freeform 871"/>
          <p:cNvSpPr>
            <a:spLocks/>
          </p:cNvSpPr>
          <p:nvPr/>
        </p:nvSpPr>
        <p:spPr bwMode="auto">
          <a:xfrm>
            <a:off x="5459413" y="2371725"/>
            <a:ext cx="47625" cy="84138"/>
          </a:xfrm>
          <a:custGeom>
            <a:avLst/>
            <a:gdLst>
              <a:gd name="T0" fmla="*/ 2 w 30"/>
              <a:gd name="T1" fmla="*/ 34 h 53"/>
              <a:gd name="T2" fmla="*/ 9 w 30"/>
              <a:gd name="T3" fmla="*/ 28 h 53"/>
              <a:gd name="T4" fmla="*/ 9 w 30"/>
              <a:gd name="T5" fmla="*/ 21 h 53"/>
              <a:gd name="T6" fmla="*/ 17 w 30"/>
              <a:gd name="T7" fmla="*/ 13 h 53"/>
              <a:gd name="T8" fmla="*/ 22 w 30"/>
              <a:gd name="T9" fmla="*/ 6 h 53"/>
              <a:gd name="T10" fmla="*/ 28 w 30"/>
              <a:gd name="T11" fmla="*/ 0 h 53"/>
              <a:gd name="T12" fmla="*/ 30 w 30"/>
              <a:gd name="T13" fmla="*/ 2 h 53"/>
              <a:gd name="T14" fmla="*/ 24 w 30"/>
              <a:gd name="T15" fmla="*/ 17 h 53"/>
              <a:gd name="T16" fmla="*/ 24 w 30"/>
              <a:gd name="T17" fmla="*/ 23 h 53"/>
              <a:gd name="T18" fmla="*/ 19 w 30"/>
              <a:gd name="T19" fmla="*/ 34 h 53"/>
              <a:gd name="T20" fmla="*/ 19 w 30"/>
              <a:gd name="T21" fmla="*/ 40 h 53"/>
              <a:gd name="T22" fmla="*/ 15 w 30"/>
              <a:gd name="T23" fmla="*/ 47 h 53"/>
              <a:gd name="T24" fmla="*/ 11 w 30"/>
              <a:gd name="T25" fmla="*/ 53 h 53"/>
              <a:gd name="T26" fmla="*/ 5 w 30"/>
              <a:gd name="T27" fmla="*/ 53 h 53"/>
              <a:gd name="T28" fmla="*/ 0 w 30"/>
              <a:gd name="T29" fmla="*/ 47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9" y="28"/>
                </a:lnTo>
                <a:lnTo>
                  <a:pt x="9" y="21"/>
                </a:lnTo>
                <a:lnTo>
                  <a:pt x="17" y="13"/>
                </a:lnTo>
                <a:lnTo>
                  <a:pt x="22" y="6"/>
                </a:lnTo>
                <a:lnTo>
                  <a:pt x="28" y="0"/>
                </a:lnTo>
                <a:lnTo>
                  <a:pt x="30" y="2"/>
                </a:lnTo>
                <a:lnTo>
                  <a:pt x="24" y="17"/>
                </a:lnTo>
                <a:lnTo>
                  <a:pt x="24" y="23"/>
                </a:lnTo>
                <a:lnTo>
                  <a:pt x="19" y="34"/>
                </a:lnTo>
                <a:lnTo>
                  <a:pt x="19" y="40"/>
                </a:lnTo>
                <a:lnTo>
                  <a:pt x="15" y="47"/>
                </a:lnTo>
                <a:lnTo>
                  <a:pt x="11" y="53"/>
                </a:lnTo>
                <a:lnTo>
                  <a:pt x="5" y="53"/>
                </a:lnTo>
                <a:lnTo>
                  <a:pt x="0" y="47"/>
                </a:lnTo>
                <a:lnTo>
                  <a:pt x="2" y="3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872"/>
          <p:cNvSpPr>
            <a:spLocks/>
          </p:cNvSpPr>
          <p:nvPr/>
        </p:nvSpPr>
        <p:spPr bwMode="auto">
          <a:xfrm>
            <a:off x="5459413" y="2371725"/>
            <a:ext cx="47625" cy="84138"/>
          </a:xfrm>
          <a:custGeom>
            <a:avLst/>
            <a:gdLst>
              <a:gd name="T0" fmla="*/ 2 w 30"/>
              <a:gd name="T1" fmla="*/ 34 h 53"/>
              <a:gd name="T2" fmla="*/ 9 w 30"/>
              <a:gd name="T3" fmla="*/ 28 h 53"/>
              <a:gd name="T4" fmla="*/ 9 w 30"/>
              <a:gd name="T5" fmla="*/ 21 h 53"/>
              <a:gd name="T6" fmla="*/ 17 w 30"/>
              <a:gd name="T7" fmla="*/ 13 h 53"/>
              <a:gd name="T8" fmla="*/ 22 w 30"/>
              <a:gd name="T9" fmla="*/ 6 h 53"/>
              <a:gd name="T10" fmla="*/ 28 w 30"/>
              <a:gd name="T11" fmla="*/ 0 h 53"/>
              <a:gd name="T12" fmla="*/ 30 w 30"/>
              <a:gd name="T13" fmla="*/ 2 h 53"/>
              <a:gd name="T14" fmla="*/ 24 w 30"/>
              <a:gd name="T15" fmla="*/ 17 h 53"/>
              <a:gd name="T16" fmla="*/ 24 w 30"/>
              <a:gd name="T17" fmla="*/ 23 h 53"/>
              <a:gd name="T18" fmla="*/ 19 w 30"/>
              <a:gd name="T19" fmla="*/ 34 h 53"/>
              <a:gd name="T20" fmla="*/ 19 w 30"/>
              <a:gd name="T21" fmla="*/ 40 h 53"/>
              <a:gd name="T22" fmla="*/ 15 w 30"/>
              <a:gd name="T23" fmla="*/ 47 h 53"/>
              <a:gd name="T24" fmla="*/ 11 w 30"/>
              <a:gd name="T25" fmla="*/ 53 h 53"/>
              <a:gd name="T26" fmla="*/ 5 w 30"/>
              <a:gd name="T27" fmla="*/ 53 h 53"/>
              <a:gd name="T28" fmla="*/ 0 w 30"/>
              <a:gd name="T29" fmla="*/ 47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9" y="28"/>
                </a:lnTo>
                <a:lnTo>
                  <a:pt x="9" y="21"/>
                </a:lnTo>
                <a:lnTo>
                  <a:pt x="17" y="13"/>
                </a:lnTo>
                <a:lnTo>
                  <a:pt x="22" y="6"/>
                </a:lnTo>
                <a:lnTo>
                  <a:pt x="28" y="0"/>
                </a:lnTo>
                <a:lnTo>
                  <a:pt x="30" y="2"/>
                </a:lnTo>
                <a:lnTo>
                  <a:pt x="24" y="17"/>
                </a:lnTo>
                <a:lnTo>
                  <a:pt x="24" y="23"/>
                </a:lnTo>
                <a:lnTo>
                  <a:pt x="19" y="34"/>
                </a:lnTo>
                <a:lnTo>
                  <a:pt x="19" y="40"/>
                </a:lnTo>
                <a:lnTo>
                  <a:pt x="15" y="47"/>
                </a:lnTo>
                <a:lnTo>
                  <a:pt x="11" y="53"/>
                </a:lnTo>
                <a:lnTo>
                  <a:pt x="5" y="53"/>
                </a:lnTo>
                <a:lnTo>
                  <a:pt x="0" y="47"/>
                </a:lnTo>
                <a:lnTo>
                  <a:pt x="2" y="3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6" name="Freeform 873"/>
          <p:cNvSpPr>
            <a:spLocks/>
          </p:cNvSpPr>
          <p:nvPr/>
        </p:nvSpPr>
        <p:spPr bwMode="auto">
          <a:xfrm>
            <a:off x="5060950" y="4227513"/>
            <a:ext cx="506413" cy="876300"/>
          </a:xfrm>
          <a:custGeom>
            <a:avLst/>
            <a:gdLst>
              <a:gd name="T0" fmla="*/ 34 w 319"/>
              <a:gd name="T1" fmla="*/ 228 h 552"/>
              <a:gd name="T2" fmla="*/ 38 w 319"/>
              <a:gd name="T3" fmla="*/ 215 h 552"/>
              <a:gd name="T4" fmla="*/ 36 w 319"/>
              <a:gd name="T5" fmla="*/ 200 h 552"/>
              <a:gd name="T6" fmla="*/ 34 w 319"/>
              <a:gd name="T7" fmla="*/ 194 h 552"/>
              <a:gd name="T8" fmla="*/ 28 w 319"/>
              <a:gd name="T9" fmla="*/ 188 h 552"/>
              <a:gd name="T10" fmla="*/ 26 w 319"/>
              <a:gd name="T11" fmla="*/ 169 h 552"/>
              <a:gd name="T12" fmla="*/ 38 w 319"/>
              <a:gd name="T13" fmla="*/ 164 h 552"/>
              <a:gd name="T14" fmla="*/ 38 w 319"/>
              <a:gd name="T15" fmla="*/ 156 h 552"/>
              <a:gd name="T16" fmla="*/ 40 w 319"/>
              <a:gd name="T17" fmla="*/ 139 h 552"/>
              <a:gd name="T18" fmla="*/ 49 w 319"/>
              <a:gd name="T19" fmla="*/ 120 h 552"/>
              <a:gd name="T20" fmla="*/ 47 w 319"/>
              <a:gd name="T21" fmla="*/ 105 h 552"/>
              <a:gd name="T22" fmla="*/ 64 w 319"/>
              <a:gd name="T23" fmla="*/ 96 h 552"/>
              <a:gd name="T24" fmla="*/ 72 w 319"/>
              <a:gd name="T25" fmla="*/ 88 h 552"/>
              <a:gd name="T26" fmla="*/ 81 w 319"/>
              <a:gd name="T27" fmla="*/ 64 h 552"/>
              <a:gd name="T28" fmla="*/ 79 w 319"/>
              <a:gd name="T29" fmla="*/ 58 h 552"/>
              <a:gd name="T30" fmla="*/ 79 w 319"/>
              <a:gd name="T31" fmla="*/ 39 h 552"/>
              <a:gd name="T32" fmla="*/ 85 w 319"/>
              <a:gd name="T33" fmla="*/ 30 h 552"/>
              <a:gd name="T34" fmla="*/ 102 w 319"/>
              <a:gd name="T35" fmla="*/ 26 h 552"/>
              <a:gd name="T36" fmla="*/ 224 w 319"/>
              <a:gd name="T37" fmla="*/ 7 h 552"/>
              <a:gd name="T38" fmla="*/ 296 w 319"/>
              <a:gd name="T39" fmla="*/ 5 h 552"/>
              <a:gd name="T40" fmla="*/ 319 w 319"/>
              <a:gd name="T41" fmla="*/ 518 h 552"/>
              <a:gd name="T42" fmla="*/ 300 w 319"/>
              <a:gd name="T43" fmla="*/ 522 h 552"/>
              <a:gd name="T44" fmla="*/ 285 w 319"/>
              <a:gd name="T45" fmla="*/ 526 h 552"/>
              <a:gd name="T46" fmla="*/ 275 w 319"/>
              <a:gd name="T47" fmla="*/ 522 h 552"/>
              <a:gd name="T48" fmla="*/ 243 w 319"/>
              <a:gd name="T49" fmla="*/ 533 h 552"/>
              <a:gd name="T50" fmla="*/ 232 w 319"/>
              <a:gd name="T51" fmla="*/ 535 h 552"/>
              <a:gd name="T52" fmla="*/ 224 w 319"/>
              <a:gd name="T53" fmla="*/ 546 h 552"/>
              <a:gd name="T54" fmla="*/ 211 w 319"/>
              <a:gd name="T55" fmla="*/ 550 h 552"/>
              <a:gd name="T56" fmla="*/ 202 w 319"/>
              <a:gd name="T57" fmla="*/ 537 h 552"/>
              <a:gd name="T58" fmla="*/ 185 w 319"/>
              <a:gd name="T59" fmla="*/ 514 h 552"/>
              <a:gd name="T60" fmla="*/ 181 w 319"/>
              <a:gd name="T61" fmla="*/ 486 h 552"/>
              <a:gd name="T62" fmla="*/ 185 w 319"/>
              <a:gd name="T63" fmla="*/ 462 h 552"/>
              <a:gd name="T64" fmla="*/ 9 w 319"/>
              <a:gd name="T65" fmla="*/ 467 h 552"/>
              <a:gd name="T66" fmla="*/ 0 w 319"/>
              <a:gd name="T67" fmla="*/ 445 h 552"/>
              <a:gd name="T68" fmla="*/ 6 w 319"/>
              <a:gd name="T69" fmla="*/ 431 h 552"/>
              <a:gd name="T70" fmla="*/ 19 w 319"/>
              <a:gd name="T71" fmla="*/ 409 h 552"/>
              <a:gd name="T72" fmla="*/ 21 w 319"/>
              <a:gd name="T73" fmla="*/ 401 h 552"/>
              <a:gd name="T74" fmla="*/ 23 w 319"/>
              <a:gd name="T75" fmla="*/ 384 h 552"/>
              <a:gd name="T76" fmla="*/ 49 w 319"/>
              <a:gd name="T77" fmla="*/ 356 h 552"/>
              <a:gd name="T78" fmla="*/ 49 w 319"/>
              <a:gd name="T79" fmla="*/ 352 h 552"/>
              <a:gd name="T80" fmla="*/ 47 w 319"/>
              <a:gd name="T81" fmla="*/ 341 h 552"/>
              <a:gd name="T82" fmla="*/ 53 w 319"/>
              <a:gd name="T83" fmla="*/ 330 h 552"/>
              <a:gd name="T84" fmla="*/ 64 w 319"/>
              <a:gd name="T85" fmla="*/ 322 h 552"/>
              <a:gd name="T86" fmla="*/ 53 w 319"/>
              <a:gd name="T87" fmla="*/ 313 h 552"/>
              <a:gd name="T88" fmla="*/ 45 w 319"/>
              <a:gd name="T89" fmla="*/ 301 h 552"/>
              <a:gd name="T90" fmla="*/ 51 w 319"/>
              <a:gd name="T91" fmla="*/ 288 h 552"/>
              <a:gd name="T92" fmla="*/ 45 w 319"/>
              <a:gd name="T93" fmla="*/ 277 h 552"/>
              <a:gd name="T94" fmla="*/ 43 w 319"/>
              <a:gd name="T95" fmla="*/ 258 h 552"/>
              <a:gd name="T96" fmla="*/ 30 w 319"/>
              <a:gd name="T97" fmla="*/ 25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 h="552">
                <a:moveTo>
                  <a:pt x="34" y="245"/>
                </a:moveTo>
                <a:lnTo>
                  <a:pt x="34" y="235"/>
                </a:lnTo>
                <a:lnTo>
                  <a:pt x="34" y="228"/>
                </a:lnTo>
                <a:lnTo>
                  <a:pt x="40" y="228"/>
                </a:lnTo>
                <a:lnTo>
                  <a:pt x="40" y="228"/>
                </a:lnTo>
                <a:lnTo>
                  <a:pt x="38" y="215"/>
                </a:lnTo>
                <a:lnTo>
                  <a:pt x="36" y="215"/>
                </a:lnTo>
                <a:lnTo>
                  <a:pt x="34" y="207"/>
                </a:lnTo>
                <a:lnTo>
                  <a:pt x="36" y="200"/>
                </a:lnTo>
                <a:lnTo>
                  <a:pt x="34" y="200"/>
                </a:lnTo>
                <a:lnTo>
                  <a:pt x="28" y="198"/>
                </a:lnTo>
                <a:lnTo>
                  <a:pt x="34" y="194"/>
                </a:lnTo>
                <a:lnTo>
                  <a:pt x="32" y="190"/>
                </a:lnTo>
                <a:lnTo>
                  <a:pt x="23" y="196"/>
                </a:lnTo>
                <a:lnTo>
                  <a:pt x="28" y="188"/>
                </a:lnTo>
                <a:lnTo>
                  <a:pt x="23" y="181"/>
                </a:lnTo>
                <a:lnTo>
                  <a:pt x="30" y="175"/>
                </a:lnTo>
                <a:lnTo>
                  <a:pt x="26" y="169"/>
                </a:lnTo>
                <a:lnTo>
                  <a:pt x="30" y="166"/>
                </a:lnTo>
                <a:lnTo>
                  <a:pt x="32" y="169"/>
                </a:lnTo>
                <a:lnTo>
                  <a:pt x="38" y="164"/>
                </a:lnTo>
                <a:lnTo>
                  <a:pt x="32" y="162"/>
                </a:lnTo>
                <a:lnTo>
                  <a:pt x="32" y="156"/>
                </a:lnTo>
                <a:lnTo>
                  <a:pt x="38" y="156"/>
                </a:lnTo>
                <a:lnTo>
                  <a:pt x="40" y="152"/>
                </a:lnTo>
                <a:lnTo>
                  <a:pt x="38" y="145"/>
                </a:lnTo>
                <a:lnTo>
                  <a:pt x="40" y="139"/>
                </a:lnTo>
                <a:lnTo>
                  <a:pt x="34" y="134"/>
                </a:lnTo>
                <a:lnTo>
                  <a:pt x="53" y="126"/>
                </a:lnTo>
                <a:lnTo>
                  <a:pt x="49" y="120"/>
                </a:lnTo>
                <a:lnTo>
                  <a:pt x="49" y="113"/>
                </a:lnTo>
                <a:lnTo>
                  <a:pt x="53" y="111"/>
                </a:lnTo>
                <a:lnTo>
                  <a:pt x="47" y="105"/>
                </a:lnTo>
                <a:lnTo>
                  <a:pt x="55" y="107"/>
                </a:lnTo>
                <a:lnTo>
                  <a:pt x="57" y="103"/>
                </a:lnTo>
                <a:lnTo>
                  <a:pt x="64" y="96"/>
                </a:lnTo>
                <a:lnTo>
                  <a:pt x="62" y="90"/>
                </a:lnTo>
                <a:lnTo>
                  <a:pt x="68" y="90"/>
                </a:lnTo>
                <a:lnTo>
                  <a:pt x="72" y="88"/>
                </a:lnTo>
                <a:lnTo>
                  <a:pt x="79" y="79"/>
                </a:lnTo>
                <a:lnTo>
                  <a:pt x="77" y="75"/>
                </a:lnTo>
                <a:lnTo>
                  <a:pt x="81" y="64"/>
                </a:lnTo>
                <a:lnTo>
                  <a:pt x="77" y="62"/>
                </a:lnTo>
                <a:lnTo>
                  <a:pt x="77" y="49"/>
                </a:lnTo>
                <a:lnTo>
                  <a:pt x="79" y="58"/>
                </a:lnTo>
                <a:lnTo>
                  <a:pt x="87" y="54"/>
                </a:lnTo>
                <a:lnTo>
                  <a:pt x="79" y="49"/>
                </a:lnTo>
                <a:lnTo>
                  <a:pt x="79" y="39"/>
                </a:lnTo>
                <a:lnTo>
                  <a:pt x="81" y="47"/>
                </a:lnTo>
                <a:lnTo>
                  <a:pt x="87" y="47"/>
                </a:lnTo>
                <a:lnTo>
                  <a:pt x="85" y="30"/>
                </a:lnTo>
                <a:lnTo>
                  <a:pt x="89" y="34"/>
                </a:lnTo>
                <a:lnTo>
                  <a:pt x="96" y="32"/>
                </a:lnTo>
                <a:lnTo>
                  <a:pt x="102" y="26"/>
                </a:lnTo>
                <a:lnTo>
                  <a:pt x="102" y="17"/>
                </a:lnTo>
                <a:lnTo>
                  <a:pt x="98" y="15"/>
                </a:lnTo>
                <a:lnTo>
                  <a:pt x="224" y="7"/>
                </a:lnTo>
                <a:lnTo>
                  <a:pt x="292" y="0"/>
                </a:lnTo>
                <a:lnTo>
                  <a:pt x="292" y="0"/>
                </a:lnTo>
                <a:lnTo>
                  <a:pt x="296" y="5"/>
                </a:lnTo>
                <a:lnTo>
                  <a:pt x="302" y="9"/>
                </a:lnTo>
                <a:lnTo>
                  <a:pt x="296" y="350"/>
                </a:lnTo>
                <a:lnTo>
                  <a:pt x="319" y="518"/>
                </a:lnTo>
                <a:lnTo>
                  <a:pt x="319" y="520"/>
                </a:lnTo>
                <a:lnTo>
                  <a:pt x="315" y="528"/>
                </a:lnTo>
                <a:lnTo>
                  <a:pt x="300" y="522"/>
                </a:lnTo>
                <a:lnTo>
                  <a:pt x="298" y="526"/>
                </a:lnTo>
                <a:lnTo>
                  <a:pt x="292" y="528"/>
                </a:lnTo>
                <a:lnTo>
                  <a:pt x="285" y="526"/>
                </a:lnTo>
                <a:lnTo>
                  <a:pt x="277" y="520"/>
                </a:lnTo>
                <a:lnTo>
                  <a:pt x="266" y="522"/>
                </a:lnTo>
                <a:lnTo>
                  <a:pt x="275" y="522"/>
                </a:lnTo>
                <a:lnTo>
                  <a:pt x="273" y="524"/>
                </a:lnTo>
                <a:lnTo>
                  <a:pt x="258" y="526"/>
                </a:lnTo>
                <a:lnTo>
                  <a:pt x="243" y="533"/>
                </a:lnTo>
                <a:lnTo>
                  <a:pt x="236" y="535"/>
                </a:lnTo>
                <a:lnTo>
                  <a:pt x="238" y="533"/>
                </a:lnTo>
                <a:lnTo>
                  <a:pt x="232" y="535"/>
                </a:lnTo>
                <a:lnTo>
                  <a:pt x="232" y="535"/>
                </a:lnTo>
                <a:lnTo>
                  <a:pt x="230" y="539"/>
                </a:lnTo>
                <a:lnTo>
                  <a:pt x="224" y="546"/>
                </a:lnTo>
                <a:lnTo>
                  <a:pt x="219" y="552"/>
                </a:lnTo>
                <a:lnTo>
                  <a:pt x="213" y="552"/>
                </a:lnTo>
                <a:lnTo>
                  <a:pt x="211" y="550"/>
                </a:lnTo>
                <a:lnTo>
                  <a:pt x="204" y="548"/>
                </a:lnTo>
                <a:lnTo>
                  <a:pt x="200" y="539"/>
                </a:lnTo>
                <a:lnTo>
                  <a:pt x="202" y="537"/>
                </a:lnTo>
                <a:lnTo>
                  <a:pt x="198" y="528"/>
                </a:lnTo>
                <a:lnTo>
                  <a:pt x="196" y="522"/>
                </a:lnTo>
                <a:lnTo>
                  <a:pt x="185" y="514"/>
                </a:lnTo>
                <a:lnTo>
                  <a:pt x="181" y="505"/>
                </a:lnTo>
                <a:lnTo>
                  <a:pt x="179" y="499"/>
                </a:lnTo>
                <a:lnTo>
                  <a:pt x="181" y="486"/>
                </a:lnTo>
                <a:lnTo>
                  <a:pt x="185" y="471"/>
                </a:lnTo>
                <a:lnTo>
                  <a:pt x="187" y="465"/>
                </a:lnTo>
                <a:lnTo>
                  <a:pt x="185" y="462"/>
                </a:lnTo>
                <a:lnTo>
                  <a:pt x="96" y="469"/>
                </a:lnTo>
                <a:lnTo>
                  <a:pt x="2" y="475"/>
                </a:lnTo>
                <a:lnTo>
                  <a:pt x="9" y="467"/>
                </a:lnTo>
                <a:lnTo>
                  <a:pt x="4" y="460"/>
                </a:lnTo>
                <a:lnTo>
                  <a:pt x="4" y="452"/>
                </a:lnTo>
                <a:lnTo>
                  <a:pt x="0" y="445"/>
                </a:lnTo>
                <a:lnTo>
                  <a:pt x="11" y="443"/>
                </a:lnTo>
                <a:lnTo>
                  <a:pt x="13" y="437"/>
                </a:lnTo>
                <a:lnTo>
                  <a:pt x="6" y="431"/>
                </a:lnTo>
                <a:lnTo>
                  <a:pt x="15" y="431"/>
                </a:lnTo>
                <a:lnTo>
                  <a:pt x="11" y="416"/>
                </a:lnTo>
                <a:lnTo>
                  <a:pt x="19" y="409"/>
                </a:lnTo>
                <a:lnTo>
                  <a:pt x="19" y="407"/>
                </a:lnTo>
                <a:lnTo>
                  <a:pt x="13" y="407"/>
                </a:lnTo>
                <a:lnTo>
                  <a:pt x="21" y="401"/>
                </a:lnTo>
                <a:lnTo>
                  <a:pt x="21" y="394"/>
                </a:lnTo>
                <a:lnTo>
                  <a:pt x="30" y="388"/>
                </a:lnTo>
                <a:lnTo>
                  <a:pt x="23" y="384"/>
                </a:lnTo>
                <a:lnTo>
                  <a:pt x="28" y="377"/>
                </a:lnTo>
                <a:lnTo>
                  <a:pt x="34" y="375"/>
                </a:lnTo>
                <a:lnTo>
                  <a:pt x="49" y="356"/>
                </a:lnTo>
                <a:lnTo>
                  <a:pt x="49" y="354"/>
                </a:lnTo>
                <a:lnTo>
                  <a:pt x="43" y="352"/>
                </a:lnTo>
                <a:lnTo>
                  <a:pt x="49" y="352"/>
                </a:lnTo>
                <a:lnTo>
                  <a:pt x="49" y="347"/>
                </a:lnTo>
                <a:lnTo>
                  <a:pt x="55" y="341"/>
                </a:lnTo>
                <a:lnTo>
                  <a:pt x="47" y="341"/>
                </a:lnTo>
                <a:lnTo>
                  <a:pt x="40" y="341"/>
                </a:lnTo>
                <a:lnTo>
                  <a:pt x="45" y="333"/>
                </a:lnTo>
                <a:lnTo>
                  <a:pt x="53" y="330"/>
                </a:lnTo>
                <a:lnTo>
                  <a:pt x="57" y="324"/>
                </a:lnTo>
                <a:lnTo>
                  <a:pt x="64" y="324"/>
                </a:lnTo>
                <a:lnTo>
                  <a:pt x="64" y="322"/>
                </a:lnTo>
                <a:lnTo>
                  <a:pt x="64" y="320"/>
                </a:lnTo>
                <a:lnTo>
                  <a:pt x="55" y="318"/>
                </a:lnTo>
                <a:lnTo>
                  <a:pt x="53" y="313"/>
                </a:lnTo>
                <a:lnTo>
                  <a:pt x="47" y="309"/>
                </a:lnTo>
                <a:lnTo>
                  <a:pt x="43" y="303"/>
                </a:lnTo>
                <a:lnTo>
                  <a:pt x="45" y="301"/>
                </a:lnTo>
                <a:lnTo>
                  <a:pt x="51" y="303"/>
                </a:lnTo>
                <a:lnTo>
                  <a:pt x="47" y="296"/>
                </a:lnTo>
                <a:lnTo>
                  <a:pt x="51" y="288"/>
                </a:lnTo>
                <a:lnTo>
                  <a:pt x="38" y="290"/>
                </a:lnTo>
                <a:lnTo>
                  <a:pt x="36" y="286"/>
                </a:lnTo>
                <a:lnTo>
                  <a:pt x="45" y="277"/>
                </a:lnTo>
                <a:lnTo>
                  <a:pt x="36" y="273"/>
                </a:lnTo>
                <a:lnTo>
                  <a:pt x="36" y="264"/>
                </a:lnTo>
                <a:lnTo>
                  <a:pt x="43" y="258"/>
                </a:lnTo>
                <a:lnTo>
                  <a:pt x="43" y="252"/>
                </a:lnTo>
                <a:lnTo>
                  <a:pt x="36" y="252"/>
                </a:lnTo>
                <a:lnTo>
                  <a:pt x="30" y="256"/>
                </a:lnTo>
                <a:lnTo>
                  <a:pt x="32" y="249"/>
                </a:lnTo>
                <a:lnTo>
                  <a:pt x="34" y="245"/>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067" name="Freeform 874"/>
          <p:cNvSpPr>
            <a:spLocks/>
          </p:cNvSpPr>
          <p:nvPr/>
        </p:nvSpPr>
        <p:spPr bwMode="auto">
          <a:xfrm>
            <a:off x="5060950" y="4227513"/>
            <a:ext cx="506413" cy="876300"/>
          </a:xfrm>
          <a:custGeom>
            <a:avLst/>
            <a:gdLst>
              <a:gd name="T0" fmla="*/ 34 w 319"/>
              <a:gd name="T1" fmla="*/ 228 h 552"/>
              <a:gd name="T2" fmla="*/ 38 w 319"/>
              <a:gd name="T3" fmla="*/ 215 h 552"/>
              <a:gd name="T4" fmla="*/ 36 w 319"/>
              <a:gd name="T5" fmla="*/ 200 h 552"/>
              <a:gd name="T6" fmla="*/ 34 w 319"/>
              <a:gd name="T7" fmla="*/ 194 h 552"/>
              <a:gd name="T8" fmla="*/ 28 w 319"/>
              <a:gd name="T9" fmla="*/ 188 h 552"/>
              <a:gd name="T10" fmla="*/ 26 w 319"/>
              <a:gd name="T11" fmla="*/ 169 h 552"/>
              <a:gd name="T12" fmla="*/ 38 w 319"/>
              <a:gd name="T13" fmla="*/ 164 h 552"/>
              <a:gd name="T14" fmla="*/ 38 w 319"/>
              <a:gd name="T15" fmla="*/ 156 h 552"/>
              <a:gd name="T16" fmla="*/ 40 w 319"/>
              <a:gd name="T17" fmla="*/ 139 h 552"/>
              <a:gd name="T18" fmla="*/ 49 w 319"/>
              <a:gd name="T19" fmla="*/ 120 h 552"/>
              <a:gd name="T20" fmla="*/ 47 w 319"/>
              <a:gd name="T21" fmla="*/ 105 h 552"/>
              <a:gd name="T22" fmla="*/ 64 w 319"/>
              <a:gd name="T23" fmla="*/ 96 h 552"/>
              <a:gd name="T24" fmla="*/ 72 w 319"/>
              <a:gd name="T25" fmla="*/ 88 h 552"/>
              <a:gd name="T26" fmla="*/ 81 w 319"/>
              <a:gd name="T27" fmla="*/ 64 h 552"/>
              <a:gd name="T28" fmla="*/ 79 w 319"/>
              <a:gd name="T29" fmla="*/ 58 h 552"/>
              <a:gd name="T30" fmla="*/ 79 w 319"/>
              <a:gd name="T31" fmla="*/ 39 h 552"/>
              <a:gd name="T32" fmla="*/ 85 w 319"/>
              <a:gd name="T33" fmla="*/ 30 h 552"/>
              <a:gd name="T34" fmla="*/ 102 w 319"/>
              <a:gd name="T35" fmla="*/ 26 h 552"/>
              <a:gd name="T36" fmla="*/ 224 w 319"/>
              <a:gd name="T37" fmla="*/ 7 h 552"/>
              <a:gd name="T38" fmla="*/ 296 w 319"/>
              <a:gd name="T39" fmla="*/ 5 h 552"/>
              <a:gd name="T40" fmla="*/ 319 w 319"/>
              <a:gd name="T41" fmla="*/ 518 h 552"/>
              <a:gd name="T42" fmla="*/ 300 w 319"/>
              <a:gd name="T43" fmla="*/ 522 h 552"/>
              <a:gd name="T44" fmla="*/ 285 w 319"/>
              <a:gd name="T45" fmla="*/ 526 h 552"/>
              <a:gd name="T46" fmla="*/ 275 w 319"/>
              <a:gd name="T47" fmla="*/ 522 h 552"/>
              <a:gd name="T48" fmla="*/ 243 w 319"/>
              <a:gd name="T49" fmla="*/ 533 h 552"/>
              <a:gd name="T50" fmla="*/ 232 w 319"/>
              <a:gd name="T51" fmla="*/ 535 h 552"/>
              <a:gd name="T52" fmla="*/ 224 w 319"/>
              <a:gd name="T53" fmla="*/ 546 h 552"/>
              <a:gd name="T54" fmla="*/ 211 w 319"/>
              <a:gd name="T55" fmla="*/ 550 h 552"/>
              <a:gd name="T56" fmla="*/ 202 w 319"/>
              <a:gd name="T57" fmla="*/ 537 h 552"/>
              <a:gd name="T58" fmla="*/ 185 w 319"/>
              <a:gd name="T59" fmla="*/ 514 h 552"/>
              <a:gd name="T60" fmla="*/ 181 w 319"/>
              <a:gd name="T61" fmla="*/ 486 h 552"/>
              <a:gd name="T62" fmla="*/ 185 w 319"/>
              <a:gd name="T63" fmla="*/ 462 h 552"/>
              <a:gd name="T64" fmla="*/ 9 w 319"/>
              <a:gd name="T65" fmla="*/ 467 h 552"/>
              <a:gd name="T66" fmla="*/ 0 w 319"/>
              <a:gd name="T67" fmla="*/ 445 h 552"/>
              <a:gd name="T68" fmla="*/ 6 w 319"/>
              <a:gd name="T69" fmla="*/ 431 h 552"/>
              <a:gd name="T70" fmla="*/ 19 w 319"/>
              <a:gd name="T71" fmla="*/ 409 h 552"/>
              <a:gd name="T72" fmla="*/ 21 w 319"/>
              <a:gd name="T73" fmla="*/ 401 h 552"/>
              <a:gd name="T74" fmla="*/ 23 w 319"/>
              <a:gd name="T75" fmla="*/ 384 h 552"/>
              <a:gd name="T76" fmla="*/ 49 w 319"/>
              <a:gd name="T77" fmla="*/ 356 h 552"/>
              <a:gd name="T78" fmla="*/ 49 w 319"/>
              <a:gd name="T79" fmla="*/ 352 h 552"/>
              <a:gd name="T80" fmla="*/ 47 w 319"/>
              <a:gd name="T81" fmla="*/ 341 h 552"/>
              <a:gd name="T82" fmla="*/ 53 w 319"/>
              <a:gd name="T83" fmla="*/ 330 h 552"/>
              <a:gd name="T84" fmla="*/ 64 w 319"/>
              <a:gd name="T85" fmla="*/ 322 h 552"/>
              <a:gd name="T86" fmla="*/ 53 w 319"/>
              <a:gd name="T87" fmla="*/ 313 h 552"/>
              <a:gd name="T88" fmla="*/ 45 w 319"/>
              <a:gd name="T89" fmla="*/ 301 h 552"/>
              <a:gd name="T90" fmla="*/ 51 w 319"/>
              <a:gd name="T91" fmla="*/ 288 h 552"/>
              <a:gd name="T92" fmla="*/ 45 w 319"/>
              <a:gd name="T93" fmla="*/ 277 h 552"/>
              <a:gd name="T94" fmla="*/ 43 w 319"/>
              <a:gd name="T95" fmla="*/ 258 h 552"/>
              <a:gd name="T96" fmla="*/ 30 w 319"/>
              <a:gd name="T97" fmla="*/ 25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 h="552">
                <a:moveTo>
                  <a:pt x="34" y="245"/>
                </a:moveTo>
                <a:lnTo>
                  <a:pt x="34" y="235"/>
                </a:lnTo>
                <a:lnTo>
                  <a:pt x="34" y="228"/>
                </a:lnTo>
                <a:lnTo>
                  <a:pt x="40" y="228"/>
                </a:lnTo>
                <a:lnTo>
                  <a:pt x="40" y="228"/>
                </a:lnTo>
                <a:lnTo>
                  <a:pt x="38" y="215"/>
                </a:lnTo>
                <a:lnTo>
                  <a:pt x="36" y="215"/>
                </a:lnTo>
                <a:lnTo>
                  <a:pt x="34" y="207"/>
                </a:lnTo>
                <a:lnTo>
                  <a:pt x="36" y="200"/>
                </a:lnTo>
                <a:lnTo>
                  <a:pt x="34" y="200"/>
                </a:lnTo>
                <a:lnTo>
                  <a:pt x="28" y="198"/>
                </a:lnTo>
                <a:lnTo>
                  <a:pt x="34" y="194"/>
                </a:lnTo>
                <a:lnTo>
                  <a:pt x="32" y="190"/>
                </a:lnTo>
                <a:lnTo>
                  <a:pt x="23" y="196"/>
                </a:lnTo>
                <a:lnTo>
                  <a:pt x="28" y="188"/>
                </a:lnTo>
                <a:lnTo>
                  <a:pt x="23" y="181"/>
                </a:lnTo>
                <a:lnTo>
                  <a:pt x="30" y="175"/>
                </a:lnTo>
                <a:lnTo>
                  <a:pt x="26" y="169"/>
                </a:lnTo>
                <a:lnTo>
                  <a:pt x="30" y="166"/>
                </a:lnTo>
                <a:lnTo>
                  <a:pt x="32" y="169"/>
                </a:lnTo>
                <a:lnTo>
                  <a:pt x="38" y="164"/>
                </a:lnTo>
                <a:lnTo>
                  <a:pt x="32" y="162"/>
                </a:lnTo>
                <a:lnTo>
                  <a:pt x="32" y="156"/>
                </a:lnTo>
                <a:lnTo>
                  <a:pt x="38" y="156"/>
                </a:lnTo>
                <a:lnTo>
                  <a:pt x="40" y="152"/>
                </a:lnTo>
                <a:lnTo>
                  <a:pt x="38" y="145"/>
                </a:lnTo>
                <a:lnTo>
                  <a:pt x="40" y="139"/>
                </a:lnTo>
                <a:lnTo>
                  <a:pt x="34" y="134"/>
                </a:lnTo>
                <a:lnTo>
                  <a:pt x="53" y="126"/>
                </a:lnTo>
                <a:lnTo>
                  <a:pt x="49" y="120"/>
                </a:lnTo>
                <a:lnTo>
                  <a:pt x="49" y="113"/>
                </a:lnTo>
                <a:lnTo>
                  <a:pt x="53" y="111"/>
                </a:lnTo>
                <a:lnTo>
                  <a:pt x="47" y="105"/>
                </a:lnTo>
                <a:lnTo>
                  <a:pt x="55" y="107"/>
                </a:lnTo>
                <a:lnTo>
                  <a:pt x="57" y="103"/>
                </a:lnTo>
                <a:lnTo>
                  <a:pt x="64" y="96"/>
                </a:lnTo>
                <a:lnTo>
                  <a:pt x="62" y="90"/>
                </a:lnTo>
                <a:lnTo>
                  <a:pt x="68" y="90"/>
                </a:lnTo>
                <a:lnTo>
                  <a:pt x="72" y="88"/>
                </a:lnTo>
                <a:lnTo>
                  <a:pt x="79" y="79"/>
                </a:lnTo>
                <a:lnTo>
                  <a:pt x="77" y="75"/>
                </a:lnTo>
                <a:lnTo>
                  <a:pt x="81" y="64"/>
                </a:lnTo>
                <a:lnTo>
                  <a:pt x="77" y="62"/>
                </a:lnTo>
                <a:lnTo>
                  <a:pt x="77" y="49"/>
                </a:lnTo>
                <a:lnTo>
                  <a:pt x="79" y="58"/>
                </a:lnTo>
                <a:lnTo>
                  <a:pt x="87" y="54"/>
                </a:lnTo>
                <a:lnTo>
                  <a:pt x="79" y="49"/>
                </a:lnTo>
                <a:lnTo>
                  <a:pt x="79" y="39"/>
                </a:lnTo>
                <a:lnTo>
                  <a:pt x="81" y="47"/>
                </a:lnTo>
                <a:lnTo>
                  <a:pt x="87" y="47"/>
                </a:lnTo>
                <a:lnTo>
                  <a:pt x="85" y="30"/>
                </a:lnTo>
                <a:lnTo>
                  <a:pt x="89" y="34"/>
                </a:lnTo>
                <a:lnTo>
                  <a:pt x="96" y="32"/>
                </a:lnTo>
                <a:lnTo>
                  <a:pt x="102" y="26"/>
                </a:lnTo>
                <a:lnTo>
                  <a:pt x="102" y="17"/>
                </a:lnTo>
                <a:lnTo>
                  <a:pt x="98" y="15"/>
                </a:lnTo>
                <a:lnTo>
                  <a:pt x="224" y="7"/>
                </a:lnTo>
                <a:lnTo>
                  <a:pt x="292" y="0"/>
                </a:lnTo>
                <a:lnTo>
                  <a:pt x="292" y="0"/>
                </a:lnTo>
                <a:lnTo>
                  <a:pt x="296" y="5"/>
                </a:lnTo>
                <a:lnTo>
                  <a:pt x="302" y="9"/>
                </a:lnTo>
                <a:lnTo>
                  <a:pt x="296" y="350"/>
                </a:lnTo>
                <a:lnTo>
                  <a:pt x="319" y="518"/>
                </a:lnTo>
                <a:lnTo>
                  <a:pt x="319" y="520"/>
                </a:lnTo>
                <a:lnTo>
                  <a:pt x="315" y="528"/>
                </a:lnTo>
                <a:lnTo>
                  <a:pt x="300" y="522"/>
                </a:lnTo>
                <a:lnTo>
                  <a:pt x="298" y="526"/>
                </a:lnTo>
                <a:lnTo>
                  <a:pt x="292" y="528"/>
                </a:lnTo>
                <a:lnTo>
                  <a:pt x="285" y="526"/>
                </a:lnTo>
                <a:lnTo>
                  <a:pt x="277" y="520"/>
                </a:lnTo>
                <a:lnTo>
                  <a:pt x="266" y="522"/>
                </a:lnTo>
                <a:lnTo>
                  <a:pt x="275" y="522"/>
                </a:lnTo>
                <a:lnTo>
                  <a:pt x="273" y="524"/>
                </a:lnTo>
                <a:lnTo>
                  <a:pt x="258" y="526"/>
                </a:lnTo>
                <a:lnTo>
                  <a:pt x="243" y="533"/>
                </a:lnTo>
                <a:lnTo>
                  <a:pt x="236" y="535"/>
                </a:lnTo>
                <a:lnTo>
                  <a:pt x="238" y="533"/>
                </a:lnTo>
                <a:lnTo>
                  <a:pt x="232" y="535"/>
                </a:lnTo>
                <a:lnTo>
                  <a:pt x="232" y="535"/>
                </a:lnTo>
                <a:lnTo>
                  <a:pt x="230" y="539"/>
                </a:lnTo>
                <a:lnTo>
                  <a:pt x="224" y="546"/>
                </a:lnTo>
                <a:lnTo>
                  <a:pt x="219" y="552"/>
                </a:lnTo>
                <a:lnTo>
                  <a:pt x="213" y="552"/>
                </a:lnTo>
                <a:lnTo>
                  <a:pt x="211" y="550"/>
                </a:lnTo>
                <a:lnTo>
                  <a:pt x="204" y="548"/>
                </a:lnTo>
                <a:lnTo>
                  <a:pt x="200" y="539"/>
                </a:lnTo>
                <a:lnTo>
                  <a:pt x="202" y="537"/>
                </a:lnTo>
                <a:lnTo>
                  <a:pt x="198" y="528"/>
                </a:lnTo>
                <a:lnTo>
                  <a:pt x="196" y="522"/>
                </a:lnTo>
                <a:lnTo>
                  <a:pt x="185" y="514"/>
                </a:lnTo>
                <a:lnTo>
                  <a:pt x="181" y="505"/>
                </a:lnTo>
                <a:lnTo>
                  <a:pt x="179" y="499"/>
                </a:lnTo>
                <a:lnTo>
                  <a:pt x="181" y="486"/>
                </a:lnTo>
                <a:lnTo>
                  <a:pt x="185" y="471"/>
                </a:lnTo>
                <a:lnTo>
                  <a:pt x="187" y="465"/>
                </a:lnTo>
                <a:lnTo>
                  <a:pt x="185" y="462"/>
                </a:lnTo>
                <a:lnTo>
                  <a:pt x="96" y="469"/>
                </a:lnTo>
                <a:lnTo>
                  <a:pt x="2" y="475"/>
                </a:lnTo>
                <a:lnTo>
                  <a:pt x="9" y="467"/>
                </a:lnTo>
                <a:lnTo>
                  <a:pt x="4" y="460"/>
                </a:lnTo>
                <a:lnTo>
                  <a:pt x="4" y="452"/>
                </a:lnTo>
                <a:lnTo>
                  <a:pt x="0" y="445"/>
                </a:lnTo>
                <a:lnTo>
                  <a:pt x="11" y="443"/>
                </a:lnTo>
                <a:lnTo>
                  <a:pt x="13" y="437"/>
                </a:lnTo>
                <a:lnTo>
                  <a:pt x="6" y="431"/>
                </a:lnTo>
                <a:lnTo>
                  <a:pt x="15" y="431"/>
                </a:lnTo>
                <a:lnTo>
                  <a:pt x="11" y="416"/>
                </a:lnTo>
                <a:lnTo>
                  <a:pt x="19" y="409"/>
                </a:lnTo>
                <a:lnTo>
                  <a:pt x="19" y="407"/>
                </a:lnTo>
                <a:lnTo>
                  <a:pt x="13" y="407"/>
                </a:lnTo>
                <a:lnTo>
                  <a:pt x="21" y="401"/>
                </a:lnTo>
                <a:lnTo>
                  <a:pt x="21" y="394"/>
                </a:lnTo>
                <a:lnTo>
                  <a:pt x="30" y="388"/>
                </a:lnTo>
                <a:lnTo>
                  <a:pt x="23" y="384"/>
                </a:lnTo>
                <a:lnTo>
                  <a:pt x="28" y="377"/>
                </a:lnTo>
                <a:lnTo>
                  <a:pt x="34" y="375"/>
                </a:lnTo>
                <a:lnTo>
                  <a:pt x="49" y="356"/>
                </a:lnTo>
                <a:lnTo>
                  <a:pt x="49" y="354"/>
                </a:lnTo>
                <a:lnTo>
                  <a:pt x="43" y="352"/>
                </a:lnTo>
                <a:lnTo>
                  <a:pt x="49" y="352"/>
                </a:lnTo>
                <a:lnTo>
                  <a:pt x="49" y="347"/>
                </a:lnTo>
                <a:lnTo>
                  <a:pt x="55" y="341"/>
                </a:lnTo>
                <a:lnTo>
                  <a:pt x="47" y="341"/>
                </a:lnTo>
                <a:lnTo>
                  <a:pt x="40" y="341"/>
                </a:lnTo>
                <a:lnTo>
                  <a:pt x="45" y="333"/>
                </a:lnTo>
                <a:lnTo>
                  <a:pt x="53" y="330"/>
                </a:lnTo>
                <a:lnTo>
                  <a:pt x="57" y="324"/>
                </a:lnTo>
                <a:lnTo>
                  <a:pt x="64" y="324"/>
                </a:lnTo>
                <a:lnTo>
                  <a:pt x="64" y="322"/>
                </a:lnTo>
                <a:lnTo>
                  <a:pt x="64" y="320"/>
                </a:lnTo>
                <a:lnTo>
                  <a:pt x="55" y="318"/>
                </a:lnTo>
                <a:lnTo>
                  <a:pt x="53" y="313"/>
                </a:lnTo>
                <a:lnTo>
                  <a:pt x="47" y="309"/>
                </a:lnTo>
                <a:lnTo>
                  <a:pt x="43" y="303"/>
                </a:lnTo>
                <a:lnTo>
                  <a:pt x="45" y="301"/>
                </a:lnTo>
                <a:lnTo>
                  <a:pt x="51" y="303"/>
                </a:lnTo>
                <a:lnTo>
                  <a:pt x="47" y="296"/>
                </a:lnTo>
                <a:lnTo>
                  <a:pt x="51" y="288"/>
                </a:lnTo>
                <a:lnTo>
                  <a:pt x="38" y="290"/>
                </a:lnTo>
                <a:lnTo>
                  <a:pt x="36" y="286"/>
                </a:lnTo>
                <a:lnTo>
                  <a:pt x="45" y="277"/>
                </a:lnTo>
                <a:lnTo>
                  <a:pt x="36" y="273"/>
                </a:lnTo>
                <a:lnTo>
                  <a:pt x="36" y="264"/>
                </a:lnTo>
                <a:lnTo>
                  <a:pt x="43" y="258"/>
                </a:lnTo>
                <a:lnTo>
                  <a:pt x="43" y="252"/>
                </a:lnTo>
                <a:lnTo>
                  <a:pt x="36" y="252"/>
                </a:lnTo>
                <a:lnTo>
                  <a:pt x="30" y="256"/>
                </a:lnTo>
                <a:lnTo>
                  <a:pt x="32" y="249"/>
                </a:lnTo>
                <a:lnTo>
                  <a:pt x="34" y="24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9" name="Freeform 876"/>
          <p:cNvSpPr>
            <a:spLocks/>
          </p:cNvSpPr>
          <p:nvPr/>
        </p:nvSpPr>
        <p:spPr bwMode="auto">
          <a:xfrm>
            <a:off x="5060950" y="2051050"/>
            <a:ext cx="814388" cy="361950"/>
          </a:xfrm>
          <a:custGeom>
            <a:avLst/>
            <a:gdLst>
              <a:gd name="T0" fmla="*/ 30 w 513"/>
              <a:gd name="T1" fmla="*/ 66 h 228"/>
              <a:gd name="T2" fmla="*/ 57 w 513"/>
              <a:gd name="T3" fmla="*/ 47 h 228"/>
              <a:gd name="T4" fmla="*/ 79 w 513"/>
              <a:gd name="T5" fmla="*/ 42 h 228"/>
              <a:gd name="T6" fmla="*/ 109 w 513"/>
              <a:gd name="T7" fmla="*/ 23 h 228"/>
              <a:gd name="T8" fmla="*/ 132 w 513"/>
              <a:gd name="T9" fmla="*/ 6 h 228"/>
              <a:gd name="T10" fmla="*/ 147 w 513"/>
              <a:gd name="T11" fmla="*/ 38 h 228"/>
              <a:gd name="T12" fmla="*/ 153 w 513"/>
              <a:gd name="T13" fmla="*/ 36 h 228"/>
              <a:gd name="T14" fmla="*/ 162 w 513"/>
              <a:gd name="T15" fmla="*/ 38 h 228"/>
              <a:gd name="T16" fmla="*/ 177 w 513"/>
              <a:gd name="T17" fmla="*/ 27 h 228"/>
              <a:gd name="T18" fmla="*/ 207 w 513"/>
              <a:gd name="T19" fmla="*/ 34 h 228"/>
              <a:gd name="T20" fmla="*/ 230 w 513"/>
              <a:gd name="T21" fmla="*/ 57 h 228"/>
              <a:gd name="T22" fmla="*/ 249 w 513"/>
              <a:gd name="T23" fmla="*/ 68 h 228"/>
              <a:gd name="T24" fmla="*/ 281 w 513"/>
              <a:gd name="T25" fmla="*/ 70 h 228"/>
              <a:gd name="T26" fmla="*/ 305 w 513"/>
              <a:gd name="T27" fmla="*/ 57 h 228"/>
              <a:gd name="T28" fmla="*/ 339 w 513"/>
              <a:gd name="T29" fmla="*/ 38 h 228"/>
              <a:gd name="T30" fmla="*/ 381 w 513"/>
              <a:gd name="T31" fmla="*/ 32 h 228"/>
              <a:gd name="T32" fmla="*/ 417 w 513"/>
              <a:gd name="T33" fmla="*/ 17 h 228"/>
              <a:gd name="T34" fmla="*/ 434 w 513"/>
              <a:gd name="T35" fmla="*/ 51 h 228"/>
              <a:gd name="T36" fmla="*/ 460 w 513"/>
              <a:gd name="T37" fmla="*/ 49 h 228"/>
              <a:gd name="T38" fmla="*/ 471 w 513"/>
              <a:gd name="T39" fmla="*/ 42 h 228"/>
              <a:gd name="T40" fmla="*/ 483 w 513"/>
              <a:gd name="T41" fmla="*/ 64 h 228"/>
              <a:gd name="T42" fmla="*/ 494 w 513"/>
              <a:gd name="T43" fmla="*/ 76 h 228"/>
              <a:gd name="T44" fmla="*/ 509 w 513"/>
              <a:gd name="T45" fmla="*/ 89 h 228"/>
              <a:gd name="T46" fmla="*/ 473 w 513"/>
              <a:gd name="T47" fmla="*/ 98 h 228"/>
              <a:gd name="T48" fmla="*/ 451 w 513"/>
              <a:gd name="T49" fmla="*/ 98 h 228"/>
              <a:gd name="T50" fmla="*/ 443 w 513"/>
              <a:gd name="T51" fmla="*/ 115 h 228"/>
              <a:gd name="T52" fmla="*/ 405 w 513"/>
              <a:gd name="T53" fmla="*/ 100 h 228"/>
              <a:gd name="T54" fmla="*/ 377 w 513"/>
              <a:gd name="T55" fmla="*/ 110 h 228"/>
              <a:gd name="T56" fmla="*/ 349 w 513"/>
              <a:gd name="T57" fmla="*/ 119 h 228"/>
              <a:gd name="T58" fmla="*/ 330 w 513"/>
              <a:gd name="T59" fmla="*/ 123 h 228"/>
              <a:gd name="T60" fmla="*/ 317 w 513"/>
              <a:gd name="T61" fmla="*/ 142 h 228"/>
              <a:gd name="T62" fmla="*/ 298 w 513"/>
              <a:gd name="T63" fmla="*/ 157 h 228"/>
              <a:gd name="T64" fmla="*/ 309 w 513"/>
              <a:gd name="T65" fmla="*/ 136 h 228"/>
              <a:gd name="T66" fmla="*/ 287 w 513"/>
              <a:gd name="T67" fmla="*/ 144 h 228"/>
              <a:gd name="T68" fmla="*/ 275 w 513"/>
              <a:gd name="T69" fmla="*/ 147 h 228"/>
              <a:gd name="T70" fmla="*/ 270 w 513"/>
              <a:gd name="T71" fmla="*/ 142 h 228"/>
              <a:gd name="T72" fmla="*/ 256 w 513"/>
              <a:gd name="T73" fmla="*/ 172 h 228"/>
              <a:gd name="T74" fmla="*/ 234 w 513"/>
              <a:gd name="T75" fmla="*/ 221 h 228"/>
              <a:gd name="T76" fmla="*/ 230 w 513"/>
              <a:gd name="T77" fmla="*/ 225 h 228"/>
              <a:gd name="T78" fmla="*/ 228 w 513"/>
              <a:gd name="T79" fmla="*/ 198 h 228"/>
              <a:gd name="T80" fmla="*/ 211 w 513"/>
              <a:gd name="T81" fmla="*/ 196 h 228"/>
              <a:gd name="T82" fmla="*/ 211 w 513"/>
              <a:gd name="T83" fmla="*/ 166 h 228"/>
              <a:gd name="T84" fmla="*/ 194 w 513"/>
              <a:gd name="T85" fmla="*/ 153 h 228"/>
              <a:gd name="T86" fmla="*/ 179 w 513"/>
              <a:gd name="T87" fmla="*/ 136 h 228"/>
              <a:gd name="T88" fmla="*/ 145 w 513"/>
              <a:gd name="T89" fmla="*/ 134 h 228"/>
              <a:gd name="T90" fmla="*/ 102 w 513"/>
              <a:gd name="T91" fmla="*/ 121 h 228"/>
              <a:gd name="T92" fmla="*/ 11 w 513"/>
              <a:gd name="T93" fmla="*/ 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3" h="228">
                <a:moveTo>
                  <a:pt x="0" y="81"/>
                </a:moveTo>
                <a:lnTo>
                  <a:pt x="6" y="76"/>
                </a:lnTo>
                <a:lnTo>
                  <a:pt x="30" y="66"/>
                </a:lnTo>
                <a:lnTo>
                  <a:pt x="43" y="51"/>
                </a:lnTo>
                <a:lnTo>
                  <a:pt x="49" y="47"/>
                </a:lnTo>
                <a:lnTo>
                  <a:pt x="57" y="47"/>
                </a:lnTo>
                <a:lnTo>
                  <a:pt x="64" y="47"/>
                </a:lnTo>
                <a:lnTo>
                  <a:pt x="72" y="44"/>
                </a:lnTo>
                <a:lnTo>
                  <a:pt x="79" y="42"/>
                </a:lnTo>
                <a:lnTo>
                  <a:pt x="85" y="38"/>
                </a:lnTo>
                <a:lnTo>
                  <a:pt x="94" y="29"/>
                </a:lnTo>
                <a:lnTo>
                  <a:pt x="109" y="23"/>
                </a:lnTo>
                <a:lnTo>
                  <a:pt x="113" y="17"/>
                </a:lnTo>
                <a:lnTo>
                  <a:pt x="128" y="0"/>
                </a:lnTo>
                <a:lnTo>
                  <a:pt x="132" y="6"/>
                </a:lnTo>
                <a:lnTo>
                  <a:pt x="136" y="8"/>
                </a:lnTo>
                <a:lnTo>
                  <a:pt x="149" y="23"/>
                </a:lnTo>
                <a:lnTo>
                  <a:pt x="147" y="38"/>
                </a:lnTo>
                <a:lnTo>
                  <a:pt x="149" y="44"/>
                </a:lnTo>
                <a:lnTo>
                  <a:pt x="153" y="42"/>
                </a:lnTo>
                <a:lnTo>
                  <a:pt x="153" y="36"/>
                </a:lnTo>
                <a:lnTo>
                  <a:pt x="162" y="32"/>
                </a:lnTo>
                <a:lnTo>
                  <a:pt x="168" y="23"/>
                </a:lnTo>
                <a:lnTo>
                  <a:pt x="162" y="38"/>
                </a:lnTo>
                <a:lnTo>
                  <a:pt x="166" y="36"/>
                </a:lnTo>
                <a:lnTo>
                  <a:pt x="170" y="29"/>
                </a:lnTo>
                <a:lnTo>
                  <a:pt x="177" y="27"/>
                </a:lnTo>
                <a:lnTo>
                  <a:pt x="192" y="27"/>
                </a:lnTo>
                <a:lnTo>
                  <a:pt x="200" y="27"/>
                </a:lnTo>
                <a:lnTo>
                  <a:pt x="207" y="34"/>
                </a:lnTo>
                <a:lnTo>
                  <a:pt x="213" y="36"/>
                </a:lnTo>
                <a:lnTo>
                  <a:pt x="217" y="44"/>
                </a:lnTo>
                <a:lnTo>
                  <a:pt x="230" y="57"/>
                </a:lnTo>
                <a:lnTo>
                  <a:pt x="234" y="66"/>
                </a:lnTo>
                <a:lnTo>
                  <a:pt x="243" y="68"/>
                </a:lnTo>
                <a:lnTo>
                  <a:pt x="249" y="68"/>
                </a:lnTo>
                <a:lnTo>
                  <a:pt x="266" y="61"/>
                </a:lnTo>
                <a:lnTo>
                  <a:pt x="273" y="68"/>
                </a:lnTo>
                <a:lnTo>
                  <a:pt x="281" y="70"/>
                </a:lnTo>
                <a:lnTo>
                  <a:pt x="287" y="68"/>
                </a:lnTo>
                <a:lnTo>
                  <a:pt x="294" y="72"/>
                </a:lnTo>
                <a:lnTo>
                  <a:pt x="305" y="57"/>
                </a:lnTo>
                <a:lnTo>
                  <a:pt x="319" y="47"/>
                </a:lnTo>
                <a:lnTo>
                  <a:pt x="326" y="40"/>
                </a:lnTo>
                <a:lnTo>
                  <a:pt x="339" y="38"/>
                </a:lnTo>
                <a:lnTo>
                  <a:pt x="345" y="36"/>
                </a:lnTo>
                <a:lnTo>
                  <a:pt x="375" y="34"/>
                </a:lnTo>
                <a:lnTo>
                  <a:pt x="381" y="32"/>
                </a:lnTo>
                <a:lnTo>
                  <a:pt x="396" y="23"/>
                </a:lnTo>
                <a:lnTo>
                  <a:pt x="402" y="19"/>
                </a:lnTo>
                <a:lnTo>
                  <a:pt x="417" y="17"/>
                </a:lnTo>
                <a:lnTo>
                  <a:pt x="417" y="44"/>
                </a:lnTo>
                <a:lnTo>
                  <a:pt x="422" y="49"/>
                </a:lnTo>
                <a:lnTo>
                  <a:pt x="434" y="51"/>
                </a:lnTo>
                <a:lnTo>
                  <a:pt x="449" y="47"/>
                </a:lnTo>
                <a:lnTo>
                  <a:pt x="454" y="53"/>
                </a:lnTo>
                <a:lnTo>
                  <a:pt x="460" y="49"/>
                </a:lnTo>
                <a:lnTo>
                  <a:pt x="464" y="44"/>
                </a:lnTo>
                <a:lnTo>
                  <a:pt x="466" y="42"/>
                </a:lnTo>
                <a:lnTo>
                  <a:pt x="471" y="42"/>
                </a:lnTo>
                <a:lnTo>
                  <a:pt x="477" y="49"/>
                </a:lnTo>
                <a:lnTo>
                  <a:pt x="481" y="55"/>
                </a:lnTo>
                <a:lnTo>
                  <a:pt x="483" y="64"/>
                </a:lnTo>
                <a:lnTo>
                  <a:pt x="483" y="70"/>
                </a:lnTo>
                <a:lnTo>
                  <a:pt x="492" y="76"/>
                </a:lnTo>
                <a:lnTo>
                  <a:pt x="494" y="76"/>
                </a:lnTo>
                <a:lnTo>
                  <a:pt x="500" y="78"/>
                </a:lnTo>
                <a:lnTo>
                  <a:pt x="500" y="85"/>
                </a:lnTo>
                <a:lnTo>
                  <a:pt x="509" y="89"/>
                </a:lnTo>
                <a:lnTo>
                  <a:pt x="513" y="95"/>
                </a:lnTo>
                <a:lnTo>
                  <a:pt x="507" y="98"/>
                </a:lnTo>
                <a:lnTo>
                  <a:pt x="473" y="98"/>
                </a:lnTo>
                <a:lnTo>
                  <a:pt x="464" y="100"/>
                </a:lnTo>
                <a:lnTo>
                  <a:pt x="458" y="95"/>
                </a:lnTo>
                <a:lnTo>
                  <a:pt x="451" y="98"/>
                </a:lnTo>
                <a:lnTo>
                  <a:pt x="449" y="106"/>
                </a:lnTo>
                <a:lnTo>
                  <a:pt x="449" y="119"/>
                </a:lnTo>
                <a:lnTo>
                  <a:pt x="443" y="115"/>
                </a:lnTo>
                <a:lnTo>
                  <a:pt x="426" y="104"/>
                </a:lnTo>
                <a:lnTo>
                  <a:pt x="413" y="98"/>
                </a:lnTo>
                <a:lnTo>
                  <a:pt x="405" y="100"/>
                </a:lnTo>
                <a:lnTo>
                  <a:pt x="398" y="98"/>
                </a:lnTo>
                <a:lnTo>
                  <a:pt x="383" y="100"/>
                </a:lnTo>
                <a:lnTo>
                  <a:pt x="377" y="110"/>
                </a:lnTo>
                <a:lnTo>
                  <a:pt x="371" y="115"/>
                </a:lnTo>
                <a:lnTo>
                  <a:pt x="362" y="115"/>
                </a:lnTo>
                <a:lnTo>
                  <a:pt x="349" y="119"/>
                </a:lnTo>
                <a:lnTo>
                  <a:pt x="343" y="117"/>
                </a:lnTo>
                <a:lnTo>
                  <a:pt x="334" y="119"/>
                </a:lnTo>
                <a:lnTo>
                  <a:pt x="330" y="123"/>
                </a:lnTo>
                <a:lnTo>
                  <a:pt x="326" y="130"/>
                </a:lnTo>
                <a:lnTo>
                  <a:pt x="324" y="138"/>
                </a:lnTo>
                <a:lnTo>
                  <a:pt x="317" y="142"/>
                </a:lnTo>
                <a:lnTo>
                  <a:pt x="309" y="151"/>
                </a:lnTo>
                <a:lnTo>
                  <a:pt x="305" y="157"/>
                </a:lnTo>
                <a:lnTo>
                  <a:pt x="298" y="157"/>
                </a:lnTo>
                <a:lnTo>
                  <a:pt x="302" y="149"/>
                </a:lnTo>
                <a:lnTo>
                  <a:pt x="309" y="142"/>
                </a:lnTo>
                <a:lnTo>
                  <a:pt x="309" y="136"/>
                </a:lnTo>
                <a:lnTo>
                  <a:pt x="302" y="134"/>
                </a:lnTo>
                <a:lnTo>
                  <a:pt x="296" y="136"/>
                </a:lnTo>
                <a:lnTo>
                  <a:pt x="287" y="144"/>
                </a:lnTo>
                <a:lnTo>
                  <a:pt x="287" y="149"/>
                </a:lnTo>
                <a:lnTo>
                  <a:pt x="279" y="155"/>
                </a:lnTo>
                <a:lnTo>
                  <a:pt x="275" y="147"/>
                </a:lnTo>
                <a:lnTo>
                  <a:pt x="273" y="140"/>
                </a:lnTo>
                <a:lnTo>
                  <a:pt x="275" y="134"/>
                </a:lnTo>
                <a:lnTo>
                  <a:pt x="270" y="142"/>
                </a:lnTo>
                <a:lnTo>
                  <a:pt x="266" y="157"/>
                </a:lnTo>
                <a:lnTo>
                  <a:pt x="260" y="166"/>
                </a:lnTo>
                <a:lnTo>
                  <a:pt x="256" y="172"/>
                </a:lnTo>
                <a:lnTo>
                  <a:pt x="251" y="187"/>
                </a:lnTo>
                <a:lnTo>
                  <a:pt x="243" y="208"/>
                </a:lnTo>
                <a:lnTo>
                  <a:pt x="234" y="221"/>
                </a:lnTo>
                <a:lnTo>
                  <a:pt x="234" y="228"/>
                </a:lnTo>
                <a:lnTo>
                  <a:pt x="232" y="225"/>
                </a:lnTo>
                <a:lnTo>
                  <a:pt x="230" y="225"/>
                </a:lnTo>
                <a:lnTo>
                  <a:pt x="224" y="219"/>
                </a:lnTo>
                <a:lnTo>
                  <a:pt x="224" y="213"/>
                </a:lnTo>
                <a:lnTo>
                  <a:pt x="228" y="198"/>
                </a:lnTo>
                <a:lnTo>
                  <a:pt x="219" y="198"/>
                </a:lnTo>
                <a:lnTo>
                  <a:pt x="213" y="200"/>
                </a:lnTo>
                <a:lnTo>
                  <a:pt x="211" y="196"/>
                </a:lnTo>
                <a:lnTo>
                  <a:pt x="213" y="187"/>
                </a:lnTo>
                <a:lnTo>
                  <a:pt x="213" y="172"/>
                </a:lnTo>
                <a:lnTo>
                  <a:pt x="211" y="166"/>
                </a:lnTo>
                <a:lnTo>
                  <a:pt x="213" y="164"/>
                </a:lnTo>
                <a:lnTo>
                  <a:pt x="204" y="157"/>
                </a:lnTo>
                <a:lnTo>
                  <a:pt x="194" y="153"/>
                </a:lnTo>
                <a:lnTo>
                  <a:pt x="187" y="153"/>
                </a:lnTo>
                <a:lnTo>
                  <a:pt x="185" y="140"/>
                </a:lnTo>
                <a:lnTo>
                  <a:pt x="179" y="136"/>
                </a:lnTo>
                <a:lnTo>
                  <a:pt x="160" y="134"/>
                </a:lnTo>
                <a:lnTo>
                  <a:pt x="153" y="132"/>
                </a:lnTo>
                <a:lnTo>
                  <a:pt x="145" y="134"/>
                </a:lnTo>
                <a:lnTo>
                  <a:pt x="130" y="132"/>
                </a:lnTo>
                <a:lnTo>
                  <a:pt x="128" y="132"/>
                </a:lnTo>
                <a:lnTo>
                  <a:pt x="102" y="121"/>
                </a:lnTo>
                <a:lnTo>
                  <a:pt x="28" y="106"/>
                </a:lnTo>
                <a:lnTo>
                  <a:pt x="19" y="91"/>
                </a:lnTo>
                <a:lnTo>
                  <a:pt x="11" y="87"/>
                </a:lnTo>
                <a:lnTo>
                  <a:pt x="4" y="83"/>
                </a:lnTo>
                <a:lnTo>
                  <a:pt x="0" y="8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0" name="Freeform 877"/>
          <p:cNvSpPr>
            <a:spLocks/>
          </p:cNvSpPr>
          <p:nvPr/>
        </p:nvSpPr>
        <p:spPr bwMode="auto">
          <a:xfrm>
            <a:off x="5672138" y="2266950"/>
            <a:ext cx="11113" cy="30163"/>
          </a:xfrm>
          <a:custGeom>
            <a:avLst/>
            <a:gdLst>
              <a:gd name="T0" fmla="*/ 7 w 7"/>
              <a:gd name="T1" fmla="*/ 2 h 19"/>
              <a:gd name="T2" fmla="*/ 7 w 7"/>
              <a:gd name="T3" fmla="*/ 0 h 19"/>
              <a:gd name="T4" fmla="*/ 3 w 7"/>
              <a:gd name="T5" fmla="*/ 4 h 19"/>
              <a:gd name="T6" fmla="*/ 0 w 7"/>
              <a:gd name="T7" fmla="*/ 11 h 19"/>
              <a:gd name="T8" fmla="*/ 0 w 7"/>
              <a:gd name="T9" fmla="*/ 19 h 19"/>
              <a:gd name="T10" fmla="*/ 7 w 7"/>
              <a:gd name="T11" fmla="*/ 17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0"/>
                </a:lnTo>
                <a:lnTo>
                  <a:pt x="3" y="4"/>
                </a:lnTo>
                <a:lnTo>
                  <a:pt x="0" y="11"/>
                </a:lnTo>
                <a:lnTo>
                  <a:pt x="0" y="19"/>
                </a:lnTo>
                <a:lnTo>
                  <a:pt x="7" y="17"/>
                </a:lnTo>
                <a:lnTo>
                  <a:pt x="7"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878"/>
          <p:cNvSpPr>
            <a:spLocks/>
          </p:cNvSpPr>
          <p:nvPr/>
        </p:nvSpPr>
        <p:spPr bwMode="auto">
          <a:xfrm>
            <a:off x="5672138" y="2266950"/>
            <a:ext cx="11113" cy="30163"/>
          </a:xfrm>
          <a:custGeom>
            <a:avLst/>
            <a:gdLst>
              <a:gd name="T0" fmla="*/ 7 w 7"/>
              <a:gd name="T1" fmla="*/ 2 h 19"/>
              <a:gd name="T2" fmla="*/ 7 w 7"/>
              <a:gd name="T3" fmla="*/ 0 h 19"/>
              <a:gd name="T4" fmla="*/ 3 w 7"/>
              <a:gd name="T5" fmla="*/ 4 h 19"/>
              <a:gd name="T6" fmla="*/ 0 w 7"/>
              <a:gd name="T7" fmla="*/ 11 h 19"/>
              <a:gd name="T8" fmla="*/ 0 w 7"/>
              <a:gd name="T9" fmla="*/ 19 h 19"/>
              <a:gd name="T10" fmla="*/ 7 w 7"/>
              <a:gd name="T11" fmla="*/ 17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0"/>
                </a:lnTo>
                <a:lnTo>
                  <a:pt x="3" y="4"/>
                </a:lnTo>
                <a:lnTo>
                  <a:pt x="0" y="11"/>
                </a:lnTo>
                <a:lnTo>
                  <a:pt x="0" y="19"/>
                </a:lnTo>
                <a:lnTo>
                  <a:pt x="7" y="17"/>
                </a:lnTo>
                <a:lnTo>
                  <a:pt x="7"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2" name="Freeform 879"/>
          <p:cNvSpPr>
            <a:spLocks/>
          </p:cNvSpPr>
          <p:nvPr/>
        </p:nvSpPr>
        <p:spPr bwMode="auto">
          <a:xfrm>
            <a:off x="5875338" y="2174875"/>
            <a:ext cx="47625" cy="34925"/>
          </a:xfrm>
          <a:custGeom>
            <a:avLst/>
            <a:gdLst>
              <a:gd name="T0" fmla="*/ 19 w 30"/>
              <a:gd name="T1" fmla="*/ 0 h 22"/>
              <a:gd name="T2" fmla="*/ 13 w 30"/>
              <a:gd name="T3" fmla="*/ 0 h 22"/>
              <a:gd name="T4" fmla="*/ 15 w 30"/>
              <a:gd name="T5" fmla="*/ 9 h 22"/>
              <a:gd name="T6" fmla="*/ 9 w 30"/>
              <a:gd name="T7" fmla="*/ 13 h 22"/>
              <a:gd name="T8" fmla="*/ 0 w 30"/>
              <a:gd name="T9" fmla="*/ 15 h 22"/>
              <a:gd name="T10" fmla="*/ 9 w 30"/>
              <a:gd name="T11" fmla="*/ 20 h 22"/>
              <a:gd name="T12" fmla="*/ 9 w 30"/>
              <a:gd name="T13" fmla="*/ 22 h 22"/>
              <a:gd name="T14" fmla="*/ 24 w 30"/>
              <a:gd name="T15" fmla="*/ 20 h 22"/>
              <a:gd name="T16" fmla="*/ 30 w 30"/>
              <a:gd name="T17" fmla="*/ 15 h 22"/>
              <a:gd name="T18" fmla="*/ 28 w 30"/>
              <a:gd name="T19" fmla="*/ 7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13" y="0"/>
                </a:lnTo>
                <a:lnTo>
                  <a:pt x="15" y="9"/>
                </a:lnTo>
                <a:lnTo>
                  <a:pt x="9" y="13"/>
                </a:lnTo>
                <a:lnTo>
                  <a:pt x="0" y="15"/>
                </a:lnTo>
                <a:lnTo>
                  <a:pt x="9" y="20"/>
                </a:lnTo>
                <a:lnTo>
                  <a:pt x="9" y="22"/>
                </a:lnTo>
                <a:lnTo>
                  <a:pt x="24" y="20"/>
                </a:lnTo>
                <a:lnTo>
                  <a:pt x="30" y="15"/>
                </a:lnTo>
                <a:lnTo>
                  <a:pt x="28" y="7"/>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880"/>
          <p:cNvSpPr>
            <a:spLocks/>
          </p:cNvSpPr>
          <p:nvPr/>
        </p:nvSpPr>
        <p:spPr bwMode="auto">
          <a:xfrm>
            <a:off x="5875338" y="2174875"/>
            <a:ext cx="47625" cy="34925"/>
          </a:xfrm>
          <a:custGeom>
            <a:avLst/>
            <a:gdLst>
              <a:gd name="T0" fmla="*/ 19 w 30"/>
              <a:gd name="T1" fmla="*/ 0 h 22"/>
              <a:gd name="T2" fmla="*/ 13 w 30"/>
              <a:gd name="T3" fmla="*/ 0 h 22"/>
              <a:gd name="T4" fmla="*/ 15 w 30"/>
              <a:gd name="T5" fmla="*/ 9 h 22"/>
              <a:gd name="T6" fmla="*/ 9 w 30"/>
              <a:gd name="T7" fmla="*/ 13 h 22"/>
              <a:gd name="T8" fmla="*/ 0 w 30"/>
              <a:gd name="T9" fmla="*/ 15 h 22"/>
              <a:gd name="T10" fmla="*/ 9 w 30"/>
              <a:gd name="T11" fmla="*/ 20 h 22"/>
              <a:gd name="T12" fmla="*/ 9 w 30"/>
              <a:gd name="T13" fmla="*/ 22 h 22"/>
              <a:gd name="T14" fmla="*/ 24 w 30"/>
              <a:gd name="T15" fmla="*/ 20 h 22"/>
              <a:gd name="T16" fmla="*/ 30 w 30"/>
              <a:gd name="T17" fmla="*/ 15 h 22"/>
              <a:gd name="T18" fmla="*/ 28 w 30"/>
              <a:gd name="T19" fmla="*/ 7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13" y="0"/>
                </a:lnTo>
                <a:lnTo>
                  <a:pt x="15" y="9"/>
                </a:lnTo>
                <a:lnTo>
                  <a:pt x="9" y="13"/>
                </a:lnTo>
                <a:lnTo>
                  <a:pt x="0" y="15"/>
                </a:lnTo>
                <a:lnTo>
                  <a:pt x="9" y="20"/>
                </a:lnTo>
                <a:lnTo>
                  <a:pt x="9" y="22"/>
                </a:lnTo>
                <a:lnTo>
                  <a:pt x="24" y="20"/>
                </a:lnTo>
                <a:lnTo>
                  <a:pt x="30" y="15"/>
                </a:lnTo>
                <a:lnTo>
                  <a:pt x="28" y="7"/>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p:cNvGrpSpPr/>
          <p:nvPr/>
        </p:nvGrpSpPr>
        <p:grpSpPr>
          <a:xfrm>
            <a:off x="5066506" y="2051378"/>
            <a:ext cx="1077913" cy="946151"/>
            <a:chOff x="5060950" y="2051050"/>
            <a:chExt cx="1077913" cy="946151"/>
          </a:xfrm>
          <a:solidFill>
            <a:srgbClr val="CCCCCC"/>
          </a:solidFill>
        </p:grpSpPr>
        <p:sp>
          <p:nvSpPr>
            <p:cNvPr id="1068" name="Freeform 875"/>
            <p:cNvSpPr>
              <a:spLocks/>
            </p:cNvSpPr>
            <p:nvPr/>
          </p:nvSpPr>
          <p:spPr bwMode="auto">
            <a:xfrm>
              <a:off x="5060950" y="2051050"/>
              <a:ext cx="814388" cy="361950"/>
            </a:xfrm>
            <a:custGeom>
              <a:avLst/>
              <a:gdLst>
                <a:gd name="T0" fmla="*/ 30 w 513"/>
                <a:gd name="T1" fmla="*/ 66 h 228"/>
                <a:gd name="T2" fmla="*/ 57 w 513"/>
                <a:gd name="T3" fmla="*/ 47 h 228"/>
                <a:gd name="T4" fmla="*/ 79 w 513"/>
                <a:gd name="T5" fmla="*/ 42 h 228"/>
                <a:gd name="T6" fmla="*/ 109 w 513"/>
                <a:gd name="T7" fmla="*/ 23 h 228"/>
                <a:gd name="T8" fmla="*/ 132 w 513"/>
                <a:gd name="T9" fmla="*/ 6 h 228"/>
                <a:gd name="T10" fmla="*/ 147 w 513"/>
                <a:gd name="T11" fmla="*/ 38 h 228"/>
                <a:gd name="T12" fmla="*/ 153 w 513"/>
                <a:gd name="T13" fmla="*/ 36 h 228"/>
                <a:gd name="T14" fmla="*/ 162 w 513"/>
                <a:gd name="T15" fmla="*/ 38 h 228"/>
                <a:gd name="T16" fmla="*/ 177 w 513"/>
                <a:gd name="T17" fmla="*/ 27 h 228"/>
                <a:gd name="T18" fmla="*/ 207 w 513"/>
                <a:gd name="T19" fmla="*/ 34 h 228"/>
                <a:gd name="T20" fmla="*/ 230 w 513"/>
                <a:gd name="T21" fmla="*/ 57 h 228"/>
                <a:gd name="T22" fmla="*/ 249 w 513"/>
                <a:gd name="T23" fmla="*/ 68 h 228"/>
                <a:gd name="T24" fmla="*/ 281 w 513"/>
                <a:gd name="T25" fmla="*/ 70 h 228"/>
                <a:gd name="T26" fmla="*/ 305 w 513"/>
                <a:gd name="T27" fmla="*/ 57 h 228"/>
                <a:gd name="T28" fmla="*/ 339 w 513"/>
                <a:gd name="T29" fmla="*/ 38 h 228"/>
                <a:gd name="T30" fmla="*/ 381 w 513"/>
                <a:gd name="T31" fmla="*/ 32 h 228"/>
                <a:gd name="T32" fmla="*/ 417 w 513"/>
                <a:gd name="T33" fmla="*/ 17 h 228"/>
                <a:gd name="T34" fmla="*/ 434 w 513"/>
                <a:gd name="T35" fmla="*/ 51 h 228"/>
                <a:gd name="T36" fmla="*/ 460 w 513"/>
                <a:gd name="T37" fmla="*/ 49 h 228"/>
                <a:gd name="T38" fmla="*/ 471 w 513"/>
                <a:gd name="T39" fmla="*/ 42 h 228"/>
                <a:gd name="T40" fmla="*/ 483 w 513"/>
                <a:gd name="T41" fmla="*/ 64 h 228"/>
                <a:gd name="T42" fmla="*/ 494 w 513"/>
                <a:gd name="T43" fmla="*/ 76 h 228"/>
                <a:gd name="T44" fmla="*/ 509 w 513"/>
                <a:gd name="T45" fmla="*/ 89 h 228"/>
                <a:gd name="T46" fmla="*/ 473 w 513"/>
                <a:gd name="T47" fmla="*/ 98 h 228"/>
                <a:gd name="T48" fmla="*/ 451 w 513"/>
                <a:gd name="T49" fmla="*/ 98 h 228"/>
                <a:gd name="T50" fmla="*/ 443 w 513"/>
                <a:gd name="T51" fmla="*/ 115 h 228"/>
                <a:gd name="T52" fmla="*/ 405 w 513"/>
                <a:gd name="T53" fmla="*/ 100 h 228"/>
                <a:gd name="T54" fmla="*/ 377 w 513"/>
                <a:gd name="T55" fmla="*/ 110 h 228"/>
                <a:gd name="T56" fmla="*/ 349 w 513"/>
                <a:gd name="T57" fmla="*/ 119 h 228"/>
                <a:gd name="T58" fmla="*/ 330 w 513"/>
                <a:gd name="T59" fmla="*/ 123 h 228"/>
                <a:gd name="T60" fmla="*/ 317 w 513"/>
                <a:gd name="T61" fmla="*/ 142 h 228"/>
                <a:gd name="T62" fmla="*/ 298 w 513"/>
                <a:gd name="T63" fmla="*/ 157 h 228"/>
                <a:gd name="T64" fmla="*/ 309 w 513"/>
                <a:gd name="T65" fmla="*/ 136 h 228"/>
                <a:gd name="T66" fmla="*/ 287 w 513"/>
                <a:gd name="T67" fmla="*/ 144 h 228"/>
                <a:gd name="T68" fmla="*/ 275 w 513"/>
                <a:gd name="T69" fmla="*/ 147 h 228"/>
                <a:gd name="T70" fmla="*/ 270 w 513"/>
                <a:gd name="T71" fmla="*/ 142 h 228"/>
                <a:gd name="T72" fmla="*/ 256 w 513"/>
                <a:gd name="T73" fmla="*/ 172 h 228"/>
                <a:gd name="T74" fmla="*/ 234 w 513"/>
                <a:gd name="T75" fmla="*/ 221 h 228"/>
                <a:gd name="T76" fmla="*/ 230 w 513"/>
                <a:gd name="T77" fmla="*/ 225 h 228"/>
                <a:gd name="T78" fmla="*/ 228 w 513"/>
                <a:gd name="T79" fmla="*/ 198 h 228"/>
                <a:gd name="T80" fmla="*/ 211 w 513"/>
                <a:gd name="T81" fmla="*/ 196 h 228"/>
                <a:gd name="T82" fmla="*/ 211 w 513"/>
                <a:gd name="T83" fmla="*/ 166 h 228"/>
                <a:gd name="T84" fmla="*/ 194 w 513"/>
                <a:gd name="T85" fmla="*/ 153 h 228"/>
                <a:gd name="T86" fmla="*/ 179 w 513"/>
                <a:gd name="T87" fmla="*/ 136 h 228"/>
                <a:gd name="T88" fmla="*/ 145 w 513"/>
                <a:gd name="T89" fmla="*/ 134 h 228"/>
                <a:gd name="T90" fmla="*/ 102 w 513"/>
                <a:gd name="T91" fmla="*/ 121 h 228"/>
                <a:gd name="T92" fmla="*/ 11 w 513"/>
                <a:gd name="T93" fmla="*/ 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3" h="228">
                  <a:moveTo>
                    <a:pt x="0" y="81"/>
                  </a:moveTo>
                  <a:lnTo>
                    <a:pt x="6" y="76"/>
                  </a:lnTo>
                  <a:lnTo>
                    <a:pt x="30" y="66"/>
                  </a:lnTo>
                  <a:lnTo>
                    <a:pt x="43" y="51"/>
                  </a:lnTo>
                  <a:lnTo>
                    <a:pt x="49" y="47"/>
                  </a:lnTo>
                  <a:lnTo>
                    <a:pt x="57" y="47"/>
                  </a:lnTo>
                  <a:lnTo>
                    <a:pt x="64" y="47"/>
                  </a:lnTo>
                  <a:lnTo>
                    <a:pt x="72" y="44"/>
                  </a:lnTo>
                  <a:lnTo>
                    <a:pt x="79" y="42"/>
                  </a:lnTo>
                  <a:lnTo>
                    <a:pt x="85" y="38"/>
                  </a:lnTo>
                  <a:lnTo>
                    <a:pt x="94" y="29"/>
                  </a:lnTo>
                  <a:lnTo>
                    <a:pt x="109" y="23"/>
                  </a:lnTo>
                  <a:lnTo>
                    <a:pt x="113" y="17"/>
                  </a:lnTo>
                  <a:lnTo>
                    <a:pt x="128" y="0"/>
                  </a:lnTo>
                  <a:lnTo>
                    <a:pt x="132" y="6"/>
                  </a:lnTo>
                  <a:lnTo>
                    <a:pt x="136" y="8"/>
                  </a:lnTo>
                  <a:lnTo>
                    <a:pt x="149" y="23"/>
                  </a:lnTo>
                  <a:lnTo>
                    <a:pt x="147" y="38"/>
                  </a:lnTo>
                  <a:lnTo>
                    <a:pt x="149" y="44"/>
                  </a:lnTo>
                  <a:lnTo>
                    <a:pt x="153" y="42"/>
                  </a:lnTo>
                  <a:lnTo>
                    <a:pt x="153" y="36"/>
                  </a:lnTo>
                  <a:lnTo>
                    <a:pt x="162" y="32"/>
                  </a:lnTo>
                  <a:lnTo>
                    <a:pt x="168" y="23"/>
                  </a:lnTo>
                  <a:lnTo>
                    <a:pt x="162" y="38"/>
                  </a:lnTo>
                  <a:lnTo>
                    <a:pt x="166" y="36"/>
                  </a:lnTo>
                  <a:lnTo>
                    <a:pt x="170" y="29"/>
                  </a:lnTo>
                  <a:lnTo>
                    <a:pt x="177" y="27"/>
                  </a:lnTo>
                  <a:lnTo>
                    <a:pt x="192" y="27"/>
                  </a:lnTo>
                  <a:lnTo>
                    <a:pt x="200" y="27"/>
                  </a:lnTo>
                  <a:lnTo>
                    <a:pt x="207" y="34"/>
                  </a:lnTo>
                  <a:lnTo>
                    <a:pt x="213" y="36"/>
                  </a:lnTo>
                  <a:lnTo>
                    <a:pt x="217" y="44"/>
                  </a:lnTo>
                  <a:lnTo>
                    <a:pt x="230" y="57"/>
                  </a:lnTo>
                  <a:lnTo>
                    <a:pt x="234" y="66"/>
                  </a:lnTo>
                  <a:lnTo>
                    <a:pt x="243" y="68"/>
                  </a:lnTo>
                  <a:lnTo>
                    <a:pt x="249" y="68"/>
                  </a:lnTo>
                  <a:lnTo>
                    <a:pt x="266" y="61"/>
                  </a:lnTo>
                  <a:lnTo>
                    <a:pt x="273" y="68"/>
                  </a:lnTo>
                  <a:lnTo>
                    <a:pt x="281" y="70"/>
                  </a:lnTo>
                  <a:lnTo>
                    <a:pt x="287" y="68"/>
                  </a:lnTo>
                  <a:lnTo>
                    <a:pt x="294" y="72"/>
                  </a:lnTo>
                  <a:lnTo>
                    <a:pt x="305" y="57"/>
                  </a:lnTo>
                  <a:lnTo>
                    <a:pt x="319" y="47"/>
                  </a:lnTo>
                  <a:lnTo>
                    <a:pt x="326" y="40"/>
                  </a:lnTo>
                  <a:lnTo>
                    <a:pt x="339" y="38"/>
                  </a:lnTo>
                  <a:lnTo>
                    <a:pt x="345" y="36"/>
                  </a:lnTo>
                  <a:lnTo>
                    <a:pt x="375" y="34"/>
                  </a:lnTo>
                  <a:lnTo>
                    <a:pt x="381" y="32"/>
                  </a:lnTo>
                  <a:lnTo>
                    <a:pt x="396" y="23"/>
                  </a:lnTo>
                  <a:lnTo>
                    <a:pt x="402" y="19"/>
                  </a:lnTo>
                  <a:lnTo>
                    <a:pt x="417" y="17"/>
                  </a:lnTo>
                  <a:lnTo>
                    <a:pt x="417" y="44"/>
                  </a:lnTo>
                  <a:lnTo>
                    <a:pt x="422" y="49"/>
                  </a:lnTo>
                  <a:lnTo>
                    <a:pt x="434" y="51"/>
                  </a:lnTo>
                  <a:lnTo>
                    <a:pt x="449" y="47"/>
                  </a:lnTo>
                  <a:lnTo>
                    <a:pt x="454" y="53"/>
                  </a:lnTo>
                  <a:lnTo>
                    <a:pt x="460" y="49"/>
                  </a:lnTo>
                  <a:lnTo>
                    <a:pt x="464" y="44"/>
                  </a:lnTo>
                  <a:lnTo>
                    <a:pt x="466" y="42"/>
                  </a:lnTo>
                  <a:lnTo>
                    <a:pt x="471" y="42"/>
                  </a:lnTo>
                  <a:lnTo>
                    <a:pt x="477" y="49"/>
                  </a:lnTo>
                  <a:lnTo>
                    <a:pt x="481" y="55"/>
                  </a:lnTo>
                  <a:lnTo>
                    <a:pt x="483" y="64"/>
                  </a:lnTo>
                  <a:lnTo>
                    <a:pt x="483" y="70"/>
                  </a:lnTo>
                  <a:lnTo>
                    <a:pt x="492" y="76"/>
                  </a:lnTo>
                  <a:lnTo>
                    <a:pt x="494" y="76"/>
                  </a:lnTo>
                  <a:lnTo>
                    <a:pt x="500" y="78"/>
                  </a:lnTo>
                  <a:lnTo>
                    <a:pt x="500" y="85"/>
                  </a:lnTo>
                  <a:lnTo>
                    <a:pt x="509" y="89"/>
                  </a:lnTo>
                  <a:lnTo>
                    <a:pt x="513" y="95"/>
                  </a:lnTo>
                  <a:lnTo>
                    <a:pt x="507" y="98"/>
                  </a:lnTo>
                  <a:lnTo>
                    <a:pt x="473" y="98"/>
                  </a:lnTo>
                  <a:lnTo>
                    <a:pt x="464" y="100"/>
                  </a:lnTo>
                  <a:lnTo>
                    <a:pt x="458" y="95"/>
                  </a:lnTo>
                  <a:lnTo>
                    <a:pt x="451" y="98"/>
                  </a:lnTo>
                  <a:lnTo>
                    <a:pt x="449" y="106"/>
                  </a:lnTo>
                  <a:lnTo>
                    <a:pt x="449" y="119"/>
                  </a:lnTo>
                  <a:lnTo>
                    <a:pt x="443" y="115"/>
                  </a:lnTo>
                  <a:lnTo>
                    <a:pt x="426" y="104"/>
                  </a:lnTo>
                  <a:lnTo>
                    <a:pt x="413" y="98"/>
                  </a:lnTo>
                  <a:lnTo>
                    <a:pt x="405" y="100"/>
                  </a:lnTo>
                  <a:lnTo>
                    <a:pt x="398" y="98"/>
                  </a:lnTo>
                  <a:lnTo>
                    <a:pt x="383" y="100"/>
                  </a:lnTo>
                  <a:lnTo>
                    <a:pt x="377" y="110"/>
                  </a:lnTo>
                  <a:lnTo>
                    <a:pt x="371" y="115"/>
                  </a:lnTo>
                  <a:lnTo>
                    <a:pt x="362" y="115"/>
                  </a:lnTo>
                  <a:lnTo>
                    <a:pt x="349" y="119"/>
                  </a:lnTo>
                  <a:lnTo>
                    <a:pt x="343" y="117"/>
                  </a:lnTo>
                  <a:lnTo>
                    <a:pt x="334" y="119"/>
                  </a:lnTo>
                  <a:lnTo>
                    <a:pt x="330" y="123"/>
                  </a:lnTo>
                  <a:lnTo>
                    <a:pt x="326" y="130"/>
                  </a:lnTo>
                  <a:lnTo>
                    <a:pt x="324" y="138"/>
                  </a:lnTo>
                  <a:lnTo>
                    <a:pt x="317" y="142"/>
                  </a:lnTo>
                  <a:lnTo>
                    <a:pt x="309" y="151"/>
                  </a:lnTo>
                  <a:lnTo>
                    <a:pt x="305" y="157"/>
                  </a:lnTo>
                  <a:lnTo>
                    <a:pt x="298" y="157"/>
                  </a:lnTo>
                  <a:lnTo>
                    <a:pt x="302" y="149"/>
                  </a:lnTo>
                  <a:lnTo>
                    <a:pt x="309" y="142"/>
                  </a:lnTo>
                  <a:lnTo>
                    <a:pt x="309" y="136"/>
                  </a:lnTo>
                  <a:lnTo>
                    <a:pt x="302" y="134"/>
                  </a:lnTo>
                  <a:lnTo>
                    <a:pt x="296" y="136"/>
                  </a:lnTo>
                  <a:lnTo>
                    <a:pt x="287" y="144"/>
                  </a:lnTo>
                  <a:lnTo>
                    <a:pt x="287" y="149"/>
                  </a:lnTo>
                  <a:lnTo>
                    <a:pt x="279" y="155"/>
                  </a:lnTo>
                  <a:lnTo>
                    <a:pt x="275" y="147"/>
                  </a:lnTo>
                  <a:lnTo>
                    <a:pt x="273" y="140"/>
                  </a:lnTo>
                  <a:lnTo>
                    <a:pt x="275" y="134"/>
                  </a:lnTo>
                  <a:lnTo>
                    <a:pt x="270" y="142"/>
                  </a:lnTo>
                  <a:lnTo>
                    <a:pt x="266" y="157"/>
                  </a:lnTo>
                  <a:lnTo>
                    <a:pt x="260" y="166"/>
                  </a:lnTo>
                  <a:lnTo>
                    <a:pt x="256" y="172"/>
                  </a:lnTo>
                  <a:lnTo>
                    <a:pt x="251" y="187"/>
                  </a:lnTo>
                  <a:lnTo>
                    <a:pt x="243" y="208"/>
                  </a:lnTo>
                  <a:lnTo>
                    <a:pt x="234" y="221"/>
                  </a:lnTo>
                  <a:lnTo>
                    <a:pt x="234" y="228"/>
                  </a:lnTo>
                  <a:lnTo>
                    <a:pt x="232" y="225"/>
                  </a:lnTo>
                  <a:lnTo>
                    <a:pt x="230" y="225"/>
                  </a:lnTo>
                  <a:lnTo>
                    <a:pt x="224" y="219"/>
                  </a:lnTo>
                  <a:lnTo>
                    <a:pt x="224" y="213"/>
                  </a:lnTo>
                  <a:lnTo>
                    <a:pt x="228" y="198"/>
                  </a:lnTo>
                  <a:lnTo>
                    <a:pt x="219" y="198"/>
                  </a:lnTo>
                  <a:lnTo>
                    <a:pt x="213" y="200"/>
                  </a:lnTo>
                  <a:lnTo>
                    <a:pt x="211" y="196"/>
                  </a:lnTo>
                  <a:lnTo>
                    <a:pt x="213" y="187"/>
                  </a:lnTo>
                  <a:lnTo>
                    <a:pt x="213" y="172"/>
                  </a:lnTo>
                  <a:lnTo>
                    <a:pt x="211" y="166"/>
                  </a:lnTo>
                  <a:lnTo>
                    <a:pt x="213" y="164"/>
                  </a:lnTo>
                  <a:lnTo>
                    <a:pt x="204" y="157"/>
                  </a:lnTo>
                  <a:lnTo>
                    <a:pt x="194" y="153"/>
                  </a:lnTo>
                  <a:lnTo>
                    <a:pt x="187" y="153"/>
                  </a:lnTo>
                  <a:lnTo>
                    <a:pt x="185" y="140"/>
                  </a:lnTo>
                  <a:lnTo>
                    <a:pt x="179" y="136"/>
                  </a:lnTo>
                  <a:lnTo>
                    <a:pt x="160" y="134"/>
                  </a:lnTo>
                  <a:lnTo>
                    <a:pt x="153" y="132"/>
                  </a:lnTo>
                  <a:lnTo>
                    <a:pt x="145" y="134"/>
                  </a:lnTo>
                  <a:lnTo>
                    <a:pt x="130" y="132"/>
                  </a:lnTo>
                  <a:lnTo>
                    <a:pt x="128" y="132"/>
                  </a:lnTo>
                  <a:lnTo>
                    <a:pt x="102" y="121"/>
                  </a:lnTo>
                  <a:lnTo>
                    <a:pt x="28" y="106"/>
                  </a:lnTo>
                  <a:lnTo>
                    <a:pt x="19" y="91"/>
                  </a:lnTo>
                  <a:lnTo>
                    <a:pt x="11" y="87"/>
                  </a:lnTo>
                  <a:lnTo>
                    <a:pt x="4" y="83"/>
                  </a:lnTo>
                  <a:lnTo>
                    <a:pt x="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881"/>
            <p:cNvSpPr>
              <a:spLocks/>
            </p:cNvSpPr>
            <p:nvPr/>
          </p:nvSpPr>
          <p:spPr bwMode="auto">
            <a:xfrm>
              <a:off x="5588000" y="2246313"/>
              <a:ext cx="550863" cy="750888"/>
            </a:xfrm>
            <a:custGeom>
              <a:avLst/>
              <a:gdLst>
                <a:gd name="T0" fmla="*/ 13 w 347"/>
                <a:gd name="T1" fmla="*/ 464 h 473"/>
                <a:gd name="T2" fmla="*/ 28 w 347"/>
                <a:gd name="T3" fmla="*/ 428 h 473"/>
                <a:gd name="T4" fmla="*/ 41 w 347"/>
                <a:gd name="T5" fmla="*/ 379 h 473"/>
                <a:gd name="T6" fmla="*/ 28 w 347"/>
                <a:gd name="T7" fmla="*/ 307 h 473"/>
                <a:gd name="T8" fmla="*/ 4 w 347"/>
                <a:gd name="T9" fmla="*/ 264 h 473"/>
                <a:gd name="T10" fmla="*/ 11 w 347"/>
                <a:gd name="T11" fmla="*/ 243 h 473"/>
                <a:gd name="T12" fmla="*/ 2 w 347"/>
                <a:gd name="T13" fmla="*/ 207 h 473"/>
                <a:gd name="T14" fmla="*/ 17 w 347"/>
                <a:gd name="T15" fmla="*/ 171 h 473"/>
                <a:gd name="T16" fmla="*/ 13 w 347"/>
                <a:gd name="T17" fmla="*/ 136 h 473"/>
                <a:gd name="T18" fmla="*/ 26 w 347"/>
                <a:gd name="T19" fmla="*/ 117 h 473"/>
                <a:gd name="T20" fmla="*/ 47 w 347"/>
                <a:gd name="T21" fmla="*/ 100 h 473"/>
                <a:gd name="T22" fmla="*/ 56 w 347"/>
                <a:gd name="T23" fmla="*/ 79 h 473"/>
                <a:gd name="T24" fmla="*/ 60 w 347"/>
                <a:gd name="T25" fmla="*/ 98 h 473"/>
                <a:gd name="T26" fmla="*/ 60 w 347"/>
                <a:gd name="T27" fmla="*/ 119 h 473"/>
                <a:gd name="T28" fmla="*/ 70 w 347"/>
                <a:gd name="T29" fmla="*/ 98 h 473"/>
                <a:gd name="T30" fmla="*/ 75 w 347"/>
                <a:gd name="T31" fmla="*/ 113 h 473"/>
                <a:gd name="T32" fmla="*/ 79 w 347"/>
                <a:gd name="T33" fmla="*/ 90 h 473"/>
                <a:gd name="T34" fmla="*/ 87 w 347"/>
                <a:gd name="T35" fmla="*/ 56 h 473"/>
                <a:gd name="T36" fmla="*/ 102 w 347"/>
                <a:gd name="T37" fmla="*/ 45 h 473"/>
                <a:gd name="T38" fmla="*/ 92 w 347"/>
                <a:gd name="T39" fmla="*/ 26 h 473"/>
                <a:gd name="T40" fmla="*/ 111 w 347"/>
                <a:gd name="T41" fmla="*/ 7 h 473"/>
                <a:gd name="T42" fmla="*/ 132 w 347"/>
                <a:gd name="T43" fmla="*/ 7 h 473"/>
                <a:gd name="T44" fmla="*/ 151 w 347"/>
                <a:gd name="T45" fmla="*/ 11 h 473"/>
                <a:gd name="T46" fmla="*/ 171 w 347"/>
                <a:gd name="T47" fmla="*/ 24 h 473"/>
                <a:gd name="T48" fmla="*/ 192 w 347"/>
                <a:gd name="T49" fmla="*/ 30 h 473"/>
                <a:gd name="T50" fmla="*/ 222 w 347"/>
                <a:gd name="T51" fmla="*/ 39 h 473"/>
                <a:gd name="T52" fmla="*/ 237 w 347"/>
                <a:gd name="T53" fmla="*/ 56 h 473"/>
                <a:gd name="T54" fmla="*/ 234 w 347"/>
                <a:gd name="T55" fmla="*/ 68 h 473"/>
                <a:gd name="T56" fmla="*/ 243 w 347"/>
                <a:gd name="T57" fmla="*/ 88 h 473"/>
                <a:gd name="T58" fmla="*/ 249 w 347"/>
                <a:gd name="T59" fmla="*/ 124 h 473"/>
                <a:gd name="T60" fmla="*/ 239 w 347"/>
                <a:gd name="T61" fmla="*/ 158 h 473"/>
                <a:gd name="T62" fmla="*/ 228 w 347"/>
                <a:gd name="T63" fmla="*/ 192 h 473"/>
                <a:gd name="T64" fmla="*/ 211 w 347"/>
                <a:gd name="T65" fmla="*/ 213 h 473"/>
                <a:gd name="T66" fmla="*/ 228 w 347"/>
                <a:gd name="T67" fmla="*/ 232 h 473"/>
                <a:gd name="T68" fmla="*/ 245 w 347"/>
                <a:gd name="T69" fmla="*/ 222 h 473"/>
                <a:gd name="T70" fmla="*/ 254 w 347"/>
                <a:gd name="T71" fmla="*/ 196 h 473"/>
                <a:gd name="T72" fmla="*/ 275 w 347"/>
                <a:gd name="T73" fmla="*/ 183 h 473"/>
                <a:gd name="T74" fmla="*/ 300 w 347"/>
                <a:gd name="T75" fmla="*/ 179 h 473"/>
                <a:gd name="T76" fmla="*/ 324 w 347"/>
                <a:gd name="T77" fmla="*/ 228 h 473"/>
                <a:gd name="T78" fmla="*/ 337 w 347"/>
                <a:gd name="T79" fmla="*/ 266 h 473"/>
                <a:gd name="T80" fmla="*/ 347 w 347"/>
                <a:gd name="T81" fmla="*/ 286 h 473"/>
                <a:gd name="T82" fmla="*/ 345 w 347"/>
                <a:gd name="T83" fmla="*/ 309 h 473"/>
                <a:gd name="T84" fmla="*/ 341 w 347"/>
                <a:gd name="T85" fmla="*/ 339 h 473"/>
                <a:gd name="T86" fmla="*/ 334 w 347"/>
                <a:gd name="T87" fmla="*/ 330 h 473"/>
                <a:gd name="T88" fmla="*/ 324 w 347"/>
                <a:gd name="T89" fmla="*/ 337 h 473"/>
                <a:gd name="T90" fmla="*/ 313 w 347"/>
                <a:gd name="T91" fmla="*/ 367 h 473"/>
                <a:gd name="T92" fmla="*/ 303 w 347"/>
                <a:gd name="T93" fmla="*/ 377 h 473"/>
                <a:gd name="T94" fmla="*/ 288 w 347"/>
                <a:gd name="T95" fmla="*/ 426 h 473"/>
                <a:gd name="T96" fmla="*/ 173 w 347"/>
                <a:gd name="T97" fmla="*/ 460 h 473"/>
                <a:gd name="T98" fmla="*/ 7 w 347"/>
                <a:gd name="T99"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7" h="473">
                  <a:moveTo>
                    <a:pt x="2" y="473"/>
                  </a:moveTo>
                  <a:lnTo>
                    <a:pt x="4" y="471"/>
                  </a:lnTo>
                  <a:lnTo>
                    <a:pt x="13" y="464"/>
                  </a:lnTo>
                  <a:lnTo>
                    <a:pt x="17" y="456"/>
                  </a:lnTo>
                  <a:lnTo>
                    <a:pt x="21" y="450"/>
                  </a:lnTo>
                  <a:lnTo>
                    <a:pt x="28" y="428"/>
                  </a:lnTo>
                  <a:lnTo>
                    <a:pt x="34" y="413"/>
                  </a:lnTo>
                  <a:lnTo>
                    <a:pt x="36" y="405"/>
                  </a:lnTo>
                  <a:lnTo>
                    <a:pt x="41" y="379"/>
                  </a:lnTo>
                  <a:lnTo>
                    <a:pt x="41" y="358"/>
                  </a:lnTo>
                  <a:lnTo>
                    <a:pt x="36" y="328"/>
                  </a:lnTo>
                  <a:lnTo>
                    <a:pt x="28" y="307"/>
                  </a:lnTo>
                  <a:lnTo>
                    <a:pt x="32" y="300"/>
                  </a:lnTo>
                  <a:lnTo>
                    <a:pt x="26" y="303"/>
                  </a:lnTo>
                  <a:lnTo>
                    <a:pt x="4" y="264"/>
                  </a:lnTo>
                  <a:lnTo>
                    <a:pt x="2" y="258"/>
                  </a:lnTo>
                  <a:lnTo>
                    <a:pt x="7" y="252"/>
                  </a:lnTo>
                  <a:lnTo>
                    <a:pt x="11" y="243"/>
                  </a:lnTo>
                  <a:lnTo>
                    <a:pt x="4" y="222"/>
                  </a:lnTo>
                  <a:lnTo>
                    <a:pt x="0" y="215"/>
                  </a:lnTo>
                  <a:lnTo>
                    <a:pt x="2" y="207"/>
                  </a:lnTo>
                  <a:lnTo>
                    <a:pt x="9" y="200"/>
                  </a:lnTo>
                  <a:lnTo>
                    <a:pt x="17" y="179"/>
                  </a:lnTo>
                  <a:lnTo>
                    <a:pt x="17" y="171"/>
                  </a:lnTo>
                  <a:lnTo>
                    <a:pt x="15" y="164"/>
                  </a:lnTo>
                  <a:lnTo>
                    <a:pt x="17" y="151"/>
                  </a:lnTo>
                  <a:lnTo>
                    <a:pt x="13" y="136"/>
                  </a:lnTo>
                  <a:lnTo>
                    <a:pt x="19" y="132"/>
                  </a:lnTo>
                  <a:lnTo>
                    <a:pt x="26" y="126"/>
                  </a:lnTo>
                  <a:lnTo>
                    <a:pt x="26" y="117"/>
                  </a:lnTo>
                  <a:lnTo>
                    <a:pt x="34" y="105"/>
                  </a:lnTo>
                  <a:lnTo>
                    <a:pt x="41" y="107"/>
                  </a:lnTo>
                  <a:lnTo>
                    <a:pt x="47" y="100"/>
                  </a:lnTo>
                  <a:lnTo>
                    <a:pt x="49" y="94"/>
                  </a:lnTo>
                  <a:lnTo>
                    <a:pt x="53" y="85"/>
                  </a:lnTo>
                  <a:lnTo>
                    <a:pt x="56" y="79"/>
                  </a:lnTo>
                  <a:lnTo>
                    <a:pt x="62" y="73"/>
                  </a:lnTo>
                  <a:lnTo>
                    <a:pt x="60" y="94"/>
                  </a:lnTo>
                  <a:lnTo>
                    <a:pt x="60" y="98"/>
                  </a:lnTo>
                  <a:lnTo>
                    <a:pt x="62" y="107"/>
                  </a:lnTo>
                  <a:lnTo>
                    <a:pt x="60" y="113"/>
                  </a:lnTo>
                  <a:lnTo>
                    <a:pt x="60" y="119"/>
                  </a:lnTo>
                  <a:lnTo>
                    <a:pt x="66" y="113"/>
                  </a:lnTo>
                  <a:lnTo>
                    <a:pt x="68" y="98"/>
                  </a:lnTo>
                  <a:lnTo>
                    <a:pt x="70" y="98"/>
                  </a:lnTo>
                  <a:lnTo>
                    <a:pt x="70" y="113"/>
                  </a:lnTo>
                  <a:lnTo>
                    <a:pt x="68" y="119"/>
                  </a:lnTo>
                  <a:lnTo>
                    <a:pt x="75" y="113"/>
                  </a:lnTo>
                  <a:lnTo>
                    <a:pt x="77" y="105"/>
                  </a:lnTo>
                  <a:lnTo>
                    <a:pt x="79" y="98"/>
                  </a:lnTo>
                  <a:lnTo>
                    <a:pt x="79" y="90"/>
                  </a:lnTo>
                  <a:lnTo>
                    <a:pt x="75" y="68"/>
                  </a:lnTo>
                  <a:lnTo>
                    <a:pt x="79" y="60"/>
                  </a:lnTo>
                  <a:lnTo>
                    <a:pt x="87" y="56"/>
                  </a:lnTo>
                  <a:lnTo>
                    <a:pt x="94" y="51"/>
                  </a:lnTo>
                  <a:lnTo>
                    <a:pt x="105" y="51"/>
                  </a:lnTo>
                  <a:lnTo>
                    <a:pt x="102" y="45"/>
                  </a:lnTo>
                  <a:lnTo>
                    <a:pt x="96" y="41"/>
                  </a:lnTo>
                  <a:lnTo>
                    <a:pt x="92" y="32"/>
                  </a:lnTo>
                  <a:lnTo>
                    <a:pt x="92" y="26"/>
                  </a:lnTo>
                  <a:lnTo>
                    <a:pt x="100" y="17"/>
                  </a:lnTo>
                  <a:lnTo>
                    <a:pt x="105" y="11"/>
                  </a:lnTo>
                  <a:lnTo>
                    <a:pt x="111" y="7"/>
                  </a:lnTo>
                  <a:lnTo>
                    <a:pt x="117" y="0"/>
                  </a:lnTo>
                  <a:lnTo>
                    <a:pt x="124" y="4"/>
                  </a:lnTo>
                  <a:lnTo>
                    <a:pt x="132" y="7"/>
                  </a:lnTo>
                  <a:lnTo>
                    <a:pt x="139" y="13"/>
                  </a:lnTo>
                  <a:lnTo>
                    <a:pt x="145" y="13"/>
                  </a:lnTo>
                  <a:lnTo>
                    <a:pt x="151" y="11"/>
                  </a:lnTo>
                  <a:lnTo>
                    <a:pt x="158" y="13"/>
                  </a:lnTo>
                  <a:lnTo>
                    <a:pt x="166" y="17"/>
                  </a:lnTo>
                  <a:lnTo>
                    <a:pt x="171" y="24"/>
                  </a:lnTo>
                  <a:lnTo>
                    <a:pt x="177" y="26"/>
                  </a:lnTo>
                  <a:lnTo>
                    <a:pt x="183" y="26"/>
                  </a:lnTo>
                  <a:lnTo>
                    <a:pt x="192" y="30"/>
                  </a:lnTo>
                  <a:lnTo>
                    <a:pt x="207" y="34"/>
                  </a:lnTo>
                  <a:lnTo>
                    <a:pt x="213" y="39"/>
                  </a:lnTo>
                  <a:lnTo>
                    <a:pt x="222" y="39"/>
                  </a:lnTo>
                  <a:lnTo>
                    <a:pt x="228" y="43"/>
                  </a:lnTo>
                  <a:lnTo>
                    <a:pt x="230" y="49"/>
                  </a:lnTo>
                  <a:lnTo>
                    <a:pt x="237" y="56"/>
                  </a:lnTo>
                  <a:lnTo>
                    <a:pt x="241" y="60"/>
                  </a:lnTo>
                  <a:lnTo>
                    <a:pt x="241" y="66"/>
                  </a:lnTo>
                  <a:lnTo>
                    <a:pt x="234" y="68"/>
                  </a:lnTo>
                  <a:lnTo>
                    <a:pt x="230" y="77"/>
                  </a:lnTo>
                  <a:lnTo>
                    <a:pt x="234" y="83"/>
                  </a:lnTo>
                  <a:lnTo>
                    <a:pt x="243" y="88"/>
                  </a:lnTo>
                  <a:lnTo>
                    <a:pt x="245" y="96"/>
                  </a:lnTo>
                  <a:lnTo>
                    <a:pt x="249" y="109"/>
                  </a:lnTo>
                  <a:lnTo>
                    <a:pt x="249" y="124"/>
                  </a:lnTo>
                  <a:lnTo>
                    <a:pt x="251" y="147"/>
                  </a:lnTo>
                  <a:lnTo>
                    <a:pt x="245" y="154"/>
                  </a:lnTo>
                  <a:lnTo>
                    <a:pt x="239" y="158"/>
                  </a:lnTo>
                  <a:lnTo>
                    <a:pt x="237" y="164"/>
                  </a:lnTo>
                  <a:lnTo>
                    <a:pt x="234" y="179"/>
                  </a:lnTo>
                  <a:lnTo>
                    <a:pt x="228" y="192"/>
                  </a:lnTo>
                  <a:lnTo>
                    <a:pt x="220" y="192"/>
                  </a:lnTo>
                  <a:lnTo>
                    <a:pt x="213" y="198"/>
                  </a:lnTo>
                  <a:lnTo>
                    <a:pt x="211" y="213"/>
                  </a:lnTo>
                  <a:lnTo>
                    <a:pt x="211" y="224"/>
                  </a:lnTo>
                  <a:lnTo>
                    <a:pt x="222" y="232"/>
                  </a:lnTo>
                  <a:lnTo>
                    <a:pt x="228" y="232"/>
                  </a:lnTo>
                  <a:lnTo>
                    <a:pt x="237" y="234"/>
                  </a:lnTo>
                  <a:lnTo>
                    <a:pt x="241" y="228"/>
                  </a:lnTo>
                  <a:lnTo>
                    <a:pt x="245" y="222"/>
                  </a:lnTo>
                  <a:lnTo>
                    <a:pt x="251" y="215"/>
                  </a:lnTo>
                  <a:lnTo>
                    <a:pt x="256" y="203"/>
                  </a:lnTo>
                  <a:lnTo>
                    <a:pt x="254" y="196"/>
                  </a:lnTo>
                  <a:lnTo>
                    <a:pt x="260" y="192"/>
                  </a:lnTo>
                  <a:lnTo>
                    <a:pt x="268" y="185"/>
                  </a:lnTo>
                  <a:lnTo>
                    <a:pt x="275" y="183"/>
                  </a:lnTo>
                  <a:lnTo>
                    <a:pt x="286" y="175"/>
                  </a:lnTo>
                  <a:lnTo>
                    <a:pt x="294" y="177"/>
                  </a:lnTo>
                  <a:lnTo>
                    <a:pt x="300" y="179"/>
                  </a:lnTo>
                  <a:lnTo>
                    <a:pt x="307" y="185"/>
                  </a:lnTo>
                  <a:lnTo>
                    <a:pt x="315" y="200"/>
                  </a:lnTo>
                  <a:lnTo>
                    <a:pt x="324" y="228"/>
                  </a:lnTo>
                  <a:lnTo>
                    <a:pt x="328" y="237"/>
                  </a:lnTo>
                  <a:lnTo>
                    <a:pt x="332" y="252"/>
                  </a:lnTo>
                  <a:lnTo>
                    <a:pt x="337" y="266"/>
                  </a:lnTo>
                  <a:lnTo>
                    <a:pt x="339" y="275"/>
                  </a:lnTo>
                  <a:lnTo>
                    <a:pt x="347" y="286"/>
                  </a:lnTo>
                  <a:lnTo>
                    <a:pt x="347" y="286"/>
                  </a:lnTo>
                  <a:lnTo>
                    <a:pt x="347" y="292"/>
                  </a:lnTo>
                  <a:lnTo>
                    <a:pt x="345" y="294"/>
                  </a:lnTo>
                  <a:lnTo>
                    <a:pt x="345" y="309"/>
                  </a:lnTo>
                  <a:lnTo>
                    <a:pt x="347" y="315"/>
                  </a:lnTo>
                  <a:lnTo>
                    <a:pt x="345" y="330"/>
                  </a:lnTo>
                  <a:lnTo>
                    <a:pt x="341" y="339"/>
                  </a:lnTo>
                  <a:lnTo>
                    <a:pt x="337" y="341"/>
                  </a:lnTo>
                  <a:lnTo>
                    <a:pt x="337" y="339"/>
                  </a:lnTo>
                  <a:lnTo>
                    <a:pt x="334" y="330"/>
                  </a:lnTo>
                  <a:lnTo>
                    <a:pt x="332" y="326"/>
                  </a:lnTo>
                  <a:lnTo>
                    <a:pt x="324" y="330"/>
                  </a:lnTo>
                  <a:lnTo>
                    <a:pt x="324" y="337"/>
                  </a:lnTo>
                  <a:lnTo>
                    <a:pt x="317" y="343"/>
                  </a:lnTo>
                  <a:lnTo>
                    <a:pt x="320" y="358"/>
                  </a:lnTo>
                  <a:lnTo>
                    <a:pt x="313" y="367"/>
                  </a:lnTo>
                  <a:lnTo>
                    <a:pt x="305" y="371"/>
                  </a:lnTo>
                  <a:lnTo>
                    <a:pt x="305" y="373"/>
                  </a:lnTo>
                  <a:lnTo>
                    <a:pt x="303" y="377"/>
                  </a:lnTo>
                  <a:lnTo>
                    <a:pt x="300" y="384"/>
                  </a:lnTo>
                  <a:lnTo>
                    <a:pt x="298" y="405"/>
                  </a:lnTo>
                  <a:lnTo>
                    <a:pt x="288" y="426"/>
                  </a:lnTo>
                  <a:lnTo>
                    <a:pt x="281" y="441"/>
                  </a:lnTo>
                  <a:lnTo>
                    <a:pt x="247" y="447"/>
                  </a:lnTo>
                  <a:lnTo>
                    <a:pt x="173" y="460"/>
                  </a:lnTo>
                  <a:lnTo>
                    <a:pt x="164" y="454"/>
                  </a:lnTo>
                  <a:lnTo>
                    <a:pt x="47" y="469"/>
                  </a:lnTo>
                  <a:lnTo>
                    <a:pt x="7" y="473"/>
                  </a:lnTo>
                  <a:lnTo>
                    <a:pt x="2" y="4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75" name="Freeform 882"/>
          <p:cNvSpPr>
            <a:spLocks/>
          </p:cNvSpPr>
          <p:nvPr/>
        </p:nvSpPr>
        <p:spPr bwMode="auto">
          <a:xfrm>
            <a:off x="5588000" y="2246313"/>
            <a:ext cx="550863" cy="750888"/>
          </a:xfrm>
          <a:custGeom>
            <a:avLst/>
            <a:gdLst>
              <a:gd name="T0" fmla="*/ 13 w 347"/>
              <a:gd name="T1" fmla="*/ 464 h 473"/>
              <a:gd name="T2" fmla="*/ 28 w 347"/>
              <a:gd name="T3" fmla="*/ 428 h 473"/>
              <a:gd name="T4" fmla="*/ 41 w 347"/>
              <a:gd name="T5" fmla="*/ 379 h 473"/>
              <a:gd name="T6" fmla="*/ 28 w 347"/>
              <a:gd name="T7" fmla="*/ 307 h 473"/>
              <a:gd name="T8" fmla="*/ 4 w 347"/>
              <a:gd name="T9" fmla="*/ 264 h 473"/>
              <a:gd name="T10" fmla="*/ 11 w 347"/>
              <a:gd name="T11" fmla="*/ 243 h 473"/>
              <a:gd name="T12" fmla="*/ 2 w 347"/>
              <a:gd name="T13" fmla="*/ 207 h 473"/>
              <a:gd name="T14" fmla="*/ 17 w 347"/>
              <a:gd name="T15" fmla="*/ 171 h 473"/>
              <a:gd name="T16" fmla="*/ 13 w 347"/>
              <a:gd name="T17" fmla="*/ 136 h 473"/>
              <a:gd name="T18" fmla="*/ 26 w 347"/>
              <a:gd name="T19" fmla="*/ 117 h 473"/>
              <a:gd name="T20" fmla="*/ 47 w 347"/>
              <a:gd name="T21" fmla="*/ 100 h 473"/>
              <a:gd name="T22" fmla="*/ 56 w 347"/>
              <a:gd name="T23" fmla="*/ 79 h 473"/>
              <a:gd name="T24" fmla="*/ 60 w 347"/>
              <a:gd name="T25" fmla="*/ 98 h 473"/>
              <a:gd name="T26" fmla="*/ 60 w 347"/>
              <a:gd name="T27" fmla="*/ 119 h 473"/>
              <a:gd name="T28" fmla="*/ 70 w 347"/>
              <a:gd name="T29" fmla="*/ 98 h 473"/>
              <a:gd name="T30" fmla="*/ 75 w 347"/>
              <a:gd name="T31" fmla="*/ 113 h 473"/>
              <a:gd name="T32" fmla="*/ 79 w 347"/>
              <a:gd name="T33" fmla="*/ 90 h 473"/>
              <a:gd name="T34" fmla="*/ 87 w 347"/>
              <a:gd name="T35" fmla="*/ 56 h 473"/>
              <a:gd name="T36" fmla="*/ 102 w 347"/>
              <a:gd name="T37" fmla="*/ 45 h 473"/>
              <a:gd name="T38" fmla="*/ 92 w 347"/>
              <a:gd name="T39" fmla="*/ 26 h 473"/>
              <a:gd name="T40" fmla="*/ 111 w 347"/>
              <a:gd name="T41" fmla="*/ 7 h 473"/>
              <a:gd name="T42" fmla="*/ 132 w 347"/>
              <a:gd name="T43" fmla="*/ 7 h 473"/>
              <a:gd name="T44" fmla="*/ 151 w 347"/>
              <a:gd name="T45" fmla="*/ 11 h 473"/>
              <a:gd name="T46" fmla="*/ 171 w 347"/>
              <a:gd name="T47" fmla="*/ 24 h 473"/>
              <a:gd name="T48" fmla="*/ 192 w 347"/>
              <a:gd name="T49" fmla="*/ 30 h 473"/>
              <a:gd name="T50" fmla="*/ 222 w 347"/>
              <a:gd name="T51" fmla="*/ 39 h 473"/>
              <a:gd name="T52" fmla="*/ 237 w 347"/>
              <a:gd name="T53" fmla="*/ 56 h 473"/>
              <a:gd name="T54" fmla="*/ 234 w 347"/>
              <a:gd name="T55" fmla="*/ 68 h 473"/>
              <a:gd name="T56" fmla="*/ 243 w 347"/>
              <a:gd name="T57" fmla="*/ 88 h 473"/>
              <a:gd name="T58" fmla="*/ 249 w 347"/>
              <a:gd name="T59" fmla="*/ 124 h 473"/>
              <a:gd name="T60" fmla="*/ 239 w 347"/>
              <a:gd name="T61" fmla="*/ 158 h 473"/>
              <a:gd name="T62" fmla="*/ 228 w 347"/>
              <a:gd name="T63" fmla="*/ 192 h 473"/>
              <a:gd name="T64" fmla="*/ 211 w 347"/>
              <a:gd name="T65" fmla="*/ 213 h 473"/>
              <a:gd name="T66" fmla="*/ 228 w 347"/>
              <a:gd name="T67" fmla="*/ 232 h 473"/>
              <a:gd name="T68" fmla="*/ 245 w 347"/>
              <a:gd name="T69" fmla="*/ 222 h 473"/>
              <a:gd name="T70" fmla="*/ 254 w 347"/>
              <a:gd name="T71" fmla="*/ 196 h 473"/>
              <a:gd name="T72" fmla="*/ 275 w 347"/>
              <a:gd name="T73" fmla="*/ 183 h 473"/>
              <a:gd name="T74" fmla="*/ 300 w 347"/>
              <a:gd name="T75" fmla="*/ 179 h 473"/>
              <a:gd name="T76" fmla="*/ 324 w 347"/>
              <a:gd name="T77" fmla="*/ 228 h 473"/>
              <a:gd name="T78" fmla="*/ 337 w 347"/>
              <a:gd name="T79" fmla="*/ 266 h 473"/>
              <a:gd name="T80" fmla="*/ 347 w 347"/>
              <a:gd name="T81" fmla="*/ 286 h 473"/>
              <a:gd name="T82" fmla="*/ 345 w 347"/>
              <a:gd name="T83" fmla="*/ 309 h 473"/>
              <a:gd name="T84" fmla="*/ 341 w 347"/>
              <a:gd name="T85" fmla="*/ 339 h 473"/>
              <a:gd name="T86" fmla="*/ 334 w 347"/>
              <a:gd name="T87" fmla="*/ 330 h 473"/>
              <a:gd name="T88" fmla="*/ 324 w 347"/>
              <a:gd name="T89" fmla="*/ 337 h 473"/>
              <a:gd name="T90" fmla="*/ 313 w 347"/>
              <a:gd name="T91" fmla="*/ 367 h 473"/>
              <a:gd name="T92" fmla="*/ 303 w 347"/>
              <a:gd name="T93" fmla="*/ 377 h 473"/>
              <a:gd name="T94" fmla="*/ 288 w 347"/>
              <a:gd name="T95" fmla="*/ 426 h 473"/>
              <a:gd name="T96" fmla="*/ 173 w 347"/>
              <a:gd name="T97" fmla="*/ 460 h 473"/>
              <a:gd name="T98" fmla="*/ 7 w 347"/>
              <a:gd name="T99"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7" h="473">
                <a:moveTo>
                  <a:pt x="2" y="473"/>
                </a:moveTo>
                <a:lnTo>
                  <a:pt x="4" y="471"/>
                </a:lnTo>
                <a:lnTo>
                  <a:pt x="13" y="464"/>
                </a:lnTo>
                <a:lnTo>
                  <a:pt x="17" y="456"/>
                </a:lnTo>
                <a:lnTo>
                  <a:pt x="21" y="450"/>
                </a:lnTo>
                <a:lnTo>
                  <a:pt x="28" y="428"/>
                </a:lnTo>
                <a:lnTo>
                  <a:pt x="34" y="413"/>
                </a:lnTo>
                <a:lnTo>
                  <a:pt x="36" y="405"/>
                </a:lnTo>
                <a:lnTo>
                  <a:pt x="41" y="379"/>
                </a:lnTo>
                <a:lnTo>
                  <a:pt x="41" y="358"/>
                </a:lnTo>
                <a:lnTo>
                  <a:pt x="36" y="328"/>
                </a:lnTo>
                <a:lnTo>
                  <a:pt x="28" y="307"/>
                </a:lnTo>
                <a:lnTo>
                  <a:pt x="32" y="300"/>
                </a:lnTo>
                <a:lnTo>
                  <a:pt x="26" y="303"/>
                </a:lnTo>
                <a:lnTo>
                  <a:pt x="4" y="264"/>
                </a:lnTo>
                <a:lnTo>
                  <a:pt x="2" y="258"/>
                </a:lnTo>
                <a:lnTo>
                  <a:pt x="7" y="252"/>
                </a:lnTo>
                <a:lnTo>
                  <a:pt x="11" y="243"/>
                </a:lnTo>
                <a:lnTo>
                  <a:pt x="4" y="222"/>
                </a:lnTo>
                <a:lnTo>
                  <a:pt x="0" y="215"/>
                </a:lnTo>
                <a:lnTo>
                  <a:pt x="2" y="207"/>
                </a:lnTo>
                <a:lnTo>
                  <a:pt x="9" y="200"/>
                </a:lnTo>
                <a:lnTo>
                  <a:pt x="17" y="179"/>
                </a:lnTo>
                <a:lnTo>
                  <a:pt x="17" y="171"/>
                </a:lnTo>
                <a:lnTo>
                  <a:pt x="15" y="164"/>
                </a:lnTo>
                <a:lnTo>
                  <a:pt x="17" y="151"/>
                </a:lnTo>
                <a:lnTo>
                  <a:pt x="13" y="136"/>
                </a:lnTo>
                <a:lnTo>
                  <a:pt x="19" y="132"/>
                </a:lnTo>
                <a:lnTo>
                  <a:pt x="26" y="126"/>
                </a:lnTo>
                <a:lnTo>
                  <a:pt x="26" y="117"/>
                </a:lnTo>
                <a:lnTo>
                  <a:pt x="34" y="105"/>
                </a:lnTo>
                <a:lnTo>
                  <a:pt x="41" y="107"/>
                </a:lnTo>
                <a:lnTo>
                  <a:pt x="47" y="100"/>
                </a:lnTo>
                <a:lnTo>
                  <a:pt x="49" y="94"/>
                </a:lnTo>
                <a:lnTo>
                  <a:pt x="53" y="85"/>
                </a:lnTo>
                <a:lnTo>
                  <a:pt x="56" y="79"/>
                </a:lnTo>
                <a:lnTo>
                  <a:pt x="62" y="73"/>
                </a:lnTo>
                <a:lnTo>
                  <a:pt x="60" y="94"/>
                </a:lnTo>
                <a:lnTo>
                  <a:pt x="60" y="98"/>
                </a:lnTo>
                <a:lnTo>
                  <a:pt x="62" y="107"/>
                </a:lnTo>
                <a:lnTo>
                  <a:pt x="60" y="113"/>
                </a:lnTo>
                <a:lnTo>
                  <a:pt x="60" y="119"/>
                </a:lnTo>
                <a:lnTo>
                  <a:pt x="66" y="113"/>
                </a:lnTo>
                <a:lnTo>
                  <a:pt x="68" y="98"/>
                </a:lnTo>
                <a:lnTo>
                  <a:pt x="70" y="98"/>
                </a:lnTo>
                <a:lnTo>
                  <a:pt x="70" y="113"/>
                </a:lnTo>
                <a:lnTo>
                  <a:pt x="68" y="119"/>
                </a:lnTo>
                <a:lnTo>
                  <a:pt x="75" y="113"/>
                </a:lnTo>
                <a:lnTo>
                  <a:pt x="77" y="105"/>
                </a:lnTo>
                <a:lnTo>
                  <a:pt x="79" y="98"/>
                </a:lnTo>
                <a:lnTo>
                  <a:pt x="79" y="90"/>
                </a:lnTo>
                <a:lnTo>
                  <a:pt x="75" y="68"/>
                </a:lnTo>
                <a:lnTo>
                  <a:pt x="79" y="60"/>
                </a:lnTo>
                <a:lnTo>
                  <a:pt x="87" y="56"/>
                </a:lnTo>
                <a:lnTo>
                  <a:pt x="94" y="51"/>
                </a:lnTo>
                <a:lnTo>
                  <a:pt x="105" y="51"/>
                </a:lnTo>
                <a:lnTo>
                  <a:pt x="102" y="45"/>
                </a:lnTo>
                <a:lnTo>
                  <a:pt x="96" y="41"/>
                </a:lnTo>
                <a:lnTo>
                  <a:pt x="92" y="32"/>
                </a:lnTo>
                <a:lnTo>
                  <a:pt x="92" y="26"/>
                </a:lnTo>
                <a:lnTo>
                  <a:pt x="100" y="17"/>
                </a:lnTo>
                <a:lnTo>
                  <a:pt x="105" y="11"/>
                </a:lnTo>
                <a:lnTo>
                  <a:pt x="111" y="7"/>
                </a:lnTo>
                <a:lnTo>
                  <a:pt x="117" y="0"/>
                </a:lnTo>
                <a:lnTo>
                  <a:pt x="124" y="4"/>
                </a:lnTo>
                <a:lnTo>
                  <a:pt x="132" y="7"/>
                </a:lnTo>
                <a:lnTo>
                  <a:pt x="139" y="13"/>
                </a:lnTo>
                <a:lnTo>
                  <a:pt x="145" y="13"/>
                </a:lnTo>
                <a:lnTo>
                  <a:pt x="151" y="11"/>
                </a:lnTo>
                <a:lnTo>
                  <a:pt x="158" y="13"/>
                </a:lnTo>
                <a:lnTo>
                  <a:pt x="166" y="17"/>
                </a:lnTo>
                <a:lnTo>
                  <a:pt x="171" y="24"/>
                </a:lnTo>
                <a:lnTo>
                  <a:pt x="177" y="26"/>
                </a:lnTo>
                <a:lnTo>
                  <a:pt x="183" y="26"/>
                </a:lnTo>
                <a:lnTo>
                  <a:pt x="192" y="30"/>
                </a:lnTo>
                <a:lnTo>
                  <a:pt x="207" y="34"/>
                </a:lnTo>
                <a:lnTo>
                  <a:pt x="213" y="39"/>
                </a:lnTo>
                <a:lnTo>
                  <a:pt x="222" y="39"/>
                </a:lnTo>
                <a:lnTo>
                  <a:pt x="228" y="43"/>
                </a:lnTo>
                <a:lnTo>
                  <a:pt x="230" y="49"/>
                </a:lnTo>
                <a:lnTo>
                  <a:pt x="237" y="56"/>
                </a:lnTo>
                <a:lnTo>
                  <a:pt x="241" y="60"/>
                </a:lnTo>
                <a:lnTo>
                  <a:pt x="241" y="66"/>
                </a:lnTo>
                <a:lnTo>
                  <a:pt x="234" y="68"/>
                </a:lnTo>
                <a:lnTo>
                  <a:pt x="230" y="77"/>
                </a:lnTo>
                <a:lnTo>
                  <a:pt x="234" y="83"/>
                </a:lnTo>
                <a:lnTo>
                  <a:pt x="243" y="88"/>
                </a:lnTo>
                <a:lnTo>
                  <a:pt x="245" y="96"/>
                </a:lnTo>
                <a:lnTo>
                  <a:pt x="249" y="109"/>
                </a:lnTo>
                <a:lnTo>
                  <a:pt x="249" y="124"/>
                </a:lnTo>
                <a:lnTo>
                  <a:pt x="251" y="147"/>
                </a:lnTo>
                <a:lnTo>
                  <a:pt x="245" y="154"/>
                </a:lnTo>
                <a:lnTo>
                  <a:pt x="239" y="158"/>
                </a:lnTo>
                <a:lnTo>
                  <a:pt x="237" y="164"/>
                </a:lnTo>
                <a:lnTo>
                  <a:pt x="234" y="179"/>
                </a:lnTo>
                <a:lnTo>
                  <a:pt x="228" y="192"/>
                </a:lnTo>
                <a:lnTo>
                  <a:pt x="220" y="192"/>
                </a:lnTo>
                <a:lnTo>
                  <a:pt x="213" y="198"/>
                </a:lnTo>
                <a:lnTo>
                  <a:pt x="211" y="213"/>
                </a:lnTo>
                <a:lnTo>
                  <a:pt x="211" y="224"/>
                </a:lnTo>
                <a:lnTo>
                  <a:pt x="222" y="232"/>
                </a:lnTo>
                <a:lnTo>
                  <a:pt x="228" y="232"/>
                </a:lnTo>
                <a:lnTo>
                  <a:pt x="237" y="234"/>
                </a:lnTo>
                <a:lnTo>
                  <a:pt x="241" y="228"/>
                </a:lnTo>
                <a:lnTo>
                  <a:pt x="245" y="222"/>
                </a:lnTo>
                <a:lnTo>
                  <a:pt x="251" y="215"/>
                </a:lnTo>
                <a:lnTo>
                  <a:pt x="256" y="203"/>
                </a:lnTo>
                <a:lnTo>
                  <a:pt x="254" y="196"/>
                </a:lnTo>
                <a:lnTo>
                  <a:pt x="260" y="192"/>
                </a:lnTo>
                <a:lnTo>
                  <a:pt x="268" y="185"/>
                </a:lnTo>
                <a:lnTo>
                  <a:pt x="275" y="183"/>
                </a:lnTo>
                <a:lnTo>
                  <a:pt x="286" y="175"/>
                </a:lnTo>
                <a:lnTo>
                  <a:pt x="294" y="177"/>
                </a:lnTo>
                <a:lnTo>
                  <a:pt x="300" y="179"/>
                </a:lnTo>
                <a:lnTo>
                  <a:pt x="307" y="185"/>
                </a:lnTo>
                <a:lnTo>
                  <a:pt x="315" y="200"/>
                </a:lnTo>
                <a:lnTo>
                  <a:pt x="324" y="228"/>
                </a:lnTo>
                <a:lnTo>
                  <a:pt x="328" y="237"/>
                </a:lnTo>
                <a:lnTo>
                  <a:pt x="332" y="252"/>
                </a:lnTo>
                <a:lnTo>
                  <a:pt x="337" y="266"/>
                </a:lnTo>
                <a:lnTo>
                  <a:pt x="339" y="275"/>
                </a:lnTo>
                <a:lnTo>
                  <a:pt x="347" y="286"/>
                </a:lnTo>
                <a:lnTo>
                  <a:pt x="347" y="286"/>
                </a:lnTo>
                <a:lnTo>
                  <a:pt x="347" y="292"/>
                </a:lnTo>
                <a:lnTo>
                  <a:pt x="345" y="294"/>
                </a:lnTo>
                <a:lnTo>
                  <a:pt x="345" y="309"/>
                </a:lnTo>
                <a:lnTo>
                  <a:pt x="347" y="315"/>
                </a:lnTo>
                <a:lnTo>
                  <a:pt x="345" y="330"/>
                </a:lnTo>
                <a:lnTo>
                  <a:pt x="341" y="339"/>
                </a:lnTo>
                <a:lnTo>
                  <a:pt x="337" y="341"/>
                </a:lnTo>
                <a:lnTo>
                  <a:pt x="337" y="339"/>
                </a:lnTo>
                <a:lnTo>
                  <a:pt x="334" y="330"/>
                </a:lnTo>
                <a:lnTo>
                  <a:pt x="332" y="326"/>
                </a:lnTo>
                <a:lnTo>
                  <a:pt x="324" y="330"/>
                </a:lnTo>
                <a:lnTo>
                  <a:pt x="324" y="337"/>
                </a:lnTo>
                <a:lnTo>
                  <a:pt x="317" y="343"/>
                </a:lnTo>
                <a:lnTo>
                  <a:pt x="320" y="358"/>
                </a:lnTo>
                <a:lnTo>
                  <a:pt x="313" y="367"/>
                </a:lnTo>
                <a:lnTo>
                  <a:pt x="305" y="371"/>
                </a:lnTo>
                <a:lnTo>
                  <a:pt x="305" y="373"/>
                </a:lnTo>
                <a:lnTo>
                  <a:pt x="303" y="377"/>
                </a:lnTo>
                <a:lnTo>
                  <a:pt x="300" y="384"/>
                </a:lnTo>
                <a:lnTo>
                  <a:pt x="298" y="405"/>
                </a:lnTo>
                <a:lnTo>
                  <a:pt x="288" y="426"/>
                </a:lnTo>
                <a:lnTo>
                  <a:pt x="281" y="441"/>
                </a:lnTo>
                <a:lnTo>
                  <a:pt x="247" y="447"/>
                </a:lnTo>
                <a:lnTo>
                  <a:pt x="173" y="460"/>
                </a:lnTo>
                <a:lnTo>
                  <a:pt x="164" y="454"/>
                </a:lnTo>
                <a:lnTo>
                  <a:pt x="47" y="469"/>
                </a:lnTo>
                <a:lnTo>
                  <a:pt x="7" y="473"/>
                </a:lnTo>
                <a:lnTo>
                  <a:pt x="2" y="47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6" name="Freeform 883"/>
          <p:cNvSpPr>
            <a:spLocks/>
          </p:cNvSpPr>
          <p:nvPr/>
        </p:nvSpPr>
        <p:spPr bwMode="auto">
          <a:xfrm>
            <a:off x="5800725" y="2117725"/>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884"/>
          <p:cNvSpPr>
            <a:spLocks/>
          </p:cNvSpPr>
          <p:nvPr/>
        </p:nvSpPr>
        <p:spPr bwMode="auto">
          <a:xfrm>
            <a:off x="5800725" y="2117725"/>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85"/>
          <p:cNvSpPr>
            <a:spLocks/>
          </p:cNvSpPr>
          <p:nvPr/>
        </p:nvSpPr>
        <p:spPr bwMode="auto">
          <a:xfrm>
            <a:off x="5800725" y="2117725"/>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886"/>
          <p:cNvSpPr>
            <a:spLocks/>
          </p:cNvSpPr>
          <p:nvPr/>
        </p:nvSpPr>
        <p:spPr bwMode="auto">
          <a:xfrm>
            <a:off x="5800725" y="2117725"/>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0" name="Freeform 887"/>
          <p:cNvSpPr>
            <a:spLocks/>
          </p:cNvSpPr>
          <p:nvPr/>
        </p:nvSpPr>
        <p:spPr bwMode="auto">
          <a:xfrm>
            <a:off x="5672138" y="2266950"/>
            <a:ext cx="11113" cy="30163"/>
          </a:xfrm>
          <a:custGeom>
            <a:avLst/>
            <a:gdLst>
              <a:gd name="T0" fmla="*/ 7 w 7"/>
              <a:gd name="T1" fmla="*/ 2 h 19"/>
              <a:gd name="T2" fmla="*/ 7 w 7"/>
              <a:gd name="T3" fmla="*/ 17 h 19"/>
              <a:gd name="T4" fmla="*/ 0 w 7"/>
              <a:gd name="T5" fmla="*/ 19 h 19"/>
              <a:gd name="T6" fmla="*/ 0 w 7"/>
              <a:gd name="T7" fmla="*/ 11 h 19"/>
              <a:gd name="T8" fmla="*/ 3 w 7"/>
              <a:gd name="T9" fmla="*/ 4 h 19"/>
              <a:gd name="T10" fmla="*/ 7 w 7"/>
              <a:gd name="T11" fmla="*/ 0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17"/>
                </a:lnTo>
                <a:lnTo>
                  <a:pt x="0" y="19"/>
                </a:lnTo>
                <a:lnTo>
                  <a:pt x="0" y="11"/>
                </a:lnTo>
                <a:lnTo>
                  <a:pt x="3" y="4"/>
                </a:lnTo>
                <a:lnTo>
                  <a:pt x="7" y="0"/>
                </a:lnTo>
                <a:lnTo>
                  <a:pt x="7"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888"/>
          <p:cNvSpPr>
            <a:spLocks/>
          </p:cNvSpPr>
          <p:nvPr/>
        </p:nvSpPr>
        <p:spPr bwMode="auto">
          <a:xfrm>
            <a:off x="5672138" y="2266950"/>
            <a:ext cx="11113" cy="30163"/>
          </a:xfrm>
          <a:custGeom>
            <a:avLst/>
            <a:gdLst>
              <a:gd name="T0" fmla="*/ 7 w 7"/>
              <a:gd name="T1" fmla="*/ 2 h 19"/>
              <a:gd name="T2" fmla="*/ 7 w 7"/>
              <a:gd name="T3" fmla="*/ 17 h 19"/>
              <a:gd name="T4" fmla="*/ 0 w 7"/>
              <a:gd name="T5" fmla="*/ 19 h 19"/>
              <a:gd name="T6" fmla="*/ 0 w 7"/>
              <a:gd name="T7" fmla="*/ 11 h 19"/>
              <a:gd name="T8" fmla="*/ 3 w 7"/>
              <a:gd name="T9" fmla="*/ 4 h 19"/>
              <a:gd name="T10" fmla="*/ 7 w 7"/>
              <a:gd name="T11" fmla="*/ 0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17"/>
                </a:lnTo>
                <a:lnTo>
                  <a:pt x="0" y="19"/>
                </a:lnTo>
                <a:lnTo>
                  <a:pt x="0" y="11"/>
                </a:lnTo>
                <a:lnTo>
                  <a:pt x="3" y="4"/>
                </a:lnTo>
                <a:lnTo>
                  <a:pt x="7" y="0"/>
                </a:lnTo>
                <a:lnTo>
                  <a:pt x="7"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2" name="Freeform 889"/>
          <p:cNvSpPr>
            <a:spLocks/>
          </p:cNvSpPr>
          <p:nvPr/>
        </p:nvSpPr>
        <p:spPr bwMode="auto">
          <a:xfrm>
            <a:off x="5875338" y="2174875"/>
            <a:ext cx="47625" cy="34925"/>
          </a:xfrm>
          <a:custGeom>
            <a:avLst/>
            <a:gdLst>
              <a:gd name="T0" fmla="*/ 19 w 30"/>
              <a:gd name="T1" fmla="*/ 0 h 22"/>
              <a:gd name="T2" fmla="*/ 28 w 30"/>
              <a:gd name="T3" fmla="*/ 7 h 22"/>
              <a:gd name="T4" fmla="*/ 30 w 30"/>
              <a:gd name="T5" fmla="*/ 15 h 22"/>
              <a:gd name="T6" fmla="*/ 24 w 30"/>
              <a:gd name="T7" fmla="*/ 20 h 22"/>
              <a:gd name="T8" fmla="*/ 9 w 30"/>
              <a:gd name="T9" fmla="*/ 22 h 22"/>
              <a:gd name="T10" fmla="*/ 9 w 30"/>
              <a:gd name="T11" fmla="*/ 20 h 22"/>
              <a:gd name="T12" fmla="*/ 0 w 30"/>
              <a:gd name="T13" fmla="*/ 15 h 22"/>
              <a:gd name="T14" fmla="*/ 9 w 30"/>
              <a:gd name="T15" fmla="*/ 13 h 22"/>
              <a:gd name="T16" fmla="*/ 15 w 30"/>
              <a:gd name="T17" fmla="*/ 9 h 22"/>
              <a:gd name="T18" fmla="*/ 13 w 30"/>
              <a:gd name="T19" fmla="*/ 0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28" y="7"/>
                </a:lnTo>
                <a:lnTo>
                  <a:pt x="30" y="15"/>
                </a:lnTo>
                <a:lnTo>
                  <a:pt x="24" y="20"/>
                </a:lnTo>
                <a:lnTo>
                  <a:pt x="9" y="22"/>
                </a:lnTo>
                <a:lnTo>
                  <a:pt x="9" y="20"/>
                </a:lnTo>
                <a:lnTo>
                  <a:pt x="0" y="15"/>
                </a:lnTo>
                <a:lnTo>
                  <a:pt x="9" y="13"/>
                </a:lnTo>
                <a:lnTo>
                  <a:pt x="15" y="9"/>
                </a:lnTo>
                <a:lnTo>
                  <a:pt x="13" y="0"/>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890"/>
          <p:cNvSpPr>
            <a:spLocks/>
          </p:cNvSpPr>
          <p:nvPr/>
        </p:nvSpPr>
        <p:spPr bwMode="auto">
          <a:xfrm>
            <a:off x="5875338" y="2174875"/>
            <a:ext cx="47625" cy="34925"/>
          </a:xfrm>
          <a:custGeom>
            <a:avLst/>
            <a:gdLst>
              <a:gd name="T0" fmla="*/ 19 w 30"/>
              <a:gd name="T1" fmla="*/ 0 h 22"/>
              <a:gd name="T2" fmla="*/ 28 w 30"/>
              <a:gd name="T3" fmla="*/ 7 h 22"/>
              <a:gd name="T4" fmla="*/ 30 w 30"/>
              <a:gd name="T5" fmla="*/ 15 h 22"/>
              <a:gd name="T6" fmla="*/ 24 w 30"/>
              <a:gd name="T7" fmla="*/ 20 h 22"/>
              <a:gd name="T8" fmla="*/ 9 w 30"/>
              <a:gd name="T9" fmla="*/ 22 h 22"/>
              <a:gd name="T10" fmla="*/ 9 w 30"/>
              <a:gd name="T11" fmla="*/ 20 h 22"/>
              <a:gd name="T12" fmla="*/ 0 w 30"/>
              <a:gd name="T13" fmla="*/ 15 h 22"/>
              <a:gd name="T14" fmla="*/ 9 w 30"/>
              <a:gd name="T15" fmla="*/ 13 h 22"/>
              <a:gd name="T16" fmla="*/ 15 w 30"/>
              <a:gd name="T17" fmla="*/ 9 h 22"/>
              <a:gd name="T18" fmla="*/ 13 w 30"/>
              <a:gd name="T19" fmla="*/ 0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28" y="7"/>
                </a:lnTo>
                <a:lnTo>
                  <a:pt x="30" y="15"/>
                </a:lnTo>
                <a:lnTo>
                  <a:pt x="24" y="20"/>
                </a:lnTo>
                <a:lnTo>
                  <a:pt x="9" y="22"/>
                </a:lnTo>
                <a:lnTo>
                  <a:pt x="9" y="20"/>
                </a:lnTo>
                <a:lnTo>
                  <a:pt x="0" y="15"/>
                </a:lnTo>
                <a:lnTo>
                  <a:pt x="9" y="13"/>
                </a:lnTo>
                <a:lnTo>
                  <a:pt x="15" y="9"/>
                </a:lnTo>
                <a:lnTo>
                  <a:pt x="13" y="0"/>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4" name="Freeform 891"/>
          <p:cNvSpPr>
            <a:spLocks/>
          </p:cNvSpPr>
          <p:nvPr/>
        </p:nvSpPr>
        <p:spPr bwMode="auto">
          <a:xfrm>
            <a:off x="6091238" y="5103813"/>
            <a:ext cx="58738" cy="36513"/>
          </a:xfrm>
          <a:custGeom>
            <a:avLst/>
            <a:gdLst>
              <a:gd name="T0" fmla="*/ 0 w 37"/>
              <a:gd name="T1" fmla="*/ 19 h 23"/>
              <a:gd name="T2" fmla="*/ 7 w 37"/>
              <a:gd name="T3" fmla="*/ 21 h 23"/>
              <a:gd name="T4" fmla="*/ 13 w 37"/>
              <a:gd name="T5" fmla="*/ 17 h 23"/>
              <a:gd name="T6" fmla="*/ 22 w 37"/>
              <a:gd name="T7" fmla="*/ 11 h 23"/>
              <a:gd name="T8" fmla="*/ 28 w 37"/>
              <a:gd name="T9" fmla="*/ 8 h 23"/>
              <a:gd name="T10" fmla="*/ 28 w 37"/>
              <a:gd name="T11" fmla="*/ 6 h 23"/>
              <a:gd name="T12" fmla="*/ 37 w 37"/>
              <a:gd name="T13" fmla="*/ 0 h 23"/>
              <a:gd name="T14" fmla="*/ 30 w 37"/>
              <a:gd name="T15" fmla="*/ 6 h 23"/>
              <a:gd name="T16" fmla="*/ 15 w 37"/>
              <a:gd name="T17" fmla="*/ 17 h 23"/>
              <a:gd name="T18" fmla="*/ 13 w 37"/>
              <a:gd name="T19" fmla="*/ 19 h 23"/>
              <a:gd name="T20" fmla="*/ 5 w 37"/>
              <a:gd name="T21" fmla="*/ 23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7" y="21"/>
                </a:lnTo>
                <a:lnTo>
                  <a:pt x="13" y="17"/>
                </a:lnTo>
                <a:lnTo>
                  <a:pt x="22" y="11"/>
                </a:lnTo>
                <a:lnTo>
                  <a:pt x="28" y="8"/>
                </a:lnTo>
                <a:lnTo>
                  <a:pt x="28" y="6"/>
                </a:lnTo>
                <a:lnTo>
                  <a:pt x="37" y="0"/>
                </a:lnTo>
                <a:lnTo>
                  <a:pt x="30" y="6"/>
                </a:lnTo>
                <a:lnTo>
                  <a:pt x="15" y="17"/>
                </a:lnTo>
                <a:lnTo>
                  <a:pt x="13" y="19"/>
                </a:lnTo>
                <a:lnTo>
                  <a:pt x="5" y="23"/>
                </a:lnTo>
                <a:lnTo>
                  <a:pt x="0" y="1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892"/>
          <p:cNvSpPr>
            <a:spLocks/>
          </p:cNvSpPr>
          <p:nvPr/>
        </p:nvSpPr>
        <p:spPr bwMode="auto">
          <a:xfrm>
            <a:off x="6091238" y="5103813"/>
            <a:ext cx="58738" cy="36513"/>
          </a:xfrm>
          <a:custGeom>
            <a:avLst/>
            <a:gdLst>
              <a:gd name="T0" fmla="*/ 0 w 37"/>
              <a:gd name="T1" fmla="*/ 19 h 23"/>
              <a:gd name="T2" fmla="*/ 7 w 37"/>
              <a:gd name="T3" fmla="*/ 21 h 23"/>
              <a:gd name="T4" fmla="*/ 13 w 37"/>
              <a:gd name="T5" fmla="*/ 17 h 23"/>
              <a:gd name="T6" fmla="*/ 22 w 37"/>
              <a:gd name="T7" fmla="*/ 11 h 23"/>
              <a:gd name="T8" fmla="*/ 28 w 37"/>
              <a:gd name="T9" fmla="*/ 8 h 23"/>
              <a:gd name="T10" fmla="*/ 28 w 37"/>
              <a:gd name="T11" fmla="*/ 6 h 23"/>
              <a:gd name="T12" fmla="*/ 37 w 37"/>
              <a:gd name="T13" fmla="*/ 0 h 23"/>
              <a:gd name="T14" fmla="*/ 30 w 37"/>
              <a:gd name="T15" fmla="*/ 6 h 23"/>
              <a:gd name="T16" fmla="*/ 15 w 37"/>
              <a:gd name="T17" fmla="*/ 17 h 23"/>
              <a:gd name="T18" fmla="*/ 13 w 37"/>
              <a:gd name="T19" fmla="*/ 19 h 23"/>
              <a:gd name="T20" fmla="*/ 5 w 37"/>
              <a:gd name="T21" fmla="*/ 23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7" y="21"/>
                </a:lnTo>
                <a:lnTo>
                  <a:pt x="13" y="17"/>
                </a:lnTo>
                <a:lnTo>
                  <a:pt x="22" y="11"/>
                </a:lnTo>
                <a:lnTo>
                  <a:pt x="28" y="8"/>
                </a:lnTo>
                <a:lnTo>
                  <a:pt x="28" y="6"/>
                </a:lnTo>
                <a:lnTo>
                  <a:pt x="37" y="0"/>
                </a:lnTo>
                <a:lnTo>
                  <a:pt x="30" y="6"/>
                </a:lnTo>
                <a:lnTo>
                  <a:pt x="15" y="17"/>
                </a:lnTo>
                <a:lnTo>
                  <a:pt x="13" y="19"/>
                </a:lnTo>
                <a:lnTo>
                  <a:pt x="5" y="23"/>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6" name="Freeform 893"/>
          <p:cNvSpPr>
            <a:spLocks/>
          </p:cNvSpPr>
          <p:nvPr/>
        </p:nvSpPr>
        <p:spPr bwMode="auto">
          <a:xfrm>
            <a:off x="7326313" y="3068638"/>
            <a:ext cx="9525" cy="33338"/>
          </a:xfrm>
          <a:custGeom>
            <a:avLst/>
            <a:gdLst>
              <a:gd name="T0" fmla="*/ 0 w 6"/>
              <a:gd name="T1" fmla="*/ 21 h 21"/>
              <a:gd name="T2" fmla="*/ 6 w 6"/>
              <a:gd name="T3" fmla="*/ 0 h 21"/>
              <a:gd name="T4" fmla="*/ 6 w 6"/>
              <a:gd name="T5" fmla="*/ 6 h 21"/>
              <a:gd name="T6" fmla="*/ 0 w 6"/>
              <a:gd name="T7" fmla="*/ 21 h 21"/>
            </a:gdLst>
            <a:ahLst/>
            <a:cxnLst>
              <a:cxn ang="0">
                <a:pos x="T0" y="T1"/>
              </a:cxn>
              <a:cxn ang="0">
                <a:pos x="T2" y="T3"/>
              </a:cxn>
              <a:cxn ang="0">
                <a:pos x="T4" y="T5"/>
              </a:cxn>
              <a:cxn ang="0">
                <a:pos x="T6" y="T7"/>
              </a:cxn>
            </a:cxnLst>
            <a:rect l="0" t="0" r="r" b="b"/>
            <a:pathLst>
              <a:path w="6" h="21">
                <a:moveTo>
                  <a:pt x="0" y="21"/>
                </a:moveTo>
                <a:lnTo>
                  <a:pt x="6" y="0"/>
                </a:lnTo>
                <a:lnTo>
                  <a:pt x="6" y="6"/>
                </a:lnTo>
                <a:lnTo>
                  <a:pt x="0" y="2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894"/>
          <p:cNvSpPr>
            <a:spLocks/>
          </p:cNvSpPr>
          <p:nvPr/>
        </p:nvSpPr>
        <p:spPr bwMode="auto">
          <a:xfrm>
            <a:off x="7326313" y="3068638"/>
            <a:ext cx="9525" cy="33338"/>
          </a:xfrm>
          <a:custGeom>
            <a:avLst/>
            <a:gdLst>
              <a:gd name="T0" fmla="*/ 0 w 6"/>
              <a:gd name="T1" fmla="*/ 21 h 21"/>
              <a:gd name="T2" fmla="*/ 6 w 6"/>
              <a:gd name="T3" fmla="*/ 0 h 21"/>
              <a:gd name="T4" fmla="*/ 6 w 6"/>
              <a:gd name="T5" fmla="*/ 6 h 21"/>
              <a:gd name="T6" fmla="*/ 0 w 6"/>
              <a:gd name="T7" fmla="*/ 21 h 21"/>
            </a:gdLst>
            <a:ahLst/>
            <a:cxnLst>
              <a:cxn ang="0">
                <a:pos x="T0" y="T1"/>
              </a:cxn>
              <a:cxn ang="0">
                <a:pos x="T2" y="T3"/>
              </a:cxn>
              <a:cxn ang="0">
                <a:pos x="T4" y="T5"/>
              </a:cxn>
              <a:cxn ang="0">
                <a:pos x="T6" y="T7"/>
              </a:cxn>
            </a:cxnLst>
            <a:rect l="0" t="0" r="r" b="b"/>
            <a:pathLst>
              <a:path w="6" h="21">
                <a:moveTo>
                  <a:pt x="0" y="21"/>
                </a:moveTo>
                <a:lnTo>
                  <a:pt x="6" y="0"/>
                </a:lnTo>
                <a:lnTo>
                  <a:pt x="6" y="6"/>
                </a:lnTo>
                <a:lnTo>
                  <a:pt x="0" y="2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8" name="Freeform 895"/>
          <p:cNvSpPr>
            <a:spLocks/>
          </p:cNvSpPr>
          <p:nvPr/>
        </p:nvSpPr>
        <p:spPr bwMode="auto">
          <a:xfrm>
            <a:off x="7065963" y="4083050"/>
            <a:ext cx="30163" cy="30163"/>
          </a:xfrm>
          <a:custGeom>
            <a:avLst/>
            <a:gdLst>
              <a:gd name="T0" fmla="*/ 19 w 19"/>
              <a:gd name="T1" fmla="*/ 0 h 19"/>
              <a:gd name="T2" fmla="*/ 17 w 19"/>
              <a:gd name="T3" fmla="*/ 0 h 19"/>
              <a:gd name="T4" fmla="*/ 10 w 19"/>
              <a:gd name="T5" fmla="*/ 4 h 19"/>
              <a:gd name="T6" fmla="*/ 2 w 19"/>
              <a:gd name="T7" fmla="*/ 12 h 19"/>
              <a:gd name="T8" fmla="*/ 0 w 19"/>
              <a:gd name="T9" fmla="*/ 19 h 19"/>
              <a:gd name="T10" fmla="*/ 4 w 19"/>
              <a:gd name="T11" fmla="*/ 12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17" y="0"/>
                </a:lnTo>
                <a:lnTo>
                  <a:pt x="10" y="4"/>
                </a:lnTo>
                <a:lnTo>
                  <a:pt x="2" y="12"/>
                </a:lnTo>
                <a:lnTo>
                  <a:pt x="0" y="19"/>
                </a:lnTo>
                <a:lnTo>
                  <a:pt x="4" y="12"/>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896"/>
          <p:cNvSpPr>
            <a:spLocks/>
          </p:cNvSpPr>
          <p:nvPr/>
        </p:nvSpPr>
        <p:spPr bwMode="auto">
          <a:xfrm>
            <a:off x="7065963" y="4083050"/>
            <a:ext cx="30163" cy="30163"/>
          </a:xfrm>
          <a:custGeom>
            <a:avLst/>
            <a:gdLst>
              <a:gd name="T0" fmla="*/ 19 w 19"/>
              <a:gd name="T1" fmla="*/ 0 h 19"/>
              <a:gd name="T2" fmla="*/ 17 w 19"/>
              <a:gd name="T3" fmla="*/ 0 h 19"/>
              <a:gd name="T4" fmla="*/ 10 w 19"/>
              <a:gd name="T5" fmla="*/ 4 h 19"/>
              <a:gd name="T6" fmla="*/ 2 w 19"/>
              <a:gd name="T7" fmla="*/ 12 h 19"/>
              <a:gd name="T8" fmla="*/ 0 w 19"/>
              <a:gd name="T9" fmla="*/ 19 h 19"/>
              <a:gd name="T10" fmla="*/ 4 w 19"/>
              <a:gd name="T11" fmla="*/ 12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17" y="0"/>
                </a:lnTo>
                <a:lnTo>
                  <a:pt x="10" y="4"/>
                </a:lnTo>
                <a:lnTo>
                  <a:pt x="2" y="12"/>
                </a:lnTo>
                <a:lnTo>
                  <a:pt x="0" y="19"/>
                </a:lnTo>
                <a:lnTo>
                  <a:pt x="4" y="12"/>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0" name="Freeform 897"/>
          <p:cNvSpPr>
            <a:spLocks/>
          </p:cNvSpPr>
          <p:nvPr/>
        </p:nvSpPr>
        <p:spPr bwMode="auto">
          <a:xfrm>
            <a:off x="7065963" y="4083050"/>
            <a:ext cx="30163" cy="30163"/>
          </a:xfrm>
          <a:custGeom>
            <a:avLst/>
            <a:gdLst>
              <a:gd name="T0" fmla="*/ 19 w 19"/>
              <a:gd name="T1" fmla="*/ 0 h 19"/>
              <a:gd name="T2" fmla="*/ 4 w 19"/>
              <a:gd name="T3" fmla="*/ 12 h 19"/>
              <a:gd name="T4" fmla="*/ 0 w 19"/>
              <a:gd name="T5" fmla="*/ 19 h 19"/>
              <a:gd name="T6" fmla="*/ 2 w 19"/>
              <a:gd name="T7" fmla="*/ 12 h 19"/>
              <a:gd name="T8" fmla="*/ 10 w 19"/>
              <a:gd name="T9" fmla="*/ 4 h 19"/>
              <a:gd name="T10" fmla="*/ 17 w 19"/>
              <a:gd name="T11" fmla="*/ 0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4" y="12"/>
                </a:lnTo>
                <a:lnTo>
                  <a:pt x="0" y="19"/>
                </a:lnTo>
                <a:lnTo>
                  <a:pt x="2" y="12"/>
                </a:lnTo>
                <a:lnTo>
                  <a:pt x="10" y="4"/>
                </a:lnTo>
                <a:lnTo>
                  <a:pt x="17" y="0"/>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898"/>
          <p:cNvSpPr>
            <a:spLocks/>
          </p:cNvSpPr>
          <p:nvPr/>
        </p:nvSpPr>
        <p:spPr bwMode="auto">
          <a:xfrm>
            <a:off x="7065963" y="4083050"/>
            <a:ext cx="30163" cy="30163"/>
          </a:xfrm>
          <a:custGeom>
            <a:avLst/>
            <a:gdLst>
              <a:gd name="T0" fmla="*/ 19 w 19"/>
              <a:gd name="T1" fmla="*/ 0 h 19"/>
              <a:gd name="T2" fmla="*/ 4 w 19"/>
              <a:gd name="T3" fmla="*/ 12 h 19"/>
              <a:gd name="T4" fmla="*/ 0 w 19"/>
              <a:gd name="T5" fmla="*/ 19 h 19"/>
              <a:gd name="T6" fmla="*/ 2 w 19"/>
              <a:gd name="T7" fmla="*/ 12 h 19"/>
              <a:gd name="T8" fmla="*/ 10 w 19"/>
              <a:gd name="T9" fmla="*/ 4 h 19"/>
              <a:gd name="T10" fmla="*/ 17 w 19"/>
              <a:gd name="T11" fmla="*/ 0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4" y="12"/>
                </a:lnTo>
                <a:lnTo>
                  <a:pt x="0" y="19"/>
                </a:lnTo>
                <a:lnTo>
                  <a:pt x="2" y="12"/>
                </a:lnTo>
                <a:lnTo>
                  <a:pt x="10" y="4"/>
                </a:lnTo>
                <a:lnTo>
                  <a:pt x="17" y="0"/>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2" name="Freeform 899"/>
          <p:cNvSpPr>
            <a:spLocks/>
          </p:cNvSpPr>
          <p:nvPr/>
        </p:nvSpPr>
        <p:spPr bwMode="auto">
          <a:xfrm>
            <a:off x="7135813" y="4029075"/>
            <a:ext cx="47625" cy="15875"/>
          </a:xfrm>
          <a:custGeom>
            <a:avLst/>
            <a:gdLst>
              <a:gd name="T0" fmla="*/ 30 w 30"/>
              <a:gd name="T1" fmla="*/ 0 h 10"/>
              <a:gd name="T2" fmla="*/ 28 w 30"/>
              <a:gd name="T3" fmla="*/ 0 h 10"/>
              <a:gd name="T4" fmla="*/ 20 w 30"/>
              <a:gd name="T5" fmla="*/ 2 h 10"/>
              <a:gd name="T6" fmla="*/ 7 w 30"/>
              <a:gd name="T7" fmla="*/ 6 h 10"/>
              <a:gd name="T8" fmla="*/ 0 w 30"/>
              <a:gd name="T9" fmla="*/ 10 h 10"/>
              <a:gd name="T10" fmla="*/ 15 w 30"/>
              <a:gd name="T11" fmla="*/ 4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28" y="0"/>
                </a:lnTo>
                <a:lnTo>
                  <a:pt x="20" y="2"/>
                </a:lnTo>
                <a:lnTo>
                  <a:pt x="7" y="6"/>
                </a:lnTo>
                <a:lnTo>
                  <a:pt x="0" y="10"/>
                </a:lnTo>
                <a:lnTo>
                  <a:pt x="15" y="4"/>
                </a:lnTo>
                <a:lnTo>
                  <a:pt x="3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900"/>
          <p:cNvSpPr>
            <a:spLocks/>
          </p:cNvSpPr>
          <p:nvPr/>
        </p:nvSpPr>
        <p:spPr bwMode="auto">
          <a:xfrm>
            <a:off x="7135813" y="4029075"/>
            <a:ext cx="47625" cy="15875"/>
          </a:xfrm>
          <a:custGeom>
            <a:avLst/>
            <a:gdLst>
              <a:gd name="T0" fmla="*/ 30 w 30"/>
              <a:gd name="T1" fmla="*/ 0 h 10"/>
              <a:gd name="T2" fmla="*/ 28 w 30"/>
              <a:gd name="T3" fmla="*/ 0 h 10"/>
              <a:gd name="T4" fmla="*/ 20 w 30"/>
              <a:gd name="T5" fmla="*/ 2 h 10"/>
              <a:gd name="T6" fmla="*/ 7 w 30"/>
              <a:gd name="T7" fmla="*/ 6 h 10"/>
              <a:gd name="T8" fmla="*/ 0 w 30"/>
              <a:gd name="T9" fmla="*/ 10 h 10"/>
              <a:gd name="T10" fmla="*/ 15 w 30"/>
              <a:gd name="T11" fmla="*/ 4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28" y="0"/>
                </a:lnTo>
                <a:lnTo>
                  <a:pt x="20" y="2"/>
                </a:lnTo>
                <a:lnTo>
                  <a:pt x="7" y="6"/>
                </a:lnTo>
                <a:lnTo>
                  <a:pt x="0" y="10"/>
                </a:lnTo>
                <a:lnTo>
                  <a:pt x="15" y="4"/>
                </a:lnTo>
                <a:lnTo>
                  <a:pt x="3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4" name="Freeform 901"/>
          <p:cNvSpPr>
            <a:spLocks/>
          </p:cNvSpPr>
          <p:nvPr/>
        </p:nvSpPr>
        <p:spPr bwMode="auto">
          <a:xfrm>
            <a:off x="7210425" y="3978275"/>
            <a:ext cx="30163" cy="60325"/>
          </a:xfrm>
          <a:custGeom>
            <a:avLst/>
            <a:gdLst>
              <a:gd name="T0" fmla="*/ 19 w 19"/>
              <a:gd name="T1" fmla="*/ 0 h 38"/>
              <a:gd name="T2" fmla="*/ 13 w 19"/>
              <a:gd name="T3" fmla="*/ 6 h 38"/>
              <a:gd name="T4" fmla="*/ 9 w 19"/>
              <a:gd name="T5" fmla="*/ 15 h 38"/>
              <a:gd name="T6" fmla="*/ 5 w 19"/>
              <a:gd name="T7" fmla="*/ 21 h 38"/>
              <a:gd name="T8" fmla="*/ 0 w 19"/>
              <a:gd name="T9" fmla="*/ 38 h 38"/>
              <a:gd name="T10" fmla="*/ 9 w 19"/>
              <a:gd name="T11" fmla="*/ 17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13" y="6"/>
                </a:lnTo>
                <a:lnTo>
                  <a:pt x="9" y="15"/>
                </a:lnTo>
                <a:lnTo>
                  <a:pt x="5" y="21"/>
                </a:lnTo>
                <a:lnTo>
                  <a:pt x="0" y="38"/>
                </a:lnTo>
                <a:lnTo>
                  <a:pt x="9" y="17"/>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902"/>
          <p:cNvSpPr>
            <a:spLocks/>
          </p:cNvSpPr>
          <p:nvPr/>
        </p:nvSpPr>
        <p:spPr bwMode="auto">
          <a:xfrm>
            <a:off x="7210425" y="3978275"/>
            <a:ext cx="30163" cy="60325"/>
          </a:xfrm>
          <a:custGeom>
            <a:avLst/>
            <a:gdLst>
              <a:gd name="T0" fmla="*/ 19 w 19"/>
              <a:gd name="T1" fmla="*/ 0 h 38"/>
              <a:gd name="T2" fmla="*/ 13 w 19"/>
              <a:gd name="T3" fmla="*/ 6 h 38"/>
              <a:gd name="T4" fmla="*/ 9 w 19"/>
              <a:gd name="T5" fmla="*/ 15 h 38"/>
              <a:gd name="T6" fmla="*/ 5 w 19"/>
              <a:gd name="T7" fmla="*/ 21 h 38"/>
              <a:gd name="T8" fmla="*/ 0 w 19"/>
              <a:gd name="T9" fmla="*/ 38 h 38"/>
              <a:gd name="T10" fmla="*/ 9 w 19"/>
              <a:gd name="T11" fmla="*/ 17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13" y="6"/>
                </a:lnTo>
                <a:lnTo>
                  <a:pt x="9" y="15"/>
                </a:lnTo>
                <a:lnTo>
                  <a:pt x="5" y="21"/>
                </a:lnTo>
                <a:lnTo>
                  <a:pt x="0" y="38"/>
                </a:lnTo>
                <a:lnTo>
                  <a:pt x="9" y="17"/>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6" name="Freeform 903"/>
          <p:cNvSpPr>
            <a:spLocks/>
          </p:cNvSpPr>
          <p:nvPr/>
        </p:nvSpPr>
        <p:spPr bwMode="auto">
          <a:xfrm>
            <a:off x="7251700" y="3948113"/>
            <a:ext cx="9525" cy="9525"/>
          </a:xfrm>
          <a:custGeom>
            <a:avLst/>
            <a:gdLst>
              <a:gd name="T0" fmla="*/ 0 w 6"/>
              <a:gd name="T1" fmla="*/ 6 h 6"/>
              <a:gd name="T2" fmla="*/ 6 w 6"/>
              <a:gd name="T3" fmla="*/ 0 h 6"/>
              <a:gd name="T4" fmla="*/ 2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2" y="0"/>
                </a:lnTo>
                <a:lnTo>
                  <a:pt x="0" y="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904"/>
          <p:cNvSpPr>
            <a:spLocks/>
          </p:cNvSpPr>
          <p:nvPr/>
        </p:nvSpPr>
        <p:spPr bwMode="auto">
          <a:xfrm>
            <a:off x="7251700" y="3948113"/>
            <a:ext cx="9525" cy="9525"/>
          </a:xfrm>
          <a:custGeom>
            <a:avLst/>
            <a:gdLst>
              <a:gd name="T0" fmla="*/ 0 w 6"/>
              <a:gd name="T1" fmla="*/ 6 h 6"/>
              <a:gd name="T2" fmla="*/ 6 w 6"/>
              <a:gd name="T3" fmla="*/ 0 h 6"/>
              <a:gd name="T4" fmla="*/ 2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2" y="0"/>
                </a:lnTo>
                <a:lnTo>
                  <a:pt x="0" y="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8" name="Freeform 905"/>
          <p:cNvSpPr>
            <a:spLocks/>
          </p:cNvSpPr>
          <p:nvPr/>
        </p:nvSpPr>
        <p:spPr bwMode="auto">
          <a:xfrm>
            <a:off x="7272338" y="3916363"/>
            <a:ext cx="19050" cy="20638"/>
          </a:xfrm>
          <a:custGeom>
            <a:avLst/>
            <a:gdLst>
              <a:gd name="T0" fmla="*/ 12 w 12"/>
              <a:gd name="T1" fmla="*/ 0 h 13"/>
              <a:gd name="T2" fmla="*/ 12 w 12"/>
              <a:gd name="T3" fmla="*/ 0 h 13"/>
              <a:gd name="T4" fmla="*/ 12 w 12"/>
              <a:gd name="T5" fmla="*/ 0 h 13"/>
              <a:gd name="T6" fmla="*/ 4 w 12"/>
              <a:gd name="T7" fmla="*/ 7 h 13"/>
              <a:gd name="T8" fmla="*/ 0 w 12"/>
              <a:gd name="T9" fmla="*/ 13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12" y="0"/>
                </a:lnTo>
                <a:lnTo>
                  <a:pt x="12" y="0"/>
                </a:lnTo>
                <a:lnTo>
                  <a:pt x="4" y="7"/>
                </a:lnTo>
                <a:lnTo>
                  <a:pt x="0" y="13"/>
                </a:lnTo>
                <a:lnTo>
                  <a:pt x="1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906"/>
          <p:cNvSpPr>
            <a:spLocks/>
          </p:cNvSpPr>
          <p:nvPr/>
        </p:nvSpPr>
        <p:spPr bwMode="auto">
          <a:xfrm>
            <a:off x="7272338" y="3916363"/>
            <a:ext cx="19050" cy="20638"/>
          </a:xfrm>
          <a:custGeom>
            <a:avLst/>
            <a:gdLst>
              <a:gd name="T0" fmla="*/ 12 w 12"/>
              <a:gd name="T1" fmla="*/ 0 h 13"/>
              <a:gd name="T2" fmla="*/ 12 w 12"/>
              <a:gd name="T3" fmla="*/ 0 h 13"/>
              <a:gd name="T4" fmla="*/ 12 w 12"/>
              <a:gd name="T5" fmla="*/ 0 h 13"/>
              <a:gd name="T6" fmla="*/ 4 w 12"/>
              <a:gd name="T7" fmla="*/ 7 h 13"/>
              <a:gd name="T8" fmla="*/ 0 w 12"/>
              <a:gd name="T9" fmla="*/ 13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12" y="0"/>
                </a:lnTo>
                <a:lnTo>
                  <a:pt x="12" y="0"/>
                </a:lnTo>
                <a:lnTo>
                  <a:pt x="4" y="7"/>
                </a:lnTo>
                <a:lnTo>
                  <a:pt x="0" y="13"/>
                </a:lnTo>
                <a:lnTo>
                  <a:pt x="1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0" name="Freeform 907"/>
          <p:cNvSpPr>
            <a:spLocks/>
          </p:cNvSpPr>
          <p:nvPr/>
        </p:nvSpPr>
        <p:spPr bwMode="auto">
          <a:xfrm>
            <a:off x="7308850" y="3805238"/>
            <a:ext cx="20638" cy="101600"/>
          </a:xfrm>
          <a:custGeom>
            <a:avLst/>
            <a:gdLst>
              <a:gd name="T0" fmla="*/ 13 w 13"/>
              <a:gd name="T1" fmla="*/ 60 h 64"/>
              <a:gd name="T2" fmla="*/ 13 w 13"/>
              <a:gd name="T3" fmla="*/ 45 h 64"/>
              <a:gd name="T4" fmla="*/ 11 w 13"/>
              <a:gd name="T5" fmla="*/ 23 h 64"/>
              <a:gd name="T6" fmla="*/ 9 w 13"/>
              <a:gd name="T7" fmla="*/ 15 h 64"/>
              <a:gd name="T8" fmla="*/ 2 w 13"/>
              <a:gd name="T9" fmla="*/ 0 h 64"/>
              <a:gd name="T10" fmla="*/ 4 w 13"/>
              <a:gd name="T11" fmla="*/ 9 h 64"/>
              <a:gd name="T12" fmla="*/ 9 w 13"/>
              <a:gd name="T13" fmla="*/ 15 h 64"/>
              <a:gd name="T14" fmla="*/ 9 w 13"/>
              <a:gd name="T15" fmla="*/ 21 h 64"/>
              <a:gd name="T16" fmla="*/ 11 w 13"/>
              <a:gd name="T17" fmla="*/ 49 h 64"/>
              <a:gd name="T18" fmla="*/ 9 w 13"/>
              <a:gd name="T19" fmla="*/ 55 h 64"/>
              <a:gd name="T20" fmla="*/ 0 w 13"/>
              <a:gd name="T21" fmla="*/ 62 h 64"/>
              <a:gd name="T22" fmla="*/ 2 w 13"/>
              <a:gd name="T23" fmla="*/ 64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13" y="45"/>
                </a:lnTo>
                <a:lnTo>
                  <a:pt x="11" y="23"/>
                </a:lnTo>
                <a:lnTo>
                  <a:pt x="9" y="15"/>
                </a:lnTo>
                <a:lnTo>
                  <a:pt x="2" y="0"/>
                </a:lnTo>
                <a:lnTo>
                  <a:pt x="4" y="9"/>
                </a:lnTo>
                <a:lnTo>
                  <a:pt x="9" y="15"/>
                </a:lnTo>
                <a:lnTo>
                  <a:pt x="9" y="21"/>
                </a:lnTo>
                <a:lnTo>
                  <a:pt x="11" y="49"/>
                </a:lnTo>
                <a:lnTo>
                  <a:pt x="9" y="55"/>
                </a:lnTo>
                <a:lnTo>
                  <a:pt x="0" y="62"/>
                </a:lnTo>
                <a:lnTo>
                  <a:pt x="2" y="64"/>
                </a:lnTo>
                <a:lnTo>
                  <a:pt x="13" y="6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908"/>
          <p:cNvSpPr>
            <a:spLocks/>
          </p:cNvSpPr>
          <p:nvPr/>
        </p:nvSpPr>
        <p:spPr bwMode="auto">
          <a:xfrm>
            <a:off x="7308850" y="3805238"/>
            <a:ext cx="20638" cy="101600"/>
          </a:xfrm>
          <a:custGeom>
            <a:avLst/>
            <a:gdLst>
              <a:gd name="T0" fmla="*/ 13 w 13"/>
              <a:gd name="T1" fmla="*/ 60 h 64"/>
              <a:gd name="T2" fmla="*/ 13 w 13"/>
              <a:gd name="T3" fmla="*/ 45 h 64"/>
              <a:gd name="T4" fmla="*/ 11 w 13"/>
              <a:gd name="T5" fmla="*/ 23 h 64"/>
              <a:gd name="T6" fmla="*/ 9 w 13"/>
              <a:gd name="T7" fmla="*/ 15 h 64"/>
              <a:gd name="T8" fmla="*/ 2 w 13"/>
              <a:gd name="T9" fmla="*/ 0 h 64"/>
              <a:gd name="T10" fmla="*/ 4 w 13"/>
              <a:gd name="T11" fmla="*/ 9 h 64"/>
              <a:gd name="T12" fmla="*/ 9 w 13"/>
              <a:gd name="T13" fmla="*/ 15 h 64"/>
              <a:gd name="T14" fmla="*/ 9 w 13"/>
              <a:gd name="T15" fmla="*/ 21 h 64"/>
              <a:gd name="T16" fmla="*/ 11 w 13"/>
              <a:gd name="T17" fmla="*/ 49 h 64"/>
              <a:gd name="T18" fmla="*/ 9 w 13"/>
              <a:gd name="T19" fmla="*/ 55 h 64"/>
              <a:gd name="T20" fmla="*/ 0 w 13"/>
              <a:gd name="T21" fmla="*/ 62 h 64"/>
              <a:gd name="T22" fmla="*/ 2 w 13"/>
              <a:gd name="T23" fmla="*/ 64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13" y="45"/>
                </a:lnTo>
                <a:lnTo>
                  <a:pt x="11" y="23"/>
                </a:lnTo>
                <a:lnTo>
                  <a:pt x="9" y="15"/>
                </a:lnTo>
                <a:lnTo>
                  <a:pt x="2" y="0"/>
                </a:lnTo>
                <a:lnTo>
                  <a:pt x="4" y="9"/>
                </a:lnTo>
                <a:lnTo>
                  <a:pt x="9" y="15"/>
                </a:lnTo>
                <a:lnTo>
                  <a:pt x="9" y="21"/>
                </a:lnTo>
                <a:lnTo>
                  <a:pt x="11" y="49"/>
                </a:lnTo>
                <a:lnTo>
                  <a:pt x="9" y="55"/>
                </a:lnTo>
                <a:lnTo>
                  <a:pt x="0" y="62"/>
                </a:lnTo>
                <a:lnTo>
                  <a:pt x="2" y="64"/>
                </a:lnTo>
                <a:lnTo>
                  <a:pt x="13" y="6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2" name="Freeform 909"/>
          <p:cNvSpPr>
            <a:spLocks/>
          </p:cNvSpPr>
          <p:nvPr/>
        </p:nvSpPr>
        <p:spPr bwMode="auto">
          <a:xfrm>
            <a:off x="6081713" y="3683000"/>
            <a:ext cx="1200150" cy="544513"/>
          </a:xfrm>
          <a:custGeom>
            <a:avLst/>
            <a:gdLst>
              <a:gd name="T0" fmla="*/ 21 w 756"/>
              <a:gd name="T1" fmla="*/ 264 h 343"/>
              <a:gd name="T2" fmla="*/ 47 w 756"/>
              <a:gd name="T3" fmla="*/ 233 h 343"/>
              <a:gd name="T4" fmla="*/ 100 w 756"/>
              <a:gd name="T5" fmla="*/ 198 h 343"/>
              <a:gd name="T6" fmla="*/ 121 w 756"/>
              <a:gd name="T7" fmla="*/ 179 h 343"/>
              <a:gd name="T8" fmla="*/ 141 w 756"/>
              <a:gd name="T9" fmla="*/ 173 h 343"/>
              <a:gd name="T10" fmla="*/ 162 w 756"/>
              <a:gd name="T11" fmla="*/ 152 h 343"/>
              <a:gd name="T12" fmla="*/ 194 w 756"/>
              <a:gd name="T13" fmla="*/ 128 h 343"/>
              <a:gd name="T14" fmla="*/ 209 w 756"/>
              <a:gd name="T15" fmla="*/ 98 h 343"/>
              <a:gd name="T16" fmla="*/ 326 w 756"/>
              <a:gd name="T17" fmla="*/ 75 h 343"/>
              <a:gd name="T18" fmla="*/ 709 w 756"/>
              <a:gd name="T19" fmla="*/ 7 h 343"/>
              <a:gd name="T20" fmla="*/ 737 w 756"/>
              <a:gd name="T21" fmla="*/ 39 h 343"/>
              <a:gd name="T22" fmla="*/ 722 w 756"/>
              <a:gd name="T23" fmla="*/ 34 h 343"/>
              <a:gd name="T24" fmla="*/ 698 w 756"/>
              <a:gd name="T25" fmla="*/ 32 h 343"/>
              <a:gd name="T26" fmla="*/ 705 w 756"/>
              <a:gd name="T27" fmla="*/ 49 h 343"/>
              <a:gd name="T28" fmla="*/ 686 w 756"/>
              <a:gd name="T29" fmla="*/ 51 h 343"/>
              <a:gd name="T30" fmla="*/ 662 w 756"/>
              <a:gd name="T31" fmla="*/ 69 h 343"/>
              <a:gd name="T32" fmla="*/ 656 w 756"/>
              <a:gd name="T33" fmla="*/ 43 h 343"/>
              <a:gd name="T34" fmla="*/ 654 w 756"/>
              <a:gd name="T35" fmla="*/ 58 h 343"/>
              <a:gd name="T36" fmla="*/ 673 w 756"/>
              <a:gd name="T37" fmla="*/ 79 h 343"/>
              <a:gd name="T38" fmla="*/ 703 w 756"/>
              <a:gd name="T39" fmla="*/ 69 h 343"/>
              <a:gd name="T40" fmla="*/ 724 w 756"/>
              <a:gd name="T41" fmla="*/ 79 h 343"/>
              <a:gd name="T42" fmla="*/ 724 w 756"/>
              <a:gd name="T43" fmla="*/ 100 h 343"/>
              <a:gd name="T44" fmla="*/ 739 w 756"/>
              <a:gd name="T45" fmla="*/ 71 h 343"/>
              <a:gd name="T46" fmla="*/ 754 w 756"/>
              <a:gd name="T47" fmla="*/ 75 h 343"/>
              <a:gd name="T48" fmla="*/ 743 w 756"/>
              <a:gd name="T49" fmla="*/ 100 h 343"/>
              <a:gd name="T50" fmla="*/ 711 w 756"/>
              <a:gd name="T51" fmla="*/ 137 h 343"/>
              <a:gd name="T52" fmla="*/ 692 w 756"/>
              <a:gd name="T53" fmla="*/ 132 h 343"/>
              <a:gd name="T54" fmla="*/ 684 w 756"/>
              <a:gd name="T55" fmla="*/ 130 h 343"/>
              <a:gd name="T56" fmla="*/ 660 w 756"/>
              <a:gd name="T57" fmla="*/ 137 h 343"/>
              <a:gd name="T58" fmla="*/ 677 w 756"/>
              <a:gd name="T59" fmla="*/ 145 h 343"/>
              <a:gd name="T60" fmla="*/ 690 w 756"/>
              <a:gd name="T61" fmla="*/ 160 h 343"/>
              <a:gd name="T62" fmla="*/ 684 w 756"/>
              <a:gd name="T63" fmla="*/ 186 h 343"/>
              <a:gd name="T64" fmla="*/ 656 w 756"/>
              <a:gd name="T65" fmla="*/ 179 h 343"/>
              <a:gd name="T66" fmla="*/ 681 w 756"/>
              <a:gd name="T67" fmla="*/ 194 h 343"/>
              <a:gd name="T68" fmla="*/ 705 w 756"/>
              <a:gd name="T69" fmla="*/ 181 h 343"/>
              <a:gd name="T70" fmla="*/ 709 w 756"/>
              <a:gd name="T71" fmla="*/ 186 h 343"/>
              <a:gd name="T72" fmla="*/ 724 w 756"/>
              <a:gd name="T73" fmla="*/ 184 h 343"/>
              <a:gd name="T74" fmla="*/ 707 w 756"/>
              <a:gd name="T75" fmla="*/ 211 h 343"/>
              <a:gd name="T76" fmla="*/ 688 w 756"/>
              <a:gd name="T77" fmla="*/ 213 h 343"/>
              <a:gd name="T78" fmla="*/ 654 w 756"/>
              <a:gd name="T79" fmla="*/ 224 h 343"/>
              <a:gd name="T80" fmla="*/ 632 w 756"/>
              <a:gd name="T81" fmla="*/ 243 h 343"/>
              <a:gd name="T82" fmla="*/ 630 w 756"/>
              <a:gd name="T83" fmla="*/ 245 h 343"/>
              <a:gd name="T84" fmla="*/ 603 w 756"/>
              <a:gd name="T85" fmla="*/ 294 h 343"/>
              <a:gd name="T86" fmla="*/ 592 w 756"/>
              <a:gd name="T87" fmla="*/ 299 h 343"/>
              <a:gd name="T88" fmla="*/ 588 w 756"/>
              <a:gd name="T89" fmla="*/ 333 h 343"/>
              <a:gd name="T90" fmla="*/ 543 w 756"/>
              <a:gd name="T91" fmla="*/ 343 h 343"/>
              <a:gd name="T92" fmla="*/ 322 w 756"/>
              <a:gd name="T93" fmla="*/ 273 h 343"/>
              <a:gd name="T94" fmla="*/ 300 w 756"/>
              <a:gd name="T95" fmla="*/ 250 h 343"/>
              <a:gd name="T96" fmla="*/ 175 w 756"/>
              <a:gd name="T97" fmla="*/ 256 h 343"/>
              <a:gd name="T98" fmla="*/ 134 w 756"/>
              <a:gd name="T99" fmla="*/ 27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343">
                <a:moveTo>
                  <a:pt x="0" y="305"/>
                </a:moveTo>
                <a:lnTo>
                  <a:pt x="0" y="275"/>
                </a:lnTo>
                <a:lnTo>
                  <a:pt x="15" y="273"/>
                </a:lnTo>
                <a:lnTo>
                  <a:pt x="21" y="264"/>
                </a:lnTo>
                <a:lnTo>
                  <a:pt x="21" y="256"/>
                </a:lnTo>
                <a:lnTo>
                  <a:pt x="26" y="247"/>
                </a:lnTo>
                <a:lnTo>
                  <a:pt x="32" y="241"/>
                </a:lnTo>
                <a:lnTo>
                  <a:pt x="47" y="233"/>
                </a:lnTo>
                <a:lnTo>
                  <a:pt x="60" y="233"/>
                </a:lnTo>
                <a:lnTo>
                  <a:pt x="66" y="228"/>
                </a:lnTo>
                <a:lnTo>
                  <a:pt x="87" y="209"/>
                </a:lnTo>
                <a:lnTo>
                  <a:pt x="100" y="198"/>
                </a:lnTo>
                <a:lnTo>
                  <a:pt x="107" y="198"/>
                </a:lnTo>
                <a:lnTo>
                  <a:pt x="111" y="192"/>
                </a:lnTo>
                <a:lnTo>
                  <a:pt x="115" y="177"/>
                </a:lnTo>
                <a:lnTo>
                  <a:pt x="121" y="179"/>
                </a:lnTo>
                <a:lnTo>
                  <a:pt x="124" y="173"/>
                </a:lnTo>
                <a:lnTo>
                  <a:pt x="126" y="169"/>
                </a:lnTo>
                <a:lnTo>
                  <a:pt x="134" y="164"/>
                </a:lnTo>
                <a:lnTo>
                  <a:pt x="141" y="173"/>
                </a:lnTo>
                <a:lnTo>
                  <a:pt x="145" y="173"/>
                </a:lnTo>
                <a:lnTo>
                  <a:pt x="151" y="164"/>
                </a:lnTo>
                <a:lnTo>
                  <a:pt x="156" y="158"/>
                </a:lnTo>
                <a:lnTo>
                  <a:pt x="162" y="152"/>
                </a:lnTo>
                <a:lnTo>
                  <a:pt x="175" y="147"/>
                </a:lnTo>
                <a:lnTo>
                  <a:pt x="181" y="152"/>
                </a:lnTo>
                <a:lnTo>
                  <a:pt x="190" y="143"/>
                </a:lnTo>
                <a:lnTo>
                  <a:pt x="194" y="128"/>
                </a:lnTo>
                <a:lnTo>
                  <a:pt x="200" y="122"/>
                </a:lnTo>
                <a:lnTo>
                  <a:pt x="207" y="120"/>
                </a:lnTo>
                <a:lnTo>
                  <a:pt x="209" y="105"/>
                </a:lnTo>
                <a:lnTo>
                  <a:pt x="209" y="98"/>
                </a:lnTo>
                <a:lnTo>
                  <a:pt x="213" y="88"/>
                </a:lnTo>
                <a:lnTo>
                  <a:pt x="226" y="90"/>
                </a:lnTo>
                <a:lnTo>
                  <a:pt x="256" y="86"/>
                </a:lnTo>
                <a:lnTo>
                  <a:pt x="326" y="75"/>
                </a:lnTo>
                <a:lnTo>
                  <a:pt x="522" y="39"/>
                </a:lnTo>
                <a:lnTo>
                  <a:pt x="620" y="20"/>
                </a:lnTo>
                <a:lnTo>
                  <a:pt x="707" y="0"/>
                </a:lnTo>
                <a:lnTo>
                  <a:pt x="709" y="7"/>
                </a:lnTo>
                <a:lnTo>
                  <a:pt x="716" y="13"/>
                </a:lnTo>
                <a:lnTo>
                  <a:pt x="722" y="15"/>
                </a:lnTo>
                <a:lnTo>
                  <a:pt x="722" y="20"/>
                </a:lnTo>
                <a:lnTo>
                  <a:pt x="737" y="39"/>
                </a:lnTo>
                <a:lnTo>
                  <a:pt x="737" y="47"/>
                </a:lnTo>
                <a:lnTo>
                  <a:pt x="733" y="37"/>
                </a:lnTo>
                <a:lnTo>
                  <a:pt x="718" y="26"/>
                </a:lnTo>
                <a:lnTo>
                  <a:pt x="722" y="34"/>
                </a:lnTo>
                <a:lnTo>
                  <a:pt x="728" y="41"/>
                </a:lnTo>
                <a:lnTo>
                  <a:pt x="720" y="41"/>
                </a:lnTo>
                <a:lnTo>
                  <a:pt x="705" y="32"/>
                </a:lnTo>
                <a:lnTo>
                  <a:pt x="698" y="32"/>
                </a:lnTo>
                <a:lnTo>
                  <a:pt x="705" y="34"/>
                </a:lnTo>
                <a:lnTo>
                  <a:pt x="711" y="41"/>
                </a:lnTo>
                <a:lnTo>
                  <a:pt x="711" y="47"/>
                </a:lnTo>
                <a:lnTo>
                  <a:pt x="705" y="49"/>
                </a:lnTo>
                <a:lnTo>
                  <a:pt x="698" y="47"/>
                </a:lnTo>
                <a:lnTo>
                  <a:pt x="703" y="54"/>
                </a:lnTo>
                <a:lnTo>
                  <a:pt x="692" y="51"/>
                </a:lnTo>
                <a:lnTo>
                  <a:pt x="686" y="51"/>
                </a:lnTo>
                <a:lnTo>
                  <a:pt x="694" y="58"/>
                </a:lnTo>
                <a:lnTo>
                  <a:pt x="677" y="71"/>
                </a:lnTo>
                <a:lnTo>
                  <a:pt x="671" y="66"/>
                </a:lnTo>
                <a:lnTo>
                  <a:pt x="662" y="69"/>
                </a:lnTo>
                <a:lnTo>
                  <a:pt x="656" y="54"/>
                </a:lnTo>
                <a:lnTo>
                  <a:pt x="656" y="47"/>
                </a:lnTo>
                <a:lnTo>
                  <a:pt x="656" y="45"/>
                </a:lnTo>
                <a:lnTo>
                  <a:pt x="656" y="43"/>
                </a:lnTo>
                <a:lnTo>
                  <a:pt x="652" y="39"/>
                </a:lnTo>
                <a:lnTo>
                  <a:pt x="656" y="45"/>
                </a:lnTo>
                <a:lnTo>
                  <a:pt x="652" y="51"/>
                </a:lnTo>
                <a:lnTo>
                  <a:pt x="654" y="58"/>
                </a:lnTo>
                <a:lnTo>
                  <a:pt x="658" y="66"/>
                </a:lnTo>
                <a:lnTo>
                  <a:pt x="664" y="73"/>
                </a:lnTo>
                <a:lnTo>
                  <a:pt x="664" y="81"/>
                </a:lnTo>
                <a:lnTo>
                  <a:pt x="673" y="79"/>
                </a:lnTo>
                <a:lnTo>
                  <a:pt x="679" y="77"/>
                </a:lnTo>
                <a:lnTo>
                  <a:pt x="688" y="71"/>
                </a:lnTo>
                <a:lnTo>
                  <a:pt x="703" y="75"/>
                </a:lnTo>
                <a:lnTo>
                  <a:pt x="703" y="69"/>
                </a:lnTo>
                <a:lnTo>
                  <a:pt x="713" y="64"/>
                </a:lnTo>
                <a:lnTo>
                  <a:pt x="722" y="64"/>
                </a:lnTo>
                <a:lnTo>
                  <a:pt x="724" y="71"/>
                </a:lnTo>
                <a:lnTo>
                  <a:pt x="724" y="79"/>
                </a:lnTo>
                <a:lnTo>
                  <a:pt x="720" y="88"/>
                </a:lnTo>
                <a:lnTo>
                  <a:pt x="726" y="90"/>
                </a:lnTo>
                <a:lnTo>
                  <a:pt x="722" y="96"/>
                </a:lnTo>
                <a:lnTo>
                  <a:pt x="724" y="100"/>
                </a:lnTo>
                <a:lnTo>
                  <a:pt x="733" y="94"/>
                </a:lnTo>
                <a:lnTo>
                  <a:pt x="730" y="79"/>
                </a:lnTo>
                <a:lnTo>
                  <a:pt x="730" y="71"/>
                </a:lnTo>
                <a:lnTo>
                  <a:pt x="739" y="71"/>
                </a:lnTo>
                <a:lnTo>
                  <a:pt x="741" y="64"/>
                </a:lnTo>
                <a:lnTo>
                  <a:pt x="741" y="62"/>
                </a:lnTo>
                <a:lnTo>
                  <a:pt x="747" y="69"/>
                </a:lnTo>
                <a:lnTo>
                  <a:pt x="754" y="75"/>
                </a:lnTo>
                <a:lnTo>
                  <a:pt x="754" y="90"/>
                </a:lnTo>
                <a:lnTo>
                  <a:pt x="756" y="96"/>
                </a:lnTo>
                <a:lnTo>
                  <a:pt x="750" y="103"/>
                </a:lnTo>
                <a:lnTo>
                  <a:pt x="743" y="100"/>
                </a:lnTo>
                <a:lnTo>
                  <a:pt x="743" y="107"/>
                </a:lnTo>
                <a:lnTo>
                  <a:pt x="733" y="130"/>
                </a:lnTo>
                <a:lnTo>
                  <a:pt x="728" y="137"/>
                </a:lnTo>
                <a:lnTo>
                  <a:pt x="711" y="137"/>
                </a:lnTo>
                <a:lnTo>
                  <a:pt x="705" y="135"/>
                </a:lnTo>
                <a:lnTo>
                  <a:pt x="701" y="128"/>
                </a:lnTo>
                <a:lnTo>
                  <a:pt x="701" y="135"/>
                </a:lnTo>
                <a:lnTo>
                  <a:pt x="692" y="132"/>
                </a:lnTo>
                <a:lnTo>
                  <a:pt x="686" y="126"/>
                </a:lnTo>
                <a:lnTo>
                  <a:pt x="690" y="122"/>
                </a:lnTo>
                <a:lnTo>
                  <a:pt x="681" y="124"/>
                </a:lnTo>
                <a:lnTo>
                  <a:pt x="684" y="130"/>
                </a:lnTo>
                <a:lnTo>
                  <a:pt x="686" y="137"/>
                </a:lnTo>
                <a:lnTo>
                  <a:pt x="681" y="135"/>
                </a:lnTo>
                <a:lnTo>
                  <a:pt x="673" y="139"/>
                </a:lnTo>
                <a:lnTo>
                  <a:pt x="660" y="137"/>
                </a:lnTo>
                <a:lnTo>
                  <a:pt x="645" y="132"/>
                </a:lnTo>
                <a:lnTo>
                  <a:pt x="643" y="135"/>
                </a:lnTo>
                <a:lnTo>
                  <a:pt x="645" y="137"/>
                </a:lnTo>
                <a:lnTo>
                  <a:pt x="677" y="145"/>
                </a:lnTo>
                <a:lnTo>
                  <a:pt x="686" y="145"/>
                </a:lnTo>
                <a:lnTo>
                  <a:pt x="701" y="152"/>
                </a:lnTo>
                <a:lnTo>
                  <a:pt x="698" y="158"/>
                </a:lnTo>
                <a:lnTo>
                  <a:pt x="690" y="160"/>
                </a:lnTo>
                <a:lnTo>
                  <a:pt x="688" y="167"/>
                </a:lnTo>
                <a:lnTo>
                  <a:pt x="694" y="164"/>
                </a:lnTo>
                <a:lnTo>
                  <a:pt x="694" y="171"/>
                </a:lnTo>
                <a:lnTo>
                  <a:pt x="684" y="186"/>
                </a:lnTo>
                <a:lnTo>
                  <a:pt x="679" y="188"/>
                </a:lnTo>
                <a:lnTo>
                  <a:pt x="671" y="188"/>
                </a:lnTo>
                <a:lnTo>
                  <a:pt x="662" y="181"/>
                </a:lnTo>
                <a:lnTo>
                  <a:pt x="656" y="179"/>
                </a:lnTo>
                <a:lnTo>
                  <a:pt x="650" y="175"/>
                </a:lnTo>
                <a:lnTo>
                  <a:pt x="654" y="181"/>
                </a:lnTo>
                <a:lnTo>
                  <a:pt x="667" y="192"/>
                </a:lnTo>
                <a:lnTo>
                  <a:pt x="681" y="194"/>
                </a:lnTo>
                <a:lnTo>
                  <a:pt x="696" y="186"/>
                </a:lnTo>
                <a:lnTo>
                  <a:pt x="703" y="188"/>
                </a:lnTo>
                <a:lnTo>
                  <a:pt x="701" y="181"/>
                </a:lnTo>
                <a:lnTo>
                  <a:pt x="705" y="181"/>
                </a:lnTo>
                <a:lnTo>
                  <a:pt x="705" y="179"/>
                </a:lnTo>
                <a:lnTo>
                  <a:pt x="707" y="173"/>
                </a:lnTo>
                <a:lnTo>
                  <a:pt x="711" y="179"/>
                </a:lnTo>
                <a:lnTo>
                  <a:pt x="709" y="186"/>
                </a:lnTo>
                <a:lnTo>
                  <a:pt x="716" y="186"/>
                </a:lnTo>
                <a:lnTo>
                  <a:pt x="720" y="177"/>
                </a:lnTo>
                <a:lnTo>
                  <a:pt x="722" y="177"/>
                </a:lnTo>
                <a:lnTo>
                  <a:pt x="724" y="184"/>
                </a:lnTo>
                <a:lnTo>
                  <a:pt x="722" y="190"/>
                </a:lnTo>
                <a:lnTo>
                  <a:pt x="716" y="196"/>
                </a:lnTo>
                <a:lnTo>
                  <a:pt x="709" y="211"/>
                </a:lnTo>
                <a:lnTo>
                  <a:pt x="707" y="211"/>
                </a:lnTo>
                <a:lnTo>
                  <a:pt x="698" y="207"/>
                </a:lnTo>
                <a:lnTo>
                  <a:pt x="696" y="213"/>
                </a:lnTo>
                <a:lnTo>
                  <a:pt x="692" y="207"/>
                </a:lnTo>
                <a:lnTo>
                  <a:pt x="688" y="213"/>
                </a:lnTo>
                <a:lnTo>
                  <a:pt x="686" y="218"/>
                </a:lnTo>
                <a:lnTo>
                  <a:pt x="679" y="218"/>
                </a:lnTo>
                <a:lnTo>
                  <a:pt x="662" y="226"/>
                </a:lnTo>
                <a:lnTo>
                  <a:pt x="654" y="224"/>
                </a:lnTo>
                <a:lnTo>
                  <a:pt x="647" y="237"/>
                </a:lnTo>
                <a:lnTo>
                  <a:pt x="643" y="243"/>
                </a:lnTo>
                <a:lnTo>
                  <a:pt x="641" y="245"/>
                </a:lnTo>
                <a:lnTo>
                  <a:pt x="632" y="243"/>
                </a:lnTo>
                <a:lnTo>
                  <a:pt x="639" y="237"/>
                </a:lnTo>
                <a:lnTo>
                  <a:pt x="630" y="233"/>
                </a:lnTo>
                <a:lnTo>
                  <a:pt x="635" y="239"/>
                </a:lnTo>
                <a:lnTo>
                  <a:pt x="630" y="245"/>
                </a:lnTo>
                <a:lnTo>
                  <a:pt x="635" y="252"/>
                </a:lnTo>
                <a:lnTo>
                  <a:pt x="620" y="264"/>
                </a:lnTo>
                <a:lnTo>
                  <a:pt x="609" y="279"/>
                </a:lnTo>
                <a:lnTo>
                  <a:pt x="603" y="294"/>
                </a:lnTo>
                <a:lnTo>
                  <a:pt x="601" y="303"/>
                </a:lnTo>
                <a:lnTo>
                  <a:pt x="601" y="324"/>
                </a:lnTo>
                <a:lnTo>
                  <a:pt x="596" y="305"/>
                </a:lnTo>
                <a:lnTo>
                  <a:pt x="592" y="299"/>
                </a:lnTo>
                <a:lnTo>
                  <a:pt x="592" y="299"/>
                </a:lnTo>
                <a:lnTo>
                  <a:pt x="596" y="313"/>
                </a:lnTo>
                <a:lnTo>
                  <a:pt x="594" y="328"/>
                </a:lnTo>
                <a:lnTo>
                  <a:pt x="588" y="333"/>
                </a:lnTo>
                <a:lnTo>
                  <a:pt x="575" y="333"/>
                </a:lnTo>
                <a:lnTo>
                  <a:pt x="562" y="337"/>
                </a:lnTo>
                <a:lnTo>
                  <a:pt x="547" y="343"/>
                </a:lnTo>
                <a:lnTo>
                  <a:pt x="543" y="343"/>
                </a:lnTo>
                <a:lnTo>
                  <a:pt x="539" y="341"/>
                </a:lnTo>
                <a:lnTo>
                  <a:pt x="424" y="258"/>
                </a:lnTo>
                <a:lnTo>
                  <a:pt x="324" y="275"/>
                </a:lnTo>
                <a:lnTo>
                  <a:pt x="322" y="273"/>
                </a:lnTo>
                <a:lnTo>
                  <a:pt x="322" y="267"/>
                </a:lnTo>
                <a:lnTo>
                  <a:pt x="317" y="258"/>
                </a:lnTo>
                <a:lnTo>
                  <a:pt x="307" y="247"/>
                </a:lnTo>
                <a:lnTo>
                  <a:pt x="300" y="250"/>
                </a:lnTo>
                <a:lnTo>
                  <a:pt x="292" y="243"/>
                </a:lnTo>
                <a:lnTo>
                  <a:pt x="262" y="245"/>
                </a:lnTo>
                <a:lnTo>
                  <a:pt x="181" y="254"/>
                </a:lnTo>
                <a:lnTo>
                  <a:pt x="175" y="256"/>
                </a:lnTo>
                <a:lnTo>
                  <a:pt x="166" y="260"/>
                </a:lnTo>
                <a:lnTo>
                  <a:pt x="153" y="264"/>
                </a:lnTo>
                <a:lnTo>
                  <a:pt x="141" y="275"/>
                </a:lnTo>
                <a:lnTo>
                  <a:pt x="134" y="275"/>
                </a:lnTo>
                <a:lnTo>
                  <a:pt x="111" y="288"/>
                </a:lnTo>
                <a:lnTo>
                  <a:pt x="0" y="305"/>
                </a:lnTo>
                <a:close/>
              </a:path>
            </a:pathLst>
          </a:custGeom>
          <a:solidFill>
            <a:srgbClr val="9BD4FF"/>
          </a:solidFill>
          <a:ln>
            <a:noFill/>
          </a:ln>
        </p:spPr>
        <p:txBody>
          <a:bodyPr vert="horz" wrap="square" lIns="91440" tIns="45720" rIns="91440" bIns="45720" numCol="1" anchor="t" anchorCtr="0" compatLnSpc="1">
            <a:prstTxWarp prst="textNoShape">
              <a:avLst/>
            </a:prstTxWarp>
          </a:bodyPr>
          <a:lstStyle/>
          <a:p>
            <a:endParaRPr lang="en-US"/>
          </a:p>
        </p:txBody>
      </p:sp>
      <p:sp>
        <p:nvSpPr>
          <p:cNvPr id="1103" name="Freeform 910"/>
          <p:cNvSpPr>
            <a:spLocks/>
          </p:cNvSpPr>
          <p:nvPr/>
        </p:nvSpPr>
        <p:spPr bwMode="auto">
          <a:xfrm>
            <a:off x="6081713" y="3683000"/>
            <a:ext cx="1200150" cy="544513"/>
          </a:xfrm>
          <a:custGeom>
            <a:avLst/>
            <a:gdLst>
              <a:gd name="T0" fmla="*/ 21 w 756"/>
              <a:gd name="T1" fmla="*/ 264 h 343"/>
              <a:gd name="T2" fmla="*/ 47 w 756"/>
              <a:gd name="T3" fmla="*/ 233 h 343"/>
              <a:gd name="T4" fmla="*/ 100 w 756"/>
              <a:gd name="T5" fmla="*/ 198 h 343"/>
              <a:gd name="T6" fmla="*/ 121 w 756"/>
              <a:gd name="T7" fmla="*/ 179 h 343"/>
              <a:gd name="T8" fmla="*/ 141 w 756"/>
              <a:gd name="T9" fmla="*/ 173 h 343"/>
              <a:gd name="T10" fmla="*/ 162 w 756"/>
              <a:gd name="T11" fmla="*/ 152 h 343"/>
              <a:gd name="T12" fmla="*/ 194 w 756"/>
              <a:gd name="T13" fmla="*/ 128 h 343"/>
              <a:gd name="T14" fmla="*/ 209 w 756"/>
              <a:gd name="T15" fmla="*/ 98 h 343"/>
              <a:gd name="T16" fmla="*/ 326 w 756"/>
              <a:gd name="T17" fmla="*/ 75 h 343"/>
              <a:gd name="T18" fmla="*/ 709 w 756"/>
              <a:gd name="T19" fmla="*/ 7 h 343"/>
              <a:gd name="T20" fmla="*/ 737 w 756"/>
              <a:gd name="T21" fmla="*/ 39 h 343"/>
              <a:gd name="T22" fmla="*/ 722 w 756"/>
              <a:gd name="T23" fmla="*/ 34 h 343"/>
              <a:gd name="T24" fmla="*/ 698 w 756"/>
              <a:gd name="T25" fmla="*/ 32 h 343"/>
              <a:gd name="T26" fmla="*/ 705 w 756"/>
              <a:gd name="T27" fmla="*/ 49 h 343"/>
              <a:gd name="T28" fmla="*/ 686 w 756"/>
              <a:gd name="T29" fmla="*/ 51 h 343"/>
              <a:gd name="T30" fmla="*/ 662 w 756"/>
              <a:gd name="T31" fmla="*/ 69 h 343"/>
              <a:gd name="T32" fmla="*/ 656 w 756"/>
              <a:gd name="T33" fmla="*/ 43 h 343"/>
              <a:gd name="T34" fmla="*/ 654 w 756"/>
              <a:gd name="T35" fmla="*/ 58 h 343"/>
              <a:gd name="T36" fmla="*/ 673 w 756"/>
              <a:gd name="T37" fmla="*/ 79 h 343"/>
              <a:gd name="T38" fmla="*/ 703 w 756"/>
              <a:gd name="T39" fmla="*/ 69 h 343"/>
              <a:gd name="T40" fmla="*/ 724 w 756"/>
              <a:gd name="T41" fmla="*/ 79 h 343"/>
              <a:gd name="T42" fmla="*/ 724 w 756"/>
              <a:gd name="T43" fmla="*/ 100 h 343"/>
              <a:gd name="T44" fmla="*/ 739 w 756"/>
              <a:gd name="T45" fmla="*/ 71 h 343"/>
              <a:gd name="T46" fmla="*/ 754 w 756"/>
              <a:gd name="T47" fmla="*/ 75 h 343"/>
              <a:gd name="T48" fmla="*/ 743 w 756"/>
              <a:gd name="T49" fmla="*/ 100 h 343"/>
              <a:gd name="T50" fmla="*/ 711 w 756"/>
              <a:gd name="T51" fmla="*/ 137 h 343"/>
              <a:gd name="T52" fmla="*/ 692 w 756"/>
              <a:gd name="T53" fmla="*/ 132 h 343"/>
              <a:gd name="T54" fmla="*/ 684 w 756"/>
              <a:gd name="T55" fmla="*/ 130 h 343"/>
              <a:gd name="T56" fmla="*/ 660 w 756"/>
              <a:gd name="T57" fmla="*/ 137 h 343"/>
              <a:gd name="T58" fmla="*/ 677 w 756"/>
              <a:gd name="T59" fmla="*/ 145 h 343"/>
              <a:gd name="T60" fmla="*/ 690 w 756"/>
              <a:gd name="T61" fmla="*/ 160 h 343"/>
              <a:gd name="T62" fmla="*/ 684 w 756"/>
              <a:gd name="T63" fmla="*/ 186 h 343"/>
              <a:gd name="T64" fmla="*/ 656 w 756"/>
              <a:gd name="T65" fmla="*/ 179 h 343"/>
              <a:gd name="T66" fmla="*/ 681 w 756"/>
              <a:gd name="T67" fmla="*/ 194 h 343"/>
              <a:gd name="T68" fmla="*/ 705 w 756"/>
              <a:gd name="T69" fmla="*/ 181 h 343"/>
              <a:gd name="T70" fmla="*/ 709 w 756"/>
              <a:gd name="T71" fmla="*/ 186 h 343"/>
              <a:gd name="T72" fmla="*/ 724 w 756"/>
              <a:gd name="T73" fmla="*/ 184 h 343"/>
              <a:gd name="T74" fmla="*/ 707 w 756"/>
              <a:gd name="T75" fmla="*/ 211 h 343"/>
              <a:gd name="T76" fmla="*/ 688 w 756"/>
              <a:gd name="T77" fmla="*/ 213 h 343"/>
              <a:gd name="T78" fmla="*/ 654 w 756"/>
              <a:gd name="T79" fmla="*/ 224 h 343"/>
              <a:gd name="T80" fmla="*/ 632 w 756"/>
              <a:gd name="T81" fmla="*/ 243 h 343"/>
              <a:gd name="T82" fmla="*/ 630 w 756"/>
              <a:gd name="T83" fmla="*/ 245 h 343"/>
              <a:gd name="T84" fmla="*/ 603 w 756"/>
              <a:gd name="T85" fmla="*/ 294 h 343"/>
              <a:gd name="T86" fmla="*/ 592 w 756"/>
              <a:gd name="T87" fmla="*/ 299 h 343"/>
              <a:gd name="T88" fmla="*/ 588 w 756"/>
              <a:gd name="T89" fmla="*/ 333 h 343"/>
              <a:gd name="T90" fmla="*/ 543 w 756"/>
              <a:gd name="T91" fmla="*/ 343 h 343"/>
              <a:gd name="T92" fmla="*/ 322 w 756"/>
              <a:gd name="T93" fmla="*/ 273 h 343"/>
              <a:gd name="T94" fmla="*/ 300 w 756"/>
              <a:gd name="T95" fmla="*/ 250 h 343"/>
              <a:gd name="T96" fmla="*/ 175 w 756"/>
              <a:gd name="T97" fmla="*/ 256 h 343"/>
              <a:gd name="T98" fmla="*/ 134 w 756"/>
              <a:gd name="T99" fmla="*/ 27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343">
                <a:moveTo>
                  <a:pt x="0" y="305"/>
                </a:moveTo>
                <a:lnTo>
                  <a:pt x="0" y="275"/>
                </a:lnTo>
                <a:lnTo>
                  <a:pt x="15" y="273"/>
                </a:lnTo>
                <a:lnTo>
                  <a:pt x="21" y="264"/>
                </a:lnTo>
                <a:lnTo>
                  <a:pt x="21" y="256"/>
                </a:lnTo>
                <a:lnTo>
                  <a:pt x="26" y="247"/>
                </a:lnTo>
                <a:lnTo>
                  <a:pt x="32" y="241"/>
                </a:lnTo>
                <a:lnTo>
                  <a:pt x="47" y="233"/>
                </a:lnTo>
                <a:lnTo>
                  <a:pt x="60" y="233"/>
                </a:lnTo>
                <a:lnTo>
                  <a:pt x="66" y="228"/>
                </a:lnTo>
                <a:lnTo>
                  <a:pt x="87" y="209"/>
                </a:lnTo>
                <a:lnTo>
                  <a:pt x="100" y="198"/>
                </a:lnTo>
                <a:lnTo>
                  <a:pt x="107" y="198"/>
                </a:lnTo>
                <a:lnTo>
                  <a:pt x="111" y="192"/>
                </a:lnTo>
                <a:lnTo>
                  <a:pt x="115" y="177"/>
                </a:lnTo>
                <a:lnTo>
                  <a:pt x="121" y="179"/>
                </a:lnTo>
                <a:lnTo>
                  <a:pt x="124" y="173"/>
                </a:lnTo>
                <a:lnTo>
                  <a:pt x="126" y="169"/>
                </a:lnTo>
                <a:lnTo>
                  <a:pt x="134" y="164"/>
                </a:lnTo>
                <a:lnTo>
                  <a:pt x="141" y="173"/>
                </a:lnTo>
                <a:lnTo>
                  <a:pt x="145" y="173"/>
                </a:lnTo>
                <a:lnTo>
                  <a:pt x="151" y="164"/>
                </a:lnTo>
                <a:lnTo>
                  <a:pt x="156" y="158"/>
                </a:lnTo>
                <a:lnTo>
                  <a:pt x="162" y="152"/>
                </a:lnTo>
                <a:lnTo>
                  <a:pt x="175" y="147"/>
                </a:lnTo>
                <a:lnTo>
                  <a:pt x="181" y="152"/>
                </a:lnTo>
                <a:lnTo>
                  <a:pt x="190" y="143"/>
                </a:lnTo>
                <a:lnTo>
                  <a:pt x="194" y="128"/>
                </a:lnTo>
                <a:lnTo>
                  <a:pt x="200" y="122"/>
                </a:lnTo>
                <a:lnTo>
                  <a:pt x="207" y="120"/>
                </a:lnTo>
                <a:lnTo>
                  <a:pt x="209" y="105"/>
                </a:lnTo>
                <a:lnTo>
                  <a:pt x="209" y="98"/>
                </a:lnTo>
                <a:lnTo>
                  <a:pt x="213" y="88"/>
                </a:lnTo>
                <a:lnTo>
                  <a:pt x="226" y="90"/>
                </a:lnTo>
                <a:lnTo>
                  <a:pt x="256" y="86"/>
                </a:lnTo>
                <a:lnTo>
                  <a:pt x="326" y="75"/>
                </a:lnTo>
                <a:lnTo>
                  <a:pt x="522" y="39"/>
                </a:lnTo>
                <a:lnTo>
                  <a:pt x="620" y="20"/>
                </a:lnTo>
                <a:lnTo>
                  <a:pt x="707" y="0"/>
                </a:lnTo>
                <a:lnTo>
                  <a:pt x="709" y="7"/>
                </a:lnTo>
                <a:lnTo>
                  <a:pt x="716" y="13"/>
                </a:lnTo>
                <a:lnTo>
                  <a:pt x="722" y="15"/>
                </a:lnTo>
                <a:lnTo>
                  <a:pt x="722" y="20"/>
                </a:lnTo>
                <a:lnTo>
                  <a:pt x="737" y="39"/>
                </a:lnTo>
                <a:lnTo>
                  <a:pt x="737" y="47"/>
                </a:lnTo>
                <a:lnTo>
                  <a:pt x="733" y="37"/>
                </a:lnTo>
                <a:lnTo>
                  <a:pt x="718" y="26"/>
                </a:lnTo>
                <a:lnTo>
                  <a:pt x="722" y="34"/>
                </a:lnTo>
                <a:lnTo>
                  <a:pt x="728" y="41"/>
                </a:lnTo>
                <a:lnTo>
                  <a:pt x="720" y="41"/>
                </a:lnTo>
                <a:lnTo>
                  <a:pt x="705" y="32"/>
                </a:lnTo>
                <a:lnTo>
                  <a:pt x="698" y="32"/>
                </a:lnTo>
                <a:lnTo>
                  <a:pt x="705" y="34"/>
                </a:lnTo>
                <a:lnTo>
                  <a:pt x="711" y="41"/>
                </a:lnTo>
                <a:lnTo>
                  <a:pt x="711" y="47"/>
                </a:lnTo>
                <a:lnTo>
                  <a:pt x="705" y="49"/>
                </a:lnTo>
                <a:lnTo>
                  <a:pt x="698" y="47"/>
                </a:lnTo>
                <a:lnTo>
                  <a:pt x="703" y="54"/>
                </a:lnTo>
                <a:lnTo>
                  <a:pt x="692" y="51"/>
                </a:lnTo>
                <a:lnTo>
                  <a:pt x="686" y="51"/>
                </a:lnTo>
                <a:lnTo>
                  <a:pt x="694" y="58"/>
                </a:lnTo>
                <a:lnTo>
                  <a:pt x="677" y="71"/>
                </a:lnTo>
                <a:lnTo>
                  <a:pt x="671" y="66"/>
                </a:lnTo>
                <a:lnTo>
                  <a:pt x="662" y="69"/>
                </a:lnTo>
                <a:lnTo>
                  <a:pt x="656" y="54"/>
                </a:lnTo>
                <a:lnTo>
                  <a:pt x="656" y="47"/>
                </a:lnTo>
                <a:lnTo>
                  <a:pt x="656" y="45"/>
                </a:lnTo>
                <a:lnTo>
                  <a:pt x="656" y="43"/>
                </a:lnTo>
                <a:lnTo>
                  <a:pt x="652" y="39"/>
                </a:lnTo>
                <a:lnTo>
                  <a:pt x="656" y="45"/>
                </a:lnTo>
                <a:lnTo>
                  <a:pt x="652" y="51"/>
                </a:lnTo>
                <a:lnTo>
                  <a:pt x="654" y="58"/>
                </a:lnTo>
                <a:lnTo>
                  <a:pt x="658" y="66"/>
                </a:lnTo>
                <a:lnTo>
                  <a:pt x="664" y="73"/>
                </a:lnTo>
                <a:lnTo>
                  <a:pt x="664" y="81"/>
                </a:lnTo>
                <a:lnTo>
                  <a:pt x="673" y="79"/>
                </a:lnTo>
                <a:lnTo>
                  <a:pt x="679" y="77"/>
                </a:lnTo>
                <a:lnTo>
                  <a:pt x="688" y="71"/>
                </a:lnTo>
                <a:lnTo>
                  <a:pt x="703" y="75"/>
                </a:lnTo>
                <a:lnTo>
                  <a:pt x="703" y="69"/>
                </a:lnTo>
                <a:lnTo>
                  <a:pt x="713" y="64"/>
                </a:lnTo>
                <a:lnTo>
                  <a:pt x="722" y="64"/>
                </a:lnTo>
                <a:lnTo>
                  <a:pt x="724" y="71"/>
                </a:lnTo>
                <a:lnTo>
                  <a:pt x="724" y="79"/>
                </a:lnTo>
                <a:lnTo>
                  <a:pt x="720" y="88"/>
                </a:lnTo>
                <a:lnTo>
                  <a:pt x="726" y="90"/>
                </a:lnTo>
                <a:lnTo>
                  <a:pt x="722" y="96"/>
                </a:lnTo>
                <a:lnTo>
                  <a:pt x="724" y="100"/>
                </a:lnTo>
                <a:lnTo>
                  <a:pt x="733" y="94"/>
                </a:lnTo>
                <a:lnTo>
                  <a:pt x="730" y="79"/>
                </a:lnTo>
                <a:lnTo>
                  <a:pt x="730" y="71"/>
                </a:lnTo>
                <a:lnTo>
                  <a:pt x="739" y="71"/>
                </a:lnTo>
                <a:lnTo>
                  <a:pt x="741" y="64"/>
                </a:lnTo>
                <a:lnTo>
                  <a:pt x="741" y="62"/>
                </a:lnTo>
                <a:lnTo>
                  <a:pt x="747" y="69"/>
                </a:lnTo>
                <a:lnTo>
                  <a:pt x="754" y="75"/>
                </a:lnTo>
                <a:lnTo>
                  <a:pt x="754" y="90"/>
                </a:lnTo>
                <a:lnTo>
                  <a:pt x="756" y="96"/>
                </a:lnTo>
                <a:lnTo>
                  <a:pt x="750" y="103"/>
                </a:lnTo>
                <a:lnTo>
                  <a:pt x="743" y="100"/>
                </a:lnTo>
                <a:lnTo>
                  <a:pt x="743" y="107"/>
                </a:lnTo>
                <a:lnTo>
                  <a:pt x="733" y="130"/>
                </a:lnTo>
                <a:lnTo>
                  <a:pt x="728" y="137"/>
                </a:lnTo>
                <a:lnTo>
                  <a:pt x="711" y="137"/>
                </a:lnTo>
                <a:lnTo>
                  <a:pt x="705" y="135"/>
                </a:lnTo>
                <a:lnTo>
                  <a:pt x="701" y="128"/>
                </a:lnTo>
                <a:lnTo>
                  <a:pt x="701" y="135"/>
                </a:lnTo>
                <a:lnTo>
                  <a:pt x="692" y="132"/>
                </a:lnTo>
                <a:lnTo>
                  <a:pt x="686" y="126"/>
                </a:lnTo>
                <a:lnTo>
                  <a:pt x="690" y="122"/>
                </a:lnTo>
                <a:lnTo>
                  <a:pt x="681" y="124"/>
                </a:lnTo>
                <a:lnTo>
                  <a:pt x="684" y="130"/>
                </a:lnTo>
                <a:lnTo>
                  <a:pt x="686" y="137"/>
                </a:lnTo>
                <a:lnTo>
                  <a:pt x="681" y="135"/>
                </a:lnTo>
                <a:lnTo>
                  <a:pt x="673" y="139"/>
                </a:lnTo>
                <a:lnTo>
                  <a:pt x="660" y="137"/>
                </a:lnTo>
                <a:lnTo>
                  <a:pt x="645" y="132"/>
                </a:lnTo>
                <a:lnTo>
                  <a:pt x="643" y="135"/>
                </a:lnTo>
                <a:lnTo>
                  <a:pt x="645" y="137"/>
                </a:lnTo>
                <a:lnTo>
                  <a:pt x="677" y="145"/>
                </a:lnTo>
                <a:lnTo>
                  <a:pt x="686" y="145"/>
                </a:lnTo>
                <a:lnTo>
                  <a:pt x="701" y="152"/>
                </a:lnTo>
                <a:lnTo>
                  <a:pt x="698" y="158"/>
                </a:lnTo>
                <a:lnTo>
                  <a:pt x="690" y="160"/>
                </a:lnTo>
                <a:lnTo>
                  <a:pt x="688" y="167"/>
                </a:lnTo>
                <a:lnTo>
                  <a:pt x="694" y="164"/>
                </a:lnTo>
                <a:lnTo>
                  <a:pt x="694" y="171"/>
                </a:lnTo>
                <a:lnTo>
                  <a:pt x="684" y="186"/>
                </a:lnTo>
                <a:lnTo>
                  <a:pt x="679" y="188"/>
                </a:lnTo>
                <a:lnTo>
                  <a:pt x="671" y="188"/>
                </a:lnTo>
                <a:lnTo>
                  <a:pt x="662" y="181"/>
                </a:lnTo>
                <a:lnTo>
                  <a:pt x="656" y="179"/>
                </a:lnTo>
                <a:lnTo>
                  <a:pt x="650" y="175"/>
                </a:lnTo>
                <a:lnTo>
                  <a:pt x="654" y="181"/>
                </a:lnTo>
                <a:lnTo>
                  <a:pt x="667" y="192"/>
                </a:lnTo>
                <a:lnTo>
                  <a:pt x="681" y="194"/>
                </a:lnTo>
                <a:lnTo>
                  <a:pt x="696" y="186"/>
                </a:lnTo>
                <a:lnTo>
                  <a:pt x="703" y="188"/>
                </a:lnTo>
                <a:lnTo>
                  <a:pt x="701" y="181"/>
                </a:lnTo>
                <a:lnTo>
                  <a:pt x="705" y="181"/>
                </a:lnTo>
                <a:lnTo>
                  <a:pt x="705" y="179"/>
                </a:lnTo>
                <a:lnTo>
                  <a:pt x="707" y="173"/>
                </a:lnTo>
                <a:lnTo>
                  <a:pt x="711" y="179"/>
                </a:lnTo>
                <a:lnTo>
                  <a:pt x="709" y="186"/>
                </a:lnTo>
                <a:lnTo>
                  <a:pt x="716" y="186"/>
                </a:lnTo>
                <a:lnTo>
                  <a:pt x="720" y="177"/>
                </a:lnTo>
                <a:lnTo>
                  <a:pt x="722" y="177"/>
                </a:lnTo>
                <a:lnTo>
                  <a:pt x="724" y="184"/>
                </a:lnTo>
                <a:lnTo>
                  <a:pt x="722" y="190"/>
                </a:lnTo>
                <a:lnTo>
                  <a:pt x="716" y="196"/>
                </a:lnTo>
                <a:lnTo>
                  <a:pt x="709" y="211"/>
                </a:lnTo>
                <a:lnTo>
                  <a:pt x="707" y="211"/>
                </a:lnTo>
                <a:lnTo>
                  <a:pt x="698" y="207"/>
                </a:lnTo>
                <a:lnTo>
                  <a:pt x="696" y="213"/>
                </a:lnTo>
                <a:lnTo>
                  <a:pt x="692" y="207"/>
                </a:lnTo>
                <a:lnTo>
                  <a:pt x="688" y="213"/>
                </a:lnTo>
                <a:lnTo>
                  <a:pt x="686" y="218"/>
                </a:lnTo>
                <a:lnTo>
                  <a:pt x="679" y="218"/>
                </a:lnTo>
                <a:lnTo>
                  <a:pt x="662" y="226"/>
                </a:lnTo>
                <a:lnTo>
                  <a:pt x="654" y="224"/>
                </a:lnTo>
                <a:lnTo>
                  <a:pt x="647" y="237"/>
                </a:lnTo>
                <a:lnTo>
                  <a:pt x="643" y="243"/>
                </a:lnTo>
                <a:lnTo>
                  <a:pt x="641" y="245"/>
                </a:lnTo>
                <a:lnTo>
                  <a:pt x="632" y="243"/>
                </a:lnTo>
                <a:lnTo>
                  <a:pt x="639" y="237"/>
                </a:lnTo>
                <a:lnTo>
                  <a:pt x="630" y="233"/>
                </a:lnTo>
                <a:lnTo>
                  <a:pt x="635" y="239"/>
                </a:lnTo>
                <a:lnTo>
                  <a:pt x="630" y="245"/>
                </a:lnTo>
                <a:lnTo>
                  <a:pt x="635" y="252"/>
                </a:lnTo>
                <a:lnTo>
                  <a:pt x="620" y="264"/>
                </a:lnTo>
                <a:lnTo>
                  <a:pt x="609" y="279"/>
                </a:lnTo>
                <a:lnTo>
                  <a:pt x="603" y="294"/>
                </a:lnTo>
                <a:lnTo>
                  <a:pt x="601" y="303"/>
                </a:lnTo>
                <a:lnTo>
                  <a:pt x="601" y="324"/>
                </a:lnTo>
                <a:lnTo>
                  <a:pt x="596" y="305"/>
                </a:lnTo>
                <a:lnTo>
                  <a:pt x="592" y="299"/>
                </a:lnTo>
                <a:lnTo>
                  <a:pt x="592" y="299"/>
                </a:lnTo>
                <a:lnTo>
                  <a:pt x="596" y="313"/>
                </a:lnTo>
                <a:lnTo>
                  <a:pt x="594" y="328"/>
                </a:lnTo>
                <a:lnTo>
                  <a:pt x="588" y="333"/>
                </a:lnTo>
                <a:lnTo>
                  <a:pt x="575" y="333"/>
                </a:lnTo>
                <a:lnTo>
                  <a:pt x="562" y="337"/>
                </a:lnTo>
                <a:lnTo>
                  <a:pt x="547" y="343"/>
                </a:lnTo>
                <a:lnTo>
                  <a:pt x="543" y="343"/>
                </a:lnTo>
                <a:lnTo>
                  <a:pt x="539" y="341"/>
                </a:lnTo>
                <a:lnTo>
                  <a:pt x="424" y="258"/>
                </a:lnTo>
                <a:lnTo>
                  <a:pt x="324" y="275"/>
                </a:lnTo>
                <a:lnTo>
                  <a:pt x="322" y="273"/>
                </a:lnTo>
                <a:lnTo>
                  <a:pt x="322" y="267"/>
                </a:lnTo>
                <a:lnTo>
                  <a:pt x="317" y="258"/>
                </a:lnTo>
                <a:lnTo>
                  <a:pt x="307" y="247"/>
                </a:lnTo>
                <a:lnTo>
                  <a:pt x="300" y="250"/>
                </a:lnTo>
                <a:lnTo>
                  <a:pt x="292" y="243"/>
                </a:lnTo>
                <a:lnTo>
                  <a:pt x="262" y="245"/>
                </a:lnTo>
                <a:lnTo>
                  <a:pt x="181" y="254"/>
                </a:lnTo>
                <a:lnTo>
                  <a:pt x="175" y="256"/>
                </a:lnTo>
                <a:lnTo>
                  <a:pt x="166" y="260"/>
                </a:lnTo>
                <a:lnTo>
                  <a:pt x="153" y="264"/>
                </a:lnTo>
                <a:lnTo>
                  <a:pt x="141" y="275"/>
                </a:lnTo>
                <a:lnTo>
                  <a:pt x="134" y="275"/>
                </a:lnTo>
                <a:lnTo>
                  <a:pt x="111" y="288"/>
                </a:lnTo>
                <a:lnTo>
                  <a:pt x="0" y="30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4" name="Freeform 911"/>
          <p:cNvSpPr>
            <a:spLocks/>
          </p:cNvSpPr>
          <p:nvPr/>
        </p:nvSpPr>
        <p:spPr bwMode="auto">
          <a:xfrm>
            <a:off x="7116763" y="3744913"/>
            <a:ext cx="6350" cy="9525"/>
          </a:xfrm>
          <a:custGeom>
            <a:avLst/>
            <a:gdLst>
              <a:gd name="T0" fmla="*/ 0 w 4"/>
              <a:gd name="T1" fmla="*/ 0 h 6"/>
              <a:gd name="T2" fmla="*/ 4 w 4"/>
              <a:gd name="T3" fmla="*/ 4 h 6"/>
              <a:gd name="T4" fmla="*/ 4 w 4"/>
              <a:gd name="T5" fmla="*/ 6 h 6"/>
              <a:gd name="T6" fmla="*/ 0 w 4"/>
              <a:gd name="T7" fmla="*/ 0 h 6"/>
            </a:gdLst>
            <a:ahLst/>
            <a:cxnLst>
              <a:cxn ang="0">
                <a:pos x="T0" y="T1"/>
              </a:cxn>
              <a:cxn ang="0">
                <a:pos x="T2" y="T3"/>
              </a:cxn>
              <a:cxn ang="0">
                <a:pos x="T4" y="T5"/>
              </a:cxn>
              <a:cxn ang="0">
                <a:pos x="T6" y="T7"/>
              </a:cxn>
            </a:cxnLst>
            <a:rect l="0" t="0" r="r" b="b"/>
            <a:pathLst>
              <a:path w="4" h="6">
                <a:moveTo>
                  <a:pt x="0" y="0"/>
                </a:moveTo>
                <a:lnTo>
                  <a:pt x="4" y="4"/>
                </a:lnTo>
                <a:lnTo>
                  <a:pt x="4" y="6"/>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912"/>
          <p:cNvSpPr>
            <a:spLocks/>
          </p:cNvSpPr>
          <p:nvPr/>
        </p:nvSpPr>
        <p:spPr bwMode="auto">
          <a:xfrm>
            <a:off x="7116763" y="3744913"/>
            <a:ext cx="6350" cy="9525"/>
          </a:xfrm>
          <a:custGeom>
            <a:avLst/>
            <a:gdLst>
              <a:gd name="T0" fmla="*/ 0 w 4"/>
              <a:gd name="T1" fmla="*/ 0 h 6"/>
              <a:gd name="T2" fmla="*/ 4 w 4"/>
              <a:gd name="T3" fmla="*/ 4 h 6"/>
              <a:gd name="T4" fmla="*/ 4 w 4"/>
              <a:gd name="T5" fmla="*/ 6 h 6"/>
              <a:gd name="T6" fmla="*/ 0 w 4"/>
              <a:gd name="T7" fmla="*/ 0 h 6"/>
            </a:gdLst>
            <a:ahLst/>
            <a:cxnLst>
              <a:cxn ang="0">
                <a:pos x="T0" y="T1"/>
              </a:cxn>
              <a:cxn ang="0">
                <a:pos x="T2" y="T3"/>
              </a:cxn>
              <a:cxn ang="0">
                <a:pos x="T4" y="T5"/>
              </a:cxn>
              <a:cxn ang="0">
                <a:pos x="T6" y="T7"/>
              </a:cxn>
            </a:cxnLst>
            <a:rect l="0" t="0" r="r" b="b"/>
            <a:pathLst>
              <a:path w="4" h="6">
                <a:moveTo>
                  <a:pt x="0" y="0"/>
                </a:moveTo>
                <a:lnTo>
                  <a:pt x="4" y="4"/>
                </a:lnTo>
                <a:lnTo>
                  <a:pt x="4" y="6"/>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6" name="Freeform 913"/>
          <p:cNvSpPr>
            <a:spLocks/>
          </p:cNvSpPr>
          <p:nvPr/>
        </p:nvSpPr>
        <p:spPr bwMode="auto">
          <a:xfrm>
            <a:off x="7207250" y="3679825"/>
            <a:ext cx="17463" cy="11113"/>
          </a:xfrm>
          <a:custGeom>
            <a:avLst/>
            <a:gdLst>
              <a:gd name="T0" fmla="*/ 0 w 11"/>
              <a:gd name="T1" fmla="*/ 2 h 7"/>
              <a:gd name="T2" fmla="*/ 4 w 11"/>
              <a:gd name="T3" fmla="*/ 0 h 7"/>
              <a:gd name="T4" fmla="*/ 11 w 11"/>
              <a:gd name="T5" fmla="*/ 0 h 7"/>
              <a:gd name="T6" fmla="*/ 9 w 11"/>
              <a:gd name="T7" fmla="*/ 7 h 7"/>
              <a:gd name="T8" fmla="*/ 0 w 11"/>
              <a:gd name="T9" fmla="*/ 2 h 7"/>
            </a:gdLst>
            <a:ahLst/>
            <a:cxnLst>
              <a:cxn ang="0">
                <a:pos x="T0" y="T1"/>
              </a:cxn>
              <a:cxn ang="0">
                <a:pos x="T2" y="T3"/>
              </a:cxn>
              <a:cxn ang="0">
                <a:pos x="T4" y="T5"/>
              </a:cxn>
              <a:cxn ang="0">
                <a:pos x="T6" y="T7"/>
              </a:cxn>
              <a:cxn ang="0">
                <a:pos x="T8" y="T9"/>
              </a:cxn>
            </a:cxnLst>
            <a:rect l="0" t="0" r="r" b="b"/>
            <a:pathLst>
              <a:path w="11" h="7">
                <a:moveTo>
                  <a:pt x="0" y="2"/>
                </a:moveTo>
                <a:lnTo>
                  <a:pt x="4" y="0"/>
                </a:lnTo>
                <a:lnTo>
                  <a:pt x="11" y="0"/>
                </a:lnTo>
                <a:lnTo>
                  <a:pt x="9" y="7"/>
                </a:lnTo>
                <a:lnTo>
                  <a:pt x="0"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914"/>
          <p:cNvSpPr>
            <a:spLocks/>
          </p:cNvSpPr>
          <p:nvPr/>
        </p:nvSpPr>
        <p:spPr bwMode="auto">
          <a:xfrm>
            <a:off x="7207250" y="3679825"/>
            <a:ext cx="17463" cy="11113"/>
          </a:xfrm>
          <a:custGeom>
            <a:avLst/>
            <a:gdLst>
              <a:gd name="T0" fmla="*/ 0 w 11"/>
              <a:gd name="T1" fmla="*/ 2 h 7"/>
              <a:gd name="T2" fmla="*/ 4 w 11"/>
              <a:gd name="T3" fmla="*/ 0 h 7"/>
              <a:gd name="T4" fmla="*/ 11 w 11"/>
              <a:gd name="T5" fmla="*/ 0 h 7"/>
              <a:gd name="T6" fmla="*/ 9 w 11"/>
              <a:gd name="T7" fmla="*/ 7 h 7"/>
              <a:gd name="T8" fmla="*/ 0 w 11"/>
              <a:gd name="T9" fmla="*/ 2 h 7"/>
            </a:gdLst>
            <a:ahLst/>
            <a:cxnLst>
              <a:cxn ang="0">
                <a:pos x="T0" y="T1"/>
              </a:cxn>
              <a:cxn ang="0">
                <a:pos x="T2" y="T3"/>
              </a:cxn>
              <a:cxn ang="0">
                <a:pos x="T4" y="T5"/>
              </a:cxn>
              <a:cxn ang="0">
                <a:pos x="T6" y="T7"/>
              </a:cxn>
              <a:cxn ang="0">
                <a:pos x="T8" y="T9"/>
              </a:cxn>
            </a:cxnLst>
            <a:rect l="0" t="0" r="r" b="b"/>
            <a:pathLst>
              <a:path w="11" h="7">
                <a:moveTo>
                  <a:pt x="0" y="2"/>
                </a:moveTo>
                <a:lnTo>
                  <a:pt x="4" y="0"/>
                </a:lnTo>
                <a:lnTo>
                  <a:pt x="11" y="0"/>
                </a:lnTo>
                <a:lnTo>
                  <a:pt x="9" y="7"/>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8" name="Freeform 915"/>
          <p:cNvSpPr>
            <a:spLocks/>
          </p:cNvSpPr>
          <p:nvPr/>
        </p:nvSpPr>
        <p:spPr bwMode="auto">
          <a:xfrm>
            <a:off x="7227888" y="3676650"/>
            <a:ext cx="74613" cy="122238"/>
          </a:xfrm>
          <a:custGeom>
            <a:avLst/>
            <a:gdLst>
              <a:gd name="T0" fmla="*/ 0 w 47"/>
              <a:gd name="T1" fmla="*/ 2 h 77"/>
              <a:gd name="T2" fmla="*/ 2 w 47"/>
              <a:gd name="T3" fmla="*/ 0 h 77"/>
              <a:gd name="T4" fmla="*/ 2 w 47"/>
              <a:gd name="T5" fmla="*/ 2 h 77"/>
              <a:gd name="T6" fmla="*/ 15 w 47"/>
              <a:gd name="T7" fmla="*/ 32 h 77"/>
              <a:gd name="T8" fmla="*/ 25 w 47"/>
              <a:gd name="T9" fmla="*/ 45 h 77"/>
              <a:gd name="T10" fmla="*/ 43 w 47"/>
              <a:gd name="T11" fmla="*/ 68 h 77"/>
              <a:gd name="T12" fmla="*/ 47 w 47"/>
              <a:gd name="T13" fmla="*/ 75 h 77"/>
              <a:gd name="T14" fmla="*/ 45 w 47"/>
              <a:gd name="T15" fmla="*/ 77 h 77"/>
              <a:gd name="T16" fmla="*/ 40 w 47"/>
              <a:gd name="T17" fmla="*/ 68 h 77"/>
              <a:gd name="T18" fmla="*/ 34 w 47"/>
              <a:gd name="T19" fmla="*/ 62 h 77"/>
              <a:gd name="T20" fmla="*/ 28 w 47"/>
              <a:gd name="T21" fmla="*/ 60 h 77"/>
              <a:gd name="T22" fmla="*/ 30 w 47"/>
              <a:gd name="T23" fmla="*/ 55 h 77"/>
              <a:gd name="T24" fmla="*/ 23 w 47"/>
              <a:gd name="T25" fmla="*/ 49 h 77"/>
              <a:gd name="T26" fmla="*/ 17 w 47"/>
              <a:gd name="T27" fmla="*/ 36 h 77"/>
              <a:gd name="T28" fmla="*/ 13 w 47"/>
              <a:gd name="T29" fmla="*/ 30 h 77"/>
              <a:gd name="T30" fmla="*/ 0 w 47"/>
              <a:gd name="T31"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77">
                <a:moveTo>
                  <a:pt x="0" y="2"/>
                </a:moveTo>
                <a:lnTo>
                  <a:pt x="2" y="0"/>
                </a:lnTo>
                <a:lnTo>
                  <a:pt x="2" y="2"/>
                </a:lnTo>
                <a:lnTo>
                  <a:pt x="15" y="32"/>
                </a:lnTo>
                <a:lnTo>
                  <a:pt x="25" y="45"/>
                </a:lnTo>
                <a:lnTo>
                  <a:pt x="43" y="68"/>
                </a:lnTo>
                <a:lnTo>
                  <a:pt x="47" y="75"/>
                </a:lnTo>
                <a:lnTo>
                  <a:pt x="45" y="77"/>
                </a:lnTo>
                <a:lnTo>
                  <a:pt x="40" y="68"/>
                </a:lnTo>
                <a:lnTo>
                  <a:pt x="34" y="62"/>
                </a:lnTo>
                <a:lnTo>
                  <a:pt x="28" y="60"/>
                </a:lnTo>
                <a:lnTo>
                  <a:pt x="30" y="55"/>
                </a:lnTo>
                <a:lnTo>
                  <a:pt x="23" y="49"/>
                </a:lnTo>
                <a:lnTo>
                  <a:pt x="17" y="36"/>
                </a:lnTo>
                <a:lnTo>
                  <a:pt x="13" y="30"/>
                </a:lnTo>
                <a:lnTo>
                  <a:pt x="0"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916"/>
          <p:cNvSpPr>
            <a:spLocks/>
          </p:cNvSpPr>
          <p:nvPr/>
        </p:nvSpPr>
        <p:spPr bwMode="auto">
          <a:xfrm>
            <a:off x="7227888" y="3676650"/>
            <a:ext cx="74613" cy="122238"/>
          </a:xfrm>
          <a:custGeom>
            <a:avLst/>
            <a:gdLst>
              <a:gd name="T0" fmla="*/ 0 w 47"/>
              <a:gd name="T1" fmla="*/ 2 h 77"/>
              <a:gd name="T2" fmla="*/ 2 w 47"/>
              <a:gd name="T3" fmla="*/ 0 h 77"/>
              <a:gd name="T4" fmla="*/ 2 w 47"/>
              <a:gd name="T5" fmla="*/ 2 h 77"/>
              <a:gd name="T6" fmla="*/ 15 w 47"/>
              <a:gd name="T7" fmla="*/ 32 h 77"/>
              <a:gd name="T8" fmla="*/ 25 w 47"/>
              <a:gd name="T9" fmla="*/ 45 h 77"/>
              <a:gd name="T10" fmla="*/ 43 w 47"/>
              <a:gd name="T11" fmla="*/ 68 h 77"/>
              <a:gd name="T12" fmla="*/ 47 w 47"/>
              <a:gd name="T13" fmla="*/ 75 h 77"/>
              <a:gd name="T14" fmla="*/ 45 w 47"/>
              <a:gd name="T15" fmla="*/ 77 h 77"/>
              <a:gd name="T16" fmla="*/ 40 w 47"/>
              <a:gd name="T17" fmla="*/ 68 h 77"/>
              <a:gd name="T18" fmla="*/ 34 w 47"/>
              <a:gd name="T19" fmla="*/ 62 h 77"/>
              <a:gd name="T20" fmla="*/ 28 w 47"/>
              <a:gd name="T21" fmla="*/ 60 h 77"/>
              <a:gd name="T22" fmla="*/ 30 w 47"/>
              <a:gd name="T23" fmla="*/ 55 h 77"/>
              <a:gd name="T24" fmla="*/ 23 w 47"/>
              <a:gd name="T25" fmla="*/ 49 h 77"/>
              <a:gd name="T26" fmla="*/ 17 w 47"/>
              <a:gd name="T27" fmla="*/ 36 h 77"/>
              <a:gd name="T28" fmla="*/ 13 w 47"/>
              <a:gd name="T29" fmla="*/ 30 h 77"/>
              <a:gd name="T30" fmla="*/ 0 w 47"/>
              <a:gd name="T31"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77">
                <a:moveTo>
                  <a:pt x="0" y="2"/>
                </a:moveTo>
                <a:lnTo>
                  <a:pt x="2" y="0"/>
                </a:lnTo>
                <a:lnTo>
                  <a:pt x="2" y="2"/>
                </a:lnTo>
                <a:lnTo>
                  <a:pt x="15" y="32"/>
                </a:lnTo>
                <a:lnTo>
                  <a:pt x="25" y="45"/>
                </a:lnTo>
                <a:lnTo>
                  <a:pt x="43" y="68"/>
                </a:lnTo>
                <a:lnTo>
                  <a:pt x="47" y="75"/>
                </a:lnTo>
                <a:lnTo>
                  <a:pt x="45" y="77"/>
                </a:lnTo>
                <a:lnTo>
                  <a:pt x="40" y="68"/>
                </a:lnTo>
                <a:lnTo>
                  <a:pt x="34" y="62"/>
                </a:lnTo>
                <a:lnTo>
                  <a:pt x="28" y="60"/>
                </a:lnTo>
                <a:lnTo>
                  <a:pt x="30" y="55"/>
                </a:lnTo>
                <a:lnTo>
                  <a:pt x="23" y="49"/>
                </a:lnTo>
                <a:lnTo>
                  <a:pt x="17" y="36"/>
                </a:lnTo>
                <a:lnTo>
                  <a:pt x="13" y="30"/>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0" name="Freeform 917"/>
          <p:cNvSpPr>
            <a:spLocks/>
          </p:cNvSpPr>
          <p:nvPr/>
        </p:nvSpPr>
        <p:spPr bwMode="auto">
          <a:xfrm>
            <a:off x="7135813" y="4029075"/>
            <a:ext cx="47625" cy="15875"/>
          </a:xfrm>
          <a:custGeom>
            <a:avLst/>
            <a:gdLst>
              <a:gd name="T0" fmla="*/ 30 w 30"/>
              <a:gd name="T1" fmla="*/ 0 h 10"/>
              <a:gd name="T2" fmla="*/ 15 w 30"/>
              <a:gd name="T3" fmla="*/ 4 h 10"/>
              <a:gd name="T4" fmla="*/ 0 w 30"/>
              <a:gd name="T5" fmla="*/ 10 h 10"/>
              <a:gd name="T6" fmla="*/ 7 w 30"/>
              <a:gd name="T7" fmla="*/ 6 h 10"/>
              <a:gd name="T8" fmla="*/ 20 w 30"/>
              <a:gd name="T9" fmla="*/ 2 h 10"/>
              <a:gd name="T10" fmla="*/ 28 w 30"/>
              <a:gd name="T11" fmla="*/ 0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15" y="4"/>
                </a:lnTo>
                <a:lnTo>
                  <a:pt x="0" y="10"/>
                </a:lnTo>
                <a:lnTo>
                  <a:pt x="7" y="6"/>
                </a:lnTo>
                <a:lnTo>
                  <a:pt x="20" y="2"/>
                </a:lnTo>
                <a:lnTo>
                  <a:pt x="28" y="0"/>
                </a:lnTo>
                <a:lnTo>
                  <a:pt x="3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918"/>
          <p:cNvSpPr>
            <a:spLocks/>
          </p:cNvSpPr>
          <p:nvPr/>
        </p:nvSpPr>
        <p:spPr bwMode="auto">
          <a:xfrm>
            <a:off x="7135813" y="4029075"/>
            <a:ext cx="47625" cy="15875"/>
          </a:xfrm>
          <a:custGeom>
            <a:avLst/>
            <a:gdLst>
              <a:gd name="T0" fmla="*/ 30 w 30"/>
              <a:gd name="T1" fmla="*/ 0 h 10"/>
              <a:gd name="T2" fmla="*/ 15 w 30"/>
              <a:gd name="T3" fmla="*/ 4 h 10"/>
              <a:gd name="T4" fmla="*/ 0 w 30"/>
              <a:gd name="T5" fmla="*/ 10 h 10"/>
              <a:gd name="T6" fmla="*/ 7 w 30"/>
              <a:gd name="T7" fmla="*/ 6 h 10"/>
              <a:gd name="T8" fmla="*/ 20 w 30"/>
              <a:gd name="T9" fmla="*/ 2 h 10"/>
              <a:gd name="T10" fmla="*/ 28 w 30"/>
              <a:gd name="T11" fmla="*/ 0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15" y="4"/>
                </a:lnTo>
                <a:lnTo>
                  <a:pt x="0" y="10"/>
                </a:lnTo>
                <a:lnTo>
                  <a:pt x="7" y="6"/>
                </a:lnTo>
                <a:lnTo>
                  <a:pt x="20" y="2"/>
                </a:lnTo>
                <a:lnTo>
                  <a:pt x="28" y="0"/>
                </a:lnTo>
                <a:lnTo>
                  <a:pt x="3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2" name="Freeform 919"/>
          <p:cNvSpPr>
            <a:spLocks/>
          </p:cNvSpPr>
          <p:nvPr/>
        </p:nvSpPr>
        <p:spPr bwMode="auto">
          <a:xfrm>
            <a:off x="7210425" y="3978275"/>
            <a:ext cx="30163" cy="60325"/>
          </a:xfrm>
          <a:custGeom>
            <a:avLst/>
            <a:gdLst>
              <a:gd name="T0" fmla="*/ 19 w 19"/>
              <a:gd name="T1" fmla="*/ 0 h 38"/>
              <a:gd name="T2" fmla="*/ 9 w 19"/>
              <a:gd name="T3" fmla="*/ 17 h 38"/>
              <a:gd name="T4" fmla="*/ 0 w 19"/>
              <a:gd name="T5" fmla="*/ 38 h 38"/>
              <a:gd name="T6" fmla="*/ 5 w 19"/>
              <a:gd name="T7" fmla="*/ 21 h 38"/>
              <a:gd name="T8" fmla="*/ 9 w 19"/>
              <a:gd name="T9" fmla="*/ 15 h 38"/>
              <a:gd name="T10" fmla="*/ 13 w 19"/>
              <a:gd name="T11" fmla="*/ 6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9" y="17"/>
                </a:lnTo>
                <a:lnTo>
                  <a:pt x="0" y="38"/>
                </a:lnTo>
                <a:lnTo>
                  <a:pt x="5" y="21"/>
                </a:lnTo>
                <a:lnTo>
                  <a:pt x="9" y="15"/>
                </a:lnTo>
                <a:lnTo>
                  <a:pt x="13" y="6"/>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920"/>
          <p:cNvSpPr>
            <a:spLocks/>
          </p:cNvSpPr>
          <p:nvPr/>
        </p:nvSpPr>
        <p:spPr bwMode="auto">
          <a:xfrm>
            <a:off x="7210425" y="3978275"/>
            <a:ext cx="30163" cy="60325"/>
          </a:xfrm>
          <a:custGeom>
            <a:avLst/>
            <a:gdLst>
              <a:gd name="T0" fmla="*/ 19 w 19"/>
              <a:gd name="T1" fmla="*/ 0 h 38"/>
              <a:gd name="T2" fmla="*/ 9 w 19"/>
              <a:gd name="T3" fmla="*/ 17 h 38"/>
              <a:gd name="T4" fmla="*/ 0 w 19"/>
              <a:gd name="T5" fmla="*/ 38 h 38"/>
              <a:gd name="T6" fmla="*/ 5 w 19"/>
              <a:gd name="T7" fmla="*/ 21 h 38"/>
              <a:gd name="T8" fmla="*/ 9 w 19"/>
              <a:gd name="T9" fmla="*/ 15 h 38"/>
              <a:gd name="T10" fmla="*/ 13 w 19"/>
              <a:gd name="T11" fmla="*/ 6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9" y="17"/>
                </a:lnTo>
                <a:lnTo>
                  <a:pt x="0" y="38"/>
                </a:lnTo>
                <a:lnTo>
                  <a:pt x="5" y="21"/>
                </a:lnTo>
                <a:lnTo>
                  <a:pt x="9" y="15"/>
                </a:lnTo>
                <a:lnTo>
                  <a:pt x="13" y="6"/>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4" name="Freeform 921"/>
          <p:cNvSpPr>
            <a:spLocks/>
          </p:cNvSpPr>
          <p:nvPr/>
        </p:nvSpPr>
        <p:spPr bwMode="auto">
          <a:xfrm>
            <a:off x="7251700" y="3948113"/>
            <a:ext cx="9525" cy="9525"/>
          </a:xfrm>
          <a:custGeom>
            <a:avLst/>
            <a:gdLst>
              <a:gd name="T0" fmla="*/ 0 w 6"/>
              <a:gd name="T1" fmla="*/ 6 h 6"/>
              <a:gd name="T2" fmla="*/ 2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2" y="0"/>
                </a:lnTo>
                <a:lnTo>
                  <a:pt x="6" y="0"/>
                </a:lnTo>
                <a:lnTo>
                  <a:pt x="0" y="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922"/>
          <p:cNvSpPr>
            <a:spLocks/>
          </p:cNvSpPr>
          <p:nvPr/>
        </p:nvSpPr>
        <p:spPr bwMode="auto">
          <a:xfrm>
            <a:off x="7251700" y="3948113"/>
            <a:ext cx="9525" cy="9525"/>
          </a:xfrm>
          <a:custGeom>
            <a:avLst/>
            <a:gdLst>
              <a:gd name="T0" fmla="*/ 0 w 6"/>
              <a:gd name="T1" fmla="*/ 6 h 6"/>
              <a:gd name="T2" fmla="*/ 2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2" y="0"/>
                </a:lnTo>
                <a:lnTo>
                  <a:pt x="6" y="0"/>
                </a:lnTo>
                <a:lnTo>
                  <a:pt x="0" y="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6" name="Freeform 923"/>
          <p:cNvSpPr>
            <a:spLocks/>
          </p:cNvSpPr>
          <p:nvPr/>
        </p:nvSpPr>
        <p:spPr bwMode="auto">
          <a:xfrm>
            <a:off x="7272338" y="3916363"/>
            <a:ext cx="19050" cy="20638"/>
          </a:xfrm>
          <a:custGeom>
            <a:avLst/>
            <a:gdLst>
              <a:gd name="T0" fmla="*/ 12 w 12"/>
              <a:gd name="T1" fmla="*/ 0 h 13"/>
              <a:gd name="T2" fmla="*/ 0 w 12"/>
              <a:gd name="T3" fmla="*/ 13 h 13"/>
              <a:gd name="T4" fmla="*/ 4 w 12"/>
              <a:gd name="T5" fmla="*/ 7 h 13"/>
              <a:gd name="T6" fmla="*/ 12 w 12"/>
              <a:gd name="T7" fmla="*/ 0 h 13"/>
              <a:gd name="T8" fmla="*/ 12 w 12"/>
              <a:gd name="T9" fmla="*/ 0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0" y="13"/>
                </a:lnTo>
                <a:lnTo>
                  <a:pt x="4" y="7"/>
                </a:lnTo>
                <a:lnTo>
                  <a:pt x="12" y="0"/>
                </a:lnTo>
                <a:lnTo>
                  <a:pt x="12" y="0"/>
                </a:lnTo>
                <a:lnTo>
                  <a:pt x="1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924"/>
          <p:cNvSpPr>
            <a:spLocks/>
          </p:cNvSpPr>
          <p:nvPr/>
        </p:nvSpPr>
        <p:spPr bwMode="auto">
          <a:xfrm>
            <a:off x="7272338" y="3916363"/>
            <a:ext cx="19050" cy="20638"/>
          </a:xfrm>
          <a:custGeom>
            <a:avLst/>
            <a:gdLst>
              <a:gd name="T0" fmla="*/ 12 w 12"/>
              <a:gd name="T1" fmla="*/ 0 h 13"/>
              <a:gd name="T2" fmla="*/ 0 w 12"/>
              <a:gd name="T3" fmla="*/ 13 h 13"/>
              <a:gd name="T4" fmla="*/ 4 w 12"/>
              <a:gd name="T5" fmla="*/ 7 h 13"/>
              <a:gd name="T6" fmla="*/ 12 w 12"/>
              <a:gd name="T7" fmla="*/ 0 h 13"/>
              <a:gd name="T8" fmla="*/ 12 w 12"/>
              <a:gd name="T9" fmla="*/ 0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0" y="13"/>
                </a:lnTo>
                <a:lnTo>
                  <a:pt x="4" y="7"/>
                </a:lnTo>
                <a:lnTo>
                  <a:pt x="12" y="0"/>
                </a:lnTo>
                <a:lnTo>
                  <a:pt x="12" y="0"/>
                </a:lnTo>
                <a:lnTo>
                  <a:pt x="1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8" name="Freeform 925"/>
          <p:cNvSpPr>
            <a:spLocks/>
          </p:cNvSpPr>
          <p:nvPr/>
        </p:nvSpPr>
        <p:spPr bwMode="auto">
          <a:xfrm>
            <a:off x="7308850" y="3805238"/>
            <a:ext cx="20638" cy="101600"/>
          </a:xfrm>
          <a:custGeom>
            <a:avLst/>
            <a:gdLst>
              <a:gd name="T0" fmla="*/ 13 w 13"/>
              <a:gd name="T1" fmla="*/ 60 h 64"/>
              <a:gd name="T2" fmla="*/ 2 w 13"/>
              <a:gd name="T3" fmla="*/ 64 h 64"/>
              <a:gd name="T4" fmla="*/ 0 w 13"/>
              <a:gd name="T5" fmla="*/ 62 h 64"/>
              <a:gd name="T6" fmla="*/ 9 w 13"/>
              <a:gd name="T7" fmla="*/ 55 h 64"/>
              <a:gd name="T8" fmla="*/ 11 w 13"/>
              <a:gd name="T9" fmla="*/ 49 h 64"/>
              <a:gd name="T10" fmla="*/ 9 w 13"/>
              <a:gd name="T11" fmla="*/ 21 h 64"/>
              <a:gd name="T12" fmla="*/ 9 w 13"/>
              <a:gd name="T13" fmla="*/ 15 h 64"/>
              <a:gd name="T14" fmla="*/ 4 w 13"/>
              <a:gd name="T15" fmla="*/ 9 h 64"/>
              <a:gd name="T16" fmla="*/ 2 w 13"/>
              <a:gd name="T17" fmla="*/ 0 h 64"/>
              <a:gd name="T18" fmla="*/ 9 w 13"/>
              <a:gd name="T19" fmla="*/ 15 h 64"/>
              <a:gd name="T20" fmla="*/ 11 w 13"/>
              <a:gd name="T21" fmla="*/ 23 h 64"/>
              <a:gd name="T22" fmla="*/ 13 w 13"/>
              <a:gd name="T23" fmla="*/ 45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2" y="64"/>
                </a:lnTo>
                <a:lnTo>
                  <a:pt x="0" y="62"/>
                </a:lnTo>
                <a:lnTo>
                  <a:pt x="9" y="55"/>
                </a:lnTo>
                <a:lnTo>
                  <a:pt x="11" y="49"/>
                </a:lnTo>
                <a:lnTo>
                  <a:pt x="9" y="21"/>
                </a:lnTo>
                <a:lnTo>
                  <a:pt x="9" y="15"/>
                </a:lnTo>
                <a:lnTo>
                  <a:pt x="4" y="9"/>
                </a:lnTo>
                <a:lnTo>
                  <a:pt x="2" y="0"/>
                </a:lnTo>
                <a:lnTo>
                  <a:pt x="9" y="15"/>
                </a:lnTo>
                <a:lnTo>
                  <a:pt x="11" y="23"/>
                </a:lnTo>
                <a:lnTo>
                  <a:pt x="13" y="45"/>
                </a:lnTo>
                <a:lnTo>
                  <a:pt x="13" y="6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Freeform 926"/>
          <p:cNvSpPr>
            <a:spLocks/>
          </p:cNvSpPr>
          <p:nvPr/>
        </p:nvSpPr>
        <p:spPr bwMode="auto">
          <a:xfrm>
            <a:off x="7308850" y="3805238"/>
            <a:ext cx="20638" cy="101600"/>
          </a:xfrm>
          <a:custGeom>
            <a:avLst/>
            <a:gdLst>
              <a:gd name="T0" fmla="*/ 13 w 13"/>
              <a:gd name="T1" fmla="*/ 60 h 64"/>
              <a:gd name="T2" fmla="*/ 2 w 13"/>
              <a:gd name="T3" fmla="*/ 64 h 64"/>
              <a:gd name="T4" fmla="*/ 0 w 13"/>
              <a:gd name="T5" fmla="*/ 62 h 64"/>
              <a:gd name="T6" fmla="*/ 9 w 13"/>
              <a:gd name="T7" fmla="*/ 55 h 64"/>
              <a:gd name="T8" fmla="*/ 11 w 13"/>
              <a:gd name="T9" fmla="*/ 49 h 64"/>
              <a:gd name="T10" fmla="*/ 9 w 13"/>
              <a:gd name="T11" fmla="*/ 21 h 64"/>
              <a:gd name="T12" fmla="*/ 9 w 13"/>
              <a:gd name="T13" fmla="*/ 15 h 64"/>
              <a:gd name="T14" fmla="*/ 4 w 13"/>
              <a:gd name="T15" fmla="*/ 9 h 64"/>
              <a:gd name="T16" fmla="*/ 2 w 13"/>
              <a:gd name="T17" fmla="*/ 0 h 64"/>
              <a:gd name="T18" fmla="*/ 9 w 13"/>
              <a:gd name="T19" fmla="*/ 15 h 64"/>
              <a:gd name="T20" fmla="*/ 11 w 13"/>
              <a:gd name="T21" fmla="*/ 23 h 64"/>
              <a:gd name="T22" fmla="*/ 13 w 13"/>
              <a:gd name="T23" fmla="*/ 45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2" y="64"/>
                </a:lnTo>
                <a:lnTo>
                  <a:pt x="0" y="62"/>
                </a:lnTo>
                <a:lnTo>
                  <a:pt x="9" y="55"/>
                </a:lnTo>
                <a:lnTo>
                  <a:pt x="11" y="49"/>
                </a:lnTo>
                <a:lnTo>
                  <a:pt x="9" y="21"/>
                </a:lnTo>
                <a:lnTo>
                  <a:pt x="9" y="15"/>
                </a:lnTo>
                <a:lnTo>
                  <a:pt x="4" y="9"/>
                </a:lnTo>
                <a:lnTo>
                  <a:pt x="2" y="0"/>
                </a:lnTo>
                <a:lnTo>
                  <a:pt x="9" y="15"/>
                </a:lnTo>
                <a:lnTo>
                  <a:pt x="11" y="23"/>
                </a:lnTo>
                <a:lnTo>
                  <a:pt x="13" y="45"/>
                </a:lnTo>
                <a:lnTo>
                  <a:pt x="13" y="6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0" name="Freeform 927"/>
          <p:cNvSpPr>
            <a:spLocks/>
          </p:cNvSpPr>
          <p:nvPr/>
        </p:nvSpPr>
        <p:spPr bwMode="auto">
          <a:xfrm>
            <a:off x="6500813" y="2120900"/>
            <a:ext cx="849313" cy="762000"/>
          </a:xfrm>
          <a:custGeom>
            <a:avLst/>
            <a:gdLst>
              <a:gd name="T0" fmla="*/ 4 w 535"/>
              <a:gd name="T1" fmla="*/ 411 h 480"/>
              <a:gd name="T2" fmla="*/ 32 w 535"/>
              <a:gd name="T3" fmla="*/ 379 h 480"/>
              <a:gd name="T4" fmla="*/ 47 w 535"/>
              <a:gd name="T5" fmla="*/ 365 h 480"/>
              <a:gd name="T6" fmla="*/ 62 w 535"/>
              <a:gd name="T7" fmla="*/ 343 h 480"/>
              <a:gd name="T8" fmla="*/ 53 w 535"/>
              <a:gd name="T9" fmla="*/ 320 h 480"/>
              <a:gd name="T10" fmla="*/ 55 w 535"/>
              <a:gd name="T11" fmla="*/ 311 h 480"/>
              <a:gd name="T12" fmla="*/ 41 w 535"/>
              <a:gd name="T13" fmla="*/ 303 h 480"/>
              <a:gd name="T14" fmla="*/ 36 w 535"/>
              <a:gd name="T15" fmla="*/ 290 h 480"/>
              <a:gd name="T16" fmla="*/ 51 w 535"/>
              <a:gd name="T17" fmla="*/ 282 h 480"/>
              <a:gd name="T18" fmla="*/ 66 w 535"/>
              <a:gd name="T19" fmla="*/ 275 h 480"/>
              <a:gd name="T20" fmla="*/ 109 w 535"/>
              <a:gd name="T21" fmla="*/ 262 h 480"/>
              <a:gd name="T22" fmla="*/ 158 w 535"/>
              <a:gd name="T23" fmla="*/ 269 h 480"/>
              <a:gd name="T24" fmla="*/ 185 w 535"/>
              <a:gd name="T25" fmla="*/ 258 h 480"/>
              <a:gd name="T26" fmla="*/ 207 w 535"/>
              <a:gd name="T27" fmla="*/ 258 h 480"/>
              <a:gd name="T28" fmla="*/ 217 w 535"/>
              <a:gd name="T29" fmla="*/ 247 h 480"/>
              <a:gd name="T30" fmla="*/ 228 w 535"/>
              <a:gd name="T31" fmla="*/ 233 h 480"/>
              <a:gd name="T32" fmla="*/ 245 w 535"/>
              <a:gd name="T33" fmla="*/ 218 h 480"/>
              <a:gd name="T34" fmla="*/ 258 w 535"/>
              <a:gd name="T35" fmla="*/ 211 h 480"/>
              <a:gd name="T36" fmla="*/ 253 w 535"/>
              <a:gd name="T37" fmla="*/ 196 h 480"/>
              <a:gd name="T38" fmla="*/ 247 w 535"/>
              <a:gd name="T39" fmla="*/ 177 h 480"/>
              <a:gd name="T40" fmla="*/ 256 w 535"/>
              <a:gd name="T41" fmla="*/ 167 h 480"/>
              <a:gd name="T42" fmla="*/ 249 w 535"/>
              <a:gd name="T43" fmla="*/ 164 h 480"/>
              <a:gd name="T44" fmla="*/ 241 w 535"/>
              <a:gd name="T45" fmla="*/ 158 h 480"/>
              <a:gd name="T46" fmla="*/ 241 w 535"/>
              <a:gd name="T47" fmla="*/ 162 h 480"/>
              <a:gd name="T48" fmla="*/ 234 w 535"/>
              <a:gd name="T49" fmla="*/ 149 h 480"/>
              <a:gd name="T50" fmla="*/ 256 w 535"/>
              <a:gd name="T51" fmla="*/ 128 h 480"/>
              <a:gd name="T52" fmla="*/ 271 w 535"/>
              <a:gd name="T53" fmla="*/ 109 h 480"/>
              <a:gd name="T54" fmla="*/ 292 w 535"/>
              <a:gd name="T55" fmla="*/ 62 h 480"/>
              <a:gd name="T56" fmla="*/ 332 w 535"/>
              <a:gd name="T57" fmla="*/ 26 h 480"/>
              <a:gd name="T58" fmla="*/ 390 w 535"/>
              <a:gd name="T59" fmla="*/ 15 h 480"/>
              <a:gd name="T60" fmla="*/ 445 w 535"/>
              <a:gd name="T61" fmla="*/ 3 h 480"/>
              <a:gd name="T62" fmla="*/ 447 w 535"/>
              <a:gd name="T63" fmla="*/ 17 h 480"/>
              <a:gd name="T64" fmla="*/ 454 w 535"/>
              <a:gd name="T65" fmla="*/ 41 h 480"/>
              <a:gd name="T66" fmla="*/ 462 w 535"/>
              <a:gd name="T67" fmla="*/ 56 h 480"/>
              <a:gd name="T68" fmla="*/ 464 w 535"/>
              <a:gd name="T69" fmla="*/ 71 h 480"/>
              <a:gd name="T70" fmla="*/ 469 w 535"/>
              <a:gd name="T71" fmla="*/ 86 h 480"/>
              <a:gd name="T72" fmla="*/ 464 w 535"/>
              <a:gd name="T73" fmla="*/ 103 h 480"/>
              <a:gd name="T74" fmla="*/ 473 w 535"/>
              <a:gd name="T75" fmla="*/ 124 h 480"/>
              <a:gd name="T76" fmla="*/ 477 w 535"/>
              <a:gd name="T77" fmla="*/ 152 h 480"/>
              <a:gd name="T78" fmla="*/ 483 w 535"/>
              <a:gd name="T79" fmla="*/ 152 h 480"/>
              <a:gd name="T80" fmla="*/ 511 w 535"/>
              <a:gd name="T81" fmla="*/ 233 h 480"/>
              <a:gd name="T82" fmla="*/ 515 w 535"/>
              <a:gd name="T83" fmla="*/ 245 h 480"/>
              <a:gd name="T84" fmla="*/ 513 w 535"/>
              <a:gd name="T85" fmla="*/ 322 h 480"/>
              <a:gd name="T86" fmla="*/ 530 w 535"/>
              <a:gd name="T87" fmla="*/ 407 h 480"/>
              <a:gd name="T88" fmla="*/ 535 w 535"/>
              <a:gd name="T89" fmla="*/ 422 h 480"/>
              <a:gd name="T90" fmla="*/ 524 w 535"/>
              <a:gd name="T91" fmla="*/ 437 h 480"/>
              <a:gd name="T92" fmla="*/ 524 w 535"/>
              <a:gd name="T93" fmla="*/ 460 h 480"/>
              <a:gd name="T94" fmla="*/ 515 w 535"/>
              <a:gd name="T95" fmla="*/ 471 h 480"/>
              <a:gd name="T96" fmla="*/ 509 w 535"/>
              <a:gd name="T97" fmla="*/ 480 h 480"/>
              <a:gd name="T98" fmla="*/ 511 w 535"/>
              <a:gd name="T99" fmla="*/ 441 h 480"/>
              <a:gd name="T100" fmla="*/ 498 w 535"/>
              <a:gd name="T101" fmla="*/ 424 h 480"/>
              <a:gd name="T102" fmla="*/ 496 w 535"/>
              <a:gd name="T103" fmla="*/ 420 h 480"/>
              <a:gd name="T104" fmla="*/ 505 w 535"/>
              <a:gd name="T105" fmla="*/ 435 h 480"/>
              <a:gd name="T106" fmla="*/ 434 w 535"/>
              <a:gd name="T107" fmla="*/ 426 h 480"/>
              <a:gd name="T108" fmla="*/ 426 w 535"/>
              <a:gd name="T109" fmla="*/ 420 h 480"/>
              <a:gd name="T110" fmla="*/ 407 w 535"/>
              <a:gd name="T111" fmla="*/ 416 h 480"/>
              <a:gd name="T112" fmla="*/ 398 w 535"/>
              <a:gd name="T113" fmla="*/ 401 h 480"/>
              <a:gd name="T114" fmla="*/ 383 w 535"/>
              <a:gd name="T115" fmla="*/ 379 h 480"/>
              <a:gd name="T116" fmla="*/ 375 w 535"/>
              <a:gd name="T117" fmla="*/ 373 h 480"/>
              <a:gd name="T118" fmla="*/ 366 w 535"/>
              <a:gd name="T119" fmla="*/ 369 h 480"/>
              <a:gd name="T120" fmla="*/ 175 w 535"/>
              <a:gd name="T121" fmla="*/ 409 h 480"/>
              <a:gd name="T122" fmla="*/ 6 w 535"/>
              <a:gd name="T123" fmla="*/ 441 h 480"/>
              <a:gd name="T124" fmla="*/ 0 w 535"/>
              <a:gd name="T125" fmla="*/ 41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5" h="480">
                <a:moveTo>
                  <a:pt x="0" y="414"/>
                </a:moveTo>
                <a:lnTo>
                  <a:pt x="4" y="411"/>
                </a:lnTo>
                <a:lnTo>
                  <a:pt x="19" y="394"/>
                </a:lnTo>
                <a:lnTo>
                  <a:pt x="32" y="379"/>
                </a:lnTo>
                <a:lnTo>
                  <a:pt x="41" y="371"/>
                </a:lnTo>
                <a:lnTo>
                  <a:pt x="47" y="365"/>
                </a:lnTo>
                <a:lnTo>
                  <a:pt x="49" y="356"/>
                </a:lnTo>
                <a:lnTo>
                  <a:pt x="62" y="343"/>
                </a:lnTo>
                <a:lnTo>
                  <a:pt x="62" y="335"/>
                </a:lnTo>
                <a:lnTo>
                  <a:pt x="53" y="320"/>
                </a:lnTo>
                <a:lnTo>
                  <a:pt x="55" y="313"/>
                </a:lnTo>
                <a:lnTo>
                  <a:pt x="55" y="311"/>
                </a:lnTo>
                <a:lnTo>
                  <a:pt x="41" y="309"/>
                </a:lnTo>
                <a:lnTo>
                  <a:pt x="41" y="303"/>
                </a:lnTo>
                <a:lnTo>
                  <a:pt x="36" y="290"/>
                </a:lnTo>
                <a:lnTo>
                  <a:pt x="36" y="290"/>
                </a:lnTo>
                <a:lnTo>
                  <a:pt x="45" y="286"/>
                </a:lnTo>
                <a:lnTo>
                  <a:pt x="51" y="282"/>
                </a:lnTo>
                <a:lnTo>
                  <a:pt x="60" y="279"/>
                </a:lnTo>
                <a:lnTo>
                  <a:pt x="66" y="275"/>
                </a:lnTo>
                <a:lnTo>
                  <a:pt x="81" y="269"/>
                </a:lnTo>
                <a:lnTo>
                  <a:pt x="109" y="262"/>
                </a:lnTo>
                <a:lnTo>
                  <a:pt x="139" y="262"/>
                </a:lnTo>
                <a:lnTo>
                  <a:pt x="158" y="269"/>
                </a:lnTo>
                <a:lnTo>
                  <a:pt x="170" y="260"/>
                </a:lnTo>
                <a:lnTo>
                  <a:pt x="185" y="258"/>
                </a:lnTo>
                <a:lnTo>
                  <a:pt x="200" y="256"/>
                </a:lnTo>
                <a:lnTo>
                  <a:pt x="207" y="258"/>
                </a:lnTo>
                <a:lnTo>
                  <a:pt x="211" y="252"/>
                </a:lnTo>
                <a:lnTo>
                  <a:pt x="217" y="247"/>
                </a:lnTo>
                <a:lnTo>
                  <a:pt x="224" y="241"/>
                </a:lnTo>
                <a:lnTo>
                  <a:pt x="228" y="233"/>
                </a:lnTo>
                <a:lnTo>
                  <a:pt x="236" y="226"/>
                </a:lnTo>
                <a:lnTo>
                  <a:pt x="245" y="218"/>
                </a:lnTo>
                <a:lnTo>
                  <a:pt x="253" y="218"/>
                </a:lnTo>
                <a:lnTo>
                  <a:pt x="258" y="211"/>
                </a:lnTo>
                <a:lnTo>
                  <a:pt x="258" y="203"/>
                </a:lnTo>
                <a:lnTo>
                  <a:pt x="253" y="196"/>
                </a:lnTo>
                <a:lnTo>
                  <a:pt x="253" y="192"/>
                </a:lnTo>
                <a:lnTo>
                  <a:pt x="247" y="177"/>
                </a:lnTo>
                <a:lnTo>
                  <a:pt x="253" y="175"/>
                </a:lnTo>
                <a:lnTo>
                  <a:pt x="256" y="167"/>
                </a:lnTo>
                <a:lnTo>
                  <a:pt x="260" y="160"/>
                </a:lnTo>
                <a:lnTo>
                  <a:pt x="249" y="164"/>
                </a:lnTo>
                <a:lnTo>
                  <a:pt x="249" y="154"/>
                </a:lnTo>
                <a:lnTo>
                  <a:pt x="241" y="158"/>
                </a:lnTo>
                <a:lnTo>
                  <a:pt x="243" y="167"/>
                </a:lnTo>
                <a:lnTo>
                  <a:pt x="241" y="162"/>
                </a:lnTo>
                <a:lnTo>
                  <a:pt x="234" y="156"/>
                </a:lnTo>
                <a:lnTo>
                  <a:pt x="234" y="149"/>
                </a:lnTo>
                <a:lnTo>
                  <a:pt x="249" y="135"/>
                </a:lnTo>
                <a:lnTo>
                  <a:pt x="256" y="128"/>
                </a:lnTo>
                <a:lnTo>
                  <a:pt x="260" y="124"/>
                </a:lnTo>
                <a:lnTo>
                  <a:pt x="271" y="109"/>
                </a:lnTo>
                <a:lnTo>
                  <a:pt x="268" y="100"/>
                </a:lnTo>
                <a:lnTo>
                  <a:pt x="292" y="62"/>
                </a:lnTo>
                <a:lnTo>
                  <a:pt x="317" y="34"/>
                </a:lnTo>
                <a:lnTo>
                  <a:pt x="332" y="26"/>
                </a:lnTo>
                <a:lnTo>
                  <a:pt x="339" y="26"/>
                </a:lnTo>
                <a:lnTo>
                  <a:pt x="390" y="15"/>
                </a:lnTo>
                <a:lnTo>
                  <a:pt x="445" y="0"/>
                </a:lnTo>
                <a:lnTo>
                  <a:pt x="445" y="3"/>
                </a:lnTo>
                <a:lnTo>
                  <a:pt x="447" y="9"/>
                </a:lnTo>
                <a:lnTo>
                  <a:pt x="447" y="17"/>
                </a:lnTo>
                <a:lnTo>
                  <a:pt x="452" y="24"/>
                </a:lnTo>
                <a:lnTo>
                  <a:pt x="454" y="41"/>
                </a:lnTo>
                <a:lnTo>
                  <a:pt x="456" y="49"/>
                </a:lnTo>
                <a:lnTo>
                  <a:pt x="462" y="56"/>
                </a:lnTo>
                <a:lnTo>
                  <a:pt x="464" y="62"/>
                </a:lnTo>
                <a:lnTo>
                  <a:pt x="464" y="71"/>
                </a:lnTo>
                <a:lnTo>
                  <a:pt x="466" y="77"/>
                </a:lnTo>
                <a:lnTo>
                  <a:pt x="469" y="86"/>
                </a:lnTo>
                <a:lnTo>
                  <a:pt x="464" y="88"/>
                </a:lnTo>
                <a:lnTo>
                  <a:pt x="464" y="103"/>
                </a:lnTo>
                <a:lnTo>
                  <a:pt x="469" y="118"/>
                </a:lnTo>
                <a:lnTo>
                  <a:pt x="473" y="124"/>
                </a:lnTo>
                <a:lnTo>
                  <a:pt x="477" y="139"/>
                </a:lnTo>
                <a:lnTo>
                  <a:pt x="477" y="152"/>
                </a:lnTo>
                <a:lnTo>
                  <a:pt x="479" y="158"/>
                </a:lnTo>
                <a:lnTo>
                  <a:pt x="483" y="152"/>
                </a:lnTo>
                <a:lnTo>
                  <a:pt x="494" y="160"/>
                </a:lnTo>
                <a:lnTo>
                  <a:pt x="511" y="233"/>
                </a:lnTo>
                <a:lnTo>
                  <a:pt x="509" y="239"/>
                </a:lnTo>
                <a:lnTo>
                  <a:pt x="515" y="245"/>
                </a:lnTo>
                <a:lnTo>
                  <a:pt x="513" y="252"/>
                </a:lnTo>
                <a:lnTo>
                  <a:pt x="513" y="322"/>
                </a:lnTo>
                <a:lnTo>
                  <a:pt x="515" y="326"/>
                </a:lnTo>
                <a:lnTo>
                  <a:pt x="530" y="407"/>
                </a:lnTo>
                <a:lnTo>
                  <a:pt x="535" y="416"/>
                </a:lnTo>
                <a:lnTo>
                  <a:pt x="535" y="422"/>
                </a:lnTo>
                <a:lnTo>
                  <a:pt x="524" y="435"/>
                </a:lnTo>
                <a:lnTo>
                  <a:pt x="524" y="437"/>
                </a:lnTo>
                <a:lnTo>
                  <a:pt x="530" y="446"/>
                </a:lnTo>
                <a:lnTo>
                  <a:pt x="524" y="460"/>
                </a:lnTo>
                <a:lnTo>
                  <a:pt x="522" y="469"/>
                </a:lnTo>
                <a:lnTo>
                  <a:pt x="515" y="471"/>
                </a:lnTo>
                <a:lnTo>
                  <a:pt x="511" y="480"/>
                </a:lnTo>
                <a:lnTo>
                  <a:pt x="509" y="480"/>
                </a:lnTo>
                <a:lnTo>
                  <a:pt x="511" y="463"/>
                </a:lnTo>
                <a:lnTo>
                  <a:pt x="511" y="441"/>
                </a:lnTo>
                <a:lnTo>
                  <a:pt x="507" y="431"/>
                </a:lnTo>
                <a:lnTo>
                  <a:pt x="498" y="424"/>
                </a:lnTo>
                <a:lnTo>
                  <a:pt x="498" y="418"/>
                </a:lnTo>
                <a:lnTo>
                  <a:pt x="496" y="420"/>
                </a:lnTo>
                <a:lnTo>
                  <a:pt x="498" y="426"/>
                </a:lnTo>
                <a:lnTo>
                  <a:pt x="505" y="435"/>
                </a:lnTo>
                <a:lnTo>
                  <a:pt x="509" y="452"/>
                </a:lnTo>
                <a:lnTo>
                  <a:pt x="434" y="426"/>
                </a:lnTo>
                <a:lnTo>
                  <a:pt x="434" y="424"/>
                </a:lnTo>
                <a:lnTo>
                  <a:pt x="426" y="420"/>
                </a:lnTo>
                <a:lnTo>
                  <a:pt x="420" y="420"/>
                </a:lnTo>
                <a:lnTo>
                  <a:pt x="407" y="416"/>
                </a:lnTo>
                <a:lnTo>
                  <a:pt x="400" y="407"/>
                </a:lnTo>
                <a:lnTo>
                  <a:pt x="398" y="401"/>
                </a:lnTo>
                <a:lnTo>
                  <a:pt x="392" y="386"/>
                </a:lnTo>
                <a:lnTo>
                  <a:pt x="383" y="379"/>
                </a:lnTo>
                <a:lnTo>
                  <a:pt x="377" y="379"/>
                </a:lnTo>
                <a:lnTo>
                  <a:pt x="375" y="373"/>
                </a:lnTo>
                <a:lnTo>
                  <a:pt x="366" y="369"/>
                </a:lnTo>
                <a:lnTo>
                  <a:pt x="366" y="369"/>
                </a:lnTo>
                <a:lnTo>
                  <a:pt x="290" y="386"/>
                </a:lnTo>
                <a:lnTo>
                  <a:pt x="175" y="409"/>
                </a:lnTo>
                <a:lnTo>
                  <a:pt x="73" y="431"/>
                </a:lnTo>
                <a:lnTo>
                  <a:pt x="6" y="441"/>
                </a:lnTo>
                <a:lnTo>
                  <a:pt x="2" y="416"/>
                </a:lnTo>
                <a:lnTo>
                  <a:pt x="0" y="41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Freeform 928"/>
          <p:cNvSpPr>
            <a:spLocks/>
          </p:cNvSpPr>
          <p:nvPr/>
        </p:nvSpPr>
        <p:spPr bwMode="auto">
          <a:xfrm>
            <a:off x="6500813" y="2120900"/>
            <a:ext cx="849313" cy="762000"/>
          </a:xfrm>
          <a:custGeom>
            <a:avLst/>
            <a:gdLst>
              <a:gd name="T0" fmla="*/ 4 w 535"/>
              <a:gd name="T1" fmla="*/ 411 h 480"/>
              <a:gd name="T2" fmla="*/ 32 w 535"/>
              <a:gd name="T3" fmla="*/ 379 h 480"/>
              <a:gd name="T4" fmla="*/ 47 w 535"/>
              <a:gd name="T5" fmla="*/ 365 h 480"/>
              <a:gd name="T6" fmla="*/ 62 w 535"/>
              <a:gd name="T7" fmla="*/ 343 h 480"/>
              <a:gd name="T8" fmla="*/ 53 w 535"/>
              <a:gd name="T9" fmla="*/ 320 h 480"/>
              <a:gd name="T10" fmla="*/ 55 w 535"/>
              <a:gd name="T11" fmla="*/ 311 h 480"/>
              <a:gd name="T12" fmla="*/ 41 w 535"/>
              <a:gd name="T13" fmla="*/ 303 h 480"/>
              <a:gd name="T14" fmla="*/ 36 w 535"/>
              <a:gd name="T15" fmla="*/ 290 h 480"/>
              <a:gd name="T16" fmla="*/ 51 w 535"/>
              <a:gd name="T17" fmla="*/ 282 h 480"/>
              <a:gd name="T18" fmla="*/ 66 w 535"/>
              <a:gd name="T19" fmla="*/ 275 h 480"/>
              <a:gd name="T20" fmla="*/ 109 w 535"/>
              <a:gd name="T21" fmla="*/ 262 h 480"/>
              <a:gd name="T22" fmla="*/ 158 w 535"/>
              <a:gd name="T23" fmla="*/ 269 h 480"/>
              <a:gd name="T24" fmla="*/ 185 w 535"/>
              <a:gd name="T25" fmla="*/ 258 h 480"/>
              <a:gd name="T26" fmla="*/ 207 w 535"/>
              <a:gd name="T27" fmla="*/ 258 h 480"/>
              <a:gd name="T28" fmla="*/ 217 w 535"/>
              <a:gd name="T29" fmla="*/ 247 h 480"/>
              <a:gd name="T30" fmla="*/ 228 w 535"/>
              <a:gd name="T31" fmla="*/ 233 h 480"/>
              <a:gd name="T32" fmla="*/ 245 w 535"/>
              <a:gd name="T33" fmla="*/ 218 h 480"/>
              <a:gd name="T34" fmla="*/ 258 w 535"/>
              <a:gd name="T35" fmla="*/ 211 h 480"/>
              <a:gd name="T36" fmla="*/ 253 w 535"/>
              <a:gd name="T37" fmla="*/ 196 h 480"/>
              <a:gd name="T38" fmla="*/ 247 w 535"/>
              <a:gd name="T39" fmla="*/ 177 h 480"/>
              <a:gd name="T40" fmla="*/ 256 w 535"/>
              <a:gd name="T41" fmla="*/ 167 h 480"/>
              <a:gd name="T42" fmla="*/ 249 w 535"/>
              <a:gd name="T43" fmla="*/ 164 h 480"/>
              <a:gd name="T44" fmla="*/ 241 w 535"/>
              <a:gd name="T45" fmla="*/ 158 h 480"/>
              <a:gd name="T46" fmla="*/ 241 w 535"/>
              <a:gd name="T47" fmla="*/ 162 h 480"/>
              <a:gd name="T48" fmla="*/ 234 w 535"/>
              <a:gd name="T49" fmla="*/ 149 h 480"/>
              <a:gd name="T50" fmla="*/ 256 w 535"/>
              <a:gd name="T51" fmla="*/ 128 h 480"/>
              <a:gd name="T52" fmla="*/ 271 w 535"/>
              <a:gd name="T53" fmla="*/ 109 h 480"/>
              <a:gd name="T54" fmla="*/ 292 w 535"/>
              <a:gd name="T55" fmla="*/ 62 h 480"/>
              <a:gd name="T56" fmla="*/ 332 w 535"/>
              <a:gd name="T57" fmla="*/ 26 h 480"/>
              <a:gd name="T58" fmla="*/ 390 w 535"/>
              <a:gd name="T59" fmla="*/ 15 h 480"/>
              <a:gd name="T60" fmla="*/ 445 w 535"/>
              <a:gd name="T61" fmla="*/ 3 h 480"/>
              <a:gd name="T62" fmla="*/ 447 w 535"/>
              <a:gd name="T63" fmla="*/ 17 h 480"/>
              <a:gd name="T64" fmla="*/ 454 w 535"/>
              <a:gd name="T65" fmla="*/ 41 h 480"/>
              <a:gd name="T66" fmla="*/ 462 w 535"/>
              <a:gd name="T67" fmla="*/ 56 h 480"/>
              <a:gd name="T68" fmla="*/ 464 w 535"/>
              <a:gd name="T69" fmla="*/ 71 h 480"/>
              <a:gd name="T70" fmla="*/ 469 w 535"/>
              <a:gd name="T71" fmla="*/ 86 h 480"/>
              <a:gd name="T72" fmla="*/ 464 w 535"/>
              <a:gd name="T73" fmla="*/ 103 h 480"/>
              <a:gd name="T74" fmla="*/ 473 w 535"/>
              <a:gd name="T75" fmla="*/ 124 h 480"/>
              <a:gd name="T76" fmla="*/ 477 w 535"/>
              <a:gd name="T77" fmla="*/ 152 h 480"/>
              <a:gd name="T78" fmla="*/ 483 w 535"/>
              <a:gd name="T79" fmla="*/ 152 h 480"/>
              <a:gd name="T80" fmla="*/ 511 w 535"/>
              <a:gd name="T81" fmla="*/ 233 h 480"/>
              <a:gd name="T82" fmla="*/ 515 w 535"/>
              <a:gd name="T83" fmla="*/ 245 h 480"/>
              <a:gd name="T84" fmla="*/ 513 w 535"/>
              <a:gd name="T85" fmla="*/ 322 h 480"/>
              <a:gd name="T86" fmla="*/ 530 w 535"/>
              <a:gd name="T87" fmla="*/ 407 h 480"/>
              <a:gd name="T88" fmla="*/ 535 w 535"/>
              <a:gd name="T89" fmla="*/ 422 h 480"/>
              <a:gd name="T90" fmla="*/ 524 w 535"/>
              <a:gd name="T91" fmla="*/ 437 h 480"/>
              <a:gd name="T92" fmla="*/ 524 w 535"/>
              <a:gd name="T93" fmla="*/ 460 h 480"/>
              <a:gd name="T94" fmla="*/ 515 w 535"/>
              <a:gd name="T95" fmla="*/ 471 h 480"/>
              <a:gd name="T96" fmla="*/ 509 w 535"/>
              <a:gd name="T97" fmla="*/ 480 h 480"/>
              <a:gd name="T98" fmla="*/ 511 w 535"/>
              <a:gd name="T99" fmla="*/ 441 h 480"/>
              <a:gd name="T100" fmla="*/ 498 w 535"/>
              <a:gd name="T101" fmla="*/ 424 h 480"/>
              <a:gd name="T102" fmla="*/ 496 w 535"/>
              <a:gd name="T103" fmla="*/ 420 h 480"/>
              <a:gd name="T104" fmla="*/ 505 w 535"/>
              <a:gd name="T105" fmla="*/ 435 h 480"/>
              <a:gd name="T106" fmla="*/ 434 w 535"/>
              <a:gd name="T107" fmla="*/ 426 h 480"/>
              <a:gd name="T108" fmla="*/ 426 w 535"/>
              <a:gd name="T109" fmla="*/ 420 h 480"/>
              <a:gd name="T110" fmla="*/ 407 w 535"/>
              <a:gd name="T111" fmla="*/ 416 h 480"/>
              <a:gd name="T112" fmla="*/ 398 w 535"/>
              <a:gd name="T113" fmla="*/ 401 h 480"/>
              <a:gd name="T114" fmla="*/ 383 w 535"/>
              <a:gd name="T115" fmla="*/ 379 h 480"/>
              <a:gd name="T116" fmla="*/ 375 w 535"/>
              <a:gd name="T117" fmla="*/ 373 h 480"/>
              <a:gd name="T118" fmla="*/ 366 w 535"/>
              <a:gd name="T119" fmla="*/ 369 h 480"/>
              <a:gd name="T120" fmla="*/ 175 w 535"/>
              <a:gd name="T121" fmla="*/ 409 h 480"/>
              <a:gd name="T122" fmla="*/ 6 w 535"/>
              <a:gd name="T123" fmla="*/ 441 h 480"/>
              <a:gd name="T124" fmla="*/ 0 w 535"/>
              <a:gd name="T125" fmla="*/ 41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5" h="480">
                <a:moveTo>
                  <a:pt x="0" y="414"/>
                </a:moveTo>
                <a:lnTo>
                  <a:pt x="4" y="411"/>
                </a:lnTo>
                <a:lnTo>
                  <a:pt x="19" y="394"/>
                </a:lnTo>
                <a:lnTo>
                  <a:pt x="32" y="379"/>
                </a:lnTo>
                <a:lnTo>
                  <a:pt x="41" y="371"/>
                </a:lnTo>
                <a:lnTo>
                  <a:pt x="47" y="365"/>
                </a:lnTo>
                <a:lnTo>
                  <a:pt x="49" y="356"/>
                </a:lnTo>
                <a:lnTo>
                  <a:pt x="62" y="343"/>
                </a:lnTo>
                <a:lnTo>
                  <a:pt x="62" y="335"/>
                </a:lnTo>
                <a:lnTo>
                  <a:pt x="53" y="320"/>
                </a:lnTo>
                <a:lnTo>
                  <a:pt x="55" y="313"/>
                </a:lnTo>
                <a:lnTo>
                  <a:pt x="55" y="311"/>
                </a:lnTo>
                <a:lnTo>
                  <a:pt x="41" y="309"/>
                </a:lnTo>
                <a:lnTo>
                  <a:pt x="41" y="303"/>
                </a:lnTo>
                <a:lnTo>
                  <a:pt x="36" y="290"/>
                </a:lnTo>
                <a:lnTo>
                  <a:pt x="36" y="290"/>
                </a:lnTo>
                <a:lnTo>
                  <a:pt x="45" y="286"/>
                </a:lnTo>
                <a:lnTo>
                  <a:pt x="51" y="282"/>
                </a:lnTo>
                <a:lnTo>
                  <a:pt x="60" y="279"/>
                </a:lnTo>
                <a:lnTo>
                  <a:pt x="66" y="275"/>
                </a:lnTo>
                <a:lnTo>
                  <a:pt x="81" y="269"/>
                </a:lnTo>
                <a:lnTo>
                  <a:pt x="109" y="262"/>
                </a:lnTo>
                <a:lnTo>
                  <a:pt x="139" y="262"/>
                </a:lnTo>
                <a:lnTo>
                  <a:pt x="158" y="269"/>
                </a:lnTo>
                <a:lnTo>
                  <a:pt x="170" y="260"/>
                </a:lnTo>
                <a:lnTo>
                  <a:pt x="185" y="258"/>
                </a:lnTo>
                <a:lnTo>
                  <a:pt x="200" y="256"/>
                </a:lnTo>
                <a:lnTo>
                  <a:pt x="207" y="258"/>
                </a:lnTo>
                <a:lnTo>
                  <a:pt x="211" y="252"/>
                </a:lnTo>
                <a:lnTo>
                  <a:pt x="217" y="247"/>
                </a:lnTo>
                <a:lnTo>
                  <a:pt x="224" y="241"/>
                </a:lnTo>
                <a:lnTo>
                  <a:pt x="228" y="233"/>
                </a:lnTo>
                <a:lnTo>
                  <a:pt x="236" y="226"/>
                </a:lnTo>
                <a:lnTo>
                  <a:pt x="245" y="218"/>
                </a:lnTo>
                <a:lnTo>
                  <a:pt x="253" y="218"/>
                </a:lnTo>
                <a:lnTo>
                  <a:pt x="258" y="211"/>
                </a:lnTo>
                <a:lnTo>
                  <a:pt x="258" y="203"/>
                </a:lnTo>
                <a:lnTo>
                  <a:pt x="253" y="196"/>
                </a:lnTo>
                <a:lnTo>
                  <a:pt x="253" y="192"/>
                </a:lnTo>
                <a:lnTo>
                  <a:pt x="247" y="177"/>
                </a:lnTo>
                <a:lnTo>
                  <a:pt x="253" y="175"/>
                </a:lnTo>
                <a:lnTo>
                  <a:pt x="256" y="167"/>
                </a:lnTo>
                <a:lnTo>
                  <a:pt x="260" y="160"/>
                </a:lnTo>
                <a:lnTo>
                  <a:pt x="249" y="164"/>
                </a:lnTo>
                <a:lnTo>
                  <a:pt x="249" y="154"/>
                </a:lnTo>
                <a:lnTo>
                  <a:pt x="241" y="158"/>
                </a:lnTo>
                <a:lnTo>
                  <a:pt x="243" y="167"/>
                </a:lnTo>
                <a:lnTo>
                  <a:pt x="241" y="162"/>
                </a:lnTo>
                <a:lnTo>
                  <a:pt x="234" y="156"/>
                </a:lnTo>
                <a:lnTo>
                  <a:pt x="234" y="149"/>
                </a:lnTo>
                <a:lnTo>
                  <a:pt x="249" y="135"/>
                </a:lnTo>
                <a:lnTo>
                  <a:pt x="256" y="128"/>
                </a:lnTo>
                <a:lnTo>
                  <a:pt x="260" y="124"/>
                </a:lnTo>
                <a:lnTo>
                  <a:pt x="271" y="109"/>
                </a:lnTo>
                <a:lnTo>
                  <a:pt x="268" y="100"/>
                </a:lnTo>
                <a:lnTo>
                  <a:pt x="292" y="62"/>
                </a:lnTo>
                <a:lnTo>
                  <a:pt x="317" y="34"/>
                </a:lnTo>
                <a:lnTo>
                  <a:pt x="332" y="26"/>
                </a:lnTo>
                <a:lnTo>
                  <a:pt x="339" y="26"/>
                </a:lnTo>
                <a:lnTo>
                  <a:pt x="390" y="15"/>
                </a:lnTo>
                <a:lnTo>
                  <a:pt x="445" y="0"/>
                </a:lnTo>
                <a:lnTo>
                  <a:pt x="445" y="3"/>
                </a:lnTo>
                <a:lnTo>
                  <a:pt x="447" y="9"/>
                </a:lnTo>
                <a:lnTo>
                  <a:pt x="447" y="17"/>
                </a:lnTo>
                <a:lnTo>
                  <a:pt x="452" y="24"/>
                </a:lnTo>
                <a:lnTo>
                  <a:pt x="454" y="41"/>
                </a:lnTo>
                <a:lnTo>
                  <a:pt x="456" y="49"/>
                </a:lnTo>
                <a:lnTo>
                  <a:pt x="462" y="56"/>
                </a:lnTo>
                <a:lnTo>
                  <a:pt x="464" y="62"/>
                </a:lnTo>
                <a:lnTo>
                  <a:pt x="464" y="71"/>
                </a:lnTo>
                <a:lnTo>
                  <a:pt x="466" y="77"/>
                </a:lnTo>
                <a:lnTo>
                  <a:pt x="469" y="86"/>
                </a:lnTo>
                <a:lnTo>
                  <a:pt x="464" y="88"/>
                </a:lnTo>
                <a:lnTo>
                  <a:pt x="464" y="103"/>
                </a:lnTo>
                <a:lnTo>
                  <a:pt x="469" y="118"/>
                </a:lnTo>
                <a:lnTo>
                  <a:pt x="473" y="124"/>
                </a:lnTo>
                <a:lnTo>
                  <a:pt x="477" y="139"/>
                </a:lnTo>
                <a:lnTo>
                  <a:pt x="477" y="152"/>
                </a:lnTo>
                <a:lnTo>
                  <a:pt x="479" y="158"/>
                </a:lnTo>
                <a:lnTo>
                  <a:pt x="483" y="152"/>
                </a:lnTo>
                <a:lnTo>
                  <a:pt x="494" y="160"/>
                </a:lnTo>
                <a:lnTo>
                  <a:pt x="511" y="233"/>
                </a:lnTo>
                <a:lnTo>
                  <a:pt x="509" y="239"/>
                </a:lnTo>
                <a:lnTo>
                  <a:pt x="515" y="245"/>
                </a:lnTo>
                <a:lnTo>
                  <a:pt x="513" y="252"/>
                </a:lnTo>
                <a:lnTo>
                  <a:pt x="513" y="322"/>
                </a:lnTo>
                <a:lnTo>
                  <a:pt x="515" y="326"/>
                </a:lnTo>
                <a:lnTo>
                  <a:pt x="530" y="407"/>
                </a:lnTo>
                <a:lnTo>
                  <a:pt x="535" y="416"/>
                </a:lnTo>
                <a:lnTo>
                  <a:pt x="535" y="422"/>
                </a:lnTo>
                <a:lnTo>
                  <a:pt x="524" y="435"/>
                </a:lnTo>
                <a:lnTo>
                  <a:pt x="524" y="437"/>
                </a:lnTo>
                <a:lnTo>
                  <a:pt x="530" y="446"/>
                </a:lnTo>
                <a:lnTo>
                  <a:pt x="524" y="460"/>
                </a:lnTo>
                <a:lnTo>
                  <a:pt x="522" y="469"/>
                </a:lnTo>
                <a:lnTo>
                  <a:pt x="515" y="471"/>
                </a:lnTo>
                <a:lnTo>
                  <a:pt x="511" y="480"/>
                </a:lnTo>
                <a:lnTo>
                  <a:pt x="509" y="480"/>
                </a:lnTo>
                <a:lnTo>
                  <a:pt x="511" y="463"/>
                </a:lnTo>
                <a:lnTo>
                  <a:pt x="511" y="441"/>
                </a:lnTo>
                <a:lnTo>
                  <a:pt x="507" y="431"/>
                </a:lnTo>
                <a:lnTo>
                  <a:pt x="498" y="424"/>
                </a:lnTo>
                <a:lnTo>
                  <a:pt x="498" y="418"/>
                </a:lnTo>
                <a:lnTo>
                  <a:pt x="496" y="420"/>
                </a:lnTo>
                <a:lnTo>
                  <a:pt x="498" y="426"/>
                </a:lnTo>
                <a:lnTo>
                  <a:pt x="505" y="435"/>
                </a:lnTo>
                <a:lnTo>
                  <a:pt x="509" y="452"/>
                </a:lnTo>
                <a:lnTo>
                  <a:pt x="434" y="426"/>
                </a:lnTo>
                <a:lnTo>
                  <a:pt x="434" y="424"/>
                </a:lnTo>
                <a:lnTo>
                  <a:pt x="426" y="420"/>
                </a:lnTo>
                <a:lnTo>
                  <a:pt x="420" y="420"/>
                </a:lnTo>
                <a:lnTo>
                  <a:pt x="407" y="416"/>
                </a:lnTo>
                <a:lnTo>
                  <a:pt x="400" y="407"/>
                </a:lnTo>
                <a:lnTo>
                  <a:pt x="398" y="401"/>
                </a:lnTo>
                <a:lnTo>
                  <a:pt x="392" y="386"/>
                </a:lnTo>
                <a:lnTo>
                  <a:pt x="383" y="379"/>
                </a:lnTo>
                <a:lnTo>
                  <a:pt x="377" y="379"/>
                </a:lnTo>
                <a:lnTo>
                  <a:pt x="375" y="373"/>
                </a:lnTo>
                <a:lnTo>
                  <a:pt x="366" y="369"/>
                </a:lnTo>
                <a:lnTo>
                  <a:pt x="366" y="369"/>
                </a:lnTo>
                <a:lnTo>
                  <a:pt x="290" y="386"/>
                </a:lnTo>
                <a:lnTo>
                  <a:pt x="175" y="409"/>
                </a:lnTo>
                <a:lnTo>
                  <a:pt x="73" y="431"/>
                </a:lnTo>
                <a:lnTo>
                  <a:pt x="6" y="441"/>
                </a:lnTo>
                <a:lnTo>
                  <a:pt x="2" y="416"/>
                </a:lnTo>
                <a:lnTo>
                  <a:pt x="0" y="41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2" name="Freeform 929"/>
          <p:cNvSpPr>
            <a:spLocks/>
          </p:cNvSpPr>
          <p:nvPr/>
        </p:nvSpPr>
        <p:spPr bwMode="auto">
          <a:xfrm>
            <a:off x="7308850" y="2754313"/>
            <a:ext cx="254000" cy="158750"/>
          </a:xfrm>
          <a:custGeom>
            <a:avLst/>
            <a:gdLst>
              <a:gd name="T0" fmla="*/ 51 w 160"/>
              <a:gd name="T1" fmla="*/ 78 h 100"/>
              <a:gd name="T2" fmla="*/ 23 w 160"/>
              <a:gd name="T3" fmla="*/ 93 h 100"/>
              <a:gd name="T4" fmla="*/ 11 w 160"/>
              <a:gd name="T5" fmla="*/ 100 h 100"/>
              <a:gd name="T6" fmla="*/ 17 w 160"/>
              <a:gd name="T7" fmla="*/ 93 h 100"/>
              <a:gd name="T8" fmla="*/ 2 w 160"/>
              <a:gd name="T9" fmla="*/ 98 h 100"/>
              <a:gd name="T10" fmla="*/ 0 w 160"/>
              <a:gd name="T11" fmla="*/ 96 h 100"/>
              <a:gd name="T12" fmla="*/ 0 w 160"/>
              <a:gd name="T13" fmla="*/ 89 h 100"/>
              <a:gd name="T14" fmla="*/ 4 w 160"/>
              <a:gd name="T15" fmla="*/ 81 h 100"/>
              <a:gd name="T16" fmla="*/ 17 w 160"/>
              <a:gd name="T17" fmla="*/ 72 h 100"/>
              <a:gd name="T18" fmla="*/ 19 w 160"/>
              <a:gd name="T19" fmla="*/ 64 h 100"/>
              <a:gd name="T20" fmla="*/ 26 w 160"/>
              <a:gd name="T21" fmla="*/ 66 h 100"/>
              <a:gd name="T22" fmla="*/ 26 w 160"/>
              <a:gd name="T23" fmla="*/ 59 h 100"/>
              <a:gd name="T24" fmla="*/ 32 w 160"/>
              <a:gd name="T25" fmla="*/ 53 h 100"/>
              <a:gd name="T26" fmla="*/ 38 w 160"/>
              <a:gd name="T27" fmla="*/ 55 h 100"/>
              <a:gd name="T28" fmla="*/ 53 w 160"/>
              <a:gd name="T29" fmla="*/ 47 h 100"/>
              <a:gd name="T30" fmla="*/ 60 w 160"/>
              <a:gd name="T31" fmla="*/ 47 h 100"/>
              <a:gd name="T32" fmla="*/ 64 w 160"/>
              <a:gd name="T33" fmla="*/ 40 h 100"/>
              <a:gd name="T34" fmla="*/ 70 w 160"/>
              <a:gd name="T35" fmla="*/ 38 h 100"/>
              <a:gd name="T36" fmla="*/ 92 w 160"/>
              <a:gd name="T37" fmla="*/ 32 h 100"/>
              <a:gd name="T38" fmla="*/ 106 w 160"/>
              <a:gd name="T39" fmla="*/ 25 h 100"/>
              <a:gd name="T40" fmla="*/ 128 w 160"/>
              <a:gd name="T41" fmla="*/ 0 h 100"/>
              <a:gd name="T42" fmla="*/ 121 w 160"/>
              <a:gd name="T43" fmla="*/ 12 h 100"/>
              <a:gd name="T44" fmla="*/ 121 w 160"/>
              <a:gd name="T45" fmla="*/ 21 h 100"/>
              <a:gd name="T46" fmla="*/ 113 w 160"/>
              <a:gd name="T47" fmla="*/ 27 h 100"/>
              <a:gd name="T48" fmla="*/ 109 w 160"/>
              <a:gd name="T49" fmla="*/ 34 h 100"/>
              <a:gd name="T50" fmla="*/ 115 w 160"/>
              <a:gd name="T51" fmla="*/ 34 h 100"/>
              <a:gd name="T52" fmla="*/ 119 w 160"/>
              <a:gd name="T53" fmla="*/ 32 h 100"/>
              <a:gd name="T54" fmla="*/ 130 w 160"/>
              <a:gd name="T55" fmla="*/ 17 h 100"/>
              <a:gd name="T56" fmla="*/ 136 w 160"/>
              <a:gd name="T57" fmla="*/ 12 h 100"/>
              <a:gd name="T58" fmla="*/ 143 w 160"/>
              <a:gd name="T59" fmla="*/ 10 h 100"/>
              <a:gd name="T60" fmla="*/ 145 w 160"/>
              <a:gd name="T61" fmla="*/ 12 h 100"/>
              <a:gd name="T62" fmla="*/ 153 w 160"/>
              <a:gd name="T63" fmla="*/ 10 h 100"/>
              <a:gd name="T64" fmla="*/ 160 w 160"/>
              <a:gd name="T65" fmla="*/ 4 h 100"/>
              <a:gd name="T66" fmla="*/ 151 w 160"/>
              <a:gd name="T67" fmla="*/ 17 h 100"/>
              <a:gd name="T68" fmla="*/ 143 w 160"/>
              <a:gd name="T69" fmla="*/ 21 h 100"/>
              <a:gd name="T70" fmla="*/ 130 w 160"/>
              <a:gd name="T71" fmla="*/ 34 h 100"/>
              <a:gd name="T72" fmla="*/ 121 w 160"/>
              <a:gd name="T73" fmla="*/ 34 h 100"/>
              <a:gd name="T74" fmla="*/ 119 w 160"/>
              <a:gd name="T75" fmla="*/ 40 h 100"/>
              <a:gd name="T76" fmla="*/ 106 w 160"/>
              <a:gd name="T77" fmla="*/ 51 h 100"/>
              <a:gd name="T78" fmla="*/ 98 w 160"/>
              <a:gd name="T79" fmla="*/ 51 h 100"/>
              <a:gd name="T80" fmla="*/ 92 w 160"/>
              <a:gd name="T81" fmla="*/ 57 h 100"/>
              <a:gd name="T82" fmla="*/ 83 w 160"/>
              <a:gd name="T83" fmla="*/ 59 h 100"/>
              <a:gd name="T84" fmla="*/ 68 w 160"/>
              <a:gd name="T85" fmla="*/ 68 h 100"/>
              <a:gd name="T86" fmla="*/ 62 w 160"/>
              <a:gd name="T87" fmla="*/ 72 h 100"/>
              <a:gd name="T88" fmla="*/ 53 w 160"/>
              <a:gd name="T89" fmla="*/ 78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23" y="93"/>
                </a:lnTo>
                <a:lnTo>
                  <a:pt x="11" y="100"/>
                </a:lnTo>
                <a:lnTo>
                  <a:pt x="17" y="93"/>
                </a:lnTo>
                <a:lnTo>
                  <a:pt x="2" y="98"/>
                </a:lnTo>
                <a:lnTo>
                  <a:pt x="0" y="96"/>
                </a:lnTo>
                <a:lnTo>
                  <a:pt x="0" y="89"/>
                </a:lnTo>
                <a:lnTo>
                  <a:pt x="4" y="81"/>
                </a:lnTo>
                <a:lnTo>
                  <a:pt x="17" y="72"/>
                </a:lnTo>
                <a:lnTo>
                  <a:pt x="19" y="64"/>
                </a:lnTo>
                <a:lnTo>
                  <a:pt x="26" y="66"/>
                </a:lnTo>
                <a:lnTo>
                  <a:pt x="26" y="59"/>
                </a:lnTo>
                <a:lnTo>
                  <a:pt x="32" y="53"/>
                </a:lnTo>
                <a:lnTo>
                  <a:pt x="38" y="55"/>
                </a:lnTo>
                <a:lnTo>
                  <a:pt x="53" y="47"/>
                </a:lnTo>
                <a:lnTo>
                  <a:pt x="60" y="47"/>
                </a:lnTo>
                <a:lnTo>
                  <a:pt x="64" y="40"/>
                </a:lnTo>
                <a:lnTo>
                  <a:pt x="70" y="38"/>
                </a:lnTo>
                <a:lnTo>
                  <a:pt x="92" y="32"/>
                </a:lnTo>
                <a:lnTo>
                  <a:pt x="106" y="25"/>
                </a:lnTo>
                <a:lnTo>
                  <a:pt x="128" y="0"/>
                </a:lnTo>
                <a:lnTo>
                  <a:pt x="121" y="12"/>
                </a:lnTo>
                <a:lnTo>
                  <a:pt x="121" y="21"/>
                </a:lnTo>
                <a:lnTo>
                  <a:pt x="113" y="27"/>
                </a:lnTo>
                <a:lnTo>
                  <a:pt x="109" y="34"/>
                </a:lnTo>
                <a:lnTo>
                  <a:pt x="115" y="34"/>
                </a:lnTo>
                <a:lnTo>
                  <a:pt x="119" y="32"/>
                </a:lnTo>
                <a:lnTo>
                  <a:pt x="130" y="17"/>
                </a:lnTo>
                <a:lnTo>
                  <a:pt x="136" y="12"/>
                </a:lnTo>
                <a:lnTo>
                  <a:pt x="143" y="10"/>
                </a:lnTo>
                <a:lnTo>
                  <a:pt x="145" y="12"/>
                </a:lnTo>
                <a:lnTo>
                  <a:pt x="153" y="10"/>
                </a:lnTo>
                <a:lnTo>
                  <a:pt x="160" y="4"/>
                </a:lnTo>
                <a:lnTo>
                  <a:pt x="151" y="17"/>
                </a:lnTo>
                <a:lnTo>
                  <a:pt x="143" y="21"/>
                </a:lnTo>
                <a:lnTo>
                  <a:pt x="130" y="34"/>
                </a:lnTo>
                <a:lnTo>
                  <a:pt x="121" y="34"/>
                </a:lnTo>
                <a:lnTo>
                  <a:pt x="119" y="40"/>
                </a:lnTo>
                <a:lnTo>
                  <a:pt x="106" y="51"/>
                </a:lnTo>
                <a:lnTo>
                  <a:pt x="98" y="51"/>
                </a:lnTo>
                <a:lnTo>
                  <a:pt x="92" y="57"/>
                </a:lnTo>
                <a:lnTo>
                  <a:pt x="83" y="59"/>
                </a:lnTo>
                <a:lnTo>
                  <a:pt x="68" y="68"/>
                </a:lnTo>
                <a:lnTo>
                  <a:pt x="62" y="72"/>
                </a:lnTo>
                <a:lnTo>
                  <a:pt x="53" y="78"/>
                </a:lnTo>
                <a:lnTo>
                  <a:pt x="51" y="7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930"/>
          <p:cNvSpPr>
            <a:spLocks/>
          </p:cNvSpPr>
          <p:nvPr/>
        </p:nvSpPr>
        <p:spPr bwMode="auto">
          <a:xfrm>
            <a:off x="7308850" y="2754313"/>
            <a:ext cx="254000" cy="158750"/>
          </a:xfrm>
          <a:custGeom>
            <a:avLst/>
            <a:gdLst>
              <a:gd name="T0" fmla="*/ 51 w 160"/>
              <a:gd name="T1" fmla="*/ 78 h 100"/>
              <a:gd name="T2" fmla="*/ 23 w 160"/>
              <a:gd name="T3" fmla="*/ 93 h 100"/>
              <a:gd name="T4" fmla="*/ 11 w 160"/>
              <a:gd name="T5" fmla="*/ 100 h 100"/>
              <a:gd name="T6" fmla="*/ 17 w 160"/>
              <a:gd name="T7" fmla="*/ 93 h 100"/>
              <a:gd name="T8" fmla="*/ 2 w 160"/>
              <a:gd name="T9" fmla="*/ 98 h 100"/>
              <a:gd name="T10" fmla="*/ 0 w 160"/>
              <a:gd name="T11" fmla="*/ 96 h 100"/>
              <a:gd name="T12" fmla="*/ 0 w 160"/>
              <a:gd name="T13" fmla="*/ 89 h 100"/>
              <a:gd name="T14" fmla="*/ 4 w 160"/>
              <a:gd name="T15" fmla="*/ 81 h 100"/>
              <a:gd name="T16" fmla="*/ 17 w 160"/>
              <a:gd name="T17" fmla="*/ 72 h 100"/>
              <a:gd name="T18" fmla="*/ 19 w 160"/>
              <a:gd name="T19" fmla="*/ 64 h 100"/>
              <a:gd name="T20" fmla="*/ 26 w 160"/>
              <a:gd name="T21" fmla="*/ 66 h 100"/>
              <a:gd name="T22" fmla="*/ 26 w 160"/>
              <a:gd name="T23" fmla="*/ 59 h 100"/>
              <a:gd name="T24" fmla="*/ 32 w 160"/>
              <a:gd name="T25" fmla="*/ 53 h 100"/>
              <a:gd name="T26" fmla="*/ 38 w 160"/>
              <a:gd name="T27" fmla="*/ 55 h 100"/>
              <a:gd name="T28" fmla="*/ 53 w 160"/>
              <a:gd name="T29" fmla="*/ 47 h 100"/>
              <a:gd name="T30" fmla="*/ 60 w 160"/>
              <a:gd name="T31" fmla="*/ 47 h 100"/>
              <a:gd name="T32" fmla="*/ 64 w 160"/>
              <a:gd name="T33" fmla="*/ 40 h 100"/>
              <a:gd name="T34" fmla="*/ 70 w 160"/>
              <a:gd name="T35" fmla="*/ 38 h 100"/>
              <a:gd name="T36" fmla="*/ 92 w 160"/>
              <a:gd name="T37" fmla="*/ 32 h 100"/>
              <a:gd name="T38" fmla="*/ 106 w 160"/>
              <a:gd name="T39" fmla="*/ 25 h 100"/>
              <a:gd name="T40" fmla="*/ 128 w 160"/>
              <a:gd name="T41" fmla="*/ 0 h 100"/>
              <a:gd name="T42" fmla="*/ 121 w 160"/>
              <a:gd name="T43" fmla="*/ 12 h 100"/>
              <a:gd name="T44" fmla="*/ 121 w 160"/>
              <a:gd name="T45" fmla="*/ 21 h 100"/>
              <a:gd name="T46" fmla="*/ 113 w 160"/>
              <a:gd name="T47" fmla="*/ 27 h 100"/>
              <a:gd name="T48" fmla="*/ 109 w 160"/>
              <a:gd name="T49" fmla="*/ 34 h 100"/>
              <a:gd name="T50" fmla="*/ 115 w 160"/>
              <a:gd name="T51" fmla="*/ 34 h 100"/>
              <a:gd name="T52" fmla="*/ 119 w 160"/>
              <a:gd name="T53" fmla="*/ 32 h 100"/>
              <a:gd name="T54" fmla="*/ 130 w 160"/>
              <a:gd name="T55" fmla="*/ 17 h 100"/>
              <a:gd name="T56" fmla="*/ 136 w 160"/>
              <a:gd name="T57" fmla="*/ 12 h 100"/>
              <a:gd name="T58" fmla="*/ 143 w 160"/>
              <a:gd name="T59" fmla="*/ 10 h 100"/>
              <a:gd name="T60" fmla="*/ 145 w 160"/>
              <a:gd name="T61" fmla="*/ 12 h 100"/>
              <a:gd name="T62" fmla="*/ 153 w 160"/>
              <a:gd name="T63" fmla="*/ 10 h 100"/>
              <a:gd name="T64" fmla="*/ 160 w 160"/>
              <a:gd name="T65" fmla="*/ 4 h 100"/>
              <a:gd name="T66" fmla="*/ 151 w 160"/>
              <a:gd name="T67" fmla="*/ 17 h 100"/>
              <a:gd name="T68" fmla="*/ 143 w 160"/>
              <a:gd name="T69" fmla="*/ 21 h 100"/>
              <a:gd name="T70" fmla="*/ 130 w 160"/>
              <a:gd name="T71" fmla="*/ 34 h 100"/>
              <a:gd name="T72" fmla="*/ 121 w 160"/>
              <a:gd name="T73" fmla="*/ 34 h 100"/>
              <a:gd name="T74" fmla="*/ 119 w 160"/>
              <a:gd name="T75" fmla="*/ 40 h 100"/>
              <a:gd name="T76" fmla="*/ 106 w 160"/>
              <a:gd name="T77" fmla="*/ 51 h 100"/>
              <a:gd name="T78" fmla="*/ 98 w 160"/>
              <a:gd name="T79" fmla="*/ 51 h 100"/>
              <a:gd name="T80" fmla="*/ 92 w 160"/>
              <a:gd name="T81" fmla="*/ 57 h 100"/>
              <a:gd name="T82" fmla="*/ 83 w 160"/>
              <a:gd name="T83" fmla="*/ 59 h 100"/>
              <a:gd name="T84" fmla="*/ 68 w 160"/>
              <a:gd name="T85" fmla="*/ 68 h 100"/>
              <a:gd name="T86" fmla="*/ 62 w 160"/>
              <a:gd name="T87" fmla="*/ 72 h 100"/>
              <a:gd name="T88" fmla="*/ 53 w 160"/>
              <a:gd name="T89" fmla="*/ 78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23" y="93"/>
                </a:lnTo>
                <a:lnTo>
                  <a:pt x="11" y="100"/>
                </a:lnTo>
                <a:lnTo>
                  <a:pt x="17" y="93"/>
                </a:lnTo>
                <a:lnTo>
                  <a:pt x="2" y="98"/>
                </a:lnTo>
                <a:lnTo>
                  <a:pt x="0" y="96"/>
                </a:lnTo>
                <a:lnTo>
                  <a:pt x="0" y="89"/>
                </a:lnTo>
                <a:lnTo>
                  <a:pt x="4" y="81"/>
                </a:lnTo>
                <a:lnTo>
                  <a:pt x="17" y="72"/>
                </a:lnTo>
                <a:lnTo>
                  <a:pt x="19" y="64"/>
                </a:lnTo>
                <a:lnTo>
                  <a:pt x="26" y="66"/>
                </a:lnTo>
                <a:lnTo>
                  <a:pt x="26" y="59"/>
                </a:lnTo>
                <a:lnTo>
                  <a:pt x="32" y="53"/>
                </a:lnTo>
                <a:lnTo>
                  <a:pt x="38" y="55"/>
                </a:lnTo>
                <a:lnTo>
                  <a:pt x="53" y="47"/>
                </a:lnTo>
                <a:lnTo>
                  <a:pt x="60" y="47"/>
                </a:lnTo>
                <a:lnTo>
                  <a:pt x="64" y="40"/>
                </a:lnTo>
                <a:lnTo>
                  <a:pt x="70" y="38"/>
                </a:lnTo>
                <a:lnTo>
                  <a:pt x="92" y="32"/>
                </a:lnTo>
                <a:lnTo>
                  <a:pt x="106" y="25"/>
                </a:lnTo>
                <a:lnTo>
                  <a:pt x="128" y="0"/>
                </a:lnTo>
                <a:lnTo>
                  <a:pt x="121" y="12"/>
                </a:lnTo>
                <a:lnTo>
                  <a:pt x="121" y="21"/>
                </a:lnTo>
                <a:lnTo>
                  <a:pt x="113" y="27"/>
                </a:lnTo>
                <a:lnTo>
                  <a:pt x="109" y="34"/>
                </a:lnTo>
                <a:lnTo>
                  <a:pt x="115" y="34"/>
                </a:lnTo>
                <a:lnTo>
                  <a:pt x="119" y="32"/>
                </a:lnTo>
                <a:lnTo>
                  <a:pt x="130" y="17"/>
                </a:lnTo>
                <a:lnTo>
                  <a:pt x="136" y="12"/>
                </a:lnTo>
                <a:lnTo>
                  <a:pt x="143" y="10"/>
                </a:lnTo>
                <a:lnTo>
                  <a:pt x="145" y="12"/>
                </a:lnTo>
                <a:lnTo>
                  <a:pt x="153" y="10"/>
                </a:lnTo>
                <a:lnTo>
                  <a:pt x="160" y="4"/>
                </a:lnTo>
                <a:lnTo>
                  <a:pt x="151" y="17"/>
                </a:lnTo>
                <a:lnTo>
                  <a:pt x="143" y="21"/>
                </a:lnTo>
                <a:lnTo>
                  <a:pt x="130" y="34"/>
                </a:lnTo>
                <a:lnTo>
                  <a:pt x="121" y="34"/>
                </a:lnTo>
                <a:lnTo>
                  <a:pt x="119" y="40"/>
                </a:lnTo>
                <a:lnTo>
                  <a:pt x="106" y="51"/>
                </a:lnTo>
                <a:lnTo>
                  <a:pt x="98" y="51"/>
                </a:lnTo>
                <a:lnTo>
                  <a:pt x="92" y="57"/>
                </a:lnTo>
                <a:lnTo>
                  <a:pt x="83" y="59"/>
                </a:lnTo>
                <a:lnTo>
                  <a:pt x="68" y="68"/>
                </a:lnTo>
                <a:lnTo>
                  <a:pt x="62" y="72"/>
                </a:lnTo>
                <a:lnTo>
                  <a:pt x="53" y="78"/>
                </a:lnTo>
                <a:lnTo>
                  <a:pt x="51" y="7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4" name="Freeform 931"/>
          <p:cNvSpPr>
            <a:spLocks/>
          </p:cNvSpPr>
          <p:nvPr/>
        </p:nvSpPr>
        <p:spPr bwMode="auto">
          <a:xfrm>
            <a:off x="7694613" y="2641600"/>
            <a:ext cx="33338" cy="31750"/>
          </a:xfrm>
          <a:custGeom>
            <a:avLst/>
            <a:gdLst>
              <a:gd name="T0" fmla="*/ 17 w 21"/>
              <a:gd name="T1" fmla="*/ 0 h 20"/>
              <a:gd name="T2" fmla="*/ 10 w 21"/>
              <a:gd name="T3" fmla="*/ 0 h 20"/>
              <a:gd name="T4" fmla="*/ 6 w 21"/>
              <a:gd name="T5" fmla="*/ 7 h 20"/>
              <a:gd name="T6" fmla="*/ 0 w 21"/>
              <a:gd name="T7" fmla="*/ 20 h 20"/>
              <a:gd name="T8" fmla="*/ 15 w 21"/>
              <a:gd name="T9" fmla="*/ 13 h 20"/>
              <a:gd name="T10" fmla="*/ 21 w 21"/>
              <a:gd name="T11" fmla="*/ 7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10" y="0"/>
                </a:lnTo>
                <a:lnTo>
                  <a:pt x="6" y="7"/>
                </a:lnTo>
                <a:lnTo>
                  <a:pt x="0" y="20"/>
                </a:lnTo>
                <a:lnTo>
                  <a:pt x="15" y="13"/>
                </a:lnTo>
                <a:lnTo>
                  <a:pt x="21" y="7"/>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932"/>
          <p:cNvSpPr>
            <a:spLocks/>
          </p:cNvSpPr>
          <p:nvPr/>
        </p:nvSpPr>
        <p:spPr bwMode="auto">
          <a:xfrm>
            <a:off x="7694613" y="2641600"/>
            <a:ext cx="33338" cy="31750"/>
          </a:xfrm>
          <a:custGeom>
            <a:avLst/>
            <a:gdLst>
              <a:gd name="T0" fmla="*/ 17 w 21"/>
              <a:gd name="T1" fmla="*/ 0 h 20"/>
              <a:gd name="T2" fmla="*/ 10 w 21"/>
              <a:gd name="T3" fmla="*/ 0 h 20"/>
              <a:gd name="T4" fmla="*/ 6 w 21"/>
              <a:gd name="T5" fmla="*/ 7 h 20"/>
              <a:gd name="T6" fmla="*/ 0 w 21"/>
              <a:gd name="T7" fmla="*/ 20 h 20"/>
              <a:gd name="T8" fmla="*/ 15 w 21"/>
              <a:gd name="T9" fmla="*/ 13 h 20"/>
              <a:gd name="T10" fmla="*/ 21 w 21"/>
              <a:gd name="T11" fmla="*/ 7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10" y="0"/>
                </a:lnTo>
                <a:lnTo>
                  <a:pt x="6" y="7"/>
                </a:lnTo>
                <a:lnTo>
                  <a:pt x="0" y="20"/>
                </a:lnTo>
                <a:lnTo>
                  <a:pt x="15" y="13"/>
                </a:lnTo>
                <a:lnTo>
                  <a:pt x="21" y="7"/>
                </a:lnTo>
                <a:lnTo>
                  <a:pt x="17"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6" name="Freeform 933"/>
          <p:cNvSpPr>
            <a:spLocks/>
          </p:cNvSpPr>
          <p:nvPr/>
        </p:nvSpPr>
        <p:spPr bwMode="auto">
          <a:xfrm>
            <a:off x="7778750" y="2638425"/>
            <a:ext cx="26988" cy="23813"/>
          </a:xfrm>
          <a:custGeom>
            <a:avLst/>
            <a:gdLst>
              <a:gd name="T0" fmla="*/ 15 w 17"/>
              <a:gd name="T1" fmla="*/ 13 h 15"/>
              <a:gd name="T2" fmla="*/ 17 w 17"/>
              <a:gd name="T3" fmla="*/ 11 h 15"/>
              <a:gd name="T4" fmla="*/ 13 w 17"/>
              <a:gd name="T5" fmla="*/ 5 h 15"/>
              <a:gd name="T6" fmla="*/ 6 w 17"/>
              <a:gd name="T7" fmla="*/ 0 h 15"/>
              <a:gd name="T8" fmla="*/ 9 w 17"/>
              <a:gd name="T9" fmla="*/ 2 h 15"/>
              <a:gd name="T10" fmla="*/ 9 w 17"/>
              <a:gd name="T11" fmla="*/ 9 h 15"/>
              <a:gd name="T12" fmla="*/ 0 w 17"/>
              <a:gd name="T13" fmla="*/ 15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17" y="11"/>
                </a:lnTo>
                <a:lnTo>
                  <a:pt x="13" y="5"/>
                </a:lnTo>
                <a:lnTo>
                  <a:pt x="6" y="0"/>
                </a:lnTo>
                <a:lnTo>
                  <a:pt x="9" y="2"/>
                </a:lnTo>
                <a:lnTo>
                  <a:pt x="9" y="9"/>
                </a:lnTo>
                <a:lnTo>
                  <a:pt x="0" y="15"/>
                </a:lnTo>
                <a:lnTo>
                  <a:pt x="15"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934"/>
          <p:cNvSpPr>
            <a:spLocks/>
          </p:cNvSpPr>
          <p:nvPr/>
        </p:nvSpPr>
        <p:spPr bwMode="auto">
          <a:xfrm>
            <a:off x="7778750" y="2638425"/>
            <a:ext cx="26988" cy="23813"/>
          </a:xfrm>
          <a:custGeom>
            <a:avLst/>
            <a:gdLst>
              <a:gd name="T0" fmla="*/ 15 w 17"/>
              <a:gd name="T1" fmla="*/ 13 h 15"/>
              <a:gd name="T2" fmla="*/ 17 w 17"/>
              <a:gd name="T3" fmla="*/ 11 h 15"/>
              <a:gd name="T4" fmla="*/ 13 w 17"/>
              <a:gd name="T5" fmla="*/ 5 h 15"/>
              <a:gd name="T6" fmla="*/ 6 w 17"/>
              <a:gd name="T7" fmla="*/ 0 h 15"/>
              <a:gd name="T8" fmla="*/ 9 w 17"/>
              <a:gd name="T9" fmla="*/ 2 h 15"/>
              <a:gd name="T10" fmla="*/ 9 w 17"/>
              <a:gd name="T11" fmla="*/ 9 h 15"/>
              <a:gd name="T12" fmla="*/ 0 w 17"/>
              <a:gd name="T13" fmla="*/ 15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17" y="11"/>
                </a:lnTo>
                <a:lnTo>
                  <a:pt x="13" y="5"/>
                </a:lnTo>
                <a:lnTo>
                  <a:pt x="6" y="0"/>
                </a:lnTo>
                <a:lnTo>
                  <a:pt x="9" y="2"/>
                </a:lnTo>
                <a:lnTo>
                  <a:pt x="9" y="9"/>
                </a:lnTo>
                <a:lnTo>
                  <a:pt x="0" y="15"/>
                </a:lnTo>
                <a:lnTo>
                  <a:pt x="15"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8" name="Freeform 935"/>
          <p:cNvSpPr>
            <a:spLocks/>
          </p:cNvSpPr>
          <p:nvPr/>
        </p:nvSpPr>
        <p:spPr bwMode="auto">
          <a:xfrm>
            <a:off x="7315200" y="2405063"/>
            <a:ext cx="473075" cy="250825"/>
          </a:xfrm>
          <a:custGeom>
            <a:avLst/>
            <a:gdLst>
              <a:gd name="T0" fmla="*/ 64 w 298"/>
              <a:gd name="T1" fmla="*/ 54 h 158"/>
              <a:gd name="T2" fmla="*/ 166 w 298"/>
              <a:gd name="T3" fmla="*/ 22 h 158"/>
              <a:gd name="T4" fmla="*/ 173 w 298"/>
              <a:gd name="T5" fmla="*/ 13 h 158"/>
              <a:gd name="T6" fmla="*/ 186 w 298"/>
              <a:gd name="T7" fmla="*/ 2 h 158"/>
              <a:gd name="T8" fmla="*/ 192 w 298"/>
              <a:gd name="T9" fmla="*/ 0 h 158"/>
              <a:gd name="T10" fmla="*/ 196 w 298"/>
              <a:gd name="T11" fmla="*/ 11 h 158"/>
              <a:gd name="T12" fmla="*/ 205 w 298"/>
              <a:gd name="T13" fmla="*/ 24 h 158"/>
              <a:gd name="T14" fmla="*/ 209 w 298"/>
              <a:gd name="T15" fmla="*/ 22 h 158"/>
              <a:gd name="T16" fmla="*/ 215 w 298"/>
              <a:gd name="T17" fmla="*/ 28 h 158"/>
              <a:gd name="T18" fmla="*/ 198 w 298"/>
              <a:gd name="T19" fmla="*/ 43 h 158"/>
              <a:gd name="T20" fmla="*/ 194 w 298"/>
              <a:gd name="T21" fmla="*/ 54 h 158"/>
              <a:gd name="T22" fmla="*/ 190 w 298"/>
              <a:gd name="T23" fmla="*/ 62 h 158"/>
              <a:gd name="T24" fmla="*/ 200 w 298"/>
              <a:gd name="T25" fmla="*/ 73 h 158"/>
              <a:gd name="T26" fmla="*/ 215 w 298"/>
              <a:gd name="T27" fmla="*/ 68 h 158"/>
              <a:gd name="T28" fmla="*/ 237 w 298"/>
              <a:gd name="T29" fmla="*/ 90 h 158"/>
              <a:gd name="T30" fmla="*/ 228 w 298"/>
              <a:gd name="T31" fmla="*/ 94 h 158"/>
              <a:gd name="T32" fmla="*/ 243 w 298"/>
              <a:gd name="T33" fmla="*/ 98 h 158"/>
              <a:gd name="T34" fmla="*/ 254 w 298"/>
              <a:gd name="T35" fmla="*/ 115 h 158"/>
              <a:gd name="T36" fmla="*/ 269 w 298"/>
              <a:gd name="T37" fmla="*/ 117 h 158"/>
              <a:gd name="T38" fmla="*/ 290 w 298"/>
              <a:gd name="T39" fmla="*/ 98 h 158"/>
              <a:gd name="T40" fmla="*/ 279 w 298"/>
              <a:gd name="T41" fmla="*/ 88 h 158"/>
              <a:gd name="T42" fmla="*/ 269 w 298"/>
              <a:gd name="T43" fmla="*/ 75 h 158"/>
              <a:gd name="T44" fmla="*/ 269 w 298"/>
              <a:gd name="T45" fmla="*/ 73 h 158"/>
              <a:gd name="T46" fmla="*/ 283 w 298"/>
              <a:gd name="T47" fmla="*/ 79 h 158"/>
              <a:gd name="T48" fmla="*/ 298 w 298"/>
              <a:gd name="T49" fmla="*/ 107 h 158"/>
              <a:gd name="T50" fmla="*/ 286 w 298"/>
              <a:gd name="T51" fmla="*/ 117 h 158"/>
              <a:gd name="T52" fmla="*/ 260 w 298"/>
              <a:gd name="T53" fmla="*/ 128 h 158"/>
              <a:gd name="T54" fmla="*/ 252 w 298"/>
              <a:gd name="T55" fmla="*/ 141 h 158"/>
              <a:gd name="T56" fmla="*/ 241 w 298"/>
              <a:gd name="T57" fmla="*/ 128 h 158"/>
              <a:gd name="T58" fmla="*/ 235 w 298"/>
              <a:gd name="T59" fmla="*/ 126 h 158"/>
              <a:gd name="T60" fmla="*/ 224 w 298"/>
              <a:gd name="T61" fmla="*/ 139 h 158"/>
              <a:gd name="T62" fmla="*/ 213 w 298"/>
              <a:gd name="T63" fmla="*/ 149 h 158"/>
              <a:gd name="T64" fmla="*/ 207 w 298"/>
              <a:gd name="T65" fmla="*/ 154 h 158"/>
              <a:gd name="T66" fmla="*/ 196 w 298"/>
              <a:gd name="T67" fmla="*/ 141 h 158"/>
              <a:gd name="T68" fmla="*/ 198 w 298"/>
              <a:gd name="T69" fmla="*/ 126 h 158"/>
              <a:gd name="T70" fmla="*/ 192 w 298"/>
              <a:gd name="T71" fmla="*/ 137 h 158"/>
              <a:gd name="T72" fmla="*/ 186 w 298"/>
              <a:gd name="T73" fmla="*/ 132 h 158"/>
              <a:gd name="T74" fmla="*/ 181 w 298"/>
              <a:gd name="T75" fmla="*/ 122 h 158"/>
              <a:gd name="T76" fmla="*/ 173 w 298"/>
              <a:gd name="T77" fmla="*/ 113 h 158"/>
              <a:gd name="T78" fmla="*/ 139 w 298"/>
              <a:gd name="T79" fmla="*/ 117 h 158"/>
              <a:gd name="T80" fmla="*/ 124 w 298"/>
              <a:gd name="T81" fmla="*/ 120 h 158"/>
              <a:gd name="T82" fmla="*/ 75 w 298"/>
              <a:gd name="T83" fmla="*/ 132 h 158"/>
              <a:gd name="T84" fmla="*/ 58 w 298"/>
              <a:gd name="T85" fmla="*/ 137 h 158"/>
              <a:gd name="T86" fmla="*/ 2 w 298"/>
              <a:gd name="T87" fmla="*/ 147 h 158"/>
              <a:gd name="T88" fmla="*/ 0 w 298"/>
              <a:gd name="T8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158">
                <a:moveTo>
                  <a:pt x="2" y="66"/>
                </a:moveTo>
                <a:lnTo>
                  <a:pt x="64" y="54"/>
                </a:lnTo>
                <a:lnTo>
                  <a:pt x="158" y="32"/>
                </a:lnTo>
                <a:lnTo>
                  <a:pt x="166" y="22"/>
                </a:lnTo>
                <a:lnTo>
                  <a:pt x="171" y="13"/>
                </a:lnTo>
                <a:lnTo>
                  <a:pt x="173" y="13"/>
                </a:lnTo>
                <a:lnTo>
                  <a:pt x="177" y="7"/>
                </a:lnTo>
                <a:lnTo>
                  <a:pt x="186" y="2"/>
                </a:lnTo>
                <a:lnTo>
                  <a:pt x="188" y="0"/>
                </a:lnTo>
                <a:lnTo>
                  <a:pt x="192" y="0"/>
                </a:lnTo>
                <a:lnTo>
                  <a:pt x="190" y="7"/>
                </a:lnTo>
                <a:lnTo>
                  <a:pt x="196" y="11"/>
                </a:lnTo>
                <a:lnTo>
                  <a:pt x="196" y="17"/>
                </a:lnTo>
                <a:lnTo>
                  <a:pt x="205" y="24"/>
                </a:lnTo>
                <a:lnTo>
                  <a:pt x="211" y="22"/>
                </a:lnTo>
                <a:lnTo>
                  <a:pt x="209" y="22"/>
                </a:lnTo>
                <a:lnTo>
                  <a:pt x="217" y="19"/>
                </a:lnTo>
                <a:lnTo>
                  <a:pt x="215" y="28"/>
                </a:lnTo>
                <a:lnTo>
                  <a:pt x="200" y="36"/>
                </a:lnTo>
                <a:lnTo>
                  <a:pt x="198" y="43"/>
                </a:lnTo>
                <a:lnTo>
                  <a:pt x="198" y="47"/>
                </a:lnTo>
                <a:lnTo>
                  <a:pt x="194" y="54"/>
                </a:lnTo>
                <a:lnTo>
                  <a:pt x="196" y="62"/>
                </a:lnTo>
                <a:lnTo>
                  <a:pt x="190" y="62"/>
                </a:lnTo>
                <a:lnTo>
                  <a:pt x="194" y="68"/>
                </a:lnTo>
                <a:lnTo>
                  <a:pt x="200" y="73"/>
                </a:lnTo>
                <a:lnTo>
                  <a:pt x="209" y="68"/>
                </a:lnTo>
                <a:lnTo>
                  <a:pt x="215" y="68"/>
                </a:lnTo>
                <a:lnTo>
                  <a:pt x="230" y="83"/>
                </a:lnTo>
                <a:lnTo>
                  <a:pt x="237" y="90"/>
                </a:lnTo>
                <a:lnTo>
                  <a:pt x="228" y="88"/>
                </a:lnTo>
                <a:lnTo>
                  <a:pt x="228" y="94"/>
                </a:lnTo>
                <a:lnTo>
                  <a:pt x="237" y="96"/>
                </a:lnTo>
                <a:lnTo>
                  <a:pt x="243" y="98"/>
                </a:lnTo>
                <a:lnTo>
                  <a:pt x="249" y="113"/>
                </a:lnTo>
                <a:lnTo>
                  <a:pt x="254" y="115"/>
                </a:lnTo>
                <a:lnTo>
                  <a:pt x="262" y="115"/>
                </a:lnTo>
                <a:lnTo>
                  <a:pt x="269" y="117"/>
                </a:lnTo>
                <a:lnTo>
                  <a:pt x="283" y="105"/>
                </a:lnTo>
                <a:lnTo>
                  <a:pt x="290" y="98"/>
                </a:lnTo>
                <a:lnTo>
                  <a:pt x="286" y="88"/>
                </a:lnTo>
                <a:lnTo>
                  <a:pt x="279" y="88"/>
                </a:lnTo>
                <a:lnTo>
                  <a:pt x="277" y="79"/>
                </a:lnTo>
                <a:lnTo>
                  <a:pt x="269" y="75"/>
                </a:lnTo>
                <a:lnTo>
                  <a:pt x="262" y="73"/>
                </a:lnTo>
                <a:lnTo>
                  <a:pt x="269" y="73"/>
                </a:lnTo>
                <a:lnTo>
                  <a:pt x="277" y="75"/>
                </a:lnTo>
                <a:lnTo>
                  <a:pt x="283" y="79"/>
                </a:lnTo>
                <a:lnTo>
                  <a:pt x="294" y="92"/>
                </a:lnTo>
                <a:lnTo>
                  <a:pt x="298" y="107"/>
                </a:lnTo>
                <a:lnTo>
                  <a:pt x="294" y="115"/>
                </a:lnTo>
                <a:lnTo>
                  <a:pt x="286" y="117"/>
                </a:lnTo>
                <a:lnTo>
                  <a:pt x="264" y="128"/>
                </a:lnTo>
                <a:lnTo>
                  <a:pt x="260" y="128"/>
                </a:lnTo>
                <a:lnTo>
                  <a:pt x="258" y="134"/>
                </a:lnTo>
                <a:lnTo>
                  <a:pt x="252" y="141"/>
                </a:lnTo>
                <a:lnTo>
                  <a:pt x="245" y="143"/>
                </a:lnTo>
                <a:lnTo>
                  <a:pt x="241" y="128"/>
                </a:lnTo>
                <a:lnTo>
                  <a:pt x="241" y="122"/>
                </a:lnTo>
                <a:lnTo>
                  <a:pt x="235" y="126"/>
                </a:lnTo>
                <a:lnTo>
                  <a:pt x="230" y="132"/>
                </a:lnTo>
                <a:lnTo>
                  <a:pt x="224" y="139"/>
                </a:lnTo>
                <a:lnTo>
                  <a:pt x="220" y="152"/>
                </a:lnTo>
                <a:lnTo>
                  <a:pt x="213" y="149"/>
                </a:lnTo>
                <a:lnTo>
                  <a:pt x="207" y="158"/>
                </a:lnTo>
                <a:lnTo>
                  <a:pt x="207" y="154"/>
                </a:lnTo>
                <a:lnTo>
                  <a:pt x="203" y="143"/>
                </a:lnTo>
                <a:lnTo>
                  <a:pt x="196" y="141"/>
                </a:lnTo>
                <a:lnTo>
                  <a:pt x="198" y="134"/>
                </a:lnTo>
                <a:lnTo>
                  <a:pt x="198" y="126"/>
                </a:lnTo>
                <a:lnTo>
                  <a:pt x="198" y="132"/>
                </a:lnTo>
                <a:lnTo>
                  <a:pt x="192" y="137"/>
                </a:lnTo>
                <a:lnTo>
                  <a:pt x="188" y="134"/>
                </a:lnTo>
                <a:lnTo>
                  <a:pt x="186" y="132"/>
                </a:lnTo>
                <a:lnTo>
                  <a:pt x="181" y="128"/>
                </a:lnTo>
                <a:lnTo>
                  <a:pt x="181" y="122"/>
                </a:lnTo>
                <a:lnTo>
                  <a:pt x="177" y="122"/>
                </a:lnTo>
                <a:lnTo>
                  <a:pt x="173" y="113"/>
                </a:lnTo>
                <a:lnTo>
                  <a:pt x="166" y="109"/>
                </a:lnTo>
                <a:lnTo>
                  <a:pt x="139" y="117"/>
                </a:lnTo>
                <a:lnTo>
                  <a:pt x="134" y="117"/>
                </a:lnTo>
                <a:lnTo>
                  <a:pt x="124" y="120"/>
                </a:lnTo>
                <a:lnTo>
                  <a:pt x="83" y="128"/>
                </a:lnTo>
                <a:lnTo>
                  <a:pt x="75" y="132"/>
                </a:lnTo>
                <a:lnTo>
                  <a:pt x="71" y="132"/>
                </a:lnTo>
                <a:lnTo>
                  <a:pt x="58" y="137"/>
                </a:lnTo>
                <a:lnTo>
                  <a:pt x="49" y="137"/>
                </a:lnTo>
                <a:lnTo>
                  <a:pt x="2" y="147"/>
                </a:lnTo>
                <a:lnTo>
                  <a:pt x="0" y="143"/>
                </a:lnTo>
                <a:lnTo>
                  <a:pt x="0" y="73"/>
                </a:lnTo>
                <a:lnTo>
                  <a:pt x="2" y="66"/>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129" name="Freeform 936"/>
          <p:cNvSpPr>
            <a:spLocks/>
          </p:cNvSpPr>
          <p:nvPr/>
        </p:nvSpPr>
        <p:spPr bwMode="auto">
          <a:xfrm>
            <a:off x="7315200" y="2405063"/>
            <a:ext cx="473075" cy="250825"/>
          </a:xfrm>
          <a:custGeom>
            <a:avLst/>
            <a:gdLst>
              <a:gd name="T0" fmla="*/ 64 w 298"/>
              <a:gd name="T1" fmla="*/ 54 h 158"/>
              <a:gd name="T2" fmla="*/ 166 w 298"/>
              <a:gd name="T3" fmla="*/ 22 h 158"/>
              <a:gd name="T4" fmla="*/ 173 w 298"/>
              <a:gd name="T5" fmla="*/ 13 h 158"/>
              <a:gd name="T6" fmla="*/ 186 w 298"/>
              <a:gd name="T7" fmla="*/ 2 h 158"/>
              <a:gd name="T8" fmla="*/ 192 w 298"/>
              <a:gd name="T9" fmla="*/ 0 h 158"/>
              <a:gd name="T10" fmla="*/ 196 w 298"/>
              <a:gd name="T11" fmla="*/ 11 h 158"/>
              <a:gd name="T12" fmla="*/ 205 w 298"/>
              <a:gd name="T13" fmla="*/ 24 h 158"/>
              <a:gd name="T14" fmla="*/ 209 w 298"/>
              <a:gd name="T15" fmla="*/ 22 h 158"/>
              <a:gd name="T16" fmla="*/ 215 w 298"/>
              <a:gd name="T17" fmla="*/ 28 h 158"/>
              <a:gd name="T18" fmla="*/ 198 w 298"/>
              <a:gd name="T19" fmla="*/ 43 h 158"/>
              <a:gd name="T20" fmla="*/ 194 w 298"/>
              <a:gd name="T21" fmla="*/ 54 h 158"/>
              <a:gd name="T22" fmla="*/ 190 w 298"/>
              <a:gd name="T23" fmla="*/ 62 h 158"/>
              <a:gd name="T24" fmla="*/ 200 w 298"/>
              <a:gd name="T25" fmla="*/ 73 h 158"/>
              <a:gd name="T26" fmla="*/ 215 w 298"/>
              <a:gd name="T27" fmla="*/ 68 h 158"/>
              <a:gd name="T28" fmla="*/ 237 w 298"/>
              <a:gd name="T29" fmla="*/ 90 h 158"/>
              <a:gd name="T30" fmla="*/ 228 w 298"/>
              <a:gd name="T31" fmla="*/ 94 h 158"/>
              <a:gd name="T32" fmla="*/ 243 w 298"/>
              <a:gd name="T33" fmla="*/ 98 h 158"/>
              <a:gd name="T34" fmla="*/ 254 w 298"/>
              <a:gd name="T35" fmla="*/ 115 h 158"/>
              <a:gd name="T36" fmla="*/ 269 w 298"/>
              <a:gd name="T37" fmla="*/ 117 h 158"/>
              <a:gd name="T38" fmla="*/ 290 w 298"/>
              <a:gd name="T39" fmla="*/ 98 h 158"/>
              <a:gd name="T40" fmla="*/ 279 w 298"/>
              <a:gd name="T41" fmla="*/ 88 h 158"/>
              <a:gd name="T42" fmla="*/ 269 w 298"/>
              <a:gd name="T43" fmla="*/ 75 h 158"/>
              <a:gd name="T44" fmla="*/ 269 w 298"/>
              <a:gd name="T45" fmla="*/ 73 h 158"/>
              <a:gd name="T46" fmla="*/ 283 w 298"/>
              <a:gd name="T47" fmla="*/ 79 h 158"/>
              <a:gd name="T48" fmla="*/ 298 w 298"/>
              <a:gd name="T49" fmla="*/ 107 h 158"/>
              <a:gd name="T50" fmla="*/ 286 w 298"/>
              <a:gd name="T51" fmla="*/ 117 h 158"/>
              <a:gd name="T52" fmla="*/ 260 w 298"/>
              <a:gd name="T53" fmla="*/ 128 h 158"/>
              <a:gd name="T54" fmla="*/ 252 w 298"/>
              <a:gd name="T55" fmla="*/ 141 h 158"/>
              <a:gd name="T56" fmla="*/ 241 w 298"/>
              <a:gd name="T57" fmla="*/ 128 h 158"/>
              <a:gd name="T58" fmla="*/ 235 w 298"/>
              <a:gd name="T59" fmla="*/ 126 h 158"/>
              <a:gd name="T60" fmla="*/ 224 w 298"/>
              <a:gd name="T61" fmla="*/ 139 h 158"/>
              <a:gd name="T62" fmla="*/ 213 w 298"/>
              <a:gd name="T63" fmla="*/ 149 h 158"/>
              <a:gd name="T64" fmla="*/ 207 w 298"/>
              <a:gd name="T65" fmla="*/ 154 h 158"/>
              <a:gd name="T66" fmla="*/ 196 w 298"/>
              <a:gd name="T67" fmla="*/ 141 h 158"/>
              <a:gd name="T68" fmla="*/ 198 w 298"/>
              <a:gd name="T69" fmla="*/ 126 h 158"/>
              <a:gd name="T70" fmla="*/ 192 w 298"/>
              <a:gd name="T71" fmla="*/ 137 h 158"/>
              <a:gd name="T72" fmla="*/ 186 w 298"/>
              <a:gd name="T73" fmla="*/ 132 h 158"/>
              <a:gd name="T74" fmla="*/ 181 w 298"/>
              <a:gd name="T75" fmla="*/ 122 h 158"/>
              <a:gd name="T76" fmla="*/ 173 w 298"/>
              <a:gd name="T77" fmla="*/ 113 h 158"/>
              <a:gd name="T78" fmla="*/ 139 w 298"/>
              <a:gd name="T79" fmla="*/ 117 h 158"/>
              <a:gd name="T80" fmla="*/ 124 w 298"/>
              <a:gd name="T81" fmla="*/ 120 h 158"/>
              <a:gd name="T82" fmla="*/ 75 w 298"/>
              <a:gd name="T83" fmla="*/ 132 h 158"/>
              <a:gd name="T84" fmla="*/ 58 w 298"/>
              <a:gd name="T85" fmla="*/ 137 h 158"/>
              <a:gd name="T86" fmla="*/ 2 w 298"/>
              <a:gd name="T87" fmla="*/ 147 h 158"/>
              <a:gd name="T88" fmla="*/ 0 w 298"/>
              <a:gd name="T8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158">
                <a:moveTo>
                  <a:pt x="2" y="66"/>
                </a:moveTo>
                <a:lnTo>
                  <a:pt x="64" y="54"/>
                </a:lnTo>
                <a:lnTo>
                  <a:pt x="158" y="32"/>
                </a:lnTo>
                <a:lnTo>
                  <a:pt x="166" y="22"/>
                </a:lnTo>
                <a:lnTo>
                  <a:pt x="171" y="13"/>
                </a:lnTo>
                <a:lnTo>
                  <a:pt x="173" y="13"/>
                </a:lnTo>
                <a:lnTo>
                  <a:pt x="177" y="7"/>
                </a:lnTo>
                <a:lnTo>
                  <a:pt x="186" y="2"/>
                </a:lnTo>
                <a:lnTo>
                  <a:pt x="188" y="0"/>
                </a:lnTo>
                <a:lnTo>
                  <a:pt x="192" y="0"/>
                </a:lnTo>
                <a:lnTo>
                  <a:pt x="190" y="7"/>
                </a:lnTo>
                <a:lnTo>
                  <a:pt x="196" y="11"/>
                </a:lnTo>
                <a:lnTo>
                  <a:pt x="196" y="17"/>
                </a:lnTo>
                <a:lnTo>
                  <a:pt x="205" y="24"/>
                </a:lnTo>
                <a:lnTo>
                  <a:pt x="211" y="22"/>
                </a:lnTo>
                <a:lnTo>
                  <a:pt x="209" y="22"/>
                </a:lnTo>
                <a:lnTo>
                  <a:pt x="217" y="19"/>
                </a:lnTo>
                <a:lnTo>
                  <a:pt x="215" y="28"/>
                </a:lnTo>
                <a:lnTo>
                  <a:pt x="200" y="36"/>
                </a:lnTo>
                <a:lnTo>
                  <a:pt x="198" y="43"/>
                </a:lnTo>
                <a:lnTo>
                  <a:pt x="198" y="47"/>
                </a:lnTo>
                <a:lnTo>
                  <a:pt x="194" y="54"/>
                </a:lnTo>
                <a:lnTo>
                  <a:pt x="196" y="62"/>
                </a:lnTo>
                <a:lnTo>
                  <a:pt x="190" y="62"/>
                </a:lnTo>
                <a:lnTo>
                  <a:pt x="194" y="68"/>
                </a:lnTo>
                <a:lnTo>
                  <a:pt x="200" y="73"/>
                </a:lnTo>
                <a:lnTo>
                  <a:pt x="209" y="68"/>
                </a:lnTo>
                <a:lnTo>
                  <a:pt x="215" y="68"/>
                </a:lnTo>
                <a:lnTo>
                  <a:pt x="230" y="83"/>
                </a:lnTo>
                <a:lnTo>
                  <a:pt x="237" y="90"/>
                </a:lnTo>
                <a:lnTo>
                  <a:pt x="228" y="88"/>
                </a:lnTo>
                <a:lnTo>
                  <a:pt x="228" y="94"/>
                </a:lnTo>
                <a:lnTo>
                  <a:pt x="237" y="96"/>
                </a:lnTo>
                <a:lnTo>
                  <a:pt x="243" y="98"/>
                </a:lnTo>
                <a:lnTo>
                  <a:pt x="249" y="113"/>
                </a:lnTo>
                <a:lnTo>
                  <a:pt x="254" y="115"/>
                </a:lnTo>
                <a:lnTo>
                  <a:pt x="262" y="115"/>
                </a:lnTo>
                <a:lnTo>
                  <a:pt x="269" y="117"/>
                </a:lnTo>
                <a:lnTo>
                  <a:pt x="283" y="105"/>
                </a:lnTo>
                <a:lnTo>
                  <a:pt x="290" y="98"/>
                </a:lnTo>
                <a:lnTo>
                  <a:pt x="286" y="88"/>
                </a:lnTo>
                <a:lnTo>
                  <a:pt x="279" y="88"/>
                </a:lnTo>
                <a:lnTo>
                  <a:pt x="277" y="79"/>
                </a:lnTo>
                <a:lnTo>
                  <a:pt x="269" y="75"/>
                </a:lnTo>
                <a:lnTo>
                  <a:pt x="262" y="73"/>
                </a:lnTo>
                <a:lnTo>
                  <a:pt x="269" y="73"/>
                </a:lnTo>
                <a:lnTo>
                  <a:pt x="277" y="75"/>
                </a:lnTo>
                <a:lnTo>
                  <a:pt x="283" y="79"/>
                </a:lnTo>
                <a:lnTo>
                  <a:pt x="294" y="92"/>
                </a:lnTo>
                <a:lnTo>
                  <a:pt x="298" y="107"/>
                </a:lnTo>
                <a:lnTo>
                  <a:pt x="294" y="115"/>
                </a:lnTo>
                <a:lnTo>
                  <a:pt x="286" y="117"/>
                </a:lnTo>
                <a:lnTo>
                  <a:pt x="264" y="128"/>
                </a:lnTo>
                <a:lnTo>
                  <a:pt x="260" y="128"/>
                </a:lnTo>
                <a:lnTo>
                  <a:pt x="258" y="134"/>
                </a:lnTo>
                <a:lnTo>
                  <a:pt x="252" y="141"/>
                </a:lnTo>
                <a:lnTo>
                  <a:pt x="245" y="143"/>
                </a:lnTo>
                <a:lnTo>
                  <a:pt x="241" y="128"/>
                </a:lnTo>
                <a:lnTo>
                  <a:pt x="241" y="122"/>
                </a:lnTo>
                <a:lnTo>
                  <a:pt x="235" y="126"/>
                </a:lnTo>
                <a:lnTo>
                  <a:pt x="230" y="132"/>
                </a:lnTo>
                <a:lnTo>
                  <a:pt x="224" y="139"/>
                </a:lnTo>
                <a:lnTo>
                  <a:pt x="220" y="152"/>
                </a:lnTo>
                <a:lnTo>
                  <a:pt x="213" y="149"/>
                </a:lnTo>
                <a:lnTo>
                  <a:pt x="207" y="158"/>
                </a:lnTo>
                <a:lnTo>
                  <a:pt x="207" y="154"/>
                </a:lnTo>
                <a:lnTo>
                  <a:pt x="203" y="143"/>
                </a:lnTo>
                <a:lnTo>
                  <a:pt x="196" y="141"/>
                </a:lnTo>
                <a:lnTo>
                  <a:pt x="198" y="134"/>
                </a:lnTo>
                <a:lnTo>
                  <a:pt x="198" y="126"/>
                </a:lnTo>
                <a:lnTo>
                  <a:pt x="198" y="132"/>
                </a:lnTo>
                <a:lnTo>
                  <a:pt x="192" y="137"/>
                </a:lnTo>
                <a:lnTo>
                  <a:pt x="188" y="134"/>
                </a:lnTo>
                <a:lnTo>
                  <a:pt x="186" y="132"/>
                </a:lnTo>
                <a:lnTo>
                  <a:pt x="181" y="128"/>
                </a:lnTo>
                <a:lnTo>
                  <a:pt x="181" y="122"/>
                </a:lnTo>
                <a:lnTo>
                  <a:pt x="177" y="122"/>
                </a:lnTo>
                <a:lnTo>
                  <a:pt x="173" y="113"/>
                </a:lnTo>
                <a:lnTo>
                  <a:pt x="166" y="109"/>
                </a:lnTo>
                <a:lnTo>
                  <a:pt x="139" y="117"/>
                </a:lnTo>
                <a:lnTo>
                  <a:pt x="134" y="117"/>
                </a:lnTo>
                <a:lnTo>
                  <a:pt x="124" y="120"/>
                </a:lnTo>
                <a:lnTo>
                  <a:pt x="83" y="128"/>
                </a:lnTo>
                <a:lnTo>
                  <a:pt x="75" y="132"/>
                </a:lnTo>
                <a:lnTo>
                  <a:pt x="71" y="132"/>
                </a:lnTo>
                <a:lnTo>
                  <a:pt x="58" y="137"/>
                </a:lnTo>
                <a:lnTo>
                  <a:pt x="49" y="137"/>
                </a:lnTo>
                <a:lnTo>
                  <a:pt x="2" y="147"/>
                </a:lnTo>
                <a:lnTo>
                  <a:pt x="0" y="143"/>
                </a:lnTo>
                <a:lnTo>
                  <a:pt x="0" y="73"/>
                </a:lnTo>
                <a:lnTo>
                  <a:pt x="2" y="6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0" name="Freeform 937"/>
          <p:cNvSpPr>
            <a:spLocks/>
          </p:cNvSpPr>
          <p:nvPr/>
        </p:nvSpPr>
        <p:spPr bwMode="auto">
          <a:xfrm>
            <a:off x="7694613" y="2641600"/>
            <a:ext cx="33338" cy="31750"/>
          </a:xfrm>
          <a:custGeom>
            <a:avLst/>
            <a:gdLst>
              <a:gd name="T0" fmla="*/ 17 w 21"/>
              <a:gd name="T1" fmla="*/ 0 h 20"/>
              <a:gd name="T2" fmla="*/ 21 w 21"/>
              <a:gd name="T3" fmla="*/ 7 h 20"/>
              <a:gd name="T4" fmla="*/ 15 w 21"/>
              <a:gd name="T5" fmla="*/ 13 h 20"/>
              <a:gd name="T6" fmla="*/ 0 w 21"/>
              <a:gd name="T7" fmla="*/ 20 h 20"/>
              <a:gd name="T8" fmla="*/ 6 w 21"/>
              <a:gd name="T9" fmla="*/ 7 h 20"/>
              <a:gd name="T10" fmla="*/ 10 w 21"/>
              <a:gd name="T11" fmla="*/ 0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21" y="7"/>
                </a:lnTo>
                <a:lnTo>
                  <a:pt x="15" y="13"/>
                </a:lnTo>
                <a:lnTo>
                  <a:pt x="0" y="20"/>
                </a:lnTo>
                <a:lnTo>
                  <a:pt x="6" y="7"/>
                </a:lnTo>
                <a:lnTo>
                  <a:pt x="10" y="0"/>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938"/>
          <p:cNvSpPr>
            <a:spLocks/>
          </p:cNvSpPr>
          <p:nvPr/>
        </p:nvSpPr>
        <p:spPr bwMode="auto">
          <a:xfrm>
            <a:off x="7694613" y="2641600"/>
            <a:ext cx="33338" cy="31750"/>
          </a:xfrm>
          <a:custGeom>
            <a:avLst/>
            <a:gdLst>
              <a:gd name="T0" fmla="*/ 17 w 21"/>
              <a:gd name="T1" fmla="*/ 0 h 20"/>
              <a:gd name="T2" fmla="*/ 21 w 21"/>
              <a:gd name="T3" fmla="*/ 7 h 20"/>
              <a:gd name="T4" fmla="*/ 15 w 21"/>
              <a:gd name="T5" fmla="*/ 13 h 20"/>
              <a:gd name="T6" fmla="*/ 0 w 21"/>
              <a:gd name="T7" fmla="*/ 20 h 20"/>
              <a:gd name="T8" fmla="*/ 6 w 21"/>
              <a:gd name="T9" fmla="*/ 7 h 20"/>
              <a:gd name="T10" fmla="*/ 10 w 21"/>
              <a:gd name="T11" fmla="*/ 0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21" y="7"/>
                </a:lnTo>
                <a:lnTo>
                  <a:pt x="15" y="13"/>
                </a:lnTo>
                <a:lnTo>
                  <a:pt x="0" y="20"/>
                </a:lnTo>
                <a:lnTo>
                  <a:pt x="6" y="7"/>
                </a:lnTo>
                <a:lnTo>
                  <a:pt x="10" y="0"/>
                </a:lnTo>
                <a:lnTo>
                  <a:pt x="17"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2" name="Freeform 939"/>
          <p:cNvSpPr>
            <a:spLocks/>
          </p:cNvSpPr>
          <p:nvPr/>
        </p:nvSpPr>
        <p:spPr bwMode="auto">
          <a:xfrm>
            <a:off x="7778750" y="2638425"/>
            <a:ext cx="26988" cy="23813"/>
          </a:xfrm>
          <a:custGeom>
            <a:avLst/>
            <a:gdLst>
              <a:gd name="T0" fmla="*/ 15 w 17"/>
              <a:gd name="T1" fmla="*/ 13 h 15"/>
              <a:gd name="T2" fmla="*/ 0 w 17"/>
              <a:gd name="T3" fmla="*/ 15 h 15"/>
              <a:gd name="T4" fmla="*/ 9 w 17"/>
              <a:gd name="T5" fmla="*/ 9 h 15"/>
              <a:gd name="T6" fmla="*/ 9 w 17"/>
              <a:gd name="T7" fmla="*/ 2 h 15"/>
              <a:gd name="T8" fmla="*/ 6 w 17"/>
              <a:gd name="T9" fmla="*/ 0 h 15"/>
              <a:gd name="T10" fmla="*/ 13 w 17"/>
              <a:gd name="T11" fmla="*/ 5 h 15"/>
              <a:gd name="T12" fmla="*/ 17 w 17"/>
              <a:gd name="T13" fmla="*/ 11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0" y="15"/>
                </a:lnTo>
                <a:lnTo>
                  <a:pt x="9" y="9"/>
                </a:lnTo>
                <a:lnTo>
                  <a:pt x="9" y="2"/>
                </a:lnTo>
                <a:lnTo>
                  <a:pt x="6" y="0"/>
                </a:lnTo>
                <a:lnTo>
                  <a:pt x="13" y="5"/>
                </a:lnTo>
                <a:lnTo>
                  <a:pt x="17" y="11"/>
                </a:lnTo>
                <a:lnTo>
                  <a:pt x="15"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940"/>
          <p:cNvSpPr>
            <a:spLocks/>
          </p:cNvSpPr>
          <p:nvPr/>
        </p:nvSpPr>
        <p:spPr bwMode="auto">
          <a:xfrm>
            <a:off x="7778750" y="2638425"/>
            <a:ext cx="26988" cy="23813"/>
          </a:xfrm>
          <a:custGeom>
            <a:avLst/>
            <a:gdLst>
              <a:gd name="T0" fmla="*/ 15 w 17"/>
              <a:gd name="T1" fmla="*/ 13 h 15"/>
              <a:gd name="T2" fmla="*/ 0 w 17"/>
              <a:gd name="T3" fmla="*/ 15 h 15"/>
              <a:gd name="T4" fmla="*/ 9 w 17"/>
              <a:gd name="T5" fmla="*/ 9 h 15"/>
              <a:gd name="T6" fmla="*/ 9 w 17"/>
              <a:gd name="T7" fmla="*/ 2 h 15"/>
              <a:gd name="T8" fmla="*/ 6 w 17"/>
              <a:gd name="T9" fmla="*/ 0 h 15"/>
              <a:gd name="T10" fmla="*/ 13 w 17"/>
              <a:gd name="T11" fmla="*/ 5 h 15"/>
              <a:gd name="T12" fmla="*/ 17 w 17"/>
              <a:gd name="T13" fmla="*/ 11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0" y="15"/>
                </a:lnTo>
                <a:lnTo>
                  <a:pt x="9" y="9"/>
                </a:lnTo>
                <a:lnTo>
                  <a:pt x="9" y="2"/>
                </a:lnTo>
                <a:lnTo>
                  <a:pt x="6" y="0"/>
                </a:lnTo>
                <a:lnTo>
                  <a:pt x="13" y="5"/>
                </a:lnTo>
                <a:lnTo>
                  <a:pt x="17" y="11"/>
                </a:lnTo>
                <a:lnTo>
                  <a:pt x="15"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4" name="Freeform 941"/>
          <p:cNvSpPr>
            <a:spLocks/>
          </p:cNvSpPr>
          <p:nvPr/>
        </p:nvSpPr>
        <p:spPr bwMode="auto">
          <a:xfrm>
            <a:off x="7842250" y="2043113"/>
            <a:ext cx="26988" cy="34925"/>
          </a:xfrm>
          <a:custGeom>
            <a:avLst/>
            <a:gdLst>
              <a:gd name="T0" fmla="*/ 11 w 17"/>
              <a:gd name="T1" fmla="*/ 0 h 22"/>
              <a:gd name="T2" fmla="*/ 7 w 17"/>
              <a:gd name="T3" fmla="*/ 0 h 22"/>
              <a:gd name="T4" fmla="*/ 0 w 17"/>
              <a:gd name="T5" fmla="*/ 15 h 22"/>
              <a:gd name="T6" fmla="*/ 3 w 17"/>
              <a:gd name="T7" fmla="*/ 22 h 22"/>
              <a:gd name="T8" fmla="*/ 15 w 17"/>
              <a:gd name="T9" fmla="*/ 15 h 22"/>
              <a:gd name="T10" fmla="*/ 17 w 17"/>
              <a:gd name="T11" fmla="*/ 7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7" y="0"/>
                </a:lnTo>
                <a:lnTo>
                  <a:pt x="0" y="15"/>
                </a:lnTo>
                <a:lnTo>
                  <a:pt x="3" y="22"/>
                </a:lnTo>
                <a:lnTo>
                  <a:pt x="15" y="15"/>
                </a:lnTo>
                <a:lnTo>
                  <a:pt x="17" y="7"/>
                </a:lnTo>
                <a:lnTo>
                  <a:pt x="1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942"/>
          <p:cNvSpPr>
            <a:spLocks/>
          </p:cNvSpPr>
          <p:nvPr/>
        </p:nvSpPr>
        <p:spPr bwMode="auto">
          <a:xfrm>
            <a:off x="7842250" y="2043113"/>
            <a:ext cx="26988" cy="34925"/>
          </a:xfrm>
          <a:custGeom>
            <a:avLst/>
            <a:gdLst>
              <a:gd name="T0" fmla="*/ 11 w 17"/>
              <a:gd name="T1" fmla="*/ 0 h 22"/>
              <a:gd name="T2" fmla="*/ 7 w 17"/>
              <a:gd name="T3" fmla="*/ 0 h 22"/>
              <a:gd name="T4" fmla="*/ 0 w 17"/>
              <a:gd name="T5" fmla="*/ 15 h 22"/>
              <a:gd name="T6" fmla="*/ 3 w 17"/>
              <a:gd name="T7" fmla="*/ 22 h 22"/>
              <a:gd name="T8" fmla="*/ 15 w 17"/>
              <a:gd name="T9" fmla="*/ 15 h 22"/>
              <a:gd name="T10" fmla="*/ 17 w 17"/>
              <a:gd name="T11" fmla="*/ 7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7" y="0"/>
                </a:lnTo>
                <a:lnTo>
                  <a:pt x="0" y="15"/>
                </a:lnTo>
                <a:lnTo>
                  <a:pt x="3" y="22"/>
                </a:lnTo>
                <a:lnTo>
                  <a:pt x="15" y="15"/>
                </a:lnTo>
                <a:lnTo>
                  <a:pt x="17" y="7"/>
                </a:lnTo>
                <a:lnTo>
                  <a:pt x="11"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6" name="Freeform 943"/>
          <p:cNvSpPr>
            <a:spLocks/>
          </p:cNvSpPr>
          <p:nvPr/>
        </p:nvSpPr>
        <p:spPr bwMode="auto">
          <a:xfrm>
            <a:off x="8008938" y="1925638"/>
            <a:ext cx="15875" cy="33338"/>
          </a:xfrm>
          <a:custGeom>
            <a:avLst/>
            <a:gdLst>
              <a:gd name="T0" fmla="*/ 6 w 10"/>
              <a:gd name="T1" fmla="*/ 0 h 21"/>
              <a:gd name="T2" fmla="*/ 4 w 10"/>
              <a:gd name="T3" fmla="*/ 0 h 21"/>
              <a:gd name="T4" fmla="*/ 2 w 10"/>
              <a:gd name="T5" fmla="*/ 6 h 21"/>
              <a:gd name="T6" fmla="*/ 0 w 10"/>
              <a:gd name="T7" fmla="*/ 15 h 21"/>
              <a:gd name="T8" fmla="*/ 4 w 10"/>
              <a:gd name="T9" fmla="*/ 21 h 21"/>
              <a:gd name="T10" fmla="*/ 10 w 10"/>
              <a:gd name="T11" fmla="*/ 15 h 21"/>
              <a:gd name="T12" fmla="*/ 10 w 10"/>
              <a:gd name="T13" fmla="*/ 6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4" y="0"/>
                </a:lnTo>
                <a:lnTo>
                  <a:pt x="2" y="6"/>
                </a:lnTo>
                <a:lnTo>
                  <a:pt x="0" y="15"/>
                </a:lnTo>
                <a:lnTo>
                  <a:pt x="4" y="21"/>
                </a:lnTo>
                <a:lnTo>
                  <a:pt x="10" y="15"/>
                </a:lnTo>
                <a:lnTo>
                  <a:pt x="10" y="6"/>
                </a:lnTo>
                <a:lnTo>
                  <a:pt x="6"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944"/>
          <p:cNvSpPr>
            <a:spLocks/>
          </p:cNvSpPr>
          <p:nvPr/>
        </p:nvSpPr>
        <p:spPr bwMode="auto">
          <a:xfrm>
            <a:off x="8008938" y="1925638"/>
            <a:ext cx="15875" cy="33338"/>
          </a:xfrm>
          <a:custGeom>
            <a:avLst/>
            <a:gdLst>
              <a:gd name="T0" fmla="*/ 6 w 10"/>
              <a:gd name="T1" fmla="*/ 0 h 21"/>
              <a:gd name="T2" fmla="*/ 4 w 10"/>
              <a:gd name="T3" fmla="*/ 0 h 21"/>
              <a:gd name="T4" fmla="*/ 2 w 10"/>
              <a:gd name="T5" fmla="*/ 6 h 21"/>
              <a:gd name="T6" fmla="*/ 0 w 10"/>
              <a:gd name="T7" fmla="*/ 15 h 21"/>
              <a:gd name="T8" fmla="*/ 4 w 10"/>
              <a:gd name="T9" fmla="*/ 21 h 21"/>
              <a:gd name="T10" fmla="*/ 10 w 10"/>
              <a:gd name="T11" fmla="*/ 15 h 21"/>
              <a:gd name="T12" fmla="*/ 10 w 10"/>
              <a:gd name="T13" fmla="*/ 6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4" y="0"/>
                </a:lnTo>
                <a:lnTo>
                  <a:pt x="2" y="6"/>
                </a:lnTo>
                <a:lnTo>
                  <a:pt x="0" y="15"/>
                </a:lnTo>
                <a:lnTo>
                  <a:pt x="4" y="21"/>
                </a:lnTo>
                <a:lnTo>
                  <a:pt x="10" y="15"/>
                </a:lnTo>
                <a:lnTo>
                  <a:pt x="10" y="6"/>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8" name="Freeform 945"/>
          <p:cNvSpPr>
            <a:spLocks/>
          </p:cNvSpPr>
          <p:nvPr/>
        </p:nvSpPr>
        <p:spPr bwMode="auto">
          <a:xfrm>
            <a:off x="7470775" y="1549400"/>
            <a:ext cx="517525" cy="819150"/>
          </a:xfrm>
          <a:custGeom>
            <a:avLst/>
            <a:gdLst>
              <a:gd name="T0" fmla="*/ 11 w 326"/>
              <a:gd name="T1" fmla="*/ 277 h 516"/>
              <a:gd name="T2" fmla="*/ 19 w 326"/>
              <a:gd name="T3" fmla="*/ 262 h 516"/>
              <a:gd name="T4" fmla="*/ 19 w 326"/>
              <a:gd name="T5" fmla="*/ 250 h 516"/>
              <a:gd name="T6" fmla="*/ 28 w 326"/>
              <a:gd name="T7" fmla="*/ 233 h 516"/>
              <a:gd name="T8" fmla="*/ 43 w 326"/>
              <a:gd name="T9" fmla="*/ 199 h 516"/>
              <a:gd name="T10" fmla="*/ 34 w 326"/>
              <a:gd name="T11" fmla="*/ 169 h 516"/>
              <a:gd name="T12" fmla="*/ 39 w 326"/>
              <a:gd name="T13" fmla="*/ 107 h 516"/>
              <a:gd name="T14" fmla="*/ 85 w 326"/>
              <a:gd name="T15" fmla="*/ 9 h 516"/>
              <a:gd name="T16" fmla="*/ 107 w 326"/>
              <a:gd name="T17" fmla="*/ 32 h 516"/>
              <a:gd name="T18" fmla="*/ 126 w 326"/>
              <a:gd name="T19" fmla="*/ 13 h 516"/>
              <a:gd name="T20" fmla="*/ 147 w 326"/>
              <a:gd name="T21" fmla="*/ 0 h 516"/>
              <a:gd name="T22" fmla="*/ 183 w 326"/>
              <a:gd name="T23" fmla="*/ 17 h 516"/>
              <a:gd name="T24" fmla="*/ 230 w 326"/>
              <a:gd name="T25" fmla="*/ 139 h 516"/>
              <a:gd name="T26" fmla="*/ 234 w 326"/>
              <a:gd name="T27" fmla="*/ 158 h 516"/>
              <a:gd name="T28" fmla="*/ 249 w 326"/>
              <a:gd name="T29" fmla="*/ 171 h 516"/>
              <a:gd name="T30" fmla="*/ 271 w 326"/>
              <a:gd name="T31" fmla="*/ 171 h 516"/>
              <a:gd name="T32" fmla="*/ 275 w 326"/>
              <a:gd name="T33" fmla="*/ 192 h 516"/>
              <a:gd name="T34" fmla="*/ 288 w 326"/>
              <a:gd name="T35" fmla="*/ 213 h 516"/>
              <a:gd name="T36" fmla="*/ 303 w 326"/>
              <a:gd name="T37" fmla="*/ 209 h 516"/>
              <a:gd name="T38" fmla="*/ 309 w 326"/>
              <a:gd name="T39" fmla="*/ 237 h 516"/>
              <a:gd name="T40" fmla="*/ 320 w 326"/>
              <a:gd name="T41" fmla="*/ 233 h 516"/>
              <a:gd name="T42" fmla="*/ 318 w 326"/>
              <a:gd name="T43" fmla="*/ 260 h 516"/>
              <a:gd name="T44" fmla="*/ 305 w 326"/>
              <a:gd name="T45" fmla="*/ 271 h 516"/>
              <a:gd name="T46" fmla="*/ 298 w 326"/>
              <a:gd name="T47" fmla="*/ 273 h 516"/>
              <a:gd name="T48" fmla="*/ 283 w 326"/>
              <a:gd name="T49" fmla="*/ 284 h 516"/>
              <a:gd name="T50" fmla="*/ 273 w 326"/>
              <a:gd name="T51" fmla="*/ 284 h 516"/>
              <a:gd name="T52" fmla="*/ 271 w 326"/>
              <a:gd name="T53" fmla="*/ 305 h 516"/>
              <a:gd name="T54" fmla="*/ 264 w 326"/>
              <a:gd name="T55" fmla="*/ 299 h 516"/>
              <a:gd name="T56" fmla="*/ 260 w 326"/>
              <a:gd name="T57" fmla="*/ 316 h 516"/>
              <a:gd name="T58" fmla="*/ 239 w 326"/>
              <a:gd name="T59" fmla="*/ 311 h 516"/>
              <a:gd name="T60" fmla="*/ 226 w 326"/>
              <a:gd name="T61" fmla="*/ 318 h 516"/>
              <a:gd name="T62" fmla="*/ 228 w 326"/>
              <a:gd name="T63" fmla="*/ 339 h 516"/>
              <a:gd name="T64" fmla="*/ 207 w 326"/>
              <a:gd name="T65" fmla="*/ 331 h 516"/>
              <a:gd name="T66" fmla="*/ 203 w 326"/>
              <a:gd name="T67" fmla="*/ 318 h 516"/>
              <a:gd name="T68" fmla="*/ 188 w 326"/>
              <a:gd name="T69" fmla="*/ 328 h 516"/>
              <a:gd name="T70" fmla="*/ 190 w 326"/>
              <a:gd name="T71" fmla="*/ 350 h 516"/>
              <a:gd name="T72" fmla="*/ 192 w 326"/>
              <a:gd name="T73" fmla="*/ 371 h 516"/>
              <a:gd name="T74" fmla="*/ 177 w 326"/>
              <a:gd name="T75" fmla="*/ 384 h 516"/>
              <a:gd name="T76" fmla="*/ 166 w 326"/>
              <a:gd name="T77" fmla="*/ 399 h 516"/>
              <a:gd name="T78" fmla="*/ 158 w 326"/>
              <a:gd name="T79" fmla="*/ 392 h 516"/>
              <a:gd name="T80" fmla="*/ 156 w 326"/>
              <a:gd name="T81" fmla="*/ 394 h 516"/>
              <a:gd name="T82" fmla="*/ 156 w 326"/>
              <a:gd name="T83" fmla="*/ 399 h 516"/>
              <a:gd name="T84" fmla="*/ 145 w 326"/>
              <a:gd name="T85" fmla="*/ 403 h 516"/>
              <a:gd name="T86" fmla="*/ 139 w 326"/>
              <a:gd name="T87" fmla="*/ 394 h 516"/>
              <a:gd name="T88" fmla="*/ 134 w 326"/>
              <a:gd name="T89" fmla="*/ 401 h 516"/>
              <a:gd name="T90" fmla="*/ 145 w 326"/>
              <a:gd name="T91" fmla="*/ 426 h 516"/>
              <a:gd name="T92" fmla="*/ 134 w 326"/>
              <a:gd name="T93" fmla="*/ 420 h 516"/>
              <a:gd name="T94" fmla="*/ 130 w 326"/>
              <a:gd name="T95" fmla="*/ 426 h 516"/>
              <a:gd name="T96" fmla="*/ 113 w 326"/>
              <a:gd name="T97" fmla="*/ 437 h 516"/>
              <a:gd name="T98" fmla="*/ 109 w 326"/>
              <a:gd name="T99" fmla="*/ 460 h 516"/>
              <a:gd name="T100" fmla="*/ 100 w 326"/>
              <a:gd name="T101" fmla="*/ 486 h 516"/>
              <a:gd name="T102" fmla="*/ 100 w 326"/>
              <a:gd name="T103" fmla="*/ 509 h 516"/>
              <a:gd name="T104" fmla="*/ 83 w 326"/>
              <a:gd name="T105" fmla="*/ 507 h 516"/>
              <a:gd name="T106" fmla="*/ 68 w 326"/>
              <a:gd name="T107" fmla="*/ 490 h 516"/>
              <a:gd name="T108" fmla="*/ 62 w 326"/>
              <a:gd name="T109" fmla="*/ 469 h 516"/>
              <a:gd name="T110" fmla="*/ 0 w 326"/>
              <a:gd name="T111" fmla="*/ 28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516">
                <a:moveTo>
                  <a:pt x="0" y="282"/>
                </a:moveTo>
                <a:lnTo>
                  <a:pt x="4" y="275"/>
                </a:lnTo>
                <a:lnTo>
                  <a:pt x="11" y="277"/>
                </a:lnTo>
                <a:lnTo>
                  <a:pt x="19" y="275"/>
                </a:lnTo>
                <a:lnTo>
                  <a:pt x="17" y="269"/>
                </a:lnTo>
                <a:lnTo>
                  <a:pt x="19" y="262"/>
                </a:lnTo>
                <a:lnTo>
                  <a:pt x="22" y="260"/>
                </a:lnTo>
                <a:lnTo>
                  <a:pt x="28" y="265"/>
                </a:lnTo>
                <a:lnTo>
                  <a:pt x="19" y="250"/>
                </a:lnTo>
                <a:lnTo>
                  <a:pt x="22" y="247"/>
                </a:lnTo>
                <a:lnTo>
                  <a:pt x="24" y="241"/>
                </a:lnTo>
                <a:lnTo>
                  <a:pt x="28" y="233"/>
                </a:lnTo>
                <a:lnTo>
                  <a:pt x="39" y="218"/>
                </a:lnTo>
                <a:lnTo>
                  <a:pt x="36" y="213"/>
                </a:lnTo>
                <a:lnTo>
                  <a:pt x="43" y="199"/>
                </a:lnTo>
                <a:lnTo>
                  <a:pt x="36" y="190"/>
                </a:lnTo>
                <a:lnTo>
                  <a:pt x="36" y="177"/>
                </a:lnTo>
                <a:lnTo>
                  <a:pt x="34" y="169"/>
                </a:lnTo>
                <a:lnTo>
                  <a:pt x="36" y="147"/>
                </a:lnTo>
                <a:lnTo>
                  <a:pt x="43" y="137"/>
                </a:lnTo>
                <a:lnTo>
                  <a:pt x="39" y="107"/>
                </a:lnTo>
                <a:lnTo>
                  <a:pt x="70" y="9"/>
                </a:lnTo>
                <a:lnTo>
                  <a:pt x="79" y="7"/>
                </a:lnTo>
                <a:lnTo>
                  <a:pt x="85" y="9"/>
                </a:lnTo>
                <a:lnTo>
                  <a:pt x="90" y="24"/>
                </a:lnTo>
                <a:lnTo>
                  <a:pt x="98" y="30"/>
                </a:lnTo>
                <a:lnTo>
                  <a:pt x="107" y="32"/>
                </a:lnTo>
                <a:lnTo>
                  <a:pt x="113" y="24"/>
                </a:lnTo>
                <a:lnTo>
                  <a:pt x="119" y="22"/>
                </a:lnTo>
                <a:lnTo>
                  <a:pt x="126" y="13"/>
                </a:lnTo>
                <a:lnTo>
                  <a:pt x="132" y="11"/>
                </a:lnTo>
                <a:lnTo>
                  <a:pt x="139" y="3"/>
                </a:lnTo>
                <a:lnTo>
                  <a:pt x="147" y="0"/>
                </a:lnTo>
                <a:lnTo>
                  <a:pt x="156" y="3"/>
                </a:lnTo>
                <a:lnTo>
                  <a:pt x="168" y="7"/>
                </a:lnTo>
                <a:lnTo>
                  <a:pt x="183" y="17"/>
                </a:lnTo>
                <a:lnTo>
                  <a:pt x="190" y="20"/>
                </a:lnTo>
                <a:lnTo>
                  <a:pt x="222" y="115"/>
                </a:lnTo>
                <a:lnTo>
                  <a:pt x="230" y="139"/>
                </a:lnTo>
                <a:lnTo>
                  <a:pt x="230" y="145"/>
                </a:lnTo>
                <a:lnTo>
                  <a:pt x="234" y="154"/>
                </a:lnTo>
                <a:lnTo>
                  <a:pt x="234" y="158"/>
                </a:lnTo>
                <a:lnTo>
                  <a:pt x="237" y="167"/>
                </a:lnTo>
                <a:lnTo>
                  <a:pt x="243" y="164"/>
                </a:lnTo>
                <a:lnTo>
                  <a:pt x="249" y="171"/>
                </a:lnTo>
                <a:lnTo>
                  <a:pt x="258" y="171"/>
                </a:lnTo>
                <a:lnTo>
                  <a:pt x="264" y="167"/>
                </a:lnTo>
                <a:lnTo>
                  <a:pt x="271" y="171"/>
                </a:lnTo>
                <a:lnTo>
                  <a:pt x="269" y="179"/>
                </a:lnTo>
                <a:lnTo>
                  <a:pt x="271" y="186"/>
                </a:lnTo>
                <a:lnTo>
                  <a:pt x="275" y="192"/>
                </a:lnTo>
                <a:lnTo>
                  <a:pt x="275" y="201"/>
                </a:lnTo>
                <a:lnTo>
                  <a:pt x="279" y="207"/>
                </a:lnTo>
                <a:lnTo>
                  <a:pt x="288" y="213"/>
                </a:lnTo>
                <a:lnTo>
                  <a:pt x="292" y="207"/>
                </a:lnTo>
                <a:lnTo>
                  <a:pt x="298" y="207"/>
                </a:lnTo>
                <a:lnTo>
                  <a:pt x="303" y="209"/>
                </a:lnTo>
                <a:lnTo>
                  <a:pt x="305" y="211"/>
                </a:lnTo>
                <a:lnTo>
                  <a:pt x="318" y="224"/>
                </a:lnTo>
                <a:lnTo>
                  <a:pt x="309" y="237"/>
                </a:lnTo>
                <a:lnTo>
                  <a:pt x="315" y="243"/>
                </a:lnTo>
                <a:lnTo>
                  <a:pt x="322" y="235"/>
                </a:lnTo>
                <a:lnTo>
                  <a:pt x="320" y="233"/>
                </a:lnTo>
                <a:lnTo>
                  <a:pt x="326" y="239"/>
                </a:lnTo>
                <a:lnTo>
                  <a:pt x="326" y="245"/>
                </a:lnTo>
                <a:lnTo>
                  <a:pt x="318" y="260"/>
                </a:lnTo>
                <a:lnTo>
                  <a:pt x="311" y="265"/>
                </a:lnTo>
                <a:lnTo>
                  <a:pt x="300" y="262"/>
                </a:lnTo>
                <a:lnTo>
                  <a:pt x="305" y="271"/>
                </a:lnTo>
                <a:lnTo>
                  <a:pt x="298" y="269"/>
                </a:lnTo>
                <a:lnTo>
                  <a:pt x="298" y="273"/>
                </a:lnTo>
                <a:lnTo>
                  <a:pt x="298" y="273"/>
                </a:lnTo>
                <a:lnTo>
                  <a:pt x="292" y="277"/>
                </a:lnTo>
                <a:lnTo>
                  <a:pt x="292" y="284"/>
                </a:lnTo>
                <a:lnTo>
                  <a:pt x="283" y="284"/>
                </a:lnTo>
                <a:lnTo>
                  <a:pt x="283" y="292"/>
                </a:lnTo>
                <a:lnTo>
                  <a:pt x="279" y="290"/>
                </a:lnTo>
                <a:lnTo>
                  <a:pt x="273" y="284"/>
                </a:lnTo>
                <a:lnTo>
                  <a:pt x="269" y="292"/>
                </a:lnTo>
                <a:lnTo>
                  <a:pt x="271" y="299"/>
                </a:lnTo>
                <a:lnTo>
                  <a:pt x="271" y="305"/>
                </a:lnTo>
                <a:lnTo>
                  <a:pt x="269" y="299"/>
                </a:lnTo>
                <a:lnTo>
                  <a:pt x="266" y="305"/>
                </a:lnTo>
                <a:lnTo>
                  <a:pt x="264" y="299"/>
                </a:lnTo>
                <a:lnTo>
                  <a:pt x="260" y="303"/>
                </a:lnTo>
                <a:lnTo>
                  <a:pt x="262" y="309"/>
                </a:lnTo>
                <a:lnTo>
                  <a:pt x="260" y="316"/>
                </a:lnTo>
                <a:lnTo>
                  <a:pt x="256" y="309"/>
                </a:lnTo>
                <a:lnTo>
                  <a:pt x="237" y="303"/>
                </a:lnTo>
                <a:lnTo>
                  <a:pt x="239" y="311"/>
                </a:lnTo>
                <a:lnTo>
                  <a:pt x="230" y="318"/>
                </a:lnTo>
                <a:lnTo>
                  <a:pt x="224" y="309"/>
                </a:lnTo>
                <a:lnTo>
                  <a:pt x="226" y="318"/>
                </a:lnTo>
                <a:lnTo>
                  <a:pt x="224" y="324"/>
                </a:lnTo>
                <a:lnTo>
                  <a:pt x="224" y="333"/>
                </a:lnTo>
                <a:lnTo>
                  <a:pt x="228" y="339"/>
                </a:lnTo>
                <a:lnTo>
                  <a:pt x="217" y="335"/>
                </a:lnTo>
                <a:lnTo>
                  <a:pt x="205" y="335"/>
                </a:lnTo>
                <a:lnTo>
                  <a:pt x="207" y="331"/>
                </a:lnTo>
                <a:lnTo>
                  <a:pt x="209" y="322"/>
                </a:lnTo>
                <a:lnTo>
                  <a:pt x="200" y="324"/>
                </a:lnTo>
                <a:lnTo>
                  <a:pt x="203" y="318"/>
                </a:lnTo>
                <a:lnTo>
                  <a:pt x="196" y="309"/>
                </a:lnTo>
                <a:lnTo>
                  <a:pt x="198" y="322"/>
                </a:lnTo>
                <a:lnTo>
                  <a:pt x="188" y="328"/>
                </a:lnTo>
                <a:lnTo>
                  <a:pt x="192" y="335"/>
                </a:lnTo>
                <a:lnTo>
                  <a:pt x="192" y="343"/>
                </a:lnTo>
                <a:lnTo>
                  <a:pt x="190" y="350"/>
                </a:lnTo>
                <a:lnTo>
                  <a:pt x="190" y="358"/>
                </a:lnTo>
                <a:lnTo>
                  <a:pt x="190" y="365"/>
                </a:lnTo>
                <a:lnTo>
                  <a:pt x="192" y="371"/>
                </a:lnTo>
                <a:lnTo>
                  <a:pt x="188" y="380"/>
                </a:lnTo>
                <a:lnTo>
                  <a:pt x="185" y="388"/>
                </a:lnTo>
                <a:lnTo>
                  <a:pt x="177" y="384"/>
                </a:lnTo>
                <a:lnTo>
                  <a:pt x="168" y="384"/>
                </a:lnTo>
                <a:lnTo>
                  <a:pt x="166" y="390"/>
                </a:lnTo>
                <a:lnTo>
                  <a:pt x="166" y="399"/>
                </a:lnTo>
                <a:lnTo>
                  <a:pt x="166" y="405"/>
                </a:lnTo>
                <a:lnTo>
                  <a:pt x="160" y="401"/>
                </a:lnTo>
                <a:lnTo>
                  <a:pt x="158" y="392"/>
                </a:lnTo>
                <a:lnTo>
                  <a:pt x="158" y="386"/>
                </a:lnTo>
                <a:lnTo>
                  <a:pt x="158" y="388"/>
                </a:lnTo>
                <a:lnTo>
                  <a:pt x="156" y="394"/>
                </a:lnTo>
                <a:lnTo>
                  <a:pt x="160" y="409"/>
                </a:lnTo>
                <a:lnTo>
                  <a:pt x="154" y="405"/>
                </a:lnTo>
                <a:lnTo>
                  <a:pt x="156" y="399"/>
                </a:lnTo>
                <a:lnTo>
                  <a:pt x="151" y="392"/>
                </a:lnTo>
                <a:lnTo>
                  <a:pt x="147" y="392"/>
                </a:lnTo>
                <a:lnTo>
                  <a:pt x="145" y="403"/>
                </a:lnTo>
                <a:lnTo>
                  <a:pt x="151" y="411"/>
                </a:lnTo>
                <a:lnTo>
                  <a:pt x="149" y="418"/>
                </a:lnTo>
                <a:lnTo>
                  <a:pt x="139" y="394"/>
                </a:lnTo>
                <a:lnTo>
                  <a:pt x="139" y="386"/>
                </a:lnTo>
                <a:lnTo>
                  <a:pt x="134" y="392"/>
                </a:lnTo>
                <a:lnTo>
                  <a:pt x="134" y="401"/>
                </a:lnTo>
                <a:lnTo>
                  <a:pt x="137" y="397"/>
                </a:lnTo>
                <a:lnTo>
                  <a:pt x="147" y="420"/>
                </a:lnTo>
                <a:lnTo>
                  <a:pt x="145" y="426"/>
                </a:lnTo>
                <a:lnTo>
                  <a:pt x="139" y="414"/>
                </a:lnTo>
                <a:lnTo>
                  <a:pt x="137" y="411"/>
                </a:lnTo>
                <a:lnTo>
                  <a:pt x="134" y="420"/>
                </a:lnTo>
                <a:lnTo>
                  <a:pt x="132" y="426"/>
                </a:lnTo>
                <a:lnTo>
                  <a:pt x="130" y="420"/>
                </a:lnTo>
                <a:lnTo>
                  <a:pt x="130" y="426"/>
                </a:lnTo>
                <a:lnTo>
                  <a:pt x="126" y="414"/>
                </a:lnTo>
                <a:lnTo>
                  <a:pt x="115" y="429"/>
                </a:lnTo>
                <a:lnTo>
                  <a:pt x="113" y="437"/>
                </a:lnTo>
                <a:lnTo>
                  <a:pt x="115" y="443"/>
                </a:lnTo>
                <a:lnTo>
                  <a:pt x="119" y="446"/>
                </a:lnTo>
                <a:lnTo>
                  <a:pt x="109" y="460"/>
                </a:lnTo>
                <a:lnTo>
                  <a:pt x="113" y="467"/>
                </a:lnTo>
                <a:lnTo>
                  <a:pt x="107" y="480"/>
                </a:lnTo>
                <a:lnTo>
                  <a:pt x="100" y="486"/>
                </a:lnTo>
                <a:lnTo>
                  <a:pt x="100" y="495"/>
                </a:lnTo>
                <a:lnTo>
                  <a:pt x="102" y="501"/>
                </a:lnTo>
                <a:lnTo>
                  <a:pt x="100" y="509"/>
                </a:lnTo>
                <a:lnTo>
                  <a:pt x="94" y="516"/>
                </a:lnTo>
                <a:lnTo>
                  <a:pt x="90" y="514"/>
                </a:lnTo>
                <a:lnTo>
                  <a:pt x="83" y="507"/>
                </a:lnTo>
                <a:lnTo>
                  <a:pt x="83" y="501"/>
                </a:lnTo>
                <a:lnTo>
                  <a:pt x="75" y="497"/>
                </a:lnTo>
                <a:lnTo>
                  <a:pt x="68" y="490"/>
                </a:lnTo>
                <a:lnTo>
                  <a:pt x="64" y="484"/>
                </a:lnTo>
                <a:lnTo>
                  <a:pt x="62" y="478"/>
                </a:lnTo>
                <a:lnTo>
                  <a:pt x="62" y="469"/>
                </a:lnTo>
                <a:lnTo>
                  <a:pt x="53" y="448"/>
                </a:lnTo>
                <a:lnTo>
                  <a:pt x="0" y="286"/>
                </a:lnTo>
                <a:lnTo>
                  <a:pt x="0" y="282"/>
                </a:lnTo>
                <a:close/>
              </a:path>
            </a:pathLst>
          </a:custGeom>
          <a:solidFill>
            <a:srgbClr val="CCCCCC"/>
          </a:solidFill>
          <a:ln>
            <a:noFill/>
          </a:ln>
        </p:spPr>
        <p:txBody>
          <a:bodyPr vert="horz" wrap="square" lIns="91440" tIns="45720" rIns="91440" bIns="45720" numCol="1" anchor="t" anchorCtr="0" compatLnSpc="1">
            <a:prstTxWarp prst="textNoShape">
              <a:avLst/>
            </a:prstTxWarp>
          </a:bodyPr>
          <a:lstStyle/>
          <a:p>
            <a:endParaRPr lang="en-US"/>
          </a:p>
        </p:txBody>
      </p:sp>
      <p:sp>
        <p:nvSpPr>
          <p:cNvPr id="1139" name="Freeform 946"/>
          <p:cNvSpPr>
            <a:spLocks/>
          </p:cNvSpPr>
          <p:nvPr/>
        </p:nvSpPr>
        <p:spPr bwMode="auto">
          <a:xfrm>
            <a:off x="7470775" y="1549400"/>
            <a:ext cx="517525" cy="819150"/>
          </a:xfrm>
          <a:custGeom>
            <a:avLst/>
            <a:gdLst>
              <a:gd name="T0" fmla="*/ 11 w 326"/>
              <a:gd name="T1" fmla="*/ 277 h 516"/>
              <a:gd name="T2" fmla="*/ 19 w 326"/>
              <a:gd name="T3" fmla="*/ 262 h 516"/>
              <a:gd name="T4" fmla="*/ 19 w 326"/>
              <a:gd name="T5" fmla="*/ 250 h 516"/>
              <a:gd name="T6" fmla="*/ 28 w 326"/>
              <a:gd name="T7" fmla="*/ 233 h 516"/>
              <a:gd name="T8" fmla="*/ 43 w 326"/>
              <a:gd name="T9" fmla="*/ 199 h 516"/>
              <a:gd name="T10" fmla="*/ 34 w 326"/>
              <a:gd name="T11" fmla="*/ 169 h 516"/>
              <a:gd name="T12" fmla="*/ 39 w 326"/>
              <a:gd name="T13" fmla="*/ 107 h 516"/>
              <a:gd name="T14" fmla="*/ 85 w 326"/>
              <a:gd name="T15" fmla="*/ 9 h 516"/>
              <a:gd name="T16" fmla="*/ 107 w 326"/>
              <a:gd name="T17" fmla="*/ 32 h 516"/>
              <a:gd name="T18" fmla="*/ 126 w 326"/>
              <a:gd name="T19" fmla="*/ 13 h 516"/>
              <a:gd name="T20" fmla="*/ 147 w 326"/>
              <a:gd name="T21" fmla="*/ 0 h 516"/>
              <a:gd name="T22" fmla="*/ 183 w 326"/>
              <a:gd name="T23" fmla="*/ 17 h 516"/>
              <a:gd name="T24" fmla="*/ 230 w 326"/>
              <a:gd name="T25" fmla="*/ 139 h 516"/>
              <a:gd name="T26" fmla="*/ 234 w 326"/>
              <a:gd name="T27" fmla="*/ 158 h 516"/>
              <a:gd name="T28" fmla="*/ 249 w 326"/>
              <a:gd name="T29" fmla="*/ 171 h 516"/>
              <a:gd name="T30" fmla="*/ 271 w 326"/>
              <a:gd name="T31" fmla="*/ 171 h 516"/>
              <a:gd name="T32" fmla="*/ 275 w 326"/>
              <a:gd name="T33" fmla="*/ 192 h 516"/>
              <a:gd name="T34" fmla="*/ 288 w 326"/>
              <a:gd name="T35" fmla="*/ 213 h 516"/>
              <a:gd name="T36" fmla="*/ 303 w 326"/>
              <a:gd name="T37" fmla="*/ 209 h 516"/>
              <a:gd name="T38" fmla="*/ 309 w 326"/>
              <a:gd name="T39" fmla="*/ 237 h 516"/>
              <a:gd name="T40" fmla="*/ 320 w 326"/>
              <a:gd name="T41" fmla="*/ 233 h 516"/>
              <a:gd name="T42" fmla="*/ 318 w 326"/>
              <a:gd name="T43" fmla="*/ 260 h 516"/>
              <a:gd name="T44" fmla="*/ 305 w 326"/>
              <a:gd name="T45" fmla="*/ 271 h 516"/>
              <a:gd name="T46" fmla="*/ 298 w 326"/>
              <a:gd name="T47" fmla="*/ 273 h 516"/>
              <a:gd name="T48" fmla="*/ 283 w 326"/>
              <a:gd name="T49" fmla="*/ 284 h 516"/>
              <a:gd name="T50" fmla="*/ 273 w 326"/>
              <a:gd name="T51" fmla="*/ 284 h 516"/>
              <a:gd name="T52" fmla="*/ 271 w 326"/>
              <a:gd name="T53" fmla="*/ 305 h 516"/>
              <a:gd name="T54" fmla="*/ 264 w 326"/>
              <a:gd name="T55" fmla="*/ 299 h 516"/>
              <a:gd name="T56" fmla="*/ 260 w 326"/>
              <a:gd name="T57" fmla="*/ 316 h 516"/>
              <a:gd name="T58" fmla="*/ 239 w 326"/>
              <a:gd name="T59" fmla="*/ 311 h 516"/>
              <a:gd name="T60" fmla="*/ 226 w 326"/>
              <a:gd name="T61" fmla="*/ 318 h 516"/>
              <a:gd name="T62" fmla="*/ 228 w 326"/>
              <a:gd name="T63" fmla="*/ 339 h 516"/>
              <a:gd name="T64" fmla="*/ 207 w 326"/>
              <a:gd name="T65" fmla="*/ 331 h 516"/>
              <a:gd name="T66" fmla="*/ 203 w 326"/>
              <a:gd name="T67" fmla="*/ 318 h 516"/>
              <a:gd name="T68" fmla="*/ 188 w 326"/>
              <a:gd name="T69" fmla="*/ 328 h 516"/>
              <a:gd name="T70" fmla="*/ 190 w 326"/>
              <a:gd name="T71" fmla="*/ 350 h 516"/>
              <a:gd name="T72" fmla="*/ 192 w 326"/>
              <a:gd name="T73" fmla="*/ 371 h 516"/>
              <a:gd name="T74" fmla="*/ 177 w 326"/>
              <a:gd name="T75" fmla="*/ 384 h 516"/>
              <a:gd name="T76" fmla="*/ 166 w 326"/>
              <a:gd name="T77" fmla="*/ 399 h 516"/>
              <a:gd name="T78" fmla="*/ 158 w 326"/>
              <a:gd name="T79" fmla="*/ 392 h 516"/>
              <a:gd name="T80" fmla="*/ 156 w 326"/>
              <a:gd name="T81" fmla="*/ 394 h 516"/>
              <a:gd name="T82" fmla="*/ 156 w 326"/>
              <a:gd name="T83" fmla="*/ 399 h 516"/>
              <a:gd name="T84" fmla="*/ 145 w 326"/>
              <a:gd name="T85" fmla="*/ 403 h 516"/>
              <a:gd name="T86" fmla="*/ 139 w 326"/>
              <a:gd name="T87" fmla="*/ 394 h 516"/>
              <a:gd name="T88" fmla="*/ 134 w 326"/>
              <a:gd name="T89" fmla="*/ 401 h 516"/>
              <a:gd name="T90" fmla="*/ 145 w 326"/>
              <a:gd name="T91" fmla="*/ 426 h 516"/>
              <a:gd name="T92" fmla="*/ 134 w 326"/>
              <a:gd name="T93" fmla="*/ 420 h 516"/>
              <a:gd name="T94" fmla="*/ 130 w 326"/>
              <a:gd name="T95" fmla="*/ 426 h 516"/>
              <a:gd name="T96" fmla="*/ 113 w 326"/>
              <a:gd name="T97" fmla="*/ 437 h 516"/>
              <a:gd name="T98" fmla="*/ 109 w 326"/>
              <a:gd name="T99" fmla="*/ 460 h 516"/>
              <a:gd name="T100" fmla="*/ 100 w 326"/>
              <a:gd name="T101" fmla="*/ 486 h 516"/>
              <a:gd name="T102" fmla="*/ 100 w 326"/>
              <a:gd name="T103" fmla="*/ 509 h 516"/>
              <a:gd name="T104" fmla="*/ 83 w 326"/>
              <a:gd name="T105" fmla="*/ 507 h 516"/>
              <a:gd name="T106" fmla="*/ 68 w 326"/>
              <a:gd name="T107" fmla="*/ 490 h 516"/>
              <a:gd name="T108" fmla="*/ 62 w 326"/>
              <a:gd name="T109" fmla="*/ 469 h 516"/>
              <a:gd name="T110" fmla="*/ 0 w 326"/>
              <a:gd name="T111" fmla="*/ 28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516">
                <a:moveTo>
                  <a:pt x="0" y="282"/>
                </a:moveTo>
                <a:lnTo>
                  <a:pt x="4" y="275"/>
                </a:lnTo>
                <a:lnTo>
                  <a:pt x="11" y="277"/>
                </a:lnTo>
                <a:lnTo>
                  <a:pt x="19" y="275"/>
                </a:lnTo>
                <a:lnTo>
                  <a:pt x="17" y="269"/>
                </a:lnTo>
                <a:lnTo>
                  <a:pt x="19" y="262"/>
                </a:lnTo>
                <a:lnTo>
                  <a:pt x="22" y="260"/>
                </a:lnTo>
                <a:lnTo>
                  <a:pt x="28" y="265"/>
                </a:lnTo>
                <a:lnTo>
                  <a:pt x="19" y="250"/>
                </a:lnTo>
                <a:lnTo>
                  <a:pt x="22" y="247"/>
                </a:lnTo>
                <a:lnTo>
                  <a:pt x="24" y="241"/>
                </a:lnTo>
                <a:lnTo>
                  <a:pt x="28" y="233"/>
                </a:lnTo>
                <a:lnTo>
                  <a:pt x="39" y="218"/>
                </a:lnTo>
                <a:lnTo>
                  <a:pt x="36" y="213"/>
                </a:lnTo>
                <a:lnTo>
                  <a:pt x="43" y="199"/>
                </a:lnTo>
                <a:lnTo>
                  <a:pt x="36" y="190"/>
                </a:lnTo>
                <a:lnTo>
                  <a:pt x="36" y="177"/>
                </a:lnTo>
                <a:lnTo>
                  <a:pt x="34" y="169"/>
                </a:lnTo>
                <a:lnTo>
                  <a:pt x="36" y="147"/>
                </a:lnTo>
                <a:lnTo>
                  <a:pt x="43" y="137"/>
                </a:lnTo>
                <a:lnTo>
                  <a:pt x="39" y="107"/>
                </a:lnTo>
                <a:lnTo>
                  <a:pt x="70" y="9"/>
                </a:lnTo>
                <a:lnTo>
                  <a:pt x="79" y="7"/>
                </a:lnTo>
                <a:lnTo>
                  <a:pt x="85" y="9"/>
                </a:lnTo>
                <a:lnTo>
                  <a:pt x="90" y="24"/>
                </a:lnTo>
                <a:lnTo>
                  <a:pt x="98" y="30"/>
                </a:lnTo>
                <a:lnTo>
                  <a:pt x="107" y="32"/>
                </a:lnTo>
                <a:lnTo>
                  <a:pt x="113" y="24"/>
                </a:lnTo>
                <a:lnTo>
                  <a:pt x="119" y="22"/>
                </a:lnTo>
                <a:lnTo>
                  <a:pt x="126" y="13"/>
                </a:lnTo>
                <a:lnTo>
                  <a:pt x="132" y="11"/>
                </a:lnTo>
                <a:lnTo>
                  <a:pt x="139" y="3"/>
                </a:lnTo>
                <a:lnTo>
                  <a:pt x="147" y="0"/>
                </a:lnTo>
                <a:lnTo>
                  <a:pt x="156" y="3"/>
                </a:lnTo>
                <a:lnTo>
                  <a:pt x="168" y="7"/>
                </a:lnTo>
                <a:lnTo>
                  <a:pt x="183" y="17"/>
                </a:lnTo>
                <a:lnTo>
                  <a:pt x="190" y="20"/>
                </a:lnTo>
                <a:lnTo>
                  <a:pt x="222" y="115"/>
                </a:lnTo>
                <a:lnTo>
                  <a:pt x="230" y="139"/>
                </a:lnTo>
                <a:lnTo>
                  <a:pt x="230" y="145"/>
                </a:lnTo>
                <a:lnTo>
                  <a:pt x="234" y="154"/>
                </a:lnTo>
                <a:lnTo>
                  <a:pt x="234" y="158"/>
                </a:lnTo>
                <a:lnTo>
                  <a:pt x="237" y="167"/>
                </a:lnTo>
                <a:lnTo>
                  <a:pt x="243" y="164"/>
                </a:lnTo>
                <a:lnTo>
                  <a:pt x="249" y="171"/>
                </a:lnTo>
                <a:lnTo>
                  <a:pt x="258" y="171"/>
                </a:lnTo>
                <a:lnTo>
                  <a:pt x="264" y="167"/>
                </a:lnTo>
                <a:lnTo>
                  <a:pt x="271" y="171"/>
                </a:lnTo>
                <a:lnTo>
                  <a:pt x="269" y="179"/>
                </a:lnTo>
                <a:lnTo>
                  <a:pt x="271" y="186"/>
                </a:lnTo>
                <a:lnTo>
                  <a:pt x="275" y="192"/>
                </a:lnTo>
                <a:lnTo>
                  <a:pt x="275" y="201"/>
                </a:lnTo>
                <a:lnTo>
                  <a:pt x="279" y="207"/>
                </a:lnTo>
                <a:lnTo>
                  <a:pt x="288" y="213"/>
                </a:lnTo>
                <a:lnTo>
                  <a:pt x="292" y="207"/>
                </a:lnTo>
                <a:lnTo>
                  <a:pt x="298" y="207"/>
                </a:lnTo>
                <a:lnTo>
                  <a:pt x="303" y="209"/>
                </a:lnTo>
                <a:lnTo>
                  <a:pt x="305" y="211"/>
                </a:lnTo>
                <a:lnTo>
                  <a:pt x="318" y="224"/>
                </a:lnTo>
                <a:lnTo>
                  <a:pt x="309" y="237"/>
                </a:lnTo>
                <a:lnTo>
                  <a:pt x="315" y="243"/>
                </a:lnTo>
                <a:lnTo>
                  <a:pt x="322" y="235"/>
                </a:lnTo>
                <a:lnTo>
                  <a:pt x="320" y="233"/>
                </a:lnTo>
                <a:lnTo>
                  <a:pt x="326" y="239"/>
                </a:lnTo>
                <a:lnTo>
                  <a:pt x="326" y="245"/>
                </a:lnTo>
                <a:lnTo>
                  <a:pt x="318" y="260"/>
                </a:lnTo>
                <a:lnTo>
                  <a:pt x="311" y="265"/>
                </a:lnTo>
                <a:lnTo>
                  <a:pt x="300" y="262"/>
                </a:lnTo>
                <a:lnTo>
                  <a:pt x="305" y="271"/>
                </a:lnTo>
                <a:lnTo>
                  <a:pt x="298" y="269"/>
                </a:lnTo>
                <a:lnTo>
                  <a:pt x="298" y="273"/>
                </a:lnTo>
                <a:lnTo>
                  <a:pt x="298" y="273"/>
                </a:lnTo>
                <a:lnTo>
                  <a:pt x="292" y="277"/>
                </a:lnTo>
                <a:lnTo>
                  <a:pt x="292" y="284"/>
                </a:lnTo>
                <a:lnTo>
                  <a:pt x="283" y="284"/>
                </a:lnTo>
                <a:lnTo>
                  <a:pt x="283" y="292"/>
                </a:lnTo>
                <a:lnTo>
                  <a:pt x="279" y="290"/>
                </a:lnTo>
                <a:lnTo>
                  <a:pt x="273" y="284"/>
                </a:lnTo>
                <a:lnTo>
                  <a:pt x="269" y="292"/>
                </a:lnTo>
                <a:lnTo>
                  <a:pt x="271" y="299"/>
                </a:lnTo>
                <a:lnTo>
                  <a:pt x="271" y="305"/>
                </a:lnTo>
                <a:lnTo>
                  <a:pt x="269" y="299"/>
                </a:lnTo>
                <a:lnTo>
                  <a:pt x="266" y="305"/>
                </a:lnTo>
                <a:lnTo>
                  <a:pt x="264" y="299"/>
                </a:lnTo>
                <a:lnTo>
                  <a:pt x="260" y="303"/>
                </a:lnTo>
                <a:lnTo>
                  <a:pt x="262" y="309"/>
                </a:lnTo>
                <a:lnTo>
                  <a:pt x="260" y="316"/>
                </a:lnTo>
                <a:lnTo>
                  <a:pt x="256" y="309"/>
                </a:lnTo>
                <a:lnTo>
                  <a:pt x="237" y="303"/>
                </a:lnTo>
                <a:lnTo>
                  <a:pt x="239" y="311"/>
                </a:lnTo>
                <a:lnTo>
                  <a:pt x="230" y="318"/>
                </a:lnTo>
                <a:lnTo>
                  <a:pt x="224" y="309"/>
                </a:lnTo>
                <a:lnTo>
                  <a:pt x="226" y="318"/>
                </a:lnTo>
                <a:lnTo>
                  <a:pt x="224" y="324"/>
                </a:lnTo>
                <a:lnTo>
                  <a:pt x="224" y="333"/>
                </a:lnTo>
                <a:lnTo>
                  <a:pt x="228" y="339"/>
                </a:lnTo>
                <a:lnTo>
                  <a:pt x="217" y="335"/>
                </a:lnTo>
                <a:lnTo>
                  <a:pt x="205" y="335"/>
                </a:lnTo>
                <a:lnTo>
                  <a:pt x="207" y="331"/>
                </a:lnTo>
                <a:lnTo>
                  <a:pt x="209" y="322"/>
                </a:lnTo>
                <a:lnTo>
                  <a:pt x="200" y="324"/>
                </a:lnTo>
                <a:lnTo>
                  <a:pt x="203" y="318"/>
                </a:lnTo>
                <a:lnTo>
                  <a:pt x="196" y="309"/>
                </a:lnTo>
                <a:lnTo>
                  <a:pt x="198" y="322"/>
                </a:lnTo>
                <a:lnTo>
                  <a:pt x="188" y="328"/>
                </a:lnTo>
                <a:lnTo>
                  <a:pt x="192" y="335"/>
                </a:lnTo>
                <a:lnTo>
                  <a:pt x="192" y="343"/>
                </a:lnTo>
                <a:lnTo>
                  <a:pt x="190" y="350"/>
                </a:lnTo>
                <a:lnTo>
                  <a:pt x="190" y="358"/>
                </a:lnTo>
                <a:lnTo>
                  <a:pt x="190" y="365"/>
                </a:lnTo>
                <a:lnTo>
                  <a:pt x="192" y="371"/>
                </a:lnTo>
                <a:lnTo>
                  <a:pt x="188" y="380"/>
                </a:lnTo>
                <a:lnTo>
                  <a:pt x="185" y="388"/>
                </a:lnTo>
                <a:lnTo>
                  <a:pt x="177" y="384"/>
                </a:lnTo>
                <a:lnTo>
                  <a:pt x="168" y="384"/>
                </a:lnTo>
                <a:lnTo>
                  <a:pt x="166" y="390"/>
                </a:lnTo>
                <a:lnTo>
                  <a:pt x="166" y="399"/>
                </a:lnTo>
                <a:lnTo>
                  <a:pt x="166" y="405"/>
                </a:lnTo>
                <a:lnTo>
                  <a:pt x="160" y="401"/>
                </a:lnTo>
                <a:lnTo>
                  <a:pt x="158" y="392"/>
                </a:lnTo>
                <a:lnTo>
                  <a:pt x="158" y="386"/>
                </a:lnTo>
                <a:lnTo>
                  <a:pt x="158" y="388"/>
                </a:lnTo>
                <a:lnTo>
                  <a:pt x="156" y="394"/>
                </a:lnTo>
                <a:lnTo>
                  <a:pt x="160" y="409"/>
                </a:lnTo>
                <a:lnTo>
                  <a:pt x="154" y="405"/>
                </a:lnTo>
                <a:lnTo>
                  <a:pt x="156" y="399"/>
                </a:lnTo>
                <a:lnTo>
                  <a:pt x="151" y="392"/>
                </a:lnTo>
                <a:lnTo>
                  <a:pt x="147" y="392"/>
                </a:lnTo>
                <a:lnTo>
                  <a:pt x="145" y="403"/>
                </a:lnTo>
                <a:lnTo>
                  <a:pt x="151" y="411"/>
                </a:lnTo>
                <a:lnTo>
                  <a:pt x="149" y="418"/>
                </a:lnTo>
                <a:lnTo>
                  <a:pt x="139" y="394"/>
                </a:lnTo>
                <a:lnTo>
                  <a:pt x="139" y="386"/>
                </a:lnTo>
                <a:lnTo>
                  <a:pt x="134" y="392"/>
                </a:lnTo>
                <a:lnTo>
                  <a:pt x="134" y="401"/>
                </a:lnTo>
                <a:lnTo>
                  <a:pt x="137" y="397"/>
                </a:lnTo>
                <a:lnTo>
                  <a:pt x="147" y="420"/>
                </a:lnTo>
                <a:lnTo>
                  <a:pt x="145" y="426"/>
                </a:lnTo>
                <a:lnTo>
                  <a:pt x="139" y="414"/>
                </a:lnTo>
                <a:lnTo>
                  <a:pt x="137" y="411"/>
                </a:lnTo>
                <a:lnTo>
                  <a:pt x="134" y="420"/>
                </a:lnTo>
                <a:lnTo>
                  <a:pt x="132" y="426"/>
                </a:lnTo>
                <a:lnTo>
                  <a:pt x="130" y="420"/>
                </a:lnTo>
                <a:lnTo>
                  <a:pt x="130" y="426"/>
                </a:lnTo>
                <a:lnTo>
                  <a:pt x="126" y="414"/>
                </a:lnTo>
                <a:lnTo>
                  <a:pt x="115" y="429"/>
                </a:lnTo>
                <a:lnTo>
                  <a:pt x="113" y="437"/>
                </a:lnTo>
                <a:lnTo>
                  <a:pt x="115" y="443"/>
                </a:lnTo>
                <a:lnTo>
                  <a:pt x="119" y="446"/>
                </a:lnTo>
                <a:lnTo>
                  <a:pt x="109" y="460"/>
                </a:lnTo>
                <a:lnTo>
                  <a:pt x="113" y="467"/>
                </a:lnTo>
                <a:lnTo>
                  <a:pt x="107" y="480"/>
                </a:lnTo>
                <a:lnTo>
                  <a:pt x="100" y="486"/>
                </a:lnTo>
                <a:lnTo>
                  <a:pt x="100" y="495"/>
                </a:lnTo>
                <a:lnTo>
                  <a:pt x="102" y="501"/>
                </a:lnTo>
                <a:lnTo>
                  <a:pt x="100" y="509"/>
                </a:lnTo>
                <a:lnTo>
                  <a:pt x="94" y="516"/>
                </a:lnTo>
                <a:lnTo>
                  <a:pt x="90" y="514"/>
                </a:lnTo>
                <a:lnTo>
                  <a:pt x="83" y="507"/>
                </a:lnTo>
                <a:lnTo>
                  <a:pt x="83" y="501"/>
                </a:lnTo>
                <a:lnTo>
                  <a:pt x="75" y="497"/>
                </a:lnTo>
                <a:lnTo>
                  <a:pt x="68" y="490"/>
                </a:lnTo>
                <a:lnTo>
                  <a:pt x="64" y="484"/>
                </a:lnTo>
                <a:lnTo>
                  <a:pt x="62" y="478"/>
                </a:lnTo>
                <a:lnTo>
                  <a:pt x="62" y="469"/>
                </a:lnTo>
                <a:lnTo>
                  <a:pt x="53" y="448"/>
                </a:lnTo>
                <a:lnTo>
                  <a:pt x="0" y="286"/>
                </a:lnTo>
                <a:lnTo>
                  <a:pt x="0" y="28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0" name="Freeform 947"/>
          <p:cNvSpPr>
            <a:spLocks/>
          </p:cNvSpPr>
          <p:nvPr/>
        </p:nvSpPr>
        <p:spPr bwMode="auto">
          <a:xfrm>
            <a:off x="7842250" y="2043113"/>
            <a:ext cx="26988" cy="34925"/>
          </a:xfrm>
          <a:custGeom>
            <a:avLst/>
            <a:gdLst>
              <a:gd name="T0" fmla="*/ 11 w 17"/>
              <a:gd name="T1" fmla="*/ 0 h 22"/>
              <a:gd name="T2" fmla="*/ 17 w 17"/>
              <a:gd name="T3" fmla="*/ 7 h 22"/>
              <a:gd name="T4" fmla="*/ 15 w 17"/>
              <a:gd name="T5" fmla="*/ 15 h 22"/>
              <a:gd name="T6" fmla="*/ 3 w 17"/>
              <a:gd name="T7" fmla="*/ 22 h 22"/>
              <a:gd name="T8" fmla="*/ 0 w 17"/>
              <a:gd name="T9" fmla="*/ 15 h 22"/>
              <a:gd name="T10" fmla="*/ 7 w 17"/>
              <a:gd name="T11" fmla="*/ 0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17" y="7"/>
                </a:lnTo>
                <a:lnTo>
                  <a:pt x="15" y="15"/>
                </a:lnTo>
                <a:lnTo>
                  <a:pt x="3" y="22"/>
                </a:lnTo>
                <a:lnTo>
                  <a:pt x="0" y="15"/>
                </a:lnTo>
                <a:lnTo>
                  <a:pt x="7" y="0"/>
                </a:lnTo>
                <a:lnTo>
                  <a:pt x="1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Freeform 948"/>
          <p:cNvSpPr>
            <a:spLocks/>
          </p:cNvSpPr>
          <p:nvPr/>
        </p:nvSpPr>
        <p:spPr bwMode="auto">
          <a:xfrm>
            <a:off x="7842250" y="2043113"/>
            <a:ext cx="26988" cy="34925"/>
          </a:xfrm>
          <a:custGeom>
            <a:avLst/>
            <a:gdLst>
              <a:gd name="T0" fmla="*/ 11 w 17"/>
              <a:gd name="T1" fmla="*/ 0 h 22"/>
              <a:gd name="T2" fmla="*/ 17 w 17"/>
              <a:gd name="T3" fmla="*/ 7 h 22"/>
              <a:gd name="T4" fmla="*/ 15 w 17"/>
              <a:gd name="T5" fmla="*/ 15 h 22"/>
              <a:gd name="T6" fmla="*/ 3 w 17"/>
              <a:gd name="T7" fmla="*/ 22 h 22"/>
              <a:gd name="T8" fmla="*/ 0 w 17"/>
              <a:gd name="T9" fmla="*/ 15 h 22"/>
              <a:gd name="T10" fmla="*/ 7 w 17"/>
              <a:gd name="T11" fmla="*/ 0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17" y="7"/>
                </a:lnTo>
                <a:lnTo>
                  <a:pt x="15" y="15"/>
                </a:lnTo>
                <a:lnTo>
                  <a:pt x="3" y="22"/>
                </a:lnTo>
                <a:lnTo>
                  <a:pt x="0" y="15"/>
                </a:lnTo>
                <a:lnTo>
                  <a:pt x="7" y="0"/>
                </a:lnTo>
                <a:lnTo>
                  <a:pt x="11"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2" name="Freeform 949"/>
          <p:cNvSpPr>
            <a:spLocks/>
          </p:cNvSpPr>
          <p:nvPr/>
        </p:nvSpPr>
        <p:spPr bwMode="auto">
          <a:xfrm>
            <a:off x="8008938" y="1925638"/>
            <a:ext cx="15875" cy="33338"/>
          </a:xfrm>
          <a:custGeom>
            <a:avLst/>
            <a:gdLst>
              <a:gd name="T0" fmla="*/ 6 w 10"/>
              <a:gd name="T1" fmla="*/ 0 h 21"/>
              <a:gd name="T2" fmla="*/ 10 w 10"/>
              <a:gd name="T3" fmla="*/ 6 h 21"/>
              <a:gd name="T4" fmla="*/ 10 w 10"/>
              <a:gd name="T5" fmla="*/ 15 h 21"/>
              <a:gd name="T6" fmla="*/ 4 w 10"/>
              <a:gd name="T7" fmla="*/ 21 h 21"/>
              <a:gd name="T8" fmla="*/ 0 w 10"/>
              <a:gd name="T9" fmla="*/ 15 h 21"/>
              <a:gd name="T10" fmla="*/ 2 w 10"/>
              <a:gd name="T11" fmla="*/ 6 h 21"/>
              <a:gd name="T12" fmla="*/ 4 w 10"/>
              <a:gd name="T13" fmla="*/ 0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10" y="6"/>
                </a:lnTo>
                <a:lnTo>
                  <a:pt x="10" y="15"/>
                </a:lnTo>
                <a:lnTo>
                  <a:pt x="4" y="21"/>
                </a:lnTo>
                <a:lnTo>
                  <a:pt x="0" y="15"/>
                </a:lnTo>
                <a:lnTo>
                  <a:pt x="2" y="6"/>
                </a:lnTo>
                <a:lnTo>
                  <a:pt x="4" y="0"/>
                </a:lnTo>
                <a:lnTo>
                  <a:pt x="6"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Freeform 950"/>
          <p:cNvSpPr>
            <a:spLocks/>
          </p:cNvSpPr>
          <p:nvPr/>
        </p:nvSpPr>
        <p:spPr bwMode="auto">
          <a:xfrm>
            <a:off x="8008938" y="1925638"/>
            <a:ext cx="15875" cy="33338"/>
          </a:xfrm>
          <a:custGeom>
            <a:avLst/>
            <a:gdLst>
              <a:gd name="T0" fmla="*/ 6 w 10"/>
              <a:gd name="T1" fmla="*/ 0 h 21"/>
              <a:gd name="T2" fmla="*/ 10 w 10"/>
              <a:gd name="T3" fmla="*/ 6 h 21"/>
              <a:gd name="T4" fmla="*/ 10 w 10"/>
              <a:gd name="T5" fmla="*/ 15 h 21"/>
              <a:gd name="T6" fmla="*/ 4 w 10"/>
              <a:gd name="T7" fmla="*/ 21 h 21"/>
              <a:gd name="T8" fmla="*/ 0 w 10"/>
              <a:gd name="T9" fmla="*/ 15 h 21"/>
              <a:gd name="T10" fmla="*/ 2 w 10"/>
              <a:gd name="T11" fmla="*/ 6 h 21"/>
              <a:gd name="T12" fmla="*/ 4 w 10"/>
              <a:gd name="T13" fmla="*/ 0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10" y="6"/>
                </a:lnTo>
                <a:lnTo>
                  <a:pt x="10" y="15"/>
                </a:lnTo>
                <a:lnTo>
                  <a:pt x="4" y="21"/>
                </a:lnTo>
                <a:lnTo>
                  <a:pt x="0" y="15"/>
                </a:lnTo>
                <a:lnTo>
                  <a:pt x="2" y="6"/>
                </a:lnTo>
                <a:lnTo>
                  <a:pt x="4" y="0"/>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2819168" y="5642769"/>
            <a:ext cx="777875" cy="284163"/>
            <a:chOff x="2573338" y="5621338"/>
            <a:chExt cx="777875" cy="284163"/>
          </a:xfrm>
        </p:grpSpPr>
        <p:sp>
          <p:nvSpPr>
            <p:cNvPr id="1156" name="Freeform 963"/>
            <p:cNvSpPr>
              <a:spLocks/>
            </p:cNvSpPr>
            <p:nvPr/>
          </p:nvSpPr>
          <p:spPr bwMode="auto">
            <a:xfrm>
              <a:off x="3187700" y="5738813"/>
              <a:ext cx="163513" cy="166688"/>
            </a:xfrm>
            <a:custGeom>
              <a:avLst/>
              <a:gdLst>
                <a:gd name="T0" fmla="*/ 45 w 103"/>
                <a:gd name="T1" fmla="*/ 105 h 105"/>
                <a:gd name="T2" fmla="*/ 54 w 103"/>
                <a:gd name="T3" fmla="*/ 105 h 105"/>
                <a:gd name="T4" fmla="*/ 56 w 103"/>
                <a:gd name="T5" fmla="*/ 96 h 105"/>
                <a:gd name="T6" fmla="*/ 56 w 103"/>
                <a:gd name="T7" fmla="*/ 90 h 105"/>
                <a:gd name="T8" fmla="*/ 62 w 103"/>
                <a:gd name="T9" fmla="*/ 83 h 105"/>
                <a:gd name="T10" fmla="*/ 66 w 103"/>
                <a:gd name="T11" fmla="*/ 77 h 105"/>
                <a:gd name="T12" fmla="*/ 71 w 103"/>
                <a:gd name="T13" fmla="*/ 71 h 105"/>
                <a:gd name="T14" fmla="*/ 77 w 103"/>
                <a:gd name="T15" fmla="*/ 68 h 105"/>
                <a:gd name="T16" fmla="*/ 83 w 103"/>
                <a:gd name="T17" fmla="*/ 64 h 105"/>
                <a:gd name="T18" fmla="*/ 92 w 103"/>
                <a:gd name="T19" fmla="*/ 60 h 105"/>
                <a:gd name="T20" fmla="*/ 96 w 103"/>
                <a:gd name="T21" fmla="*/ 51 h 105"/>
                <a:gd name="T22" fmla="*/ 96 w 103"/>
                <a:gd name="T23" fmla="*/ 49 h 105"/>
                <a:gd name="T24" fmla="*/ 103 w 103"/>
                <a:gd name="T25" fmla="*/ 43 h 105"/>
                <a:gd name="T26" fmla="*/ 100 w 103"/>
                <a:gd name="T27" fmla="*/ 37 h 105"/>
                <a:gd name="T28" fmla="*/ 92 w 103"/>
                <a:gd name="T29" fmla="*/ 34 h 105"/>
                <a:gd name="T30" fmla="*/ 86 w 103"/>
                <a:gd name="T31" fmla="*/ 28 h 105"/>
                <a:gd name="T32" fmla="*/ 79 w 103"/>
                <a:gd name="T33" fmla="*/ 26 h 105"/>
                <a:gd name="T34" fmla="*/ 73 w 103"/>
                <a:gd name="T35" fmla="*/ 20 h 105"/>
                <a:gd name="T36" fmla="*/ 68 w 103"/>
                <a:gd name="T37" fmla="*/ 15 h 105"/>
                <a:gd name="T38" fmla="*/ 60 w 103"/>
                <a:gd name="T39" fmla="*/ 9 h 105"/>
                <a:gd name="T40" fmla="*/ 39 w 103"/>
                <a:gd name="T41" fmla="*/ 7 h 105"/>
                <a:gd name="T42" fmla="*/ 30 w 103"/>
                <a:gd name="T43" fmla="*/ 5 h 105"/>
                <a:gd name="T44" fmla="*/ 22 w 103"/>
                <a:gd name="T45" fmla="*/ 7 h 105"/>
                <a:gd name="T46" fmla="*/ 15 w 103"/>
                <a:gd name="T47" fmla="*/ 5 h 105"/>
                <a:gd name="T48" fmla="*/ 7 w 103"/>
                <a:gd name="T49" fmla="*/ 0 h 105"/>
                <a:gd name="T50" fmla="*/ 2 w 103"/>
                <a:gd name="T51" fmla="*/ 0 h 105"/>
                <a:gd name="T52" fmla="*/ 0 w 103"/>
                <a:gd name="T53" fmla="*/ 9 h 105"/>
                <a:gd name="T54" fmla="*/ 2 w 103"/>
                <a:gd name="T55" fmla="*/ 15 h 105"/>
                <a:gd name="T56" fmla="*/ 11 w 103"/>
                <a:gd name="T57" fmla="*/ 22 h 105"/>
                <a:gd name="T58" fmla="*/ 9 w 103"/>
                <a:gd name="T59" fmla="*/ 28 h 105"/>
                <a:gd name="T60" fmla="*/ 7 w 103"/>
                <a:gd name="T61" fmla="*/ 37 h 105"/>
                <a:gd name="T62" fmla="*/ 7 w 103"/>
                <a:gd name="T63" fmla="*/ 37 h 105"/>
                <a:gd name="T64" fmla="*/ 0 w 103"/>
                <a:gd name="T65" fmla="*/ 45 h 105"/>
                <a:gd name="T66" fmla="*/ 0 w 103"/>
                <a:gd name="T67" fmla="*/ 51 h 105"/>
                <a:gd name="T68" fmla="*/ 7 w 103"/>
                <a:gd name="T69" fmla="*/ 58 h 105"/>
                <a:gd name="T70" fmla="*/ 11 w 103"/>
                <a:gd name="T71" fmla="*/ 62 h 105"/>
                <a:gd name="T72" fmla="*/ 17 w 103"/>
                <a:gd name="T73" fmla="*/ 68 h 105"/>
                <a:gd name="T74" fmla="*/ 17 w 103"/>
                <a:gd name="T75" fmla="*/ 71 h 105"/>
                <a:gd name="T76" fmla="*/ 22 w 103"/>
                <a:gd name="T77" fmla="*/ 77 h 105"/>
                <a:gd name="T78" fmla="*/ 24 w 103"/>
                <a:gd name="T79" fmla="*/ 83 h 105"/>
                <a:gd name="T80" fmla="*/ 26 w 103"/>
                <a:gd name="T81" fmla="*/ 98 h 105"/>
                <a:gd name="T82" fmla="*/ 32 w 103"/>
                <a:gd name="T83" fmla="*/ 103 h 105"/>
                <a:gd name="T84" fmla="*/ 39 w 103"/>
                <a:gd name="T85" fmla="*/ 103 h 105"/>
                <a:gd name="T86" fmla="*/ 45 w 103"/>
                <a:gd name="T87" fmla="*/ 105 h 105"/>
                <a:gd name="T88" fmla="*/ 45 w 103"/>
                <a:gd name="T8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105">
                  <a:moveTo>
                    <a:pt x="45" y="105"/>
                  </a:moveTo>
                  <a:lnTo>
                    <a:pt x="54" y="105"/>
                  </a:lnTo>
                  <a:lnTo>
                    <a:pt x="56" y="96"/>
                  </a:lnTo>
                  <a:lnTo>
                    <a:pt x="56" y="90"/>
                  </a:lnTo>
                  <a:lnTo>
                    <a:pt x="62" y="83"/>
                  </a:lnTo>
                  <a:lnTo>
                    <a:pt x="66" y="77"/>
                  </a:lnTo>
                  <a:lnTo>
                    <a:pt x="71" y="71"/>
                  </a:lnTo>
                  <a:lnTo>
                    <a:pt x="77" y="68"/>
                  </a:lnTo>
                  <a:lnTo>
                    <a:pt x="83" y="64"/>
                  </a:lnTo>
                  <a:lnTo>
                    <a:pt x="92" y="60"/>
                  </a:lnTo>
                  <a:lnTo>
                    <a:pt x="96" y="51"/>
                  </a:lnTo>
                  <a:lnTo>
                    <a:pt x="96" y="49"/>
                  </a:lnTo>
                  <a:lnTo>
                    <a:pt x="103" y="43"/>
                  </a:lnTo>
                  <a:lnTo>
                    <a:pt x="100" y="37"/>
                  </a:lnTo>
                  <a:lnTo>
                    <a:pt x="92" y="34"/>
                  </a:lnTo>
                  <a:lnTo>
                    <a:pt x="86" y="28"/>
                  </a:lnTo>
                  <a:lnTo>
                    <a:pt x="79" y="26"/>
                  </a:lnTo>
                  <a:lnTo>
                    <a:pt x="73" y="20"/>
                  </a:lnTo>
                  <a:lnTo>
                    <a:pt x="68" y="15"/>
                  </a:lnTo>
                  <a:lnTo>
                    <a:pt x="60" y="9"/>
                  </a:lnTo>
                  <a:lnTo>
                    <a:pt x="39" y="7"/>
                  </a:lnTo>
                  <a:lnTo>
                    <a:pt x="30" y="5"/>
                  </a:lnTo>
                  <a:lnTo>
                    <a:pt x="22" y="7"/>
                  </a:lnTo>
                  <a:lnTo>
                    <a:pt x="15" y="5"/>
                  </a:lnTo>
                  <a:lnTo>
                    <a:pt x="7" y="0"/>
                  </a:lnTo>
                  <a:lnTo>
                    <a:pt x="2" y="0"/>
                  </a:lnTo>
                  <a:lnTo>
                    <a:pt x="0" y="9"/>
                  </a:lnTo>
                  <a:lnTo>
                    <a:pt x="2" y="15"/>
                  </a:lnTo>
                  <a:lnTo>
                    <a:pt x="11" y="22"/>
                  </a:lnTo>
                  <a:lnTo>
                    <a:pt x="9" y="28"/>
                  </a:lnTo>
                  <a:lnTo>
                    <a:pt x="7" y="37"/>
                  </a:lnTo>
                  <a:lnTo>
                    <a:pt x="7" y="37"/>
                  </a:lnTo>
                  <a:lnTo>
                    <a:pt x="0" y="45"/>
                  </a:lnTo>
                  <a:lnTo>
                    <a:pt x="0" y="51"/>
                  </a:lnTo>
                  <a:lnTo>
                    <a:pt x="7" y="58"/>
                  </a:lnTo>
                  <a:lnTo>
                    <a:pt x="11" y="62"/>
                  </a:lnTo>
                  <a:lnTo>
                    <a:pt x="17" y="68"/>
                  </a:lnTo>
                  <a:lnTo>
                    <a:pt x="17" y="71"/>
                  </a:lnTo>
                  <a:lnTo>
                    <a:pt x="22" y="77"/>
                  </a:lnTo>
                  <a:lnTo>
                    <a:pt x="24" y="83"/>
                  </a:lnTo>
                  <a:lnTo>
                    <a:pt x="26" y="98"/>
                  </a:lnTo>
                  <a:lnTo>
                    <a:pt x="32" y="103"/>
                  </a:lnTo>
                  <a:lnTo>
                    <a:pt x="39" y="103"/>
                  </a:lnTo>
                  <a:lnTo>
                    <a:pt x="45" y="105"/>
                  </a:lnTo>
                  <a:lnTo>
                    <a:pt x="45" y="10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951"/>
            <p:cNvSpPr>
              <a:spLocks/>
            </p:cNvSpPr>
            <p:nvPr/>
          </p:nvSpPr>
          <p:spPr bwMode="auto">
            <a:xfrm>
              <a:off x="2573338" y="5678488"/>
              <a:ext cx="15875" cy="33338"/>
            </a:xfrm>
            <a:custGeom>
              <a:avLst/>
              <a:gdLst>
                <a:gd name="T0" fmla="*/ 6 w 10"/>
                <a:gd name="T1" fmla="*/ 21 h 21"/>
                <a:gd name="T2" fmla="*/ 6 w 10"/>
                <a:gd name="T3" fmla="*/ 19 h 21"/>
                <a:gd name="T4" fmla="*/ 10 w 10"/>
                <a:gd name="T5" fmla="*/ 11 h 21"/>
                <a:gd name="T6" fmla="*/ 10 w 10"/>
                <a:gd name="T7" fmla="*/ 6 h 21"/>
                <a:gd name="T8" fmla="*/ 10 w 10"/>
                <a:gd name="T9" fmla="*/ 0 h 21"/>
                <a:gd name="T10" fmla="*/ 4 w 10"/>
                <a:gd name="T11" fmla="*/ 6 h 21"/>
                <a:gd name="T12" fmla="*/ 0 w 10"/>
                <a:gd name="T13" fmla="*/ 15 h 21"/>
                <a:gd name="T14" fmla="*/ 6 w 1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21"/>
                  </a:moveTo>
                  <a:lnTo>
                    <a:pt x="6" y="19"/>
                  </a:lnTo>
                  <a:lnTo>
                    <a:pt x="10" y="11"/>
                  </a:lnTo>
                  <a:lnTo>
                    <a:pt x="10" y="6"/>
                  </a:lnTo>
                  <a:lnTo>
                    <a:pt x="10" y="0"/>
                  </a:lnTo>
                  <a:lnTo>
                    <a:pt x="4" y="6"/>
                  </a:lnTo>
                  <a:lnTo>
                    <a:pt x="0" y="15"/>
                  </a:lnTo>
                  <a:lnTo>
                    <a:pt x="6" y="2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Freeform 952"/>
            <p:cNvSpPr>
              <a:spLocks/>
            </p:cNvSpPr>
            <p:nvPr/>
          </p:nvSpPr>
          <p:spPr bwMode="auto">
            <a:xfrm>
              <a:off x="2573338" y="5678488"/>
              <a:ext cx="15875" cy="33338"/>
            </a:xfrm>
            <a:custGeom>
              <a:avLst/>
              <a:gdLst>
                <a:gd name="T0" fmla="*/ 6 w 10"/>
                <a:gd name="T1" fmla="*/ 21 h 21"/>
                <a:gd name="T2" fmla="*/ 6 w 10"/>
                <a:gd name="T3" fmla="*/ 19 h 21"/>
                <a:gd name="T4" fmla="*/ 10 w 10"/>
                <a:gd name="T5" fmla="*/ 11 h 21"/>
                <a:gd name="T6" fmla="*/ 10 w 10"/>
                <a:gd name="T7" fmla="*/ 6 h 21"/>
                <a:gd name="T8" fmla="*/ 10 w 10"/>
                <a:gd name="T9" fmla="*/ 0 h 21"/>
                <a:gd name="T10" fmla="*/ 4 w 10"/>
                <a:gd name="T11" fmla="*/ 6 h 21"/>
                <a:gd name="T12" fmla="*/ 0 w 10"/>
                <a:gd name="T13" fmla="*/ 15 h 21"/>
                <a:gd name="T14" fmla="*/ 6 w 1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21"/>
                  </a:moveTo>
                  <a:lnTo>
                    <a:pt x="6" y="19"/>
                  </a:lnTo>
                  <a:lnTo>
                    <a:pt x="10" y="11"/>
                  </a:lnTo>
                  <a:lnTo>
                    <a:pt x="10" y="6"/>
                  </a:lnTo>
                  <a:lnTo>
                    <a:pt x="10" y="0"/>
                  </a:lnTo>
                  <a:lnTo>
                    <a:pt x="4" y="6"/>
                  </a:lnTo>
                  <a:lnTo>
                    <a:pt x="0" y="15"/>
                  </a:lnTo>
                  <a:lnTo>
                    <a:pt x="6" y="21"/>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6" name="Freeform 953"/>
            <p:cNvSpPr>
              <a:spLocks/>
            </p:cNvSpPr>
            <p:nvPr/>
          </p:nvSpPr>
          <p:spPr bwMode="auto">
            <a:xfrm>
              <a:off x="2620963" y="5621338"/>
              <a:ext cx="60325" cy="50800"/>
            </a:xfrm>
            <a:custGeom>
              <a:avLst/>
              <a:gdLst>
                <a:gd name="T0" fmla="*/ 32 w 38"/>
                <a:gd name="T1" fmla="*/ 32 h 32"/>
                <a:gd name="T2" fmla="*/ 32 w 38"/>
                <a:gd name="T3" fmla="*/ 30 h 32"/>
                <a:gd name="T4" fmla="*/ 38 w 38"/>
                <a:gd name="T5" fmla="*/ 23 h 32"/>
                <a:gd name="T6" fmla="*/ 36 w 38"/>
                <a:gd name="T7" fmla="*/ 15 h 32"/>
                <a:gd name="T8" fmla="*/ 36 w 38"/>
                <a:gd name="T9" fmla="*/ 6 h 32"/>
                <a:gd name="T10" fmla="*/ 36 w 38"/>
                <a:gd name="T11" fmla="*/ 6 h 32"/>
                <a:gd name="T12" fmla="*/ 27 w 38"/>
                <a:gd name="T13" fmla="*/ 0 h 32"/>
                <a:gd name="T14" fmla="*/ 21 w 38"/>
                <a:gd name="T15" fmla="*/ 2 h 32"/>
                <a:gd name="T16" fmla="*/ 15 w 38"/>
                <a:gd name="T17" fmla="*/ 4 h 32"/>
                <a:gd name="T18" fmla="*/ 8 w 38"/>
                <a:gd name="T19" fmla="*/ 10 h 32"/>
                <a:gd name="T20" fmla="*/ 2 w 38"/>
                <a:gd name="T21" fmla="*/ 17 h 32"/>
                <a:gd name="T22" fmla="*/ 2 w 38"/>
                <a:gd name="T23" fmla="*/ 17 h 32"/>
                <a:gd name="T24" fmla="*/ 0 w 38"/>
                <a:gd name="T25" fmla="*/ 25 h 32"/>
                <a:gd name="T26" fmla="*/ 8 w 38"/>
                <a:gd name="T27" fmla="*/ 30 h 32"/>
                <a:gd name="T28" fmla="*/ 23 w 38"/>
                <a:gd name="T29" fmla="*/ 32 h 32"/>
                <a:gd name="T30" fmla="*/ 32 w 38"/>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2">
                  <a:moveTo>
                    <a:pt x="32" y="32"/>
                  </a:moveTo>
                  <a:lnTo>
                    <a:pt x="32" y="30"/>
                  </a:lnTo>
                  <a:lnTo>
                    <a:pt x="38" y="23"/>
                  </a:lnTo>
                  <a:lnTo>
                    <a:pt x="36" y="15"/>
                  </a:lnTo>
                  <a:lnTo>
                    <a:pt x="36" y="6"/>
                  </a:lnTo>
                  <a:lnTo>
                    <a:pt x="36" y="6"/>
                  </a:lnTo>
                  <a:lnTo>
                    <a:pt x="27" y="0"/>
                  </a:lnTo>
                  <a:lnTo>
                    <a:pt x="21" y="2"/>
                  </a:lnTo>
                  <a:lnTo>
                    <a:pt x="15" y="4"/>
                  </a:lnTo>
                  <a:lnTo>
                    <a:pt x="8" y="10"/>
                  </a:lnTo>
                  <a:lnTo>
                    <a:pt x="2" y="17"/>
                  </a:lnTo>
                  <a:lnTo>
                    <a:pt x="2" y="17"/>
                  </a:lnTo>
                  <a:lnTo>
                    <a:pt x="0" y="25"/>
                  </a:lnTo>
                  <a:lnTo>
                    <a:pt x="8" y="30"/>
                  </a:lnTo>
                  <a:lnTo>
                    <a:pt x="23" y="32"/>
                  </a:lnTo>
                  <a:lnTo>
                    <a:pt x="32"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Freeform 954"/>
            <p:cNvSpPr>
              <a:spLocks/>
            </p:cNvSpPr>
            <p:nvPr/>
          </p:nvSpPr>
          <p:spPr bwMode="auto">
            <a:xfrm>
              <a:off x="2620963" y="5621338"/>
              <a:ext cx="60325" cy="50800"/>
            </a:xfrm>
            <a:custGeom>
              <a:avLst/>
              <a:gdLst>
                <a:gd name="T0" fmla="*/ 32 w 38"/>
                <a:gd name="T1" fmla="*/ 32 h 32"/>
                <a:gd name="T2" fmla="*/ 32 w 38"/>
                <a:gd name="T3" fmla="*/ 30 h 32"/>
                <a:gd name="T4" fmla="*/ 38 w 38"/>
                <a:gd name="T5" fmla="*/ 23 h 32"/>
                <a:gd name="T6" fmla="*/ 36 w 38"/>
                <a:gd name="T7" fmla="*/ 15 h 32"/>
                <a:gd name="T8" fmla="*/ 36 w 38"/>
                <a:gd name="T9" fmla="*/ 6 h 32"/>
                <a:gd name="T10" fmla="*/ 36 w 38"/>
                <a:gd name="T11" fmla="*/ 6 h 32"/>
                <a:gd name="T12" fmla="*/ 27 w 38"/>
                <a:gd name="T13" fmla="*/ 0 h 32"/>
                <a:gd name="T14" fmla="*/ 21 w 38"/>
                <a:gd name="T15" fmla="*/ 2 h 32"/>
                <a:gd name="T16" fmla="*/ 15 w 38"/>
                <a:gd name="T17" fmla="*/ 4 h 32"/>
                <a:gd name="T18" fmla="*/ 8 w 38"/>
                <a:gd name="T19" fmla="*/ 10 h 32"/>
                <a:gd name="T20" fmla="*/ 2 w 38"/>
                <a:gd name="T21" fmla="*/ 17 h 32"/>
                <a:gd name="T22" fmla="*/ 2 w 38"/>
                <a:gd name="T23" fmla="*/ 17 h 32"/>
                <a:gd name="T24" fmla="*/ 0 w 38"/>
                <a:gd name="T25" fmla="*/ 25 h 32"/>
                <a:gd name="T26" fmla="*/ 8 w 38"/>
                <a:gd name="T27" fmla="*/ 30 h 32"/>
                <a:gd name="T28" fmla="*/ 23 w 38"/>
                <a:gd name="T29" fmla="*/ 32 h 32"/>
                <a:gd name="T30" fmla="*/ 32 w 38"/>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2">
                  <a:moveTo>
                    <a:pt x="32" y="32"/>
                  </a:moveTo>
                  <a:lnTo>
                    <a:pt x="32" y="30"/>
                  </a:lnTo>
                  <a:lnTo>
                    <a:pt x="38" y="23"/>
                  </a:lnTo>
                  <a:lnTo>
                    <a:pt x="36" y="15"/>
                  </a:lnTo>
                  <a:lnTo>
                    <a:pt x="36" y="6"/>
                  </a:lnTo>
                  <a:lnTo>
                    <a:pt x="36" y="6"/>
                  </a:lnTo>
                  <a:lnTo>
                    <a:pt x="27" y="0"/>
                  </a:lnTo>
                  <a:lnTo>
                    <a:pt x="21" y="2"/>
                  </a:lnTo>
                  <a:lnTo>
                    <a:pt x="15" y="4"/>
                  </a:lnTo>
                  <a:lnTo>
                    <a:pt x="8" y="10"/>
                  </a:lnTo>
                  <a:lnTo>
                    <a:pt x="2" y="17"/>
                  </a:lnTo>
                  <a:lnTo>
                    <a:pt x="2" y="17"/>
                  </a:lnTo>
                  <a:lnTo>
                    <a:pt x="0" y="25"/>
                  </a:lnTo>
                  <a:lnTo>
                    <a:pt x="8" y="30"/>
                  </a:lnTo>
                  <a:lnTo>
                    <a:pt x="23" y="32"/>
                  </a:lnTo>
                  <a:lnTo>
                    <a:pt x="32" y="32"/>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8" name="Freeform 955"/>
            <p:cNvSpPr>
              <a:spLocks/>
            </p:cNvSpPr>
            <p:nvPr/>
          </p:nvSpPr>
          <p:spPr bwMode="auto">
            <a:xfrm>
              <a:off x="2833688" y="5637213"/>
              <a:ext cx="84138" cy="55563"/>
            </a:xfrm>
            <a:custGeom>
              <a:avLst/>
              <a:gdLst>
                <a:gd name="T0" fmla="*/ 40 w 53"/>
                <a:gd name="T1" fmla="*/ 32 h 35"/>
                <a:gd name="T2" fmla="*/ 47 w 53"/>
                <a:gd name="T3" fmla="*/ 28 h 35"/>
                <a:gd name="T4" fmla="*/ 53 w 53"/>
                <a:gd name="T5" fmla="*/ 26 h 35"/>
                <a:gd name="T6" fmla="*/ 47 w 53"/>
                <a:gd name="T7" fmla="*/ 20 h 35"/>
                <a:gd name="T8" fmla="*/ 42 w 53"/>
                <a:gd name="T9" fmla="*/ 13 h 35"/>
                <a:gd name="T10" fmla="*/ 36 w 53"/>
                <a:gd name="T11" fmla="*/ 17 h 35"/>
                <a:gd name="T12" fmla="*/ 32 w 53"/>
                <a:gd name="T13" fmla="*/ 11 h 35"/>
                <a:gd name="T14" fmla="*/ 17 w 53"/>
                <a:gd name="T15" fmla="*/ 0 h 35"/>
                <a:gd name="T16" fmla="*/ 10 w 53"/>
                <a:gd name="T17" fmla="*/ 5 h 35"/>
                <a:gd name="T18" fmla="*/ 6 w 53"/>
                <a:gd name="T19" fmla="*/ 13 h 35"/>
                <a:gd name="T20" fmla="*/ 0 w 53"/>
                <a:gd name="T21" fmla="*/ 15 h 35"/>
                <a:gd name="T22" fmla="*/ 0 w 53"/>
                <a:gd name="T23" fmla="*/ 20 h 35"/>
                <a:gd name="T24" fmla="*/ 4 w 53"/>
                <a:gd name="T25" fmla="*/ 26 h 35"/>
                <a:gd name="T26" fmla="*/ 13 w 53"/>
                <a:gd name="T27" fmla="*/ 30 h 35"/>
                <a:gd name="T28" fmla="*/ 21 w 53"/>
                <a:gd name="T29" fmla="*/ 35 h 35"/>
                <a:gd name="T30" fmla="*/ 27 w 53"/>
                <a:gd name="T31" fmla="*/ 32 h 35"/>
                <a:gd name="T32" fmla="*/ 25 w 53"/>
                <a:gd name="T33" fmla="*/ 28 h 35"/>
                <a:gd name="T34" fmla="*/ 32 w 53"/>
                <a:gd name="T35" fmla="*/ 28 h 35"/>
                <a:gd name="T36" fmla="*/ 40 w 53"/>
                <a:gd name="T37"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5">
                  <a:moveTo>
                    <a:pt x="40" y="32"/>
                  </a:moveTo>
                  <a:lnTo>
                    <a:pt x="47" y="28"/>
                  </a:lnTo>
                  <a:lnTo>
                    <a:pt x="53" y="26"/>
                  </a:lnTo>
                  <a:lnTo>
                    <a:pt x="47" y="20"/>
                  </a:lnTo>
                  <a:lnTo>
                    <a:pt x="42" y="13"/>
                  </a:lnTo>
                  <a:lnTo>
                    <a:pt x="36" y="17"/>
                  </a:lnTo>
                  <a:lnTo>
                    <a:pt x="32" y="11"/>
                  </a:lnTo>
                  <a:lnTo>
                    <a:pt x="17" y="0"/>
                  </a:lnTo>
                  <a:lnTo>
                    <a:pt x="10" y="5"/>
                  </a:lnTo>
                  <a:lnTo>
                    <a:pt x="6" y="13"/>
                  </a:lnTo>
                  <a:lnTo>
                    <a:pt x="0" y="15"/>
                  </a:lnTo>
                  <a:lnTo>
                    <a:pt x="0" y="20"/>
                  </a:lnTo>
                  <a:lnTo>
                    <a:pt x="4" y="26"/>
                  </a:lnTo>
                  <a:lnTo>
                    <a:pt x="13" y="30"/>
                  </a:lnTo>
                  <a:lnTo>
                    <a:pt x="21" y="35"/>
                  </a:lnTo>
                  <a:lnTo>
                    <a:pt x="27" y="32"/>
                  </a:lnTo>
                  <a:lnTo>
                    <a:pt x="25" y="28"/>
                  </a:lnTo>
                  <a:lnTo>
                    <a:pt x="32" y="28"/>
                  </a:lnTo>
                  <a:lnTo>
                    <a:pt x="40"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Freeform 956"/>
            <p:cNvSpPr>
              <a:spLocks/>
            </p:cNvSpPr>
            <p:nvPr/>
          </p:nvSpPr>
          <p:spPr bwMode="auto">
            <a:xfrm>
              <a:off x="2833688" y="5637213"/>
              <a:ext cx="84138" cy="55563"/>
            </a:xfrm>
            <a:custGeom>
              <a:avLst/>
              <a:gdLst>
                <a:gd name="T0" fmla="*/ 40 w 53"/>
                <a:gd name="T1" fmla="*/ 32 h 35"/>
                <a:gd name="T2" fmla="*/ 47 w 53"/>
                <a:gd name="T3" fmla="*/ 28 h 35"/>
                <a:gd name="T4" fmla="*/ 53 w 53"/>
                <a:gd name="T5" fmla="*/ 26 h 35"/>
                <a:gd name="T6" fmla="*/ 47 w 53"/>
                <a:gd name="T7" fmla="*/ 20 h 35"/>
                <a:gd name="T8" fmla="*/ 42 w 53"/>
                <a:gd name="T9" fmla="*/ 13 h 35"/>
                <a:gd name="T10" fmla="*/ 36 w 53"/>
                <a:gd name="T11" fmla="*/ 17 h 35"/>
                <a:gd name="T12" fmla="*/ 32 w 53"/>
                <a:gd name="T13" fmla="*/ 11 h 35"/>
                <a:gd name="T14" fmla="*/ 17 w 53"/>
                <a:gd name="T15" fmla="*/ 0 h 35"/>
                <a:gd name="T16" fmla="*/ 10 w 53"/>
                <a:gd name="T17" fmla="*/ 5 h 35"/>
                <a:gd name="T18" fmla="*/ 6 w 53"/>
                <a:gd name="T19" fmla="*/ 13 h 35"/>
                <a:gd name="T20" fmla="*/ 0 w 53"/>
                <a:gd name="T21" fmla="*/ 15 h 35"/>
                <a:gd name="T22" fmla="*/ 0 w 53"/>
                <a:gd name="T23" fmla="*/ 20 h 35"/>
                <a:gd name="T24" fmla="*/ 4 w 53"/>
                <a:gd name="T25" fmla="*/ 26 h 35"/>
                <a:gd name="T26" fmla="*/ 13 w 53"/>
                <a:gd name="T27" fmla="*/ 30 h 35"/>
                <a:gd name="T28" fmla="*/ 21 w 53"/>
                <a:gd name="T29" fmla="*/ 35 h 35"/>
                <a:gd name="T30" fmla="*/ 27 w 53"/>
                <a:gd name="T31" fmla="*/ 32 h 35"/>
                <a:gd name="T32" fmla="*/ 25 w 53"/>
                <a:gd name="T33" fmla="*/ 28 h 35"/>
                <a:gd name="T34" fmla="*/ 32 w 53"/>
                <a:gd name="T35" fmla="*/ 28 h 35"/>
                <a:gd name="T36" fmla="*/ 40 w 53"/>
                <a:gd name="T37"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5">
                  <a:moveTo>
                    <a:pt x="40" y="32"/>
                  </a:moveTo>
                  <a:lnTo>
                    <a:pt x="47" y="28"/>
                  </a:lnTo>
                  <a:lnTo>
                    <a:pt x="53" y="26"/>
                  </a:lnTo>
                  <a:lnTo>
                    <a:pt x="47" y="20"/>
                  </a:lnTo>
                  <a:lnTo>
                    <a:pt x="42" y="13"/>
                  </a:lnTo>
                  <a:lnTo>
                    <a:pt x="36" y="17"/>
                  </a:lnTo>
                  <a:lnTo>
                    <a:pt x="32" y="11"/>
                  </a:lnTo>
                  <a:lnTo>
                    <a:pt x="17" y="0"/>
                  </a:lnTo>
                  <a:lnTo>
                    <a:pt x="10" y="5"/>
                  </a:lnTo>
                  <a:lnTo>
                    <a:pt x="6" y="13"/>
                  </a:lnTo>
                  <a:lnTo>
                    <a:pt x="0" y="15"/>
                  </a:lnTo>
                  <a:lnTo>
                    <a:pt x="0" y="20"/>
                  </a:lnTo>
                  <a:lnTo>
                    <a:pt x="4" y="26"/>
                  </a:lnTo>
                  <a:lnTo>
                    <a:pt x="13" y="30"/>
                  </a:lnTo>
                  <a:lnTo>
                    <a:pt x="21" y="35"/>
                  </a:lnTo>
                  <a:lnTo>
                    <a:pt x="27" y="32"/>
                  </a:lnTo>
                  <a:lnTo>
                    <a:pt x="25" y="28"/>
                  </a:lnTo>
                  <a:lnTo>
                    <a:pt x="32" y="28"/>
                  </a:lnTo>
                  <a:lnTo>
                    <a:pt x="40" y="32"/>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0" name="Freeform 957"/>
            <p:cNvSpPr>
              <a:spLocks/>
            </p:cNvSpPr>
            <p:nvPr/>
          </p:nvSpPr>
          <p:spPr bwMode="auto">
            <a:xfrm>
              <a:off x="2968625" y="5661025"/>
              <a:ext cx="68263" cy="31750"/>
            </a:xfrm>
            <a:custGeom>
              <a:avLst/>
              <a:gdLst>
                <a:gd name="T0" fmla="*/ 36 w 43"/>
                <a:gd name="T1" fmla="*/ 13 h 20"/>
                <a:gd name="T2" fmla="*/ 36 w 43"/>
                <a:gd name="T3" fmla="*/ 11 h 20"/>
                <a:gd name="T4" fmla="*/ 43 w 43"/>
                <a:gd name="T5" fmla="*/ 7 h 20"/>
                <a:gd name="T6" fmla="*/ 40 w 43"/>
                <a:gd name="T7" fmla="*/ 0 h 20"/>
                <a:gd name="T8" fmla="*/ 36 w 43"/>
                <a:gd name="T9" fmla="*/ 0 h 20"/>
                <a:gd name="T10" fmla="*/ 30 w 43"/>
                <a:gd name="T11" fmla="*/ 2 h 20"/>
                <a:gd name="T12" fmla="*/ 23 w 43"/>
                <a:gd name="T13" fmla="*/ 5 h 20"/>
                <a:gd name="T14" fmla="*/ 15 w 43"/>
                <a:gd name="T15" fmla="*/ 5 h 20"/>
                <a:gd name="T16" fmla="*/ 8 w 43"/>
                <a:gd name="T17" fmla="*/ 7 h 20"/>
                <a:gd name="T18" fmla="*/ 0 w 43"/>
                <a:gd name="T19" fmla="*/ 9 h 20"/>
                <a:gd name="T20" fmla="*/ 2 w 43"/>
                <a:gd name="T21" fmla="*/ 11 h 20"/>
                <a:gd name="T22" fmla="*/ 0 w 43"/>
                <a:gd name="T23" fmla="*/ 20 h 20"/>
                <a:gd name="T24" fmla="*/ 13 w 43"/>
                <a:gd name="T25" fmla="*/ 15 h 20"/>
                <a:gd name="T26" fmla="*/ 19 w 43"/>
                <a:gd name="T27" fmla="*/ 11 h 20"/>
                <a:gd name="T28" fmla="*/ 28 w 43"/>
                <a:gd name="T29" fmla="*/ 13 h 20"/>
                <a:gd name="T30" fmla="*/ 36 w 43"/>
                <a:gd name="T3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0">
                  <a:moveTo>
                    <a:pt x="36" y="13"/>
                  </a:moveTo>
                  <a:lnTo>
                    <a:pt x="36" y="11"/>
                  </a:lnTo>
                  <a:lnTo>
                    <a:pt x="43" y="7"/>
                  </a:lnTo>
                  <a:lnTo>
                    <a:pt x="40" y="0"/>
                  </a:lnTo>
                  <a:lnTo>
                    <a:pt x="36" y="0"/>
                  </a:lnTo>
                  <a:lnTo>
                    <a:pt x="30" y="2"/>
                  </a:lnTo>
                  <a:lnTo>
                    <a:pt x="23" y="5"/>
                  </a:lnTo>
                  <a:lnTo>
                    <a:pt x="15" y="5"/>
                  </a:lnTo>
                  <a:lnTo>
                    <a:pt x="8" y="7"/>
                  </a:lnTo>
                  <a:lnTo>
                    <a:pt x="0" y="9"/>
                  </a:lnTo>
                  <a:lnTo>
                    <a:pt x="2" y="11"/>
                  </a:lnTo>
                  <a:lnTo>
                    <a:pt x="0" y="20"/>
                  </a:lnTo>
                  <a:lnTo>
                    <a:pt x="13" y="15"/>
                  </a:lnTo>
                  <a:lnTo>
                    <a:pt x="19" y="11"/>
                  </a:lnTo>
                  <a:lnTo>
                    <a:pt x="28" y="13"/>
                  </a:lnTo>
                  <a:lnTo>
                    <a:pt x="36"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958"/>
            <p:cNvSpPr>
              <a:spLocks/>
            </p:cNvSpPr>
            <p:nvPr/>
          </p:nvSpPr>
          <p:spPr bwMode="auto">
            <a:xfrm>
              <a:off x="2968625" y="5661025"/>
              <a:ext cx="68263" cy="31750"/>
            </a:xfrm>
            <a:custGeom>
              <a:avLst/>
              <a:gdLst>
                <a:gd name="T0" fmla="*/ 36 w 43"/>
                <a:gd name="T1" fmla="*/ 13 h 20"/>
                <a:gd name="T2" fmla="*/ 36 w 43"/>
                <a:gd name="T3" fmla="*/ 11 h 20"/>
                <a:gd name="T4" fmla="*/ 43 w 43"/>
                <a:gd name="T5" fmla="*/ 7 h 20"/>
                <a:gd name="T6" fmla="*/ 40 w 43"/>
                <a:gd name="T7" fmla="*/ 0 h 20"/>
                <a:gd name="T8" fmla="*/ 36 w 43"/>
                <a:gd name="T9" fmla="*/ 0 h 20"/>
                <a:gd name="T10" fmla="*/ 30 w 43"/>
                <a:gd name="T11" fmla="*/ 2 h 20"/>
                <a:gd name="T12" fmla="*/ 23 w 43"/>
                <a:gd name="T13" fmla="*/ 5 h 20"/>
                <a:gd name="T14" fmla="*/ 15 w 43"/>
                <a:gd name="T15" fmla="*/ 5 h 20"/>
                <a:gd name="T16" fmla="*/ 8 w 43"/>
                <a:gd name="T17" fmla="*/ 7 h 20"/>
                <a:gd name="T18" fmla="*/ 0 w 43"/>
                <a:gd name="T19" fmla="*/ 9 h 20"/>
                <a:gd name="T20" fmla="*/ 2 w 43"/>
                <a:gd name="T21" fmla="*/ 11 h 20"/>
                <a:gd name="T22" fmla="*/ 0 w 43"/>
                <a:gd name="T23" fmla="*/ 20 h 20"/>
                <a:gd name="T24" fmla="*/ 13 w 43"/>
                <a:gd name="T25" fmla="*/ 15 h 20"/>
                <a:gd name="T26" fmla="*/ 19 w 43"/>
                <a:gd name="T27" fmla="*/ 11 h 20"/>
                <a:gd name="T28" fmla="*/ 28 w 43"/>
                <a:gd name="T29" fmla="*/ 13 h 20"/>
                <a:gd name="T30" fmla="*/ 36 w 43"/>
                <a:gd name="T3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0">
                  <a:moveTo>
                    <a:pt x="36" y="13"/>
                  </a:moveTo>
                  <a:lnTo>
                    <a:pt x="36" y="11"/>
                  </a:lnTo>
                  <a:lnTo>
                    <a:pt x="43" y="7"/>
                  </a:lnTo>
                  <a:lnTo>
                    <a:pt x="40" y="0"/>
                  </a:lnTo>
                  <a:lnTo>
                    <a:pt x="36" y="0"/>
                  </a:lnTo>
                  <a:lnTo>
                    <a:pt x="30" y="2"/>
                  </a:lnTo>
                  <a:lnTo>
                    <a:pt x="23" y="5"/>
                  </a:lnTo>
                  <a:lnTo>
                    <a:pt x="15" y="5"/>
                  </a:lnTo>
                  <a:lnTo>
                    <a:pt x="8" y="7"/>
                  </a:lnTo>
                  <a:lnTo>
                    <a:pt x="0" y="9"/>
                  </a:lnTo>
                  <a:lnTo>
                    <a:pt x="2" y="11"/>
                  </a:lnTo>
                  <a:lnTo>
                    <a:pt x="0" y="20"/>
                  </a:lnTo>
                  <a:lnTo>
                    <a:pt x="13" y="15"/>
                  </a:lnTo>
                  <a:lnTo>
                    <a:pt x="19" y="11"/>
                  </a:lnTo>
                  <a:lnTo>
                    <a:pt x="28" y="13"/>
                  </a:lnTo>
                  <a:lnTo>
                    <a:pt x="36" y="13"/>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2" name="Freeform 959"/>
            <p:cNvSpPr>
              <a:spLocks/>
            </p:cNvSpPr>
            <p:nvPr/>
          </p:nvSpPr>
          <p:spPr bwMode="auto">
            <a:xfrm>
              <a:off x="3005138" y="5702300"/>
              <a:ext cx="34925" cy="20638"/>
            </a:xfrm>
            <a:custGeom>
              <a:avLst/>
              <a:gdLst>
                <a:gd name="T0" fmla="*/ 17 w 22"/>
                <a:gd name="T1" fmla="*/ 13 h 13"/>
                <a:gd name="T2" fmla="*/ 17 w 22"/>
                <a:gd name="T3" fmla="*/ 13 h 13"/>
                <a:gd name="T4" fmla="*/ 22 w 22"/>
                <a:gd name="T5" fmla="*/ 4 h 13"/>
                <a:gd name="T6" fmla="*/ 15 w 22"/>
                <a:gd name="T7" fmla="*/ 0 h 13"/>
                <a:gd name="T8" fmla="*/ 7 w 22"/>
                <a:gd name="T9" fmla="*/ 0 h 13"/>
                <a:gd name="T10" fmla="*/ 0 w 22"/>
                <a:gd name="T11" fmla="*/ 4 h 13"/>
                <a:gd name="T12" fmla="*/ 9 w 22"/>
                <a:gd name="T13" fmla="*/ 8 h 13"/>
                <a:gd name="T14" fmla="*/ 17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7" y="13"/>
                  </a:moveTo>
                  <a:lnTo>
                    <a:pt x="17" y="13"/>
                  </a:lnTo>
                  <a:lnTo>
                    <a:pt x="22" y="4"/>
                  </a:lnTo>
                  <a:lnTo>
                    <a:pt x="15" y="0"/>
                  </a:lnTo>
                  <a:lnTo>
                    <a:pt x="7" y="0"/>
                  </a:lnTo>
                  <a:lnTo>
                    <a:pt x="0" y="4"/>
                  </a:lnTo>
                  <a:lnTo>
                    <a:pt x="9" y="8"/>
                  </a:lnTo>
                  <a:lnTo>
                    <a:pt x="17"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960"/>
            <p:cNvSpPr>
              <a:spLocks/>
            </p:cNvSpPr>
            <p:nvPr/>
          </p:nvSpPr>
          <p:spPr bwMode="auto">
            <a:xfrm>
              <a:off x="3005138" y="5702300"/>
              <a:ext cx="34925" cy="20638"/>
            </a:xfrm>
            <a:custGeom>
              <a:avLst/>
              <a:gdLst>
                <a:gd name="T0" fmla="*/ 17 w 22"/>
                <a:gd name="T1" fmla="*/ 13 h 13"/>
                <a:gd name="T2" fmla="*/ 17 w 22"/>
                <a:gd name="T3" fmla="*/ 13 h 13"/>
                <a:gd name="T4" fmla="*/ 22 w 22"/>
                <a:gd name="T5" fmla="*/ 4 h 13"/>
                <a:gd name="T6" fmla="*/ 15 w 22"/>
                <a:gd name="T7" fmla="*/ 0 h 13"/>
                <a:gd name="T8" fmla="*/ 7 w 22"/>
                <a:gd name="T9" fmla="*/ 0 h 13"/>
                <a:gd name="T10" fmla="*/ 0 w 22"/>
                <a:gd name="T11" fmla="*/ 4 h 13"/>
                <a:gd name="T12" fmla="*/ 9 w 22"/>
                <a:gd name="T13" fmla="*/ 8 h 13"/>
                <a:gd name="T14" fmla="*/ 17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7" y="13"/>
                  </a:moveTo>
                  <a:lnTo>
                    <a:pt x="17" y="13"/>
                  </a:lnTo>
                  <a:lnTo>
                    <a:pt x="22" y="4"/>
                  </a:lnTo>
                  <a:lnTo>
                    <a:pt x="15" y="0"/>
                  </a:lnTo>
                  <a:lnTo>
                    <a:pt x="7" y="0"/>
                  </a:lnTo>
                  <a:lnTo>
                    <a:pt x="0" y="4"/>
                  </a:lnTo>
                  <a:lnTo>
                    <a:pt x="9" y="8"/>
                  </a:lnTo>
                  <a:lnTo>
                    <a:pt x="17" y="13"/>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4" name="Freeform 961"/>
            <p:cNvSpPr>
              <a:spLocks/>
            </p:cNvSpPr>
            <p:nvPr/>
          </p:nvSpPr>
          <p:spPr bwMode="auto">
            <a:xfrm>
              <a:off x="3049588" y="5672138"/>
              <a:ext cx="95250" cy="50800"/>
            </a:xfrm>
            <a:custGeom>
              <a:avLst/>
              <a:gdLst>
                <a:gd name="T0" fmla="*/ 34 w 60"/>
                <a:gd name="T1" fmla="*/ 32 h 32"/>
                <a:gd name="T2" fmla="*/ 38 w 60"/>
                <a:gd name="T3" fmla="*/ 30 h 32"/>
                <a:gd name="T4" fmla="*/ 45 w 60"/>
                <a:gd name="T5" fmla="*/ 23 h 32"/>
                <a:gd name="T6" fmla="*/ 51 w 60"/>
                <a:gd name="T7" fmla="*/ 21 h 32"/>
                <a:gd name="T8" fmla="*/ 55 w 60"/>
                <a:gd name="T9" fmla="*/ 19 h 32"/>
                <a:gd name="T10" fmla="*/ 60 w 60"/>
                <a:gd name="T11" fmla="*/ 10 h 32"/>
                <a:gd name="T12" fmla="*/ 53 w 60"/>
                <a:gd name="T13" fmla="*/ 4 h 32"/>
                <a:gd name="T14" fmla="*/ 47 w 60"/>
                <a:gd name="T15" fmla="*/ 4 h 32"/>
                <a:gd name="T16" fmla="*/ 38 w 60"/>
                <a:gd name="T17" fmla="*/ 0 h 32"/>
                <a:gd name="T18" fmla="*/ 36 w 60"/>
                <a:gd name="T19" fmla="*/ 0 h 32"/>
                <a:gd name="T20" fmla="*/ 30 w 60"/>
                <a:gd name="T21" fmla="*/ 0 h 32"/>
                <a:gd name="T22" fmla="*/ 23 w 60"/>
                <a:gd name="T23" fmla="*/ 4 h 32"/>
                <a:gd name="T24" fmla="*/ 17 w 60"/>
                <a:gd name="T25" fmla="*/ 6 h 32"/>
                <a:gd name="T26" fmla="*/ 9 w 60"/>
                <a:gd name="T27" fmla="*/ 0 h 32"/>
                <a:gd name="T28" fmla="*/ 2 w 60"/>
                <a:gd name="T29" fmla="*/ 2 h 32"/>
                <a:gd name="T30" fmla="*/ 0 w 60"/>
                <a:gd name="T31" fmla="*/ 6 h 32"/>
                <a:gd name="T32" fmla="*/ 0 w 60"/>
                <a:gd name="T33" fmla="*/ 13 h 32"/>
                <a:gd name="T34" fmla="*/ 9 w 60"/>
                <a:gd name="T35" fmla="*/ 19 h 32"/>
                <a:gd name="T36" fmla="*/ 23 w 60"/>
                <a:gd name="T37" fmla="*/ 21 h 32"/>
                <a:gd name="T38" fmla="*/ 23 w 60"/>
                <a:gd name="T39" fmla="*/ 21 h 32"/>
                <a:gd name="T40" fmla="*/ 26 w 60"/>
                <a:gd name="T41" fmla="*/ 27 h 32"/>
                <a:gd name="T42" fmla="*/ 34 w 60"/>
                <a:gd name="T4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32">
                  <a:moveTo>
                    <a:pt x="34" y="32"/>
                  </a:moveTo>
                  <a:lnTo>
                    <a:pt x="38" y="30"/>
                  </a:lnTo>
                  <a:lnTo>
                    <a:pt x="45" y="23"/>
                  </a:lnTo>
                  <a:lnTo>
                    <a:pt x="51" y="21"/>
                  </a:lnTo>
                  <a:lnTo>
                    <a:pt x="55" y="19"/>
                  </a:lnTo>
                  <a:lnTo>
                    <a:pt x="60" y="10"/>
                  </a:lnTo>
                  <a:lnTo>
                    <a:pt x="53" y="4"/>
                  </a:lnTo>
                  <a:lnTo>
                    <a:pt x="47" y="4"/>
                  </a:lnTo>
                  <a:lnTo>
                    <a:pt x="38" y="0"/>
                  </a:lnTo>
                  <a:lnTo>
                    <a:pt x="36" y="0"/>
                  </a:lnTo>
                  <a:lnTo>
                    <a:pt x="30" y="0"/>
                  </a:lnTo>
                  <a:lnTo>
                    <a:pt x="23" y="4"/>
                  </a:lnTo>
                  <a:lnTo>
                    <a:pt x="17" y="6"/>
                  </a:lnTo>
                  <a:lnTo>
                    <a:pt x="9" y="0"/>
                  </a:lnTo>
                  <a:lnTo>
                    <a:pt x="2" y="2"/>
                  </a:lnTo>
                  <a:lnTo>
                    <a:pt x="0" y="6"/>
                  </a:lnTo>
                  <a:lnTo>
                    <a:pt x="0" y="13"/>
                  </a:lnTo>
                  <a:lnTo>
                    <a:pt x="9" y="19"/>
                  </a:lnTo>
                  <a:lnTo>
                    <a:pt x="23" y="21"/>
                  </a:lnTo>
                  <a:lnTo>
                    <a:pt x="23" y="21"/>
                  </a:lnTo>
                  <a:lnTo>
                    <a:pt x="26" y="27"/>
                  </a:lnTo>
                  <a:lnTo>
                    <a:pt x="34"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962"/>
            <p:cNvSpPr>
              <a:spLocks/>
            </p:cNvSpPr>
            <p:nvPr/>
          </p:nvSpPr>
          <p:spPr bwMode="auto">
            <a:xfrm>
              <a:off x="3049588" y="5672138"/>
              <a:ext cx="95250" cy="50800"/>
            </a:xfrm>
            <a:custGeom>
              <a:avLst/>
              <a:gdLst>
                <a:gd name="T0" fmla="*/ 34 w 60"/>
                <a:gd name="T1" fmla="*/ 32 h 32"/>
                <a:gd name="T2" fmla="*/ 38 w 60"/>
                <a:gd name="T3" fmla="*/ 30 h 32"/>
                <a:gd name="T4" fmla="*/ 45 w 60"/>
                <a:gd name="T5" fmla="*/ 23 h 32"/>
                <a:gd name="T6" fmla="*/ 51 w 60"/>
                <a:gd name="T7" fmla="*/ 21 h 32"/>
                <a:gd name="T8" fmla="*/ 55 w 60"/>
                <a:gd name="T9" fmla="*/ 19 h 32"/>
                <a:gd name="T10" fmla="*/ 60 w 60"/>
                <a:gd name="T11" fmla="*/ 10 h 32"/>
                <a:gd name="T12" fmla="*/ 53 w 60"/>
                <a:gd name="T13" fmla="*/ 4 h 32"/>
                <a:gd name="T14" fmla="*/ 47 w 60"/>
                <a:gd name="T15" fmla="*/ 4 h 32"/>
                <a:gd name="T16" fmla="*/ 38 w 60"/>
                <a:gd name="T17" fmla="*/ 0 h 32"/>
                <a:gd name="T18" fmla="*/ 36 w 60"/>
                <a:gd name="T19" fmla="*/ 0 h 32"/>
                <a:gd name="T20" fmla="*/ 30 w 60"/>
                <a:gd name="T21" fmla="*/ 0 h 32"/>
                <a:gd name="T22" fmla="*/ 23 w 60"/>
                <a:gd name="T23" fmla="*/ 4 h 32"/>
                <a:gd name="T24" fmla="*/ 17 w 60"/>
                <a:gd name="T25" fmla="*/ 6 h 32"/>
                <a:gd name="T26" fmla="*/ 9 w 60"/>
                <a:gd name="T27" fmla="*/ 0 h 32"/>
                <a:gd name="T28" fmla="*/ 2 w 60"/>
                <a:gd name="T29" fmla="*/ 2 h 32"/>
                <a:gd name="T30" fmla="*/ 0 w 60"/>
                <a:gd name="T31" fmla="*/ 6 h 32"/>
                <a:gd name="T32" fmla="*/ 0 w 60"/>
                <a:gd name="T33" fmla="*/ 13 h 32"/>
                <a:gd name="T34" fmla="*/ 9 w 60"/>
                <a:gd name="T35" fmla="*/ 19 h 32"/>
                <a:gd name="T36" fmla="*/ 23 w 60"/>
                <a:gd name="T37" fmla="*/ 21 h 32"/>
                <a:gd name="T38" fmla="*/ 23 w 60"/>
                <a:gd name="T39" fmla="*/ 21 h 32"/>
                <a:gd name="T40" fmla="*/ 26 w 60"/>
                <a:gd name="T41" fmla="*/ 27 h 32"/>
                <a:gd name="T42" fmla="*/ 34 w 60"/>
                <a:gd name="T4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32">
                  <a:moveTo>
                    <a:pt x="34" y="32"/>
                  </a:moveTo>
                  <a:lnTo>
                    <a:pt x="38" y="30"/>
                  </a:lnTo>
                  <a:lnTo>
                    <a:pt x="45" y="23"/>
                  </a:lnTo>
                  <a:lnTo>
                    <a:pt x="51" y="21"/>
                  </a:lnTo>
                  <a:lnTo>
                    <a:pt x="55" y="19"/>
                  </a:lnTo>
                  <a:lnTo>
                    <a:pt x="60" y="10"/>
                  </a:lnTo>
                  <a:lnTo>
                    <a:pt x="53" y="4"/>
                  </a:lnTo>
                  <a:lnTo>
                    <a:pt x="47" y="4"/>
                  </a:lnTo>
                  <a:lnTo>
                    <a:pt x="38" y="0"/>
                  </a:lnTo>
                  <a:lnTo>
                    <a:pt x="36" y="0"/>
                  </a:lnTo>
                  <a:lnTo>
                    <a:pt x="30" y="0"/>
                  </a:lnTo>
                  <a:lnTo>
                    <a:pt x="23" y="4"/>
                  </a:lnTo>
                  <a:lnTo>
                    <a:pt x="17" y="6"/>
                  </a:lnTo>
                  <a:lnTo>
                    <a:pt x="9" y="0"/>
                  </a:lnTo>
                  <a:lnTo>
                    <a:pt x="2" y="2"/>
                  </a:lnTo>
                  <a:lnTo>
                    <a:pt x="0" y="6"/>
                  </a:lnTo>
                  <a:lnTo>
                    <a:pt x="0" y="13"/>
                  </a:lnTo>
                  <a:lnTo>
                    <a:pt x="9" y="19"/>
                  </a:lnTo>
                  <a:lnTo>
                    <a:pt x="23" y="21"/>
                  </a:lnTo>
                  <a:lnTo>
                    <a:pt x="23" y="21"/>
                  </a:lnTo>
                  <a:lnTo>
                    <a:pt x="26" y="27"/>
                  </a:lnTo>
                  <a:lnTo>
                    <a:pt x="34" y="32"/>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7" name="Freeform 964"/>
            <p:cNvSpPr>
              <a:spLocks/>
            </p:cNvSpPr>
            <p:nvPr/>
          </p:nvSpPr>
          <p:spPr bwMode="auto">
            <a:xfrm>
              <a:off x="3187700" y="5738813"/>
              <a:ext cx="163513" cy="166688"/>
            </a:xfrm>
            <a:custGeom>
              <a:avLst/>
              <a:gdLst>
                <a:gd name="T0" fmla="*/ 45 w 103"/>
                <a:gd name="T1" fmla="*/ 105 h 105"/>
                <a:gd name="T2" fmla="*/ 54 w 103"/>
                <a:gd name="T3" fmla="*/ 105 h 105"/>
                <a:gd name="T4" fmla="*/ 56 w 103"/>
                <a:gd name="T5" fmla="*/ 96 h 105"/>
                <a:gd name="T6" fmla="*/ 56 w 103"/>
                <a:gd name="T7" fmla="*/ 90 h 105"/>
                <a:gd name="T8" fmla="*/ 62 w 103"/>
                <a:gd name="T9" fmla="*/ 83 h 105"/>
                <a:gd name="T10" fmla="*/ 66 w 103"/>
                <a:gd name="T11" fmla="*/ 77 h 105"/>
                <a:gd name="T12" fmla="*/ 71 w 103"/>
                <a:gd name="T13" fmla="*/ 71 h 105"/>
                <a:gd name="T14" fmla="*/ 77 w 103"/>
                <a:gd name="T15" fmla="*/ 68 h 105"/>
                <a:gd name="T16" fmla="*/ 83 w 103"/>
                <a:gd name="T17" fmla="*/ 64 h 105"/>
                <a:gd name="T18" fmla="*/ 92 w 103"/>
                <a:gd name="T19" fmla="*/ 60 h 105"/>
                <a:gd name="T20" fmla="*/ 96 w 103"/>
                <a:gd name="T21" fmla="*/ 51 h 105"/>
                <a:gd name="T22" fmla="*/ 96 w 103"/>
                <a:gd name="T23" fmla="*/ 49 h 105"/>
                <a:gd name="T24" fmla="*/ 103 w 103"/>
                <a:gd name="T25" fmla="*/ 43 h 105"/>
                <a:gd name="T26" fmla="*/ 100 w 103"/>
                <a:gd name="T27" fmla="*/ 37 h 105"/>
                <a:gd name="T28" fmla="*/ 92 w 103"/>
                <a:gd name="T29" fmla="*/ 34 h 105"/>
                <a:gd name="T30" fmla="*/ 86 w 103"/>
                <a:gd name="T31" fmla="*/ 28 h 105"/>
                <a:gd name="T32" fmla="*/ 79 w 103"/>
                <a:gd name="T33" fmla="*/ 26 h 105"/>
                <a:gd name="T34" fmla="*/ 73 w 103"/>
                <a:gd name="T35" fmla="*/ 20 h 105"/>
                <a:gd name="T36" fmla="*/ 68 w 103"/>
                <a:gd name="T37" fmla="*/ 15 h 105"/>
                <a:gd name="T38" fmla="*/ 60 w 103"/>
                <a:gd name="T39" fmla="*/ 9 h 105"/>
                <a:gd name="T40" fmla="*/ 39 w 103"/>
                <a:gd name="T41" fmla="*/ 7 h 105"/>
                <a:gd name="T42" fmla="*/ 30 w 103"/>
                <a:gd name="T43" fmla="*/ 5 h 105"/>
                <a:gd name="T44" fmla="*/ 22 w 103"/>
                <a:gd name="T45" fmla="*/ 7 h 105"/>
                <a:gd name="T46" fmla="*/ 15 w 103"/>
                <a:gd name="T47" fmla="*/ 5 h 105"/>
                <a:gd name="T48" fmla="*/ 7 w 103"/>
                <a:gd name="T49" fmla="*/ 0 h 105"/>
                <a:gd name="T50" fmla="*/ 2 w 103"/>
                <a:gd name="T51" fmla="*/ 0 h 105"/>
                <a:gd name="T52" fmla="*/ 0 w 103"/>
                <a:gd name="T53" fmla="*/ 9 h 105"/>
                <a:gd name="T54" fmla="*/ 2 w 103"/>
                <a:gd name="T55" fmla="*/ 15 h 105"/>
                <a:gd name="T56" fmla="*/ 11 w 103"/>
                <a:gd name="T57" fmla="*/ 22 h 105"/>
                <a:gd name="T58" fmla="*/ 9 w 103"/>
                <a:gd name="T59" fmla="*/ 28 h 105"/>
                <a:gd name="T60" fmla="*/ 7 w 103"/>
                <a:gd name="T61" fmla="*/ 37 h 105"/>
                <a:gd name="T62" fmla="*/ 7 w 103"/>
                <a:gd name="T63" fmla="*/ 37 h 105"/>
                <a:gd name="T64" fmla="*/ 0 w 103"/>
                <a:gd name="T65" fmla="*/ 45 h 105"/>
                <a:gd name="T66" fmla="*/ 0 w 103"/>
                <a:gd name="T67" fmla="*/ 51 h 105"/>
                <a:gd name="T68" fmla="*/ 7 w 103"/>
                <a:gd name="T69" fmla="*/ 58 h 105"/>
                <a:gd name="T70" fmla="*/ 11 w 103"/>
                <a:gd name="T71" fmla="*/ 62 h 105"/>
                <a:gd name="T72" fmla="*/ 17 w 103"/>
                <a:gd name="T73" fmla="*/ 68 h 105"/>
                <a:gd name="T74" fmla="*/ 17 w 103"/>
                <a:gd name="T75" fmla="*/ 71 h 105"/>
                <a:gd name="T76" fmla="*/ 22 w 103"/>
                <a:gd name="T77" fmla="*/ 77 h 105"/>
                <a:gd name="T78" fmla="*/ 24 w 103"/>
                <a:gd name="T79" fmla="*/ 83 h 105"/>
                <a:gd name="T80" fmla="*/ 26 w 103"/>
                <a:gd name="T81" fmla="*/ 98 h 105"/>
                <a:gd name="T82" fmla="*/ 32 w 103"/>
                <a:gd name="T83" fmla="*/ 103 h 105"/>
                <a:gd name="T84" fmla="*/ 39 w 103"/>
                <a:gd name="T85" fmla="*/ 103 h 105"/>
                <a:gd name="T86" fmla="*/ 45 w 103"/>
                <a:gd name="T87" fmla="*/ 105 h 105"/>
                <a:gd name="T88" fmla="*/ 45 w 103"/>
                <a:gd name="T8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105">
                  <a:moveTo>
                    <a:pt x="45" y="105"/>
                  </a:moveTo>
                  <a:lnTo>
                    <a:pt x="54" y="105"/>
                  </a:lnTo>
                  <a:lnTo>
                    <a:pt x="56" y="96"/>
                  </a:lnTo>
                  <a:lnTo>
                    <a:pt x="56" y="90"/>
                  </a:lnTo>
                  <a:lnTo>
                    <a:pt x="62" y="83"/>
                  </a:lnTo>
                  <a:lnTo>
                    <a:pt x="66" y="77"/>
                  </a:lnTo>
                  <a:lnTo>
                    <a:pt x="71" y="71"/>
                  </a:lnTo>
                  <a:lnTo>
                    <a:pt x="77" y="68"/>
                  </a:lnTo>
                  <a:lnTo>
                    <a:pt x="83" y="64"/>
                  </a:lnTo>
                  <a:lnTo>
                    <a:pt x="92" y="60"/>
                  </a:lnTo>
                  <a:lnTo>
                    <a:pt x="96" y="51"/>
                  </a:lnTo>
                  <a:lnTo>
                    <a:pt x="96" y="49"/>
                  </a:lnTo>
                  <a:lnTo>
                    <a:pt x="103" y="43"/>
                  </a:lnTo>
                  <a:lnTo>
                    <a:pt x="100" y="37"/>
                  </a:lnTo>
                  <a:lnTo>
                    <a:pt x="92" y="34"/>
                  </a:lnTo>
                  <a:lnTo>
                    <a:pt x="86" y="28"/>
                  </a:lnTo>
                  <a:lnTo>
                    <a:pt x="79" y="26"/>
                  </a:lnTo>
                  <a:lnTo>
                    <a:pt x="73" y="20"/>
                  </a:lnTo>
                  <a:lnTo>
                    <a:pt x="68" y="15"/>
                  </a:lnTo>
                  <a:lnTo>
                    <a:pt x="60" y="9"/>
                  </a:lnTo>
                  <a:lnTo>
                    <a:pt x="39" y="7"/>
                  </a:lnTo>
                  <a:lnTo>
                    <a:pt x="30" y="5"/>
                  </a:lnTo>
                  <a:lnTo>
                    <a:pt x="22" y="7"/>
                  </a:lnTo>
                  <a:lnTo>
                    <a:pt x="15" y="5"/>
                  </a:lnTo>
                  <a:lnTo>
                    <a:pt x="7" y="0"/>
                  </a:lnTo>
                  <a:lnTo>
                    <a:pt x="2" y="0"/>
                  </a:lnTo>
                  <a:lnTo>
                    <a:pt x="0" y="9"/>
                  </a:lnTo>
                  <a:lnTo>
                    <a:pt x="2" y="15"/>
                  </a:lnTo>
                  <a:lnTo>
                    <a:pt x="11" y="22"/>
                  </a:lnTo>
                  <a:lnTo>
                    <a:pt x="9" y="28"/>
                  </a:lnTo>
                  <a:lnTo>
                    <a:pt x="7" y="37"/>
                  </a:lnTo>
                  <a:lnTo>
                    <a:pt x="7" y="37"/>
                  </a:lnTo>
                  <a:lnTo>
                    <a:pt x="0" y="45"/>
                  </a:lnTo>
                  <a:lnTo>
                    <a:pt x="0" y="51"/>
                  </a:lnTo>
                  <a:lnTo>
                    <a:pt x="7" y="58"/>
                  </a:lnTo>
                  <a:lnTo>
                    <a:pt x="11" y="62"/>
                  </a:lnTo>
                  <a:lnTo>
                    <a:pt x="17" y="68"/>
                  </a:lnTo>
                  <a:lnTo>
                    <a:pt x="17" y="71"/>
                  </a:lnTo>
                  <a:lnTo>
                    <a:pt x="22" y="77"/>
                  </a:lnTo>
                  <a:lnTo>
                    <a:pt x="24" y="83"/>
                  </a:lnTo>
                  <a:lnTo>
                    <a:pt x="26" y="98"/>
                  </a:lnTo>
                  <a:lnTo>
                    <a:pt x="32" y="103"/>
                  </a:lnTo>
                  <a:lnTo>
                    <a:pt x="39" y="103"/>
                  </a:lnTo>
                  <a:lnTo>
                    <a:pt x="45" y="105"/>
                  </a:lnTo>
                  <a:lnTo>
                    <a:pt x="45" y="105"/>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68" name="Freeform 975"/>
          <p:cNvSpPr>
            <a:spLocks/>
          </p:cNvSpPr>
          <p:nvPr/>
        </p:nvSpPr>
        <p:spPr bwMode="auto">
          <a:xfrm>
            <a:off x="606425" y="2524125"/>
            <a:ext cx="1149350" cy="1930400"/>
          </a:xfrm>
          <a:custGeom>
            <a:avLst/>
            <a:gdLst>
              <a:gd name="T0" fmla="*/ 59 w 724"/>
              <a:gd name="T1" fmla="*/ 36 h 1216"/>
              <a:gd name="T2" fmla="*/ 63 w 724"/>
              <a:gd name="T3" fmla="*/ 0 h 1216"/>
              <a:gd name="T4" fmla="*/ 338 w 724"/>
              <a:gd name="T5" fmla="*/ 343 h 1216"/>
              <a:gd name="T6" fmla="*/ 692 w 724"/>
              <a:gd name="T7" fmla="*/ 971 h 1216"/>
              <a:gd name="T8" fmla="*/ 704 w 724"/>
              <a:gd name="T9" fmla="*/ 1009 h 1216"/>
              <a:gd name="T10" fmla="*/ 724 w 724"/>
              <a:gd name="T11" fmla="*/ 1048 h 1216"/>
              <a:gd name="T12" fmla="*/ 683 w 724"/>
              <a:gd name="T13" fmla="*/ 1080 h 1216"/>
              <a:gd name="T14" fmla="*/ 672 w 724"/>
              <a:gd name="T15" fmla="*/ 1122 h 1216"/>
              <a:gd name="T16" fmla="*/ 651 w 724"/>
              <a:gd name="T17" fmla="*/ 1158 h 1216"/>
              <a:gd name="T18" fmla="*/ 657 w 724"/>
              <a:gd name="T19" fmla="*/ 1182 h 1216"/>
              <a:gd name="T20" fmla="*/ 657 w 724"/>
              <a:gd name="T21" fmla="*/ 1210 h 1216"/>
              <a:gd name="T22" fmla="*/ 640 w 724"/>
              <a:gd name="T23" fmla="*/ 1214 h 1216"/>
              <a:gd name="T24" fmla="*/ 410 w 724"/>
              <a:gd name="T25" fmla="*/ 1182 h 1216"/>
              <a:gd name="T26" fmla="*/ 406 w 724"/>
              <a:gd name="T27" fmla="*/ 1169 h 1216"/>
              <a:gd name="T28" fmla="*/ 408 w 724"/>
              <a:gd name="T29" fmla="*/ 1139 h 1216"/>
              <a:gd name="T30" fmla="*/ 372 w 724"/>
              <a:gd name="T31" fmla="*/ 1063 h 1216"/>
              <a:gd name="T32" fmla="*/ 344 w 724"/>
              <a:gd name="T33" fmla="*/ 1033 h 1216"/>
              <a:gd name="T34" fmla="*/ 325 w 724"/>
              <a:gd name="T35" fmla="*/ 1026 h 1216"/>
              <a:gd name="T36" fmla="*/ 319 w 724"/>
              <a:gd name="T37" fmla="*/ 997 h 1216"/>
              <a:gd name="T38" fmla="*/ 259 w 724"/>
              <a:gd name="T39" fmla="*/ 954 h 1216"/>
              <a:gd name="T40" fmla="*/ 219 w 724"/>
              <a:gd name="T41" fmla="*/ 931 h 1216"/>
              <a:gd name="T42" fmla="*/ 185 w 724"/>
              <a:gd name="T43" fmla="*/ 914 h 1216"/>
              <a:gd name="T44" fmla="*/ 146 w 724"/>
              <a:gd name="T45" fmla="*/ 894 h 1216"/>
              <a:gd name="T46" fmla="*/ 155 w 724"/>
              <a:gd name="T47" fmla="*/ 865 h 1216"/>
              <a:gd name="T48" fmla="*/ 157 w 724"/>
              <a:gd name="T49" fmla="*/ 824 h 1216"/>
              <a:gd name="T50" fmla="*/ 151 w 724"/>
              <a:gd name="T51" fmla="*/ 803 h 1216"/>
              <a:gd name="T52" fmla="*/ 123 w 724"/>
              <a:gd name="T53" fmla="*/ 760 h 1216"/>
              <a:gd name="T54" fmla="*/ 110 w 724"/>
              <a:gd name="T55" fmla="*/ 715 h 1216"/>
              <a:gd name="T56" fmla="*/ 85 w 724"/>
              <a:gd name="T57" fmla="*/ 673 h 1216"/>
              <a:gd name="T58" fmla="*/ 104 w 724"/>
              <a:gd name="T59" fmla="*/ 630 h 1216"/>
              <a:gd name="T60" fmla="*/ 91 w 724"/>
              <a:gd name="T61" fmla="*/ 600 h 1216"/>
              <a:gd name="T62" fmla="*/ 68 w 724"/>
              <a:gd name="T63" fmla="*/ 558 h 1216"/>
              <a:gd name="T64" fmla="*/ 68 w 724"/>
              <a:gd name="T65" fmla="*/ 524 h 1216"/>
              <a:gd name="T66" fmla="*/ 85 w 724"/>
              <a:gd name="T67" fmla="*/ 496 h 1216"/>
              <a:gd name="T68" fmla="*/ 83 w 724"/>
              <a:gd name="T69" fmla="*/ 522 h 1216"/>
              <a:gd name="T70" fmla="*/ 108 w 724"/>
              <a:gd name="T71" fmla="*/ 543 h 1216"/>
              <a:gd name="T72" fmla="*/ 95 w 724"/>
              <a:gd name="T73" fmla="*/ 505 h 1216"/>
              <a:gd name="T74" fmla="*/ 93 w 724"/>
              <a:gd name="T75" fmla="*/ 477 h 1216"/>
              <a:gd name="T76" fmla="*/ 125 w 724"/>
              <a:gd name="T77" fmla="*/ 479 h 1216"/>
              <a:gd name="T78" fmla="*/ 172 w 724"/>
              <a:gd name="T79" fmla="*/ 496 h 1216"/>
              <a:gd name="T80" fmla="*/ 146 w 724"/>
              <a:gd name="T81" fmla="*/ 485 h 1216"/>
              <a:gd name="T82" fmla="*/ 134 w 724"/>
              <a:gd name="T83" fmla="*/ 481 h 1216"/>
              <a:gd name="T84" fmla="*/ 108 w 724"/>
              <a:gd name="T85" fmla="*/ 473 h 1216"/>
              <a:gd name="T86" fmla="*/ 85 w 724"/>
              <a:gd name="T87" fmla="*/ 468 h 1216"/>
              <a:gd name="T88" fmla="*/ 78 w 724"/>
              <a:gd name="T89" fmla="*/ 494 h 1216"/>
              <a:gd name="T90" fmla="*/ 57 w 724"/>
              <a:gd name="T91" fmla="*/ 466 h 1216"/>
              <a:gd name="T92" fmla="*/ 49 w 724"/>
              <a:gd name="T93" fmla="*/ 449 h 1216"/>
              <a:gd name="T94" fmla="*/ 46 w 724"/>
              <a:gd name="T95" fmla="*/ 426 h 1216"/>
              <a:gd name="T96" fmla="*/ 44 w 724"/>
              <a:gd name="T97" fmla="*/ 413 h 1216"/>
              <a:gd name="T98" fmla="*/ 23 w 724"/>
              <a:gd name="T99" fmla="*/ 370 h 1216"/>
              <a:gd name="T100" fmla="*/ 14 w 724"/>
              <a:gd name="T101" fmla="*/ 324 h 1216"/>
              <a:gd name="T102" fmla="*/ 25 w 724"/>
              <a:gd name="T103" fmla="*/ 264 h 1216"/>
              <a:gd name="T104" fmla="*/ 19 w 724"/>
              <a:gd name="T105" fmla="*/ 221 h 1216"/>
              <a:gd name="T106" fmla="*/ 2 w 724"/>
              <a:gd name="T107" fmla="*/ 179 h 1216"/>
              <a:gd name="T108" fmla="*/ 19 w 724"/>
              <a:gd name="T109" fmla="*/ 136 h 1216"/>
              <a:gd name="T110" fmla="*/ 34 w 724"/>
              <a:gd name="T111" fmla="*/ 119 h 1216"/>
              <a:gd name="T112" fmla="*/ 57 w 724"/>
              <a:gd name="T113" fmla="*/ 6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4" h="1216">
                <a:moveTo>
                  <a:pt x="57" y="66"/>
                </a:moveTo>
                <a:lnTo>
                  <a:pt x="59" y="53"/>
                </a:lnTo>
                <a:lnTo>
                  <a:pt x="61" y="51"/>
                </a:lnTo>
                <a:lnTo>
                  <a:pt x="59" y="36"/>
                </a:lnTo>
                <a:lnTo>
                  <a:pt x="61" y="30"/>
                </a:lnTo>
                <a:lnTo>
                  <a:pt x="55" y="21"/>
                </a:lnTo>
                <a:lnTo>
                  <a:pt x="59" y="15"/>
                </a:lnTo>
                <a:lnTo>
                  <a:pt x="63" y="0"/>
                </a:lnTo>
                <a:lnTo>
                  <a:pt x="68" y="0"/>
                </a:lnTo>
                <a:lnTo>
                  <a:pt x="249" y="49"/>
                </a:lnTo>
                <a:lnTo>
                  <a:pt x="400" y="89"/>
                </a:lnTo>
                <a:lnTo>
                  <a:pt x="338" y="343"/>
                </a:lnTo>
                <a:lnTo>
                  <a:pt x="321" y="417"/>
                </a:lnTo>
                <a:lnTo>
                  <a:pt x="583" y="801"/>
                </a:lnTo>
                <a:lnTo>
                  <a:pt x="694" y="965"/>
                </a:lnTo>
                <a:lnTo>
                  <a:pt x="692" y="971"/>
                </a:lnTo>
                <a:lnTo>
                  <a:pt x="692" y="977"/>
                </a:lnTo>
                <a:lnTo>
                  <a:pt x="700" y="994"/>
                </a:lnTo>
                <a:lnTo>
                  <a:pt x="702" y="1003"/>
                </a:lnTo>
                <a:lnTo>
                  <a:pt x="704" y="1009"/>
                </a:lnTo>
                <a:lnTo>
                  <a:pt x="706" y="1018"/>
                </a:lnTo>
                <a:lnTo>
                  <a:pt x="706" y="1026"/>
                </a:lnTo>
                <a:lnTo>
                  <a:pt x="719" y="1041"/>
                </a:lnTo>
                <a:lnTo>
                  <a:pt x="724" y="1048"/>
                </a:lnTo>
                <a:lnTo>
                  <a:pt x="719" y="1054"/>
                </a:lnTo>
                <a:lnTo>
                  <a:pt x="694" y="1067"/>
                </a:lnTo>
                <a:lnTo>
                  <a:pt x="689" y="1075"/>
                </a:lnTo>
                <a:lnTo>
                  <a:pt x="683" y="1080"/>
                </a:lnTo>
                <a:lnTo>
                  <a:pt x="681" y="1092"/>
                </a:lnTo>
                <a:lnTo>
                  <a:pt x="679" y="1105"/>
                </a:lnTo>
                <a:lnTo>
                  <a:pt x="675" y="1114"/>
                </a:lnTo>
                <a:lnTo>
                  <a:pt x="672" y="1122"/>
                </a:lnTo>
                <a:lnTo>
                  <a:pt x="660" y="1137"/>
                </a:lnTo>
                <a:lnTo>
                  <a:pt x="653" y="1144"/>
                </a:lnTo>
                <a:lnTo>
                  <a:pt x="649" y="1150"/>
                </a:lnTo>
                <a:lnTo>
                  <a:pt x="651" y="1158"/>
                </a:lnTo>
                <a:lnTo>
                  <a:pt x="651" y="1165"/>
                </a:lnTo>
                <a:lnTo>
                  <a:pt x="647" y="1173"/>
                </a:lnTo>
                <a:lnTo>
                  <a:pt x="649" y="1180"/>
                </a:lnTo>
                <a:lnTo>
                  <a:pt x="657" y="1182"/>
                </a:lnTo>
                <a:lnTo>
                  <a:pt x="664" y="1186"/>
                </a:lnTo>
                <a:lnTo>
                  <a:pt x="664" y="1193"/>
                </a:lnTo>
                <a:lnTo>
                  <a:pt x="664" y="1205"/>
                </a:lnTo>
                <a:lnTo>
                  <a:pt x="657" y="1210"/>
                </a:lnTo>
                <a:lnTo>
                  <a:pt x="655" y="1216"/>
                </a:lnTo>
                <a:lnTo>
                  <a:pt x="647" y="1216"/>
                </a:lnTo>
                <a:lnTo>
                  <a:pt x="645" y="1214"/>
                </a:lnTo>
                <a:lnTo>
                  <a:pt x="640" y="1214"/>
                </a:lnTo>
                <a:lnTo>
                  <a:pt x="638" y="1214"/>
                </a:lnTo>
                <a:lnTo>
                  <a:pt x="415" y="1193"/>
                </a:lnTo>
                <a:lnTo>
                  <a:pt x="413" y="1190"/>
                </a:lnTo>
                <a:lnTo>
                  <a:pt x="410" y="1182"/>
                </a:lnTo>
                <a:lnTo>
                  <a:pt x="406" y="1173"/>
                </a:lnTo>
                <a:lnTo>
                  <a:pt x="410" y="1182"/>
                </a:lnTo>
                <a:lnTo>
                  <a:pt x="413" y="1173"/>
                </a:lnTo>
                <a:lnTo>
                  <a:pt x="406" y="1169"/>
                </a:lnTo>
                <a:lnTo>
                  <a:pt x="404" y="1176"/>
                </a:lnTo>
                <a:lnTo>
                  <a:pt x="404" y="1167"/>
                </a:lnTo>
                <a:lnTo>
                  <a:pt x="406" y="1152"/>
                </a:lnTo>
                <a:lnTo>
                  <a:pt x="408" y="1139"/>
                </a:lnTo>
                <a:lnTo>
                  <a:pt x="406" y="1124"/>
                </a:lnTo>
                <a:lnTo>
                  <a:pt x="402" y="1107"/>
                </a:lnTo>
                <a:lnTo>
                  <a:pt x="396" y="1092"/>
                </a:lnTo>
                <a:lnTo>
                  <a:pt x="372" y="1063"/>
                </a:lnTo>
                <a:lnTo>
                  <a:pt x="364" y="1056"/>
                </a:lnTo>
                <a:lnTo>
                  <a:pt x="359" y="1050"/>
                </a:lnTo>
                <a:lnTo>
                  <a:pt x="351" y="1037"/>
                </a:lnTo>
                <a:lnTo>
                  <a:pt x="344" y="1033"/>
                </a:lnTo>
                <a:lnTo>
                  <a:pt x="336" y="1033"/>
                </a:lnTo>
                <a:lnTo>
                  <a:pt x="334" y="1037"/>
                </a:lnTo>
                <a:lnTo>
                  <a:pt x="325" y="1033"/>
                </a:lnTo>
                <a:lnTo>
                  <a:pt x="325" y="1026"/>
                </a:lnTo>
                <a:lnTo>
                  <a:pt x="327" y="1018"/>
                </a:lnTo>
                <a:lnTo>
                  <a:pt x="327" y="1012"/>
                </a:lnTo>
                <a:lnTo>
                  <a:pt x="321" y="997"/>
                </a:lnTo>
                <a:lnTo>
                  <a:pt x="319" y="997"/>
                </a:lnTo>
                <a:lnTo>
                  <a:pt x="291" y="990"/>
                </a:lnTo>
                <a:lnTo>
                  <a:pt x="276" y="982"/>
                </a:lnTo>
                <a:lnTo>
                  <a:pt x="261" y="969"/>
                </a:lnTo>
                <a:lnTo>
                  <a:pt x="259" y="954"/>
                </a:lnTo>
                <a:lnTo>
                  <a:pt x="251" y="948"/>
                </a:lnTo>
                <a:lnTo>
                  <a:pt x="247" y="941"/>
                </a:lnTo>
                <a:lnTo>
                  <a:pt x="234" y="933"/>
                </a:lnTo>
                <a:lnTo>
                  <a:pt x="219" y="931"/>
                </a:lnTo>
                <a:lnTo>
                  <a:pt x="212" y="928"/>
                </a:lnTo>
                <a:lnTo>
                  <a:pt x="200" y="918"/>
                </a:lnTo>
                <a:lnTo>
                  <a:pt x="191" y="916"/>
                </a:lnTo>
                <a:lnTo>
                  <a:pt x="185" y="914"/>
                </a:lnTo>
                <a:lnTo>
                  <a:pt x="163" y="911"/>
                </a:lnTo>
                <a:lnTo>
                  <a:pt x="157" y="903"/>
                </a:lnTo>
                <a:lnTo>
                  <a:pt x="153" y="897"/>
                </a:lnTo>
                <a:lnTo>
                  <a:pt x="146" y="894"/>
                </a:lnTo>
                <a:lnTo>
                  <a:pt x="149" y="886"/>
                </a:lnTo>
                <a:lnTo>
                  <a:pt x="153" y="879"/>
                </a:lnTo>
                <a:lnTo>
                  <a:pt x="151" y="871"/>
                </a:lnTo>
                <a:lnTo>
                  <a:pt x="155" y="865"/>
                </a:lnTo>
                <a:lnTo>
                  <a:pt x="155" y="850"/>
                </a:lnTo>
                <a:lnTo>
                  <a:pt x="161" y="839"/>
                </a:lnTo>
                <a:lnTo>
                  <a:pt x="161" y="833"/>
                </a:lnTo>
                <a:lnTo>
                  <a:pt x="157" y="824"/>
                </a:lnTo>
                <a:lnTo>
                  <a:pt x="149" y="822"/>
                </a:lnTo>
                <a:lnTo>
                  <a:pt x="144" y="816"/>
                </a:lnTo>
                <a:lnTo>
                  <a:pt x="144" y="807"/>
                </a:lnTo>
                <a:lnTo>
                  <a:pt x="151" y="803"/>
                </a:lnTo>
                <a:lnTo>
                  <a:pt x="149" y="794"/>
                </a:lnTo>
                <a:lnTo>
                  <a:pt x="136" y="781"/>
                </a:lnTo>
                <a:lnTo>
                  <a:pt x="132" y="767"/>
                </a:lnTo>
                <a:lnTo>
                  <a:pt x="123" y="760"/>
                </a:lnTo>
                <a:lnTo>
                  <a:pt x="121" y="752"/>
                </a:lnTo>
                <a:lnTo>
                  <a:pt x="119" y="745"/>
                </a:lnTo>
                <a:lnTo>
                  <a:pt x="112" y="730"/>
                </a:lnTo>
                <a:lnTo>
                  <a:pt x="110" y="715"/>
                </a:lnTo>
                <a:lnTo>
                  <a:pt x="104" y="709"/>
                </a:lnTo>
                <a:lnTo>
                  <a:pt x="100" y="696"/>
                </a:lnTo>
                <a:lnTo>
                  <a:pt x="89" y="681"/>
                </a:lnTo>
                <a:lnTo>
                  <a:pt x="85" y="673"/>
                </a:lnTo>
                <a:lnTo>
                  <a:pt x="87" y="658"/>
                </a:lnTo>
                <a:lnTo>
                  <a:pt x="87" y="643"/>
                </a:lnTo>
                <a:lnTo>
                  <a:pt x="102" y="637"/>
                </a:lnTo>
                <a:lnTo>
                  <a:pt x="104" y="630"/>
                </a:lnTo>
                <a:lnTo>
                  <a:pt x="108" y="630"/>
                </a:lnTo>
                <a:lnTo>
                  <a:pt x="108" y="615"/>
                </a:lnTo>
                <a:lnTo>
                  <a:pt x="104" y="600"/>
                </a:lnTo>
                <a:lnTo>
                  <a:pt x="91" y="600"/>
                </a:lnTo>
                <a:lnTo>
                  <a:pt x="83" y="594"/>
                </a:lnTo>
                <a:lnTo>
                  <a:pt x="70" y="573"/>
                </a:lnTo>
                <a:lnTo>
                  <a:pt x="68" y="564"/>
                </a:lnTo>
                <a:lnTo>
                  <a:pt x="68" y="558"/>
                </a:lnTo>
                <a:lnTo>
                  <a:pt x="70" y="554"/>
                </a:lnTo>
                <a:lnTo>
                  <a:pt x="72" y="547"/>
                </a:lnTo>
                <a:lnTo>
                  <a:pt x="72" y="532"/>
                </a:lnTo>
                <a:lnTo>
                  <a:pt x="68" y="524"/>
                </a:lnTo>
                <a:lnTo>
                  <a:pt x="74" y="511"/>
                </a:lnTo>
                <a:lnTo>
                  <a:pt x="74" y="502"/>
                </a:lnTo>
                <a:lnTo>
                  <a:pt x="78" y="496"/>
                </a:lnTo>
                <a:lnTo>
                  <a:pt x="85" y="496"/>
                </a:lnTo>
                <a:lnTo>
                  <a:pt x="87" y="500"/>
                </a:lnTo>
                <a:lnTo>
                  <a:pt x="87" y="507"/>
                </a:lnTo>
                <a:lnTo>
                  <a:pt x="83" y="515"/>
                </a:lnTo>
                <a:lnTo>
                  <a:pt x="83" y="522"/>
                </a:lnTo>
                <a:lnTo>
                  <a:pt x="89" y="526"/>
                </a:lnTo>
                <a:lnTo>
                  <a:pt x="93" y="534"/>
                </a:lnTo>
                <a:lnTo>
                  <a:pt x="100" y="543"/>
                </a:lnTo>
                <a:lnTo>
                  <a:pt x="108" y="543"/>
                </a:lnTo>
                <a:lnTo>
                  <a:pt x="102" y="537"/>
                </a:lnTo>
                <a:lnTo>
                  <a:pt x="102" y="522"/>
                </a:lnTo>
                <a:lnTo>
                  <a:pt x="100" y="509"/>
                </a:lnTo>
                <a:lnTo>
                  <a:pt x="95" y="505"/>
                </a:lnTo>
                <a:lnTo>
                  <a:pt x="93" y="498"/>
                </a:lnTo>
                <a:lnTo>
                  <a:pt x="95" y="492"/>
                </a:lnTo>
                <a:lnTo>
                  <a:pt x="91" y="483"/>
                </a:lnTo>
                <a:lnTo>
                  <a:pt x="93" y="477"/>
                </a:lnTo>
                <a:lnTo>
                  <a:pt x="102" y="477"/>
                </a:lnTo>
                <a:lnTo>
                  <a:pt x="108" y="473"/>
                </a:lnTo>
                <a:lnTo>
                  <a:pt x="115" y="479"/>
                </a:lnTo>
                <a:lnTo>
                  <a:pt x="125" y="479"/>
                </a:lnTo>
                <a:lnTo>
                  <a:pt x="146" y="490"/>
                </a:lnTo>
                <a:lnTo>
                  <a:pt x="161" y="483"/>
                </a:lnTo>
                <a:lnTo>
                  <a:pt x="172" y="498"/>
                </a:lnTo>
                <a:lnTo>
                  <a:pt x="172" y="496"/>
                </a:lnTo>
                <a:lnTo>
                  <a:pt x="168" y="490"/>
                </a:lnTo>
                <a:lnTo>
                  <a:pt x="161" y="483"/>
                </a:lnTo>
                <a:lnTo>
                  <a:pt x="153" y="485"/>
                </a:lnTo>
                <a:lnTo>
                  <a:pt x="146" y="485"/>
                </a:lnTo>
                <a:lnTo>
                  <a:pt x="153" y="481"/>
                </a:lnTo>
                <a:lnTo>
                  <a:pt x="155" y="477"/>
                </a:lnTo>
                <a:lnTo>
                  <a:pt x="149" y="481"/>
                </a:lnTo>
                <a:lnTo>
                  <a:pt x="134" y="481"/>
                </a:lnTo>
                <a:lnTo>
                  <a:pt x="127" y="475"/>
                </a:lnTo>
                <a:lnTo>
                  <a:pt x="121" y="473"/>
                </a:lnTo>
                <a:lnTo>
                  <a:pt x="115" y="477"/>
                </a:lnTo>
                <a:lnTo>
                  <a:pt x="108" y="473"/>
                </a:lnTo>
                <a:lnTo>
                  <a:pt x="102" y="466"/>
                </a:lnTo>
                <a:lnTo>
                  <a:pt x="95" y="460"/>
                </a:lnTo>
                <a:lnTo>
                  <a:pt x="89" y="462"/>
                </a:lnTo>
                <a:lnTo>
                  <a:pt x="85" y="468"/>
                </a:lnTo>
                <a:lnTo>
                  <a:pt x="87" y="477"/>
                </a:lnTo>
                <a:lnTo>
                  <a:pt x="80" y="481"/>
                </a:lnTo>
                <a:lnTo>
                  <a:pt x="85" y="490"/>
                </a:lnTo>
                <a:lnTo>
                  <a:pt x="78" y="494"/>
                </a:lnTo>
                <a:lnTo>
                  <a:pt x="70" y="488"/>
                </a:lnTo>
                <a:lnTo>
                  <a:pt x="66" y="479"/>
                </a:lnTo>
                <a:lnTo>
                  <a:pt x="59" y="475"/>
                </a:lnTo>
                <a:lnTo>
                  <a:pt x="57" y="466"/>
                </a:lnTo>
                <a:lnTo>
                  <a:pt x="49" y="460"/>
                </a:lnTo>
                <a:lnTo>
                  <a:pt x="42" y="464"/>
                </a:lnTo>
                <a:lnTo>
                  <a:pt x="44" y="456"/>
                </a:lnTo>
                <a:lnTo>
                  <a:pt x="49" y="449"/>
                </a:lnTo>
                <a:lnTo>
                  <a:pt x="51" y="441"/>
                </a:lnTo>
                <a:lnTo>
                  <a:pt x="55" y="456"/>
                </a:lnTo>
                <a:lnTo>
                  <a:pt x="53" y="441"/>
                </a:lnTo>
                <a:lnTo>
                  <a:pt x="46" y="426"/>
                </a:lnTo>
                <a:lnTo>
                  <a:pt x="46" y="426"/>
                </a:lnTo>
                <a:lnTo>
                  <a:pt x="44" y="428"/>
                </a:lnTo>
                <a:lnTo>
                  <a:pt x="46" y="422"/>
                </a:lnTo>
                <a:lnTo>
                  <a:pt x="44" y="413"/>
                </a:lnTo>
                <a:lnTo>
                  <a:pt x="40" y="407"/>
                </a:lnTo>
                <a:lnTo>
                  <a:pt x="34" y="400"/>
                </a:lnTo>
                <a:lnTo>
                  <a:pt x="29" y="392"/>
                </a:lnTo>
                <a:lnTo>
                  <a:pt x="23" y="370"/>
                </a:lnTo>
                <a:lnTo>
                  <a:pt x="14" y="356"/>
                </a:lnTo>
                <a:lnTo>
                  <a:pt x="8" y="343"/>
                </a:lnTo>
                <a:lnTo>
                  <a:pt x="14" y="334"/>
                </a:lnTo>
                <a:lnTo>
                  <a:pt x="14" y="324"/>
                </a:lnTo>
                <a:lnTo>
                  <a:pt x="14" y="294"/>
                </a:lnTo>
                <a:lnTo>
                  <a:pt x="21" y="281"/>
                </a:lnTo>
                <a:lnTo>
                  <a:pt x="25" y="275"/>
                </a:lnTo>
                <a:lnTo>
                  <a:pt x="25" y="264"/>
                </a:lnTo>
                <a:lnTo>
                  <a:pt x="27" y="258"/>
                </a:lnTo>
                <a:lnTo>
                  <a:pt x="25" y="251"/>
                </a:lnTo>
                <a:lnTo>
                  <a:pt x="25" y="243"/>
                </a:lnTo>
                <a:lnTo>
                  <a:pt x="19" y="221"/>
                </a:lnTo>
                <a:lnTo>
                  <a:pt x="14" y="215"/>
                </a:lnTo>
                <a:lnTo>
                  <a:pt x="14" y="206"/>
                </a:lnTo>
                <a:lnTo>
                  <a:pt x="0" y="185"/>
                </a:lnTo>
                <a:lnTo>
                  <a:pt x="2" y="179"/>
                </a:lnTo>
                <a:lnTo>
                  <a:pt x="2" y="166"/>
                </a:lnTo>
                <a:lnTo>
                  <a:pt x="6" y="151"/>
                </a:lnTo>
                <a:lnTo>
                  <a:pt x="14" y="145"/>
                </a:lnTo>
                <a:lnTo>
                  <a:pt x="19" y="136"/>
                </a:lnTo>
                <a:lnTo>
                  <a:pt x="25" y="134"/>
                </a:lnTo>
                <a:lnTo>
                  <a:pt x="34" y="130"/>
                </a:lnTo>
                <a:lnTo>
                  <a:pt x="31" y="128"/>
                </a:lnTo>
                <a:lnTo>
                  <a:pt x="34" y="119"/>
                </a:lnTo>
                <a:lnTo>
                  <a:pt x="38" y="113"/>
                </a:lnTo>
                <a:lnTo>
                  <a:pt x="42" y="104"/>
                </a:lnTo>
                <a:lnTo>
                  <a:pt x="40" y="98"/>
                </a:lnTo>
                <a:lnTo>
                  <a:pt x="57" y="6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976"/>
          <p:cNvSpPr>
            <a:spLocks/>
          </p:cNvSpPr>
          <p:nvPr/>
        </p:nvSpPr>
        <p:spPr bwMode="auto">
          <a:xfrm>
            <a:off x="606425" y="2524125"/>
            <a:ext cx="1149350" cy="1930400"/>
          </a:xfrm>
          <a:custGeom>
            <a:avLst/>
            <a:gdLst>
              <a:gd name="T0" fmla="*/ 59 w 724"/>
              <a:gd name="T1" fmla="*/ 36 h 1216"/>
              <a:gd name="T2" fmla="*/ 63 w 724"/>
              <a:gd name="T3" fmla="*/ 0 h 1216"/>
              <a:gd name="T4" fmla="*/ 338 w 724"/>
              <a:gd name="T5" fmla="*/ 343 h 1216"/>
              <a:gd name="T6" fmla="*/ 692 w 724"/>
              <a:gd name="T7" fmla="*/ 971 h 1216"/>
              <a:gd name="T8" fmla="*/ 704 w 724"/>
              <a:gd name="T9" fmla="*/ 1009 h 1216"/>
              <a:gd name="T10" fmla="*/ 724 w 724"/>
              <a:gd name="T11" fmla="*/ 1048 h 1216"/>
              <a:gd name="T12" fmla="*/ 683 w 724"/>
              <a:gd name="T13" fmla="*/ 1080 h 1216"/>
              <a:gd name="T14" fmla="*/ 672 w 724"/>
              <a:gd name="T15" fmla="*/ 1122 h 1216"/>
              <a:gd name="T16" fmla="*/ 651 w 724"/>
              <a:gd name="T17" fmla="*/ 1158 h 1216"/>
              <a:gd name="T18" fmla="*/ 657 w 724"/>
              <a:gd name="T19" fmla="*/ 1182 h 1216"/>
              <a:gd name="T20" fmla="*/ 657 w 724"/>
              <a:gd name="T21" fmla="*/ 1210 h 1216"/>
              <a:gd name="T22" fmla="*/ 640 w 724"/>
              <a:gd name="T23" fmla="*/ 1214 h 1216"/>
              <a:gd name="T24" fmla="*/ 410 w 724"/>
              <a:gd name="T25" fmla="*/ 1182 h 1216"/>
              <a:gd name="T26" fmla="*/ 406 w 724"/>
              <a:gd name="T27" fmla="*/ 1169 h 1216"/>
              <a:gd name="T28" fmla="*/ 408 w 724"/>
              <a:gd name="T29" fmla="*/ 1139 h 1216"/>
              <a:gd name="T30" fmla="*/ 372 w 724"/>
              <a:gd name="T31" fmla="*/ 1063 h 1216"/>
              <a:gd name="T32" fmla="*/ 344 w 724"/>
              <a:gd name="T33" fmla="*/ 1033 h 1216"/>
              <a:gd name="T34" fmla="*/ 325 w 724"/>
              <a:gd name="T35" fmla="*/ 1026 h 1216"/>
              <a:gd name="T36" fmla="*/ 319 w 724"/>
              <a:gd name="T37" fmla="*/ 997 h 1216"/>
              <a:gd name="T38" fmla="*/ 259 w 724"/>
              <a:gd name="T39" fmla="*/ 954 h 1216"/>
              <a:gd name="T40" fmla="*/ 219 w 724"/>
              <a:gd name="T41" fmla="*/ 931 h 1216"/>
              <a:gd name="T42" fmla="*/ 185 w 724"/>
              <a:gd name="T43" fmla="*/ 914 h 1216"/>
              <a:gd name="T44" fmla="*/ 146 w 724"/>
              <a:gd name="T45" fmla="*/ 894 h 1216"/>
              <a:gd name="T46" fmla="*/ 155 w 724"/>
              <a:gd name="T47" fmla="*/ 865 h 1216"/>
              <a:gd name="T48" fmla="*/ 157 w 724"/>
              <a:gd name="T49" fmla="*/ 824 h 1216"/>
              <a:gd name="T50" fmla="*/ 151 w 724"/>
              <a:gd name="T51" fmla="*/ 803 h 1216"/>
              <a:gd name="T52" fmla="*/ 123 w 724"/>
              <a:gd name="T53" fmla="*/ 760 h 1216"/>
              <a:gd name="T54" fmla="*/ 110 w 724"/>
              <a:gd name="T55" fmla="*/ 715 h 1216"/>
              <a:gd name="T56" fmla="*/ 85 w 724"/>
              <a:gd name="T57" fmla="*/ 673 h 1216"/>
              <a:gd name="T58" fmla="*/ 104 w 724"/>
              <a:gd name="T59" fmla="*/ 630 h 1216"/>
              <a:gd name="T60" fmla="*/ 91 w 724"/>
              <a:gd name="T61" fmla="*/ 600 h 1216"/>
              <a:gd name="T62" fmla="*/ 68 w 724"/>
              <a:gd name="T63" fmla="*/ 558 h 1216"/>
              <a:gd name="T64" fmla="*/ 68 w 724"/>
              <a:gd name="T65" fmla="*/ 524 h 1216"/>
              <a:gd name="T66" fmla="*/ 85 w 724"/>
              <a:gd name="T67" fmla="*/ 496 h 1216"/>
              <a:gd name="T68" fmla="*/ 83 w 724"/>
              <a:gd name="T69" fmla="*/ 522 h 1216"/>
              <a:gd name="T70" fmla="*/ 108 w 724"/>
              <a:gd name="T71" fmla="*/ 543 h 1216"/>
              <a:gd name="T72" fmla="*/ 95 w 724"/>
              <a:gd name="T73" fmla="*/ 505 h 1216"/>
              <a:gd name="T74" fmla="*/ 93 w 724"/>
              <a:gd name="T75" fmla="*/ 477 h 1216"/>
              <a:gd name="T76" fmla="*/ 125 w 724"/>
              <a:gd name="T77" fmla="*/ 479 h 1216"/>
              <a:gd name="T78" fmla="*/ 172 w 724"/>
              <a:gd name="T79" fmla="*/ 496 h 1216"/>
              <a:gd name="T80" fmla="*/ 146 w 724"/>
              <a:gd name="T81" fmla="*/ 485 h 1216"/>
              <a:gd name="T82" fmla="*/ 134 w 724"/>
              <a:gd name="T83" fmla="*/ 481 h 1216"/>
              <a:gd name="T84" fmla="*/ 108 w 724"/>
              <a:gd name="T85" fmla="*/ 473 h 1216"/>
              <a:gd name="T86" fmla="*/ 85 w 724"/>
              <a:gd name="T87" fmla="*/ 468 h 1216"/>
              <a:gd name="T88" fmla="*/ 78 w 724"/>
              <a:gd name="T89" fmla="*/ 494 h 1216"/>
              <a:gd name="T90" fmla="*/ 57 w 724"/>
              <a:gd name="T91" fmla="*/ 466 h 1216"/>
              <a:gd name="T92" fmla="*/ 49 w 724"/>
              <a:gd name="T93" fmla="*/ 449 h 1216"/>
              <a:gd name="T94" fmla="*/ 46 w 724"/>
              <a:gd name="T95" fmla="*/ 426 h 1216"/>
              <a:gd name="T96" fmla="*/ 44 w 724"/>
              <a:gd name="T97" fmla="*/ 413 h 1216"/>
              <a:gd name="T98" fmla="*/ 23 w 724"/>
              <a:gd name="T99" fmla="*/ 370 h 1216"/>
              <a:gd name="T100" fmla="*/ 14 w 724"/>
              <a:gd name="T101" fmla="*/ 324 h 1216"/>
              <a:gd name="T102" fmla="*/ 25 w 724"/>
              <a:gd name="T103" fmla="*/ 264 h 1216"/>
              <a:gd name="T104" fmla="*/ 19 w 724"/>
              <a:gd name="T105" fmla="*/ 221 h 1216"/>
              <a:gd name="T106" fmla="*/ 2 w 724"/>
              <a:gd name="T107" fmla="*/ 179 h 1216"/>
              <a:gd name="T108" fmla="*/ 19 w 724"/>
              <a:gd name="T109" fmla="*/ 136 h 1216"/>
              <a:gd name="T110" fmla="*/ 34 w 724"/>
              <a:gd name="T111" fmla="*/ 119 h 1216"/>
              <a:gd name="T112" fmla="*/ 57 w 724"/>
              <a:gd name="T113" fmla="*/ 6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4" h="1216">
                <a:moveTo>
                  <a:pt x="57" y="66"/>
                </a:moveTo>
                <a:lnTo>
                  <a:pt x="59" y="53"/>
                </a:lnTo>
                <a:lnTo>
                  <a:pt x="61" y="51"/>
                </a:lnTo>
                <a:lnTo>
                  <a:pt x="59" y="36"/>
                </a:lnTo>
                <a:lnTo>
                  <a:pt x="61" y="30"/>
                </a:lnTo>
                <a:lnTo>
                  <a:pt x="55" y="21"/>
                </a:lnTo>
                <a:lnTo>
                  <a:pt x="59" y="15"/>
                </a:lnTo>
                <a:lnTo>
                  <a:pt x="63" y="0"/>
                </a:lnTo>
                <a:lnTo>
                  <a:pt x="68" y="0"/>
                </a:lnTo>
                <a:lnTo>
                  <a:pt x="249" y="49"/>
                </a:lnTo>
                <a:lnTo>
                  <a:pt x="400" y="89"/>
                </a:lnTo>
                <a:lnTo>
                  <a:pt x="338" y="343"/>
                </a:lnTo>
                <a:lnTo>
                  <a:pt x="321" y="417"/>
                </a:lnTo>
                <a:lnTo>
                  <a:pt x="583" y="801"/>
                </a:lnTo>
                <a:lnTo>
                  <a:pt x="694" y="965"/>
                </a:lnTo>
                <a:lnTo>
                  <a:pt x="692" y="971"/>
                </a:lnTo>
                <a:lnTo>
                  <a:pt x="692" y="977"/>
                </a:lnTo>
                <a:lnTo>
                  <a:pt x="700" y="994"/>
                </a:lnTo>
                <a:lnTo>
                  <a:pt x="702" y="1003"/>
                </a:lnTo>
                <a:lnTo>
                  <a:pt x="704" y="1009"/>
                </a:lnTo>
                <a:lnTo>
                  <a:pt x="706" y="1018"/>
                </a:lnTo>
                <a:lnTo>
                  <a:pt x="706" y="1026"/>
                </a:lnTo>
                <a:lnTo>
                  <a:pt x="719" y="1041"/>
                </a:lnTo>
                <a:lnTo>
                  <a:pt x="724" y="1048"/>
                </a:lnTo>
                <a:lnTo>
                  <a:pt x="719" y="1054"/>
                </a:lnTo>
                <a:lnTo>
                  <a:pt x="694" y="1067"/>
                </a:lnTo>
                <a:lnTo>
                  <a:pt x="689" y="1075"/>
                </a:lnTo>
                <a:lnTo>
                  <a:pt x="683" y="1080"/>
                </a:lnTo>
                <a:lnTo>
                  <a:pt x="681" y="1092"/>
                </a:lnTo>
                <a:lnTo>
                  <a:pt x="679" y="1105"/>
                </a:lnTo>
                <a:lnTo>
                  <a:pt x="675" y="1114"/>
                </a:lnTo>
                <a:lnTo>
                  <a:pt x="672" y="1122"/>
                </a:lnTo>
                <a:lnTo>
                  <a:pt x="660" y="1137"/>
                </a:lnTo>
                <a:lnTo>
                  <a:pt x="653" y="1144"/>
                </a:lnTo>
                <a:lnTo>
                  <a:pt x="649" y="1150"/>
                </a:lnTo>
                <a:lnTo>
                  <a:pt x="651" y="1158"/>
                </a:lnTo>
                <a:lnTo>
                  <a:pt x="651" y="1165"/>
                </a:lnTo>
                <a:lnTo>
                  <a:pt x="647" y="1173"/>
                </a:lnTo>
                <a:lnTo>
                  <a:pt x="649" y="1180"/>
                </a:lnTo>
                <a:lnTo>
                  <a:pt x="657" y="1182"/>
                </a:lnTo>
                <a:lnTo>
                  <a:pt x="664" y="1186"/>
                </a:lnTo>
                <a:lnTo>
                  <a:pt x="664" y="1193"/>
                </a:lnTo>
                <a:lnTo>
                  <a:pt x="664" y="1205"/>
                </a:lnTo>
                <a:lnTo>
                  <a:pt x="657" y="1210"/>
                </a:lnTo>
                <a:lnTo>
                  <a:pt x="655" y="1216"/>
                </a:lnTo>
                <a:lnTo>
                  <a:pt x="647" y="1216"/>
                </a:lnTo>
                <a:lnTo>
                  <a:pt x="645" y="1214"/>
                </a:lnTo>
                <a:lnTo>
                  <a:pt x="640" y="1214"/>
                </a:lnTo>
                <a:lnTo>
                  <a:pt x="638" y="1214"/>
                </a:lnTo>
                <a:lnTo>
                  <a:pt x="415" y="1193"/>
                </a:lnTo>
                <a:lnTo>
                  <a:pt x="413" y="1190"/>
                </a:lnTo>
                <a:lnTo>
                  <a:pt x="410" y="1182"/>
                </a:lnTo>
                <a:lnTo>
                  <a:pt x="406" y="1173"/>
                </a:lnTo>
                <a:lnTo>
                  <a:pt x="410" y="1182"/>
                </a:lnTo>
                <a:lnTo>
                  <a:pt x="413" y="1173"/>
                </a:lnTo>
                <a:lnTo>
                  <a:pt x="406" y="1169"/>
                </a:lnTo>
                <a:lnTo>
                  <a:pt x="404" y="1176"/>
                </a:lnTo>
                <a:lnTo>
                  <a:pt x="404" y="1167"/>
                </a:lnTo>
                <a:lnTo>
                  <a:pt x="406" y="1152"/>
                </a:lnTo>
                <a:lnTo>
                  <a:pt x="408" y="1139"/>
                </a:lnTo>
                <a:lnTo>
                  <a:pt x="406" y="1124"/>
                </a:lnTo>
                <a:lnTo>
                  <a:pt x="402" y="1107"/>
                </a:lnTo>
                <a:lnTo>
                  <a:pt x="396" y="1092"/>
                </a:lnTo>
                <a:lnTo>
                  <a:pt x="372" y="1063"/>
                </a:lnTo>
                <a:lnTo>
                  <a:pt x="364" y="1056"/>
                </a:lnTo>
                <a:lnTo>
                  <a:pt x="359" y="1050"/>
                </a:lnTo>
                <a:lnTo>
                  <a:pt x="351" y="1037"/>
                </a:lnTo>
                <a:lnTo>
                  <a:pt x="344" y="1033"/>
                </a:lnTo>
                <a:lnTo>
                  <a:pt x="336" y="1033"/>
                </a:lnTo>
                <a:lnTo>
                  <a:pt x="334" y="1037"/>
                </a:lnTo>
                <a:lnTo>
                  <a:pt x="325" y="1033"/>
                </a:lnTo>
                <a:lnTo>
                  <a:pt x="325" y="1026"/>
                </a:lnTo>
                <a:lnTo>
                  <a:pt x="327" y="1018"/>
                </a:lnTo>
                <a:lnTo>
                  <a:pt x="327" y="1012"/>
                </a:lnTo>
                <a:lnTo>
                  <a:pt x="321" y="997"/>
                </a:lnTo>
                <a:lnTo>
                  <a:pt x="319" y="997"/>
                </a:lnTo>
                <a:lnTo>
                  <a:pt x="291" y="990"/>
                </a:lnTo>
                <a:lnTo>
                  <a:pt x="276" y="982"/>
                </a:lnTo>
                <a:lnTo>
                  <a:pt x="261" y="969"/>
                </a:lnTo>
                <a:lnTo>
                  <a:pt x="259" y="954"/>
                </a:lnTo>
                <a:lnTo>
                  <a:pt x="251" y="948"/>
                </a:lnTo>
                <a:lnTo>
                  <a:pt x="247" y="941"/>
                </a:lnTo>
                <a:lnTo>
                  <a:pt x="234" y="933"/>
                </a:lnTo>
                <a:lnTo>
                  <a:pt x="219" y="931"/>
                </a:lnTo>
                <a:lnTo>
                  <a:pt x="212" y="928"/>
                </a:lnTo>
                <a:lnTo>
                  <a:pt x="200" y="918"/>
                </a:lnTo>
                <a:lnTo>
                  <a:pt x="191" y="916"/>
                </a:lnTo>
                <a:lnTo>
                  <a:pt x="185" y="914"/>
                </a:lnTo>
                <a:lnTo>
                  <a:pt x="163" y="911"/>
                </a:lnTo>
                <a:lnTo>
                  <a:pt x="157" y="903"/>
                </a:lnTo>
                <a:lnTo>
                  <a:pt x="153" y="897"/>
                </a:lnTo>
                <a:lnTo>
                  <a:pt x="146" y="894"/>
                </a:lnTo>
                <a:lnTo>
                  <a:pt x="149" y="886"/>
                </a:lnTo>
                <a:lnTo>
                  <a:pt x="153" y="879"/>
                </a:lnTo>
                <a:lnTo>
                  <a:pt x="151" y="871"/>
                </a:lnTo>
                <a:lnTo>
                  <a:pt x="155" y="865"/>
                </a:lnTo>
                <a:lnTo>
                  <a:pt x="155" y="850"/>
                </a:lnTo>
                <a:lnTo>
                  <a:pt x="161" y="839"/>
                </a:lnTo>
                <a:lnTo>
                  <a:pt x="161" y="833"/>
                </a:lnTo>
                <a:lnTo>
                  <a:pt x="157" y="824"/>
                </a:lnTo>
                <a:lnTo>
                  <a:pt x="149" y="822"/>
                </a:lnTo>
                <a:lnTo>
                  <a:pt x="144" y="816"/>
                </a:lnTo>
                <a:lnTo>
                  <a:pt x="144" y="807"/>
                </a:lnTo>
                <a:lnTo>
                  <a:pt x="151" y="803"/>
                </a:lnTo>
                <a:lnTo>
                  <a:pt x="149" y="794"/>
                </a:lnTo>
                <a:lnTo>
                  <a:pt x="136" y="781"/>
                </a:lnTo>
                <a:lnTo>
                  <a:pt x="132" y="767"/>
                </a:lnTo>
                <a:lnTo>
                  <a:pt x="123" y="760"/>
                </a:lnTo>
                <a:lnTo>
                  <a:pt x="121" y="752"/>
                </a:lnTo>
                <a:lnTo>
                  <a:pt x="119" y="745"/>
                </a:lnTo>
                <a:lnTo>
                  <a:pt x="112" y="730"/>
                </a:lnTo>
                <a:lnTo>
                  <a:pt x="110" y="715"/>
                </a:lnTo>
                <a:lnTo>
                  <a:pt x="104" y="709"/>
                </a:lnTo>
                <a:lnTo>
                  <a:pt x="100" y="696"/>
                </a:lnTo>
                <a:lnTo>
                  <a:pt x="89" y="681"/>
                </a:lnTo>
                <a:lnTo>
                  <a:pt x="85" y="673"/>
                </a:lnTo>
                <a:lnTo>
                  <a:pt x="87" y="658"/>
                </a:lnTo>
                <a:lnTo>
                  <a:pt x="87" y="643"/>
                </a:lnTo>
                <a:lnTo>
                  <a:pt x="102" y="637"/>
                </a:lnTo>
                <a:lnTo>
                  <a:pt x="104" y="630"/>
                </a:lnTo>
                <a:lnTo>
                  <a:pt x="108" y="630"/>
                </a:lnTo>
                <a:lnTo>
                  <a:pt x="108" y="615"/>
                </a:lnTo>
                <a:lnTo>
                  <a:pt x="104" y="600"/>
                </a:lnTo>
                <a:lnTo>
                  <a:pt x="91" y="600"/>
                </a:lnTo>
                <a:lnTo>
                  <a:pt x="83" y="594"/>
                </a:lnTo>
                <a:lnTo>
                  <a:pt x="70" y="573"/>
                </a:lnTo>
                <a:lnTo>
                  <a:pt x="68" y="564"/>
                </a:lnTo>
                <a:lnTo>
                  <a:pt x="68" y="558"/>
                </a:lnTo>
                <a:lnTo>
                  <a:pt x="70" y="554"/>
                </a:lnTo>
                <a:lnTo>
                  <a:pt x="72" y="547"/>
                </a:lnTo>
                <a:lnTo>
                  <a:pt x="72" y="532"/>
                </a:lnTo>
                <a:lnTo>
                  <a:pt x="68" y="524"/>
                </a:lnTo>
                <a:lnTo>
                  <a:pt x="74" y="511"/>
                </a:lnTo>
                <a:lnTo>
                  <a:pt x="74" y="502"/>
                </a:lnTo>
                <a:lnTo>
                  <a:pt x="78" y="496"/>
                </a:lnTo>
                <a:lnTo>
                  <a:pt x="85" y="496"/>
                </a:lnTo>
                <a:lnTo>
                  <a:pt x="87" y="500"/>
                </a:lnTo>
                <a:lnTo>
                  <a:pt x="87" y="507"/>
                </a:lnTo>
                <a:lnTo>
                  <a:pt x="83" y="515"/>
                </a:lnTo>
                <a:lnTo>
                  <a:pt x="83" y="522"/>
                </a:lnTo>
                <a:lnTo>
                  <a:pt x="89" y="526"/>
                </a:lnTo>
                <a:lnTo>
                  <a:pt x="93" y="534"/>
                </a:lnTo>
                <a:lnTo>
                  <a:pt x="100" y="543"/>
                </a:lnTo>
                <a:lnTo>
                  <a:pt x="108" y="543"/>
                </a:lnTo>
                <a:lnTo>
                  <a:pt x="102" y="537"/>
                </a:lnTo>
                <a:lnTo>
                  <a:pt x="102" y="522"/>
                </a:lnTo>
                <a:lnTo>
                  <a:pt x="100" y="509"/>
                </a:lnTo>
                <a:lnTo>
                  <a:pt x="95" y="505"/>
                </a:lnTo>
                <a:lnTo>
                  <a:pt x="93" y="498"/>
                </a:lnTo>
                <a:lnTo>
                  <a:pt x="95" y="492"/>
                </a:lnTo>
                <a:lnTo>
                  <a:pt x="91" y="483"/>
                </a:lnTo>
                <a:lnTo>
                  <a:pt x="93" y="477"/>
                </a:lnTo>
                <a:lnTo>
                  <a:pt x="102" y="477"/>
                </a:lnTo>
                <a:lnTo>
                  <a:pt x="108" y="473"/>
                </a:lnTo>
                <a:lnTo>
                  <a:pt x="115" y="479"/>
                </a:lnTo>
                <a:lnTo>
                  <a:pt x="125" y="479"/>
                </a:lnTo>
                <a:lnTo>
                  <a:pt x="146" y="490"/>
                </a:lnTo>
                <a:lnTo>
                  <a:pt x="161" y="483"/>
                </a:lnTo>
                <a:lnTo>
                  <a:pt x="172" y="498"/>
                </a:lnTo>
                <a:lnTo>
                  <a:pt x="172" y="496"/>
                </a:lnTo>
                <a:lnTo>
                  <a:pt x="168" y="490"/>
                </a:lnTo>
                <a:lnTo>
                  <a:pt x="161" y="483"/>
                </a:lnTo>
                <a:lnTo>
                  <a:pt x="153" y="485"/>
                </a:lnTo>
                <a:lnTo>
                  <a:pt x="146" y="485"/>
                </a:lnTo>
                <a:lnTo>
                  <a:pt x="153" y="481"/>
                </a:lnTo>
                <a:lnTo>
                  <a:pt x="155" y="477"/>
                </a:lnTo>
                <a:lnTo>
                  <a:pt x="149" y="481"/>
                </a:lnTo>
                <a:lnTo>
                  <a:pt x="134" y="481"/>
                </a:lnTo>
                <a:lnTo>
                  <a:pt x="127" y="475"/>
                </a:lnTo>
                <a:lnTo>
                  <a:pt x="121" y="473"/>
                </a:lnTo>
                <a:lnTo>
                  <a:pt x="115" y="477"/>
                </a:lnTo>
                <a:lnTo>
                  <a:pt x="108" y="473"/>
                </a:lnTo>
                <a:lnTo>
                  <a:pt x="102" y="466"/>
                </a:lnTo>
                <a:lnTo>
                  <a:pt x="95" y="460"/>
                </a:lnTo>
                <a:lnTo>
                  <a:pt x="89" y="462"/>
                </a:lnTo>
                <a:lnTo>
                  <a:pt x="85" y="468"/>
                </a:lnTo>
                <a:lnTo>
                  <a:pt x="87" y="477"/>
                </a:lnTo>
                <a:lnTo>
                  <a:pt x="80" y="481"/>
                </a:lnTo>
                <a:lnTo>
                  <a:pt x="85" y="490"/>
                </a:lnTo>
                <a:lnTo>
                  <a:pt x="78" y="494"/>
                </a:lnTo>
                <a:lnTo>
                  <a:pt x="70" y="488"/>
                </a:lnTo>
                <a:lnTo>
                  <a:pt x="66" y="479"/>
                </a:lnTo>
                <a:lnTo>
                  <a:pt x="59" y="475"/>
                </a:lnTo>
                <a:lnTo>
                  <a:pt x="57" y="466"/>
                </a:lnTo>
                <a:lnTo>
                  <a:pt x="49" y="460"/>
                </a:lnTo>
                <a:lnTo>
                  <a:pt x="42" y="464"/>
                </a:lnTo>
                <a:lnTo>
                  <a:pt x="44" y="456"/>
                </a:lnTo>
                <a:lnTo>
                  <a:pt x="49" y="449"/>
                </a:lnTo>
                <a:lnTo>
                  <a:pt x="51" y="441"/>
                </a:lnTo>
                <a:lnTo>
                  <a:pt x="55" y="456"/>
                </a:lnTo>
                <a:lnTo>
                  <a:pt x="53" y="441"/>
                </a:lnTo>
                <a:lnTo>
                  <a:pt x="46" y="426"/>
                </a:lnTo>
                <a:lnTo>
                  <a:pt x="46" y="426"/>
                </a:lnTo>
                <a:lnTo>
                  <a:pt x="44" y="428"/>
                </a:lnTo>
                <a:lnTo>
                  <a:pt x="46" y="422"/>
                </a:lnTo>
                <a:lnTo>
                  <a:pt x="44" y="413"/>
                </a:lnTo>
                <a:lnTo>
                  <a:pt x="40" y="407"/>
                </a:lnTo>
                <a:lnTo>
                  <a:pt x="34" y="400"/>
                </a:lnTo>
                <a:lnTo>
                  <a:pt x="29" y="392"/>
                </a:lnTo>
                <a:lnTo>
                  <a:pt x="23" y="370"/>
                </a:lnTo>
                <a:lnTo>
                  <a:pt x="14" y="356"/>
                </a:lnTo>
                <a:lnTo>
                  <a:pt x="8" y="343"/>
                </a:lnTo>
                <a:lnTo>
                  <a:pt x="14" y="334"/>
                </a:lnTo>
                <a:lnTo>
                  <a:pt x="14" y="324"/>
                </a:lnTo>
                <a:lnTo>
                  <a:pt x="14" y="294"/>
                </a:lnTo>
                <a:lnTo>
                  <a:pt x="21" y="281"/>
                </a:lnTo>
                <a:lnTo>
                  <a:pt x="25" y="275"/>
                </a:lnTo>
                <a:lnTo>
                  <a:pt x="25" y="264"/>
                </a:lnTo>
                <a:lnTo>
                  <a:pt x="27" y="258"/>
                </a:lnTo>
                <a:lnTo>
                  <a:pt x="25" y="251"/>
                </a:lnTo>
                <a:lnTo>
                  <a:pt x="25" y="243"/>
                </a:lnTo>
                <a:lnTo>
                  <a:pt x="19" y="221"/>
                </a:lnTo>
                <a:lnTo>
                  <a:pt x="14" y="215"/>
                </a:lnTo>
                <a:lnTo>
                  <a:pt x="14" y="206"/>
                </a:lnTo>
                <a:lnTo>
                  <a:pt x="0" y="185"/>
                </a:lnTo>
                <a:lnTo>
                  <a:pt x="2" y="179"/>
                </a:lnTo>
                <a:lnTo>
                  <a:pt x="2" y="166"/>
                </a:lnTo>
                <a:lnTo>
                  <a:pt x="6" y="151"/>
                </a:lnTo>
                <a:lnTo>
                  <a:pt x="14" y="145"/>
                </a:lnTo>
                <a:lnTo>
                  <a:pt x="19" y="136"/>
                </a:lnTo>
                <a:lnTo>
                  <a:pt x="25" y="134"/>
                </a:lnTo>
                <a:lnTo>
                  <a:pt x="34" y="130"/>
                </a:lnTo>
                <a:lnTo>
                  <a:pt x="31" y="128"/>
                </a:lnTo>
                <a:lnTo>
                  <a:pt x="34" y="119"/>
                </a:lnTo>
                <a:lnTo>
                  <a:pt x="38" y="113"/>
                </a:lnTo>
                <a:lnTo>
                  <a:pt x="42" y="104"/>
                </a:lnTo>
                <a:lnTo>
                  <a:pt x="40" y="98"/>
                </a:lnTo>
                <a:lnTo>
                  <a:pt x="57" y="6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0" name="Freeform 977"/>
          <p:cNvSpPr>
            <a:spLocks/>
          </p:cNvSpPr>
          <p:nvPr/>
        </p:nvSpPr>
        <p:spPr bwMode="auto">
          <a:xfrm>
            <a:off x="862013" y="3290888"/>
            <a:ext cx="17463" cy="23813"/>
          </a:xfrm>
          <a:custGeom>
            <a:avLst/>
            <a:gdLst>
              <a:gd name="T0" fmla="*/ 0 w 11"/>
              <a:gd name="T1" fmla="*/ 0 h 15"/>
              <a:gd name="T2" fmla="*/ 7 w 11"/>
              <a:gd name="T3" fmla="*/ 7 h 15"/>
              <a:gd name="T4" fmla="*/ 11 w 11"/>
              <a:gd name="T5" fmla="*/ 13 h 15"/>
              <a:gd name="T6" fmla="*/ 11 w 11"/>
              <a:gd name="T7" fmla="*/ 15 h 15"/>
              <a:gd name="T8" fmla="*/ 0 w 11"/>
              <a:gd name="T9" fmla="*/ 0 h 15"/>
            </a:gdLst>
            <a:ahLst/>
            <a:cxnLst>
              <a:cxn ang="0">
                <a:pos x="T0" y="T1"/>
              </a:cxn>
              <a:cxn ang="0">
                <a:pos x="T2" y="T3"/>
              </a:cxn>
              <a:cxn ang="0">
                <a:pos x="T4" y="T5"/>
              </a:cxn>
              <a:cxn ang="0">
                <a:pos x="T6" y="T7"/>
              </a:cxn>
              <a:cxn ang="0">
                <a:pos x="T8" y="T9"/>
              </a:cxn>
            </a:cxnLst>
            <a:rect l="0" t="0" r="r" b="b"/>
            <a:pathLst>
              <a:path w="11" h="15">
                <a:moveTo>
                  <a:pt x="0" y="0"/>
                </a:moveTo>
                <a:lnTo>
                  <a:pt x="7" y="7"/>
                </a:lnTo>
                <a:lnTo>
                  <a:pt x="11" y="13"/>
                </a:lnTo>
                <a:lnTo>
                  <a:pt x="11" y="15"/>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978"/>
          <p:cNvSpPr>
            <a:spLocks/>
          </p:cNvSpPr>
          <p:nvPr/>
        </p:nvSpPr>
        <p:spPr bwMode="auto">
          <a:xfrm>
            <a:off x="862013" y="3290888"/>
            <a:ext cx="17463" cy="23813"/>
          </a:xfrm>
          <a:custGeom>
            <a:avLst/>
            <a:gdLst>
              <a:gd name="T0" fmla="*/ 0 w 11"/>
              <a:gd name="T1" fmla="*/ 0 h 15"/>
              <a:gd name="T2" fmla="*/ 7 w 11"/>
              <a:gd name="T3" fmla="*/ 7 h 15"/>
              <a:gd name="T4" fmla="*/ 11 w 11"/>
              <a:gd name="T5" fmla="*/ 13 h 15"/>
              <a:gd name="T6" fmla="*/ 11 w 11"/>
              <a:gd name="T7" fmla="*/ 15 h 15"/>
              <a:gd name="T8" fmla="*/ 0 w 11"/>
              <a:gd name="T9" fmla="*/ 0 h 15"/>
            </a:gdLst>
            <a:ahLst/>
            <a:cxnLst>
              <a:cxn ang="0">
                <a:pos x="T0" y="T1"/>
              </a:cxn>
              <a:cxn ang="0">
                <a:pos x="T2" y="T3"/>
              </a:cxn>
              <a:cxn ang="0">
                <a:pos x="T4" y="T5"/>
              </a:cxn>
              <a:cxn ang="0">
                <a:pos x="T6" y="T7"/>
              </a:cxn>
              <a:cxn ang="0">
                <a:pos x="T8" y="T9"/>
              </a:cxn>
            </a:cxnLst>
            <a:rect l="0" t="0" r="r" b="b"/>
            <a:pathLst>
              <a:path w="11" h="15">
                <a:moveTo>
                  <a:pt x="0" y="0"/>
                </a:moveTo>
                <a:lnTo>
                  <a:pt x="7" y="7"/>
                </a:lnTo>
                <a:lnTo>
                  <a:pt x="11" y="13"/>
                </a:lnTo>
                <a:lnTo>
                  <a:pt x="11" y="1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6" name="Group 5"/>
          <p:cNvGrpSpPr/>
          <p:nvPr/>
        </p:nvGrpSpPr>
        <p:grpSpPr>
          <a:xfrm>
            <a:off x="642937" y="4610100"/>
            <a:ext cx="2017713" cy="1514475"/>
            <a:chOff x="642937" y="4610100"/>
            <a:chExt cx="2017713" cy="1514475"/>
          </a:xfrm>
          <a:solidFill>
            <a:srgbClr val="CCCCCC"/>
          </a:solidFill>
        </p:grpSpPr>
        <p:sp>
          <p:nvSpPr>
            <p:cNvPr id="1185" name="Freeform 992"/>
            <p:cNvSpPr>
              <a:spLocks/>
            </p:cNvSpPr>
            <p:nvPr/>
          </p:nvSpPr>
          <p:spPr bwMode="auto">
            <a:xfrm>
              <a:off x="642938" y="6049963"/>
              <a:ext cx="101600" cy="50800"/>
            </a:xfrm>
            <a:custGeom>
              <a:avLst/>
              <a:gdLst>
                <a:gd name="T0" fmla="*/ 4 w 64"/>
                <a:gd name="T1" fmla="*/ 32 h 32"/>
                <a:gd name="T2" fmla="*/ 19 w 64"/>
                <a:gd name="T3" fmla="*/ 30 h 32"/>
                <a:gd name="T4" fmla="*/ 30 w 64"/>
                <a:gd name="T5" fmla="*/ 28 h 32"/>
                <a:gd name="T6" fmla="*/ 34 w 64"/>
                <a:gd name="T7" fmla="*/ 28 h 32"/>
                <a:gd name="T8" fmla="*/ 40 w 64"/>
                <a:gd name="T9" fmla="*/ 30 h 32"/>
                <a:gd name="T10" fmla="*/ 40 w 64"/>
                <a:gd name="T11" fmla="*/ 24 h 32"/>
                <a:gd name="T12" fmla="*/ 45 w 64"/>
                <a:gd name="T13" fmla="*/ 28 h 32"/>
                <a:gd name="T14" fmla="*/ 49 w 64"/>
                <a:gd name="T15" fmla="*/ 24 h 32"/>
                <a:gd name="T16" fmla="*/ 53 w 64"/>
                <a:gd name="T17" fmla="*/ 24 h 32"/>
                <a:gd name="T18" fmla="*/ 60 w 64"/>
                <a:gd name="T19" fmla="*/ 24 h 32"/>
                <a:gd name="T20" fmla="*/ 55 w 64"/>
                <a:gd name="T21" fmla="*/ 17 h 32"/>
                <a:gd name="T22" fmla="*/ 51 w 64"/>
                <a:gd name="T23" fmla="*/ 22 h 32"/>
                <a:gd name="T24" fmla="*/ 53 w 64"/>
                <a:gd name="T25" fmla="*/ 15 h 32"/>
                <a:gd name="T26" fmla="*/ 57 w 64"/>
                <a:gd name="T27" fmla="*/ 15 h 32"/>
                <a:gd name="T28" fmla="*/ 64 w 64"/>
                <a:gd name="T29" fmla="*/ 11 h 32"/>
                <a:gd name="T30" fmla="*/ 62 w 64"/>
                <a:gd name="T31" fmla="*/ 5 h 32"/>
                <a:gd name="T32" fmla="*/ 55 w 64"/>
                <a:gd name="T33" fmla="*/ 9 h 32"/>
                <a:gd name="T34" fmla="*/ 51 w 64"/>
                <a:gd name="T35" fmla="*/ 9 h 32"/>
                <a:gd name="T36" fmla="*/ 53 w 64"/>
                <a:gd name="T37" fmla="*/ 2 h 32"/>
                <a:gd name="T38" fmla="*/ 49 w 64"/>
                <a:gd name="T39" fmla="*/ 0 h 32"/>
                <a:gd name="T40" fmla="*/ 45 w 64"/>
                <a:gd name="T41" fmla="*/ 0 h 32"/>
                <a:gd name="T42" fmla="*/ 38 w 64"/>
                <a:gd name="T43" fmla="*/ 0 h 32"/>
                <a:gd name="T44" fmla="*/ 32 w 64"/>
                <a:gd name="T45" fmla="*/ 5 h 32"/>
                <a:gd name="T46" fmla="*/ 36 w 64"/>
                <a:gd name="T47" fmla="*/ 11 h 32"/>
                <a:gd name="T48" fmla="*/ 40 w 64"/>
                <a:gd name="T49" fmla="*/ 13 h 32"/>
                <a:gd name="T50" fmla="*/ 45 w 64"/>
                <a:gd name="T51" fmla="*/ 17 h 32"/>
                <a:gd name="T52" fmla="*/ 34 w 64"/>
                <a:gd name="T53" fmla="*/ 15 h 32"/>
                <a:gd name="T54" fmla="*/ 34 w 64"/>
                <a:gd name="T55" fmla="*/ 19 h 32"/>
                <a:gd name="T56" fmla="*/ 28 w 64"/>
                <a:gd name="T57" fmla="*/ 22 h 32"/>
                <a:gd name="T58" fmla="*/ 32 w 64"/>
                <a:gd name="T59" fmla="*/ 24 h 32"/>
                <a:gd name="T60" fmla="*/ 28 w 64"/>
                <a:gd name="T61" fmla="*/ 24 h 32"/>
                <a:gd name="T62" fmla="*/ 17 w 64"/>
                <a:gd name="T63" fmla="*/ 26 h 32"/>
                <a:gd name="T64" fmla="*/ 11 w 64"/>
                <a:gd name="T65" fmla="*/ 26 h 32"/>
                <a:gd name="T66" fmla="*/ 6 w 64"/>
                <a:gd name="T67" fmla="*/ 24 h 32"/>
                <a:gd name="T68" fmla="*/ 0 w 64"/>
                <a:gd name="T69" fmla="*/ 28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19" y="30"/>
                  </a:lnTo>
                  <a:lnTo>
                    <a:pt x="30" y="28"/>
                  </a:lnTo>
                  <a:lnTo>
                    <a:pt x="34" y="28"/>
                  </a:lnTo>
                  <a:lnTo>
                    <a:pt x="40" y="30"/>
                  </a:lnTo>
                  <a:lnTo>
                    <a:pt x="40" y="24"/>
                  </a:lnTo>
                  <a:lnTo>
                    <a:pt x="45" y="28"/>
                  </a:lnTo>
                  <a:lnTo>
                    <a:pt x="49" y="24"/>
                  </a:lnTo>
                  <a:lnTo>
                    <a:pt x="53" y="24"/>
                  </a:lnTo>
                  <a:lnTo>
                    <a:pt x="60" y="24"/>
                  </a:lnTo>
                  <a:lnTo>
                    <a:pt x="55" y="17"/>
                  </a:lnTo>
                  <a:lnTo>
                    <a:pt x="51" y="22"/>
                  </a:lnTo>
                  <a:lnTo>
                    <a:pt x="53" y="15"/>
                  </a:lnTo>
                  <a:lnTo>
                    <a:pt x="57" y="15"/>
                  </a:lnTo>
                  <a:lnTo>
                    <a:pt x="64" y="11"/>
                  </a:lnTo>
                  <a:lnTo>
                    <a:pt x="62" y="5"/>
                  </a:lnTo>
                  <a:lnTo>
                    <a:pt x="55" y="9"/>
                  </a:lnTo>
                  <a:lnTo>
                    <a:pt x="51" y="9"/>
                  </a:lnTo>
                  <a:lnTo>
                    <a:pt x="53" y="2"/>
                  </a:lnTo>
                  <a:lnTo>
                    <a:pt x="49" y="0"/>
                  </a:lnTo>
                  <a:lnTo>
                    <a:pt x="45" y="0"/>
                  </a:lnTo>
                  <a:lnTo>
                    <a:pt x="38" y="0"/>
                  </a:lnTo>
                  <a:lnTo>
                    <a:pt x="32" y="5"/>
                  </a:lnTo>
                  <a:lnTo>
                    <a:pt x="36" y="11"/>
                  </a:lnTo>
                  <a:lnTo>
                    <a:pt x="40" y="13"/>
                  </a:lnTo>
                  <a:lnTo>
                    <a:pt x="45" y="17"/>
                  </a:lnTo>
                  <a:lnTo>
                    <a:pt x="34" y="15"/>
                  </a:lnTo>
                  <a:lnTo>
                    <a:pt x="34" y="19"/>
                  </a:lnTo>
                  <a:lnTo>
                    <a:pt x="28" y="22"/>
                  </a:lnTo>
                  <a:lnTo>
                    <a:pt x="32" y="24"/>
                  </a:lnTo>
                  <a:lnTo>
                    <a:pt x="28" y="24"/>
                  </a:lnTo>
                  <a:lnTo>
                    <a:pt x="17" y="26"/>
                  </a:lnTo>
                  <a:lnTo>
                    <a:pt x="11" y="26"/>
                  </a:lnTo>
                  <a:lnTo>
                    <a:pt x="6" y="24"/>
                  </a:lnTo>
                  <a:lnTo>
                    <a:pt x="0" y="28"/>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993"/>
            <p:cNvSpPr>
              <a:spLocks/>
            </p:cNvSpPr>
            <p:nvPr/>
          </p:nvSpPr>
          <p:spPr bwMode="auto">
            <a:xfrm>
              <a:off x="642938" y="6049963"/>
              <a:ext cx="101600" cy="50800"/>
            </a:xfrm>
            <a:custGeom>
              <a:avLst/>
              <a:gdLst>
                <a:gd name="T0" fmla="*/ 4 w 64"/>
                <a:gd name="T1" fmla="*/ 32 h 32"/>
                <a:gd name="T2" fmla="*/ 19 w 64"/>
                <a:gd name="T3" fmla="*/ 30 h 32"/>
                <a:gd name="T4" fmla="*/ 30 w 64"/>
                <a:gd name="T5" fmla="*/ 28 h 32"/>
                <a:gd name="T6" fmla="*/ 34 w 64"/>
                <a:gd name="T7" fmla="*/ 28 h 32"/>
                <a:gd name="T8" fmla="*/ 40 w 64"/>
                <a:gd name="T9" fmla="*/ 30 h 32"/>
                <a:gd name="T10" fmla="*/ 40 w 64"/>
                <a:gd name="T11" fmla="*/ 24 h 32"/>
                <a:gd name="T12" fmla="*/ 45 w 64"/>
                <a:gd name="T13" fmla="*/ 28 h 32"/>
                <a:gd name="T14" fmla="*/ 49 w 64"/>
                <a:gd name="T15" fmla="*/ 24 h 32"/>
                <a:gd name="T16" fmla="*/ 53 w 64"/>
                <a:gd name="T17" fmla="*/ 24 h 32"/>
                <a:gd name="T18" fmla="*/ 60 w 64"/>
                <a:gd name="T19" fmla="*/ 24 h 32"/>
                <a:gd name="T20" fmla="*/ 55 w 64"/>
                <a:gd name="T21" fmla="*/ 17 h 32"/>
                <a:gd name="T22" fmla="*/ 51 w 64"/>
                <a:gd name="T23" fmla="*/ 22 h 32"/>
                <a:gd name="T24" fmla="*/ 53 w 64"/>
                <a:gd name="T25" fmla="*/ 15 h 32"/>
                <a:gd name="T26" fmla="*/ 57 w 64"/>
                <a:gd name="T27" fmla="*/ 15 h 32"/>
                <a:gd name="T28" fmla="*/ 64 w 64"/>
                <a:gd name="T29" fmla="*/ 11 h 32"/>
                <a:gd name="T30" fmla="*/ 62 w 64"/>
                <a:gd name="T31" fmla="*/ 5 h 32"/>
                <a:gd name="T32" fmla="*/ 55 w 64"/>
                <a:gd name="T33" fmla="*/ 9 h 32"/>
                <a:gd name="T34" fmla="*/ 51 w 64"/>
                <a:gd name="T35" fmla="*/ 9 h 32"/>
                <a:gd name="T36" fmla="*/ 53 w 64"/>
                <a:gd name="T37" fmla="*/ 2 h 32"/>
                <a:gd name="T38" fmla="*/ 49 w 64"/>
                <a:gd name="T39" fmla="*/ 0 h 32"/>
                <a:gd name="T40" fmla="*/ 45 w 64"/>
                <a:gd name="T41" fmla="*/ 0 h 32"/>
                <a:gd name="T42" fmla="*/ 38 w 64"/>
                <a:gd name="T43" fmla="*/ 0 h 32"/>
                <a:gd name="T44" fmla="*/ 32 w 64"/>
                <a:gd name="T45" fmla="*/ 5 h 32"/>
                <a:gd name="T46" fmla="*/ 36 w 64"/>
                <a:gd name="T47" fmla="*/ 11 h 32"/>
                <a:gd name="T48" fmla="*/ 40 w 64"/>
                <a:gd name="T49" fmla="*/ 13 h 32"/>
                <a:gd name="T50" fmla="*/ 45 w 64"/>
                <a:gd name="T51" fmla="*/ 17 h 32"/>
                <a:gd name="T52" fmla="*/ 34 w 64"/>
                <a:gd name="T53" fmla="*/ 15 h 32"/>
                <a:gd name="T54" fmla="*/ 34 w 64"/>
                <a:gd name="T55" fmla="*/ 19 h 32"/>
                <a:gd name="T56" fmla="*/ 28 w 64"/>
                <a:gd name="T57" fmla="*/ 22 h 32"/>
                <a:gd name="T58" fmla="*/ 32 w 64"/>
                <a:gd name="T59" fmla="*/ 24 h 32"/>
                <a:gd name="T60" fmla="*/ 28 w 64"/>
                <a:gd name="T61" fmla="*/ 24 h 32"/>
                <a:gd name="T62" fmla="*/ 17 w 64"/>
                <a:gd name="T63" fmla="*/ 26 h 32"/>
                <a:gd name="T64" fmla="*/ 11 w 64"/>
                <a:gd name="T65" fmla="*/ 26 h 32"/>
                <a:gd name="T66" fmla="*/ 6 w 64"/>
                <a:gd name="T67" fmla="*/ 24 h 32"/>
                <a:gd name="T68" fmla="*/ 0 w 64"/>
                <a:gd name="T69" fmla="*/ 28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19" y="30"/>
                  </a:lnTo>
                  <a:lnTo>
                    <a:pt x="30" y="28"/>
                  </a:lnTo>
                  <a:lnTo>
                    <a:pt x="34" y="28"/>
                  </a:lnTo>
                  <a:lnTo>
                    <a:pt x="40" y="30"/>
                  </a:lnTo>
                  <a:lnTo>
                    <a:pt x="40" y="24"/>
                  </a:lnTo>
                  <a:lnTo>
                    <a:pt x="45" y="28"/>
                  </a:lnTo>
                  <a:lnTo>
                    <a:pt x="49" y="24"/>
                  </a:lnTo>
                  <a:lnTo>
                    <a:pt x="53" y="24"/>
                  </a:lnTo>
                  <a:lnTo>
                    <a:pt x="60" y="24"/>
                  </a:lnTo>
                  <a:lnTo>
                    <a:pt x="55" y="17"/>
                  </a:lnTo>
                  <a:lnTo>
                    <a:pt x="51" y="22"/>
                  </a:lnTo>
                  <a:lnTo>
                    <a:pt x="53" y="15"/>
                  </a:lnTo>
                  <a:lnTo>
                    <a:pt x="57" y="15"/>
                  </a:lnTo>
                  <a:lnTo>
                    <a:pt x="64" y="11"/>
                  </a:lnTo>
                  <a:lnTo>
                    <a:pt x="62" y="5"/>
                  </a:lnTo>
                  <a:lnTo>
                    <a:pt x="55" y="9"/>
                  </a:lnTo>
                  <a:lnTo>
                    <a:pt x="51" y="9"/>
                  </a:lnTo>
                  <a:lnTo>
                    <a:pt x="53" y="2"/>
                  </a:lnTo>
                  <a:lnTo>
                    <a:pt x="49" y="0"/>
                  </a:lnTo>
                  <a:lnTo>
                    <a:pt x="45" y="0"/>
                  </a:lnTo>
                  <a:lnTo>
                    <a:pt x="38" y="0"/>
                  </a:lnTo>
                  <a:lnTo>
                    <a:pt x="32" y="5"/>
                  </a:lnTo>
                  <a:lnTo>
                    <a:pt x="36" y="11"/>
                  </a:lnTo>
                  <a:lnTo>
                    <a:pt x="40" y="13"/>
                  </a:lnTo>
                  <a:lnTo>
                    <a:pt x="45" y="17"/>
                  </a:lnTo>
                  <a:lnTo>
                    <a:pt x="34" y="15"/>
                  </a:lnTo>
                  <a:lnTo>
                    <a:pt x="34" y="19"/>
                  </a:lnTo>
                  <a:lnTo>
                    <a:pt x="28" y="22"/>
                  </a:lnTo>
                  <a:lnTo>
                    <a:pt x="32" y="24"/>
                  </a:lnTo>
                  <a:lnTo>
                    <a:pt x="28" y="24"/>
                  </a:lnTo>
                  <a:lnTo>
                    <a:pt x="17" y="26"/>
                  </a:lnTo>
                  <a:lnTo>
                    <a:pt x="11" y="26"/>
                  </a:lnTo>
                  <a:lnTo>
                    <a:pt x="6" y="24"/>
                  </a:lnTo>
                  <a:lnTo>
                    <a:pt x="0" y="28"/>
                  </a:lnTo>
                  <a:lnTo>
                    <a:pt x="4" y="3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7" name="Freeform 994"/>
            <p:cNvSpPr>
              <a:spLocks/>
            </p:cNvSpPr>
            <p:nvPr/>
          </p:nvSpPr>
          <p:spPr bwMode="auto">
            <a:xfrm>
              <a:off x="738188" y="6076950"/>
              <a:ext cx="9525" cy="11113"/>
            </a:xfrm>
            <a:custGeom>
              <a:avLst/>
              <a:gdLst>
                <a:gd name="T0" fmla="*/ 2 w 6"/>
                <a:gd name="T1" fmla="*/ 7 h 7"/>
                <a:gd name="T2" fmla="*/ 4 w 6"/>
                <a:gd name="T3" fmla="*/ 5 h 7"/>
                <a:gd name="T4" fmla="*/ 6 w 6"/>
                <a:gd name="T5" fmla="*/ 0 h 7"/>
                <a:gd name="T6" fmla="*/ 0 w 6"/>
                <a:gd name="T7" fmla="*/ 0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4" y="5"/>
                  </a:lnTo>
                  <a:lnTo>
                    <a:pt x="6" y="0"/>
                  </a:lnTo>
                  <a:lnTo>
                    <a:pt x="0" y="0"/>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995"/>
            <p:cNvSpPr>
              <a:spLocks/>
            </p:cNvSpPr>
            <p:nvPr/>
          </p:nvSpPr>
          <p:spPr bwMode="auto">
            <a:xfrm>
              <a:off x="738188" y="6076950"/>
              <a:ext cx="9525" cy="11113"/>
            </a:xfrm>
            <a:custGeom>
              <a:avLst/>
              <a:gdLst>
                <a:gd name="T0" fmla="*/ 2 w 6"/>
                <a:gd name="T1" fmla="*/ 7 h 7"/>
                <a:gd name="T2" fmla="*/ 4 w 6"/>
                <a:gd name="T3" fmla="*/ 5 h 7"/>
                <a:gd name="T4" fmla="*/ 6 w 6"/>
                <a:gd name="T5" fmla="*/ 0 h 7"/>
                <a:gd name="T6" fmla="*/ 0 w 6"/>
                <a:gd name="T7" fmla="*/ 0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4" y="5"/>
                  </a:lnTo>
                  <a:lnTo>
                    <a:pt x="6" y="0"/>
                  </a:lnTo>
                  <a:lnTo>
                    <a:pt x="0" y="0"/>
                  </a:lnTo>
                  <a:lnTo>
                    <a:pt x="2"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Freeform 996"/>
            <p:cNvSpPr>
              <a:spLocks/>
            </p:cNvSpPr>
            <p:nvPr/>
          </p:nvSpPr>
          <p:spPr bwMode="auto">
            <a:xfrm>
              <a:off x="879475" y="5499100"/>
              <a:ext cx="77788" cy="57150"/>
            </a:xfrm>
            <a:custGeom>
              <a:avLst/>
              <a:gdLst>
                <a:gd name="T0" fmla="*/ 6 w 49"/>
                <a:gd name="T1" fmla="*/ 15 h 36"/>
                <a:gd name="T2" fmla="*/ 6 w 49"/>
                <a:gd name="T3" fmla="*/ 15 h 36"/>
                <a:gd name="T4" fmla="*/ 15 w 49"/>
                <a:gd name="T5" fmla="*/ 26 h 36"/>
                <a:gd name="T6" fmla="*/ 19 w 49"/>
                <a:gd name="T7" fmla="*/ 28 h 36"/>
                <a:gd name="T8" fmla="*/ 28 w 49"/>
                <a:gd name="T9" fmla="*/ 36 h 36"/>
                <a:gd name="T10" fmla="*/ 23 w 49"/>
                <a:gd name="T11" fmla="*/ 30 h 36"/>
                <a:gd name="T12" fmla="*/ 30 w 49"/>
                <a:gd name="T13" fmla="*/ 32 h 36"/>
                <a:gd name="T14" fmla="*/ 40 w 49"/>
                <a:gd name="T15" fmla="*/ 32 h 36"/>
                <a:gd name="T16" fmla="*/ 45 w 49"/>
                <a:gd name="T17" fmla="*/ 32 h 36"/>
                <a:gd name="T18" fmla="*/ 45 w 49"/>
                <a:gd name="T19" fmla="*/ 26 h 36"/>
                <a:gd name="T20" fmla="*/ 49 w 49"/>
                <a:gd name="T21" fmla="*/ 11 h 36"/>
                <a:gd name="T22" fmla="*/ 45 w 49"/>
                <a:gd name="T23" fmla="*/ 7 h 36"/>
                <a:gd name="T24" fmla="*/ 38 w 49"/>
                <a:gd name="T25" fmla="*/ 7 h 36"/>
                <a:gd name="T26" fmla="*/ 34 w 49"/>
                <a:gd name="T27" fmla="*/ 0 h 36"/>
                <a:gd name="T28" fmla="*/ 30 w 49"/>
                <a:gd name="T29" fmla="*/ 0 h 36"/>
                <a:gd name="T30" fmla="*/ 23 w 49"/>
                <a:gd name="T31" fmla="*/ 2 h 36"/>
                <a:gd name="T32" fmla="*/ 19 w 49"/>
                <a:gd name="T33" fmla="*/ 0 h 36"/>
                <a:gd name="T34" fmla="*/ 15 w 49"/>
                <a:gd name="T35" fmla="*/ 4 h 36"/>
                <a:gd name="T36" fmla="*/ 6 w 49"/>
                <a:gd name="T37" fmla="*/ 0 h 36"/>
                <a:gd name="T38" fmla="*/ 0 w 49"/>
                <a:gd name="T39" fmla="*/ 2 h 36"/>
                <a:gd name="T40" fmla="*/ 2 w 49"/>
                <a:gd name="T41" fmla="*/ 13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6" y="15"/>
                  </a:lnTo>
                  <a:lnTo>
                    <a:pt x="15" y="26"/>
                  </a:lnTo>
                  <a:lnTo>
                    <a:pt x="19" y="28"/>
                  </a:lnTo>
                  <a:lnTo>
                    <a:pt x="28" y="36"/>
                  </a:lnTo>
                  <a:lnTo>
                    <a:pt x="23" y="30"/>
                  </a:lnTo>
                  <a:lnTo>
                    <a:pt x="30" y="32"/>
                  </a:lnTo>
                  <a:lnTo>
                    <a:pt x="40" y="32"/>
                  </a:lnTo>
                  <a:lnTo>
                    <a:pt x="45" y="32"/>
                  </a:lnTo>
                  <a:lnTo>
                    <a:pt x="45" y="26"/>
                  </a:lnTo>
                  <a:lnTo>
                    <a:pt x="49" y="11"/>
                  </a:lnTo>
                  <a:lnTo>
                    <a:pt x="45" y="7"/>
                  </a:lnTo>
                  <a:lnTo>
                    <a:pt x="38" y="7"/>
                  </a:lnTo>
                  <a:lnTo>
                    <a:pt x="34" y="0"/>
                  </a:lnTo>
                  <a:lnTo>
                    <a:pt x="30" y="0"/>
                  </a:lnTo>
                  <a:lnTo>
                    <a:pt x="23" y="2"/>
                  </a:lnTo>
                  <a:lnTo>
                    <a:pt x="19" y="0"/>
                  </a:lnTo>
                  <a:lnTo>
                    <a:pt x="15" y="4"/>
                  </a:lnTo>
                  <a:lnTo>
                    <a:pt x="6" y="0"/>
                  </a:lnTo>
                  <a:lnTo>
                    <a:pt x="0" y="2"/>
                  </a:lnTo>
                  <a:lnTo>
                    <a:pt x="2" y="13"/>
                  </a:lnTo>
                  <a:lnTo>
                    <a:pt x="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997"/>
            <p:cNvSpPr>
              <a:spLocks/>
            </p:cNvSpPr>
            <p:nvPr/>
          </p:nvSpPr>
          <p:spPr bwMode="auto">
            <a:xfrm>
              <a:off x="879475" y="5499100"/>
              <a:ext cx="77788" cy="57150"/>
            </a:xfrm>
            <a:custGeom>
              <a:avLst/>
              <a:gdLst>
                <a:gd name="T0" fmla="*/ 6 w 49"/>
                <a:gd name="T1" fmla="*/ 15 h 36"/>
                <a:gd name="T2" fmla="*/ 6 w 49"/>
                <a:gd name="T3" fmla="*/ 15 h 36"/>
                <a:gd name="T4" fmla="*/ 15 w 49"/>
                <a:gd name="T5" fmla="*/ 26 h 36"/>
                <a:gd name="T6" fmla="*/ 19 w 49"/>
                <a:gd name="T7" fmla="*/ 28 h 36"/>
                <a:gd name="T8" fmla="*/ 28 w 49"/>
                <a:gd name="T9" fmla="*/ 36 h 36"/>
                <a:gd name="T10" fmla="*/ 23 w 49"/>
                <a:gd name="T11" fmla="*/ 30 h 36"/>
                <a:gd name="T12" fmla="*/ 30 w 49"/>
                <a:gd name="T13" fmla="*/ 32 h 36"/>
                <a:gd name="T14" fmla="*/ 40 w 49"/>
                <a:gd name="T15" fmla="*/ 32 h 36"/>
                <a:gd name="T16" fmla="*/ 45 w 49"/>
                <a:gd name="T17" fmla="*/ 32 h 36"/>
                <a:gd name="T18" fmla="*/ 45 w 49"/>
                <a:gd name="T19" fmla="*/ 26 h 36"/>
                <a:gd name="T20" fmla="*/ 49 w 49"/>
                <a:gd name="T21" fmla="*/ 11 h 36"/>
                <a:gd name="T22" fmla="*/ 45 w 49"/>
                <a:gd name="T23" fmla="*/ 7 h 36"/>
                <a:gd name="T24" fmla="*/ 38 w 49"/>
                <a:gd name="T25" fmla="*/ 7 h 36"/>
                <a:gd name="T26" fmla="*/ 34 w 49"/>
                <a:gd name="T27" fmla="*/ 0 h 36"/>
                <a:gd name="T28" fmla="*/ 30 w 49"/>
                <a:gd name="T29" fmla="*/ 0 h 36"/>
                <a:gd name="T30" fmla="*/ 23 w 49"/>
                <a:gd name="T31" fmla="*/ 2 h 36"/>
                <a:gd name="T32" fmla="*/ 19 w 49"/>
                <a:gd name="T33" fmla="*/ 0 h 36"/>
                <a:gd name="T34" fmla="*/ 15 w 49"/>
                <a:gd name="T35" fmla="*/ 4 h 36"/>
                <a:gd name="T36" fmla="*/ 6 w 49"/>
                <a:gd name="T37" fmla="*/ 0 h 36"/>
                <a:gd name="T38" fmla="*/ 0 w 49"/>
                <a:gd name="T39" fmla="*/ 2 h 36"/>
                <a:gd name="T40" fmla="*/ 2 w 49"/>
                <a:gd name="T41" fmla="*/ 13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6" y="15"/>
                  </a:lnTo>
                  <a:lnTo>
                    <a:pt x="15" y="26"/>
                  </a:lnTo>
                  <a:lnTo>
                    <a:pt x="19" y="28"/>
                  </a:lnTo>
                  <a:lnTo>
                    <a:pt x="28" y="36"/>
                  </a:lnTo>
                  <a:lnTo>
                    <a:pt x="23" y="30"/>
                  </a:lnTo>
                  <a:lnTo>
                    <a:pt x="30" y="32"/>
                  </a:lnTo>
                  <a:lnTo>
                    <a:pt x="40" y="32"/>
                  </a:lnTo>
                  <a:lnTo>
                    <a:pt x="45" y="32"/>
                  </a:lnTo>
                  <a:lnTo>
                    <a:pt x="45" y="26"/>
                  </a:lnTo>
                  <a:lnTo>
                    <a:pt x="49" y="11"/>
                  </a:lnTo>
                  <a:lnTo>
                    <a:pt x="45" y="7"/>
                  </a:lnTo>
                  <a:lnTo>
                    <a:pt x="38" y="7"/>
                  </a:lnTo>
                  <a:lnTo>
                    <a:pt x="34" y="0"/>
                  </a:lnTo>
                  <a:lnTo>
                    <a:pt x="30" y="0"/>
                  </a:lnTo>
                  <a:lnTo>
                    <a:pt x="23" y="2"/>
                  </a:lnTo>
                  <a:lnTo>
                    <a:pt x="19" y="0"/>
                  </a:lnTo>
                  <a:lnTo>
                    <a:pt x="15" y="4"/>
                  </a:lnTo>
                  <a:lnTo>
                    <a:pt x="6" y="0"/>
                  </a:lnTo>
                  <a:lnTo>
                    <a:pt x="0" y="2"/>
                  </a:lnTo>
                  <a:lnTo>
                    <a:pt x="2" y="13"/>
                  </a:lnTo>
                  <a:lnTo>
                    <a:pt x="6"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Freeform 998"/>
            <p:cNvSpPr>
              <a:spLocks/>
            </p:cNvSpPr>
            <p:nvPr/>
          </p:nvSpPr>
          <p:spPr bwMode="auto">
            <a:xfrm>
              <a:off x="757238" y="6046788"/>
              <a:ext cx="23813" cy="17463"/>
            </a:xfrm>
            <a:custGeom>
              <a:avLst/>
              <a:gdLst>
                <a:gd name="T0" fmla="*/ 5 w 15"/>
                <a:gd name="T1" fmla="*/ 11 h 11"/>
                <a:gd name="T2" fmla="*/ 15 w 15"/>
                <a:gd name="T3" fmla="*/ 9 h 11"/>
                <a:gd name="T4" fmla="*/ 9 w 15"/>
                <a:gd name="T5" fmla="*/ 4 h 11"/>
                <a:gd name="T6" fmla="*/ 5 w 15"/>
                <a:gd name="T7" fmla="*/ 0 h 11"/>
                <a:gd name="T8" fmla="*/ 0 w 15"/>
                <a:gd name="T9" fmla="*/ 4 h 11"/>
                <a:gd name="T10" fmla="*/ 0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15" y="9"/>
                  </a:lnTo>
                  <a:lnTo>
                    <a:pt x="9" y="4"/>
                  </a:lnTo>
                  <a:lnTo>
                    <a:pt x="5" y="0"/>
                  </a:lnTo>
                  <a:lnTo>
                    <a:pt x="0" y="4"/>
                  </a:lnTo>
                  <a:lnTo>
                    <a:pt x="0" y="9"/>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999"/>
            <p:cNvSpPr>
              <a:spLocks/>
            </p:cNvSpPr>
            <p:nvPr/>
          </p:nvSpPr>
          <p:spPr bwMode="auto">
            <a:xfrm>
              <a:off x="757238" y="6046788"/>
              <a:ext cx="23813" cy="17463"/>
            </a:xfrm>
            <a:custGeom>
              <a:avLst/>
              <a:gdLst>
                <a:gd name="T0" fmla="*/ 5 w 15"/>
                <a:gd name="T1" fmla="*/ 11 h 11"/>
                <a:gd name="T2" fmla="*/ 15 w 15"/>
                <a:gd name="T3" fmla="*/ 9 h 11"/>
                <a:gd name="T4" fmla="*/ 9 w 15"/>
                <a:gd name="T5" fmla="*/ 4 h 11"/>
                <a:gd name="T6" fmla="*/ 5 w 15"/>
                <a:gd name="T7" fmla="*/ 0 h 11"/>
                <a:gd name="T8" fmla="*/ 0 w 15"/>
                <a:gd name="T9" fmla="*/ 4 h 11"/>
                <a:gd name="T10" fmla="*/ 0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15" y="9"/>
                  </a:lnTo>
                  <a:lnTo>
                    <a:pt x="9" y="4"/>
                  </a:lnTo>
                  <a:lnTo>
                    <a:pt x="5" y="0"/>
                  </a:lnTo>
                  <a:lnTo>
                    <a:pt x="0" y="4"/>
                  </a:lnTo>
                  <a:lnTo>
                    <a:pt x="0" y="9"/>
                  </a:lnTo>
                  <a:lnTo>
                    <a:pt x="5"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000"/>
            <p:cNvSpPr>
              <a:spLocks/>
            </p:cNvSpPr>
            <p:nvPr/>
          </p:nvSpPr>
          <p:spPr bwMode="auto">
            <a:xfrm>
              <a:off x="784225" y="6046788"/>
              <a:ext cx="7938" cy="17463"/>
            </a:xfrm>
            <a:custGeom>
              <a:avLst/>
              <a:gdLst>
                <a:gd name="T0" fmla="*/ 0 w 5"/>
                <a:gd name="T1" fmla="*/ 11 h 11"/>
                <a:gd name="T2" fmla="*/ 0 w 5"/>
                <a:gd name="T3" fmla="*/ 11 h 11"/>
                <a:gd name="T4" fmla="*/ 5 w 5"/>
                <a:gd name="T5" fmla="*/ 7 h 11"/>
                <a:gd name="T6" fmla="*/ 3 w 5"/>
                <a:gd name="T7" fmla="*/ 0 h 11"/>
                <a:gd name="T8" fmla="*/ 0 w 5"/>
                <a:gd name="T9" fmla="*/ 4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11"/>
                  </a:lnTo>
                  <a:lnTo>
                    <a:pt x="5" y="7"/>
                  </a:lnTo>
                  <a:lnTo>
                    <a:pt x="3" y="0"/>
                  </a:lnTo>
                  <a:lnTo>
                    <a:pt x="0" y="4"/>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001"/>
            <p:cNvSpPr>
              <a:spLocks/>
            </p:cNvSpPr>
            <p:nvPr/>
          </p:nvSpPr>
          <p:spPr bwMode="auto">
            <a:xfrm>
              <a:off x="784225" y="6046788"/>
              <a:ext cx="7938" cy="17463"/>
            </a:xfrm>
            <a:custGeom>
              <a:avLst/>
              <a:gdLst>
                <a:gd name="T0" fmla="*/ 0 w 5"/>
                <a:gd name="T1" fmla="*/ 11 h 11"/>
                <a:gd name="T2" fmla="*/ 0 w 5"/>
                <a:gd name="T3" fmla="*/ 11 h 11"/>
                <a:gd name="T4" fmla="*/ 5 w 5"/>
                <a:gd name="T5" fmla="*/ 7 h 11"/>
                <a:gd name="T6" fmla="*/ 3 w 5"/>
                <a:gd name="T7" fmla="*/ 0 h 11"/>
                <a:gd name="T8" fmla="*/ 0 w 5"/>
                <a:gd name="T9" fmla="*/ 4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11"/>
                  </a:lnTo>
                  <a:lnTo>
                    <a:pt x="5" y="7"/>
                  </a:lnTo>
                  <a:lnTo>
                    <a:pt x="3" y="0"/>
                  </a:lnTo>
                  <a:lnTo>
                    <a:pt x="0" y="4"/>
                  </a:lnTo>
                  <a:lnTo>
                    <a:pt x="0"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5" name="Freeform 1002"/>
            <p:cNvSpPr>
              <a:spLocks/>
            </p:cNvSpPr>
            <p:nvPr/>
          </p:nvSpPr>
          <p:spPr bwMode="auto">
            <a:xfrm>
              <a:off x="792163" y="6067425"/>
              <a:ext cx="6350" cy="6350"/>
            </a:xfrm>
            <a:custGeom>
              <a:avLst/>
              <a:gdLst>
                <a:gd name="T0" fmla="*/ 4 w 4"/>
                <a:gd name="T1" fmla="*/ 4 h 4"/>
                <a:gd name="T2" fmla="*/ 4 w 4"/>
                <a:gd name="T3" fmla="*/ 2 h 4"/>
                <a:gd name="T4" fmla="*/ 0 w 4"/>
                <a:gd name="T5" fmla="*/ 0 h 4"/>
                <a:gd name="T6" fmla="*/ 4 w 4"/>
                <a:gd name="T7" fmla="*/ 4 h 4"/>
              </a:gdLst>
              <a:ahLst/>
              <a:cxnLst>
                <a:cxn ang="0">
                  <a:pos x="T0" y="T1"/>
                </a:cxn>
                <a:cxn ang="0">
                  <a:pos x="T2" y="T3"/>
                </a:cxn>
                <a:cxn ang="0">
                  <a:pos x="T4" y="T5"/>
                </a:cxn>
                <a:cxn ang="0">
                  <a:pos x="T6" y="T7"/>
                </a:cxn>
              </a:cxnLst>
              <a:rect l="0" t="0" r="r" b="b"/>
              <a:pathLst>
                <a:path w="4" h="4">
                  <a:moveTo>
                    <a:pt x="4" y="4"/>
                  </a:moveTo>
                  <a:lnTo>
                    <a:pt x="4" y="2"/>
                  </a:lnTo>
                  <a:lnTo>
                    <a:pt x="0"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003"/>
            <p:cNvSpPr>
              <a:spLocks/>
            </p:cNvSpPr>
            <p:nvPr/>
          </p:nvSpPr>
          <p:spPr bwMode="auto">
            <a:xfrm>
              <a:off x="792163" y="6067425"/>
              <a:ext cx="6350" cy="6350"/>
            </a:xfrm>
            <a:custGeom>
              <a:avLst/>
              <a:gdLst>
                <a:gd name="T0" fmla="*/ 4 w 4"/>
                <a:gd name="T1" fmla="*/ 4 h 4"/>
                <a:gd name="T2" fmla="*/ 4 w 4"/>
                <a:gd name="T3" fmla="*/ 2 h 4"/>
                <a:gd name="T4" fmla="*/ 0 w 4"/>
                <a:gd name="T5" fmla="*/ 0 h 4"/>
                <a:gd name="T6" fmla="*/ 4 w 4"/>
                <a:gd name="T7" fmla="*/ 4 h 4"/>
              </a:gdLst>
              <a:ahLst/>
              <a:cxnLst>
                <a:cxn ang="0">
                  <a:pos x="T0" y="T1"/>
                </a:cxn>
                <a:cxn ang="0">
                  <a:pos x="T2" y="T3"/>
                </a:cxn>
                <a:cxn ang="0">
                  <a:pos x="T4" y="T5"/>
                </a:cxn>
                <a:cxn ang="0">
                  <a:pos x="T6" y="T7"/>
                </a:cxn>
              </a:cxnLst>
              <a:rect l="0" t="0" r="r" b="b"/>
              <a:pathLst>
                <a:path w="4" h="4">
                  <a:moveTo>
                    <a:pt x="4" y="4"/>
                  </a:moveTo>
                  <a:lnTo>
                    <a:pt x="4" y="2"/>
                  </a:lnTo>
                  <a:lnTo>
                    <a:pt x="0" y="0"/>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7" name="Freeform 1004"/>
            <p:cNvSpPr>
              <a:spLocks/>
            </p:cNvSpPr>
            <p:nvPr/>
          </p:nvSpPr>
          <p:spPr bwMode="auto">
            <a:xfrm>
              <a:off x="1065213" y="4995863"/>
              <a:ext cx="11113" cy="6350"/>
            </a:xfrm>
            <a:custGeom>
              <a:avLst/>
              <a:gdLst>
                <a:gd name="T0" fmla="*/ 7 w 7"/>
                <a:gd name="T1" fmla="*/ 2 h 4"/>
                <a:gd name="T2" fmla="*/ 7 w 7"/>
                <a:gd name="T3" fmla="*/ 0 h 4"/>
                <a:gd name="T4" fmla="*/ 0 w 7"/>
                <a:gd name="T5" fmla="*/ 4 h 4"/>
                <a:gd name="T6" fmla="*/ 7 w 7"/>
                <a:gd name="T7" fmla="*/ 2 h 4"/>
              </a:gdLst>
              <a:ahLst/>
              <a:cxnLst>
                <a:cxn ang="0">
                  <a:pos x="T0" y="T1"/>
                </a:cxn>
                <a:cxn ang="0">
                  <a:pos x="T2" y="T3"/>
                </a:cxn>
                <a:cxn ang="0">
                  <a:pos x="T4" y="T5"/>
                </a:cxn>
                <a:cxn ang="0">
                  <a:pos x="T6" y="T7"/>
                </a:cxn>
              </a:cxnLst>
              <a:rect l="0" t="0" r="r" b="b"/>
              <a:pathLst>
                <a:path w="7" h="4">
                  <a:moveTo>
                    <a:pt x="7" y="2"/>
                  </a:moveTo>
                  <a:lnTo>
                    <a:pt x="7" y="0"/>
                  </a:lnTo>
                  <a:lnTo>
                    <a:pt x="0" y="4"/>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1005"/>
            <p:cNvSpPr>
              <a:spLocks/>
            </p:cNvSpPr>
            <p:nvPr/>
          </p:nvSpPr>
          <p:spPr bwMode="auto">
            <a:xfrm>
              <a:off x="1065213" y="4995863"/>
              <a:ext cx="11113" cy="6350"/>
            </a:xfrm>
            <a:custGeom>
              <a:avLst/>
              <a:gdLst>
                <a:gd name="T0" fmla="*/ 7 w 7"/>
                <a:gd name="T1" fmla="*/ 2 h 4"/>
                <a:gd name="T2" fmla="*/ 7 w 7"/>
                <a:gd name="T3" fmla="*/ 0 h 4"/>
                <a:gd name="T4" fmla="*/ 0 w 7"/>
                <a:gd name="T5" fmla="*/ 4 h 4"/>
                <a:gd name="T6" fmla="*/ 7 w 7"/>
                <a:gd name="T7" fmla="*/ 2 h 4"/>
              </a:gdLst>
              <a:ahLst/>
              <a:cxnLst>
                <a:cxn ang="0">
                  <a:pos x="T0" y="T1"/>
                </a:cxn>
                <a:cxn ang="0">
                  <a:pos x="T2" y="T3"/>
                </a:cxn>
                <a:cxn ang="0">
                  <a:pos x="T4" y="T5"/>
                </a:cxn>
                <a:cxn ang="0">
                  <a:pos x="T6" y="T7"/>
                </a:cxn>
              </a:cxnLst>
              <a:rect l="0" t="0" r="r" b="b"/>
              <a:pathLst>
                <a:path w="7" h="4">
                  <a:moveTo>
                    <a:pt x="7" y="2"/>
                  </a:moveTo>
                  <a:lnTo>
                    <a:pt x="7" y="0"/>
                  </a:lnTo>
                  <a:lnTo>
                    <a:pt x="0" y="4"/>
                  </a:lnTo>
                  <a:lnTo>
                    <a:pt x="7"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9" name="Freeform 1006"/>
            <p:cNvSpPr>
              <a:spLocks/>
            </p:cNvSpPr>
            <p:nvPr/>
          </p:nvSpPr>
          <p:spPr bwMode="auto">
            <a:xfrm>
              <a:off x="828675" y="6007100"/>
              <a:ext cx="98425" cy="46038"/>
            </a:xfrm>
            <a:custGeom>
              <a:avLst/>
              <a:gdLst>
                <a:gd name="T0" fmla="*/ 2 w 62"/>
                <a:gd name="T1" fmla="*/ 15 h 29"/>
                <a:gd name="T2" fmla="*/ 0 w 62"/>
                <a:gd name="T3" fmla="*/ 19 h 29"/>
                <a:gd name="T4" fmla="*/ 0 w 62"/>
                <a:gd name="T5" fmla="*/ 25 h 29"/>
                <a:gd name="T6" fmla="*/ 6 w 62"/>
                <a:gd name="T7" fmla="*/ 27 h 29"/>
                <a:gd name="T8" fmla="*/ 11 w 62"/>
                <a:gd name="T9" fmla="*/ 29 h 29"/>
                <a:gd name="T10" fmla="*/ 15 w 62"/>
                <a:gd name="T11" fmla="*/ 29 h 29"/>
                <a:gd name="T12" fmla="*/ 19 w 62"/>
                <a:gd name="T13" fmla="*/ 25 h 29"/>
                <a:gd name="T14" fmla="*/ 26 w 62"/>
                <a:gd name="T15" fmla="*/ 21 h 29"/>
                <a:gd name="T16" fmla="*/ 30 w 62"/>
                <a:gd name="T17" fmla="*/ 21 h 29"/>
                <a:gd name="T18" fmla="*/ 36 w 62"/>
                <a:gd name="T19" fmla="*/ 23 h 29"/>
                <a:gd name="T20" fmla="*/ 45 w 62"/>
                <a:gd name="T21" fmla="*/ 27 h 29"/>
                <a:gd name="T22" fmla="*/ 51 w 62"/>
                <a:gd name="T23" fmla="*/ 25 h 29"/>
                <a:gd name="T24" fmla="*/ 53 w 62"/>
                <a:gd name="T25" fmla="*/ 21 h 29"/>
                <a:gd name="T26" fmla="*/ 58 w 62"/>
                <a:gd name="T27" fmla="*/ 25 h 29"/>
                <a:gd name="T28" fmla="*/ 62 w 62"/>
                <a:gd name="T29" fmla="*/ 29 h 29"/>
                <a:gd name="T30" fmla="*/ 62 w 62"/>
                <a:gd name="T31" fmla="*/ 23 h 29"/>
                <a:gd name="T32" fmla="*/ 58 w 62"/>
                <a:gd name="T33" fmla="*/ 21 h 29"/>
                <a:gd name="T34" fmla="*/ 55 w 62"/>
                <a:gd name="T35" fmla="*/ 17 h 29"/>
                <a:gd name="T36" fmla="*/ 55 w 62"/>
                <a:gd name="T37" fmla="*/ 10 h 29"/>
                <a:gd name="T38" fmla="*/ 53 w 62"/>
                <a:gd name="T39" fmla="*/ 6 h 29"/>
                <a:gd name="T40" fmla="*/ 49 w 62"/>
                <a:gd name="T41" fmla="*/ 2 h 29"/>
                <a:gd name="T42" fmla="*/ 45 w 62"/>
                <a:gd name="T43" fmla="*/ 0 h 29"/>
                <a:gd name="T44" fmla="*/ 34 w 62"/>
                <a:gd name="T45" fmla="*/ 2 h 29"/>
                <a:gd name="T46" fmla="*/ 28 w 62"/>
                <a:gd name="T47" fmla="*/ 4 h 29"/>
                <a:gd name="T48" fmla="*/ 23 w 62"/>
                <a:gd name="T49" fmla="*/ 2 h 29"/>
                <a:gd name="T50" fmla="*/ 19 w 62"/>
                <a:gd name="T51" fmla="*/ 4 h 29"/>
                <a:gd name="T52" fmla="*/ 11 w 62"/>
                <a:gd name="T53" fmla="*/ 12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0" y="19"/>
                  </a:lnTo>
                  <a:lnTo>
                    <a:pt x="0" y="25"/>
                  </a:lnTo>
                  <a:lnTo>
                    <a:pt x="6" y="27"/>
                  </a:lnTo>
                  <a:lnTo>
                    <a:pt x="11" y="29"/>
                  </a:lnTo>
                  <a:lnTo>
                    <a:pt x="15" y="29"/>
                  </a:lnTo>
                  <a:lnTo>
                    <a:pt x="19" y="25"/>
                  </a:lnTo>
                  <a:lnTo>
                    <a:pt x="26" y="21"/>
                  </a:lnTo>
                  <a:lnTo>
                    <a:pt x="30" y="21"/>
                  </a:lnTo>
                  <a:lnTo>
                    <a:pt x="36" y="23"/>
                  </a:lnTo>
                  <a:lnTo>
                    <a:pt x="45" y="27"/>
                  </a:lnTo>
                  <a:lnTo>
                    <a:pt x="51" y="25"/>
                  </a:lnTo>
                  <a:lnTo>
                    <a:pt x="53" y="21"/>
                  </a:lnTo>
                  <a:lnTo>
                    <a:pt x="58" y="25"/>
                  </a:lnTo>
                  <a:lnTo>
                    <a:pt x="62" y="29"/>
                  </a:lnTo>
                  <a:lnTo>
                    <a:pt x="62" y="23"/>
                  </a:lnTo>
                  <a:lnTo>
                    <a:pt x="58" y="21"/>
                  </a:lnTo>
                  <a:lnTo>
                    <a:pt x="55" y="17"/>
                  </a:lnTo>
                  <a:lnTo>
                    <a:pt x="55" y="10"/>
                  </a:lnTo>
                  <a:lnTo>
                    <a:pt x="53" y="6"/>
                  </a:lnTo>
                  <a:lnTo>
                    <a:pt x="49" y="2"/>
                  </a:lnTo>
                  <a:lnTo>
                    <a:pt x="45" y="0"/>
                  </a:lnTo>
                  <a:lnTo>
                    <a:pt x="34" y="2"/>
                  </a:lnTo>
                  <a:lnTo>
                    <a:pt x="28" y="4"/>
                  </a:lnTo>
                  <a:lnTo>
                    <a:pt x="23" y="2"/>
                  </a:lnTo>
                  <a:lnTo>
                    <a:pt x="19" y="4"/>
                  </a:lnTo>
                  <a:lnTo>
                    <a:pt x="11" y="12"/>
                  </a:ln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007"/>
            <p:cNvSpPr>
              <a:spLocks/>
            </p:cNvSpPr>
            <p:nvPr/>
          </p:nvSpPr>
          <p:spPr bwMode="auto">
            <a:xfrm>
              <a:off x="828675" y="6007100"/>
              <a:ext cx="98425" cy="46038"/>
            </a:xfrm>
            <a:custGeom>
              <a:avLst/>
              <a:gdLst>
                <a:gd name="T0" fmla="*/ 2 w 62"/>
                <a:gd name="T1" fmla="*/ 15 h 29"/>
                <a:gd name="T2" fmla="*/ 0 w 62"/>
                <a:gd name="T3" fmla="*/ 19 h 29"/>
                <a:gd name="T4" fmla="*/ 0 w 62"/>
                <a:gd name="T5" fmla="*/ 25 h 29"/>
                <a:gd name="T6" fmla="*/ 6 w 62"/>
                <a:gd name="T7" fmla="*/ 27 h 29"/>
                <a:gd name="T8" fmla="*/ 11 w 62"/>
                <a:gd name="T9" fmla="*/ 29 h 29"/>
                <a:gd name="T10" fmla="*/ 15 w 62"/>
                <a:gd name="T11" fmla="*/ 29 h 29"/>
                <a:gd name="T12" fmla="*/ 19 w 62"/>
                <a:gd name="T13" fmla="*/ 25 h 29"/>
                <a:gd name="T14" fmla="*/ 26 w 62"/>
                <a:gd name="T15" fmla="*/ 21 h 29"/>
                <a:gd name="T16" fmla="*/ 30 w 62"/>
                <a:gd name="T17" fmla="*/ 21 h 29"/>
                <a:gd name="T18" fmla="*/ 36 w 62"/>
                <a:gd name="T19" fmla="*/ 23 h 29"/>
                <a:gd name="T20" fmla="*/ 45 w 62"/>
                <a:gd name="T21" fmla="*/ 27 h 29"/>
                <a:gd name="T22" fmla="*/ 51 w 62"/>
                <a:gd name="T23" fmla="*/ 25 h 29"/>
                <a:gd name="T24" fmla="*/ 53 w 62"/>
                <a:gd name="T25" fmla="*/ 21 h 29"/>
                <a:gd name="T26" fmla="*/ 58 w 62"/>
                <a:gd name="T27" fmla="*/ 25 h 29"/>
                <a:gd name="T28" fmla="*/ 62 w 62"/>
                <a:gd name="T29" fmla="*/ 29 h 29"/>
                <a:gd name="T30" fmla="*/ 62 w 62"/>
                <a:gd name="T31" fmla="*/ 23 h 29"/>
                <a:gd name="T32" fmla="*/ 58 w 62"/>
                <a:gd name="T33" fmla="*/ 21 h 29"/>
                <a:gd name="T34" fmla="*/ 55 w 62"/>
                <a:gd name="T35" fmla="*/ 17 h 29"/>
                <a:gd name="T36" fmla="*/ 55 w 62"/>
                <a:gd name="T37" fmla="*/ 10 h 29"/>
                <a:gd name="T38" fmla="*/ 53 w 62"/>
                <a:gd name="T39" fmla="*/ 6 h 29"/>
                <a:gd name="T40" fmla="*/ 49 w 62"/>
                <a:gd name="T41" fmla="*/ 2 h 29"/>
                <a:gd name="T42" fmla="*/ 45 w 62"/>
                <a:gd name="T43" fmla="*/ 0 h 29"/>
                <a:gd name="T44" fmla="*/ 34 w 62"/>
                <a:gd name="T45" fmla="*/ 2 h 29"/>
                <a:gd name="T46" fmla="*/ 28 w 62"/>
                <a:gd name="T47" fmla="*/ 4 h 29"/>
                <a:gd name="T48" fmla="*/ 23 w 62"/>
                <a:gd name="T49" fmla="*/ 2 h 29"/>
                <a:gd name="T50" fmla="*/ 19 w 62"/>
                <a:gd name="T51" fmla="*/ 4 h 29"/>
                <a:gd name="T52" fmla="*/ 11 w 62"/>
                <a:gd name="T53" fmla="*/ 12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0" y="19"/>
                  </a:lnTo>
                  <a:lnTo>
                    <a:pt x="0" y="25"/>
                  </a:lnTo>
                  <a:lnTo>
                    <a:pt x="6" y="27"/>
                  </a:lnTo>
                  <a:lnTo>
                    <a:pt x="11" y="29"/>
                  </a:lnTo>
                  <a:lnTo>
                    <a:pt x="15" y="29"/>
                  </a:lnTo>
                  <a:lnTo>
                    <a:pt x="19" y="25"/>
                  </a:lnTo>
                  <a:lnTo>
                    <a:pt x="26" y="21"/>
                  </a:lnTo>
                  <a:lnTo>
                    <a:pt x="30" y="21"/>
                  </a:lnTo>
                  <a:lnTo>
                    <a:pt x="36" y="23"/>
                  </a:lnTo>
                  <a:lnTo>
                    <a:pt x="45" y="27"/>
                  </a:lnTo>
                  <a:lnTo>
                    <a:pt x="51" y="25"/>
                  </a:lnTo>
                  <a:lnTo>
                    <a:pt x="53" y="21"/>
                  </a:lnTo>
                  <a:lnTo>
                    <a:pt x="58" y="25"/>
                  </a:lnTo>
                  <a:lnTo>
                    <a:pt x="62" y="29"/>
                  </a:lnTo>
                  <a:lnTo>
                    <a:pt x="62" y="23"/>
                  </a:lnTo>
                  <a:lnTo>
                    <a:pt x="58" y="21"/>
                  </a:lnTo>
                  <a:lnTo>
                    <a:pt x="55" y="17"/>
                  </a:lnTo>
                  <a:lnTo>
                    <a:pt x="55" y="10"/>
                  </a:lnTo>
                  <a:lnTo>
                    <a:pt x="53" y="6"/>
                  </a:lnTo>
                  <a:lnTo>
                    <a:pt x="49" y="2"/>
                  </a:lnTo>
                  <a:lnTo>
                    <a:pt x="45" y="0"/>
                  </a:lnTo>
                  <a:lnTo>
                    <a:pt x="34" y="2"/>
                  </a:lnTo>
                  <a:lnTo>
                    <a:pt x="28" y="4"/>
                  </a:lnTo>
                  <a:lnTo>
                    <a:pt x="23" y="2"/>
                  </a:lnTo>
                  <a:lnTo>
                    <a:pt x="19" y="4"/>
                  </a:lnTo>
                  <a:lnTo>
                    <a:pt x="11" y="12"/>
                  </a:lnTo>
                  <a:lnTo>
                    <a:pt x="2"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1" name="Freeform 1008"/>
            <p:cNvSpPr>
              <a:spLocks/>
            </p:cNvSpPr>
            <p:nvPr/>
          </p:nvSpPr>
          <p:spPr bwMode="auto">
            <a:xfrm>
              <a:off x="936625" y="6070600"/>
              <a:ext cx="11113" cy="14288"/>
            </a:xfrm>
            <a:custGeom>
              <a:avLst/>
              <a:gdLst>
                <a:gd name="T0" fmla="*/ 2 w 7"/>
                <a:gd name="T1" fmla="*/ 2 h 9"/>
                <a:gd name="T2" fmla="*/ 0 w 7"/>
                <a:gd name="T3" fmla="*/ 0 h 9"/>
                <a:gd name="T4" fmla="*/ 0 w 7"/>
                <a:gd name="T5" fmla="*/ 6 h 9"/>
                <a:gd name="T6" fmla="*/ 4 w 7"/>
                <a:gd name="T7" fmla="*/ 9 h 9"/>
                <a:gd name="T8" fmla="*/ 7 w 7"/>
                <a:gd name="T9" fmla="*/ 4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0" y="0"/>
                  </a:lnTo>
                  <a:lnTo>
                    <a:pt x="0" y="6"/>
                  </a:lnTo>
                  <a:lnTo>
                    <a:pt x="4" y="9"/>
                  </a:lnTo>
                  <a:lnTo>
                    <a:pt x="7" y="4"/>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009"/>
            <p:cNvSpPr>
              <a:spLocks/>
            </p:cNvSpPr>
            <p:nvPr/>
          </p:nvSpPr>
          <p:spPr bwMode="auto">
            <a:xfrm>
              <a:off x="936625" y="6070600"/>
              <a:ext cx="11113" cy="14288"/>
            </a:xfrm>
            <a:custGeom>
              <a:avLst/>
              <a:gdLst>
                <a:gd name="T0" fmla="*/ 2 w 7"/>
                <a:gd name="T1" fmla="*/ 2 h 9"/>
                <a:gd name="T2" fmla="*/ 0 w 7"/>
                <a:gd name="T3" fmla="*/ 0 h 9"/>
                <a:gd name="T4" fmla="*/ 0 w 7"/>
                <a:gd name="T5" fmla="*/ 6 h 9"/>
                <a:gd name="T6" fmla="*/ 4 w 7"/>
                <a:gd name="T7" fmla="*/ 9 h 9"/>
                <a:gd name="T8" fmla="*/ 7 w 7"/>
                <a:gd name="T9" fmla="*/ 4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0" y="0"/>
                  </a:lnTo>
                  <a:lnTo>
                    <a:pt x="0" y="6"/>
                  </a:lnTo>
                  <a:lnTo>
                    <a:pt x="4" y="9"/>
                  </a:lnTo>
                  <a:lnTo>
                    <a:pt x="7" y="4"/>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010"/>
            <p:cNvSpPr>
              <a:spLocks/>
            </p:cNvSpPr>
            <p:nvPr/>
          </p:nvSpPr>
          <p:spPr bwMode="auto">
            <a:xfrm>
              <a:off x="966788" y="6037263"/>
              <a:ext cx="11113" cy="6350"/>
            </a:xfrm>
            <a:custGeom>
              <a:avLst/>
              <a:gdLst>
                <a:gd name="T0" fmla="*/ 7 w 7"/>
                <a:gd name="T1" fmla="*/ 0 h 4"/>
                <a:gd name="T2" fmla="*/ 3 w 7"/>
                <a:gd name="T3" fmla="*/ 0 h 4"/>
                <a:gd name="T4" fmla="*/ 0 w 7"/>
                <a:gd name="T5" fmla="*/ 4 h 4"/>
                <a:gd name="T6" fmla="*/ 5 w 7"/>
                <a:gd name="T7" fmla="*/ 4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3" y="0"/>
                  </a:lnTo>
                  <a:lnTo>
                    <a:pt x="0" y="4"/>
                  </a:lnTo>
                  <a:lnTo>
                    <a:pt x="5" y="4"/>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011"/>
            <p:cNvSpPr>
              <a:spLocks/>
            </p:cNvSpPr>
            <p:nvPr/>
          </p:nvSpPr>
          <p:spPr bwMode="auto">
            <a:xfrm>
              <a:off x="966788" y="6037263"/>
              <a:ext cx="11113" cy="6350"/>
            </a:xfrm>
            <a:custGeom>
              <a:avLst/>
              <a:gdLst>
                <a:gd name="T0" fmla="*/ 7 w 7"/>
                <a:gd name="T1" fmla="*/ 0 h 4"/>
                <a:gd name="T2" fmla="*/ 3 w 7"/>
                <a:gd name="T3" fmla="*/ 0 h 4"/>
                <a:gd name="T4" fmla="*/ 0 w 7"/>
                <a:gd name="T5" fmla="*/ 4 h 4"/>
                <a:gd name="T6" fmla="*/ 5 w 7"/>
                <a:gd name="T7" fmla="*/ 4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3" y="0"/>
                  </a:lnTo>
                  <a:lnTo>
                    <a:pt x="0" y="4"/>
                  </a:lnTo>
                  <a:lnTo>
                    <a:pt x="5" y="4"/>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5" name="Rectangle 1012"/>
            <p:cNvSpPr>
              <a:spLocks noChangeArrowheads="1"/>
            </p:cNvSpPr>
            <p:nvPr/>
          </p:nvSpPr>
          <p:spPr bwMode="auto">
            <a:xfrm>
              <a:off x="1173163" y="5259388"/>
              <a:ext cx="79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Rectangle 1013"/>
            <p:cNvSpPr>
              <a:spLocks noChangeArrowheads="1"/>
            </p:cNvSpPr>
            <p:nvPr/>
          </p:nvSpPr>
          <p:spPr bwMode="auto">
            <a:xfrm>
              <a:off x="1173163" y="5259388"/>
              <a:ext cx="7938" cy="6350"/>
            </a:xfrm>
            <a:prstGeom prst="rect">
              <a:avLst/>
            </a:pr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7" name="Freeform 1014"/>
            <p:cNvSpPr>
              <a:spLocks/>
            </p:cNvSpPr>
            <p:nvPr/>
          </p:nvSpPr>
          <p:spPr bwMode="auto">
            <a:xfrm>
              <a:off x="1004888" y="6026150"/>
              <a:ext cx="3175" cy="11113"/>
            </a:xfrm>
            <a:custGeom>
              <a:avLst/>
              <a:gdLst>
                <a:gd name="T0" fmla="*/ 2 w 2"/>
                <a:gd name="T1" fmla="*/ 0 h 7"/>
                <a:gd name="T2" fmla="*/ 0 w 2"/>
                <a:gd name="T3" fmla="*/ 0 h 7"/>
                <a:gd name="T4" fmla="*/ 2 w 2"/>
                <a:gd name="T5" fmla="*/ 7 h 7"/>
                <a:gd name="T6" fmla="*/ 2 w 2"/>
                <a:gd name="T7" fmla="*/ 0 h 7"/>
              </a:gdLst>
              <a:ahLst/>
              <a:cxnLst>
                <a:cxn ang="0">
                  <a:pos x="T0" y="T1"/>
                </a:cxn>
                <a:cxn ang="0">
                  <a:pos x="T2" y="T3"/>
                </a:cxn>
                <a:cxn ang="0">
                  <a:pos x="T4" y="T5"/>
                </a:cxn>
                <a:cxn ang="0">
                  <a:pos x="T6" y="T7"/>
                </a:cxn>
              </a:cxnLst>
              <a:rect l="0" t="0" r="r" b="b"/>
              <a:pathLst>
                <a:path w="2" h="7">
                  <a:moveTo>
                    <a:pt x="2" y="0"/>
                  </a:moveTo>
                  <a:lnTo>
                    <a:pt x="0" y="0"/>
                  </a:lnTo>
                  <a:lnTo>
                    <a:pt x="2"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015"/>
            <p:cNvSpPr>
              <a:spLocks/>
            </p:cNvSpPr>
            <p:nvPr/>
          </p:nvSpPr>
          <p:spPr bwMode="auto">
            <a:xfrm>
              <a:off x="1004888" y="6026150"/>
              <a:ext cx="3175" cy="11113"/>
            </a:xfrm>
            <a:custGeom>
              <a:avLst/>
              <a:gdLst>
                <a:gd name="T0" fmla="*/ 2 w 2"/>
                <a:gd name="T1" fmla="*/ 0 h 7"/>
                <a:gd name="T2" fmla="*/ 0 w 2"/>
                <a:gd name="T3" fmla="*/ 0 h 7"/>
                <a:gd name="T4" fmla="*/ 2 w 2"/>
                <a:gd name="T5" fmla="*/ 7 h 7"/>
                <a:gd name="T6" fmla="*/ 2 w 2"/>
                <a:gd name="T7" fmla="*/ 0 h 7"/>
              </a:gdLst>
              <a:ahLst/>
              <a:cxnLst>
                <a:cxn ang="0">
                  <a:pos x="T0" y="T1"/>
                </a:cxn>
                <a:cxn ang="0">
                  <a:pos x="T2" y="T3"/>
                </a:cxn>
                <a:cxn ang="0">
                  <a:pos x="T4" y="T5"/>
                </a:cxn>
                <a:cxn ang="0">
                  <a:pos x="T6" y="T7"/>
                </a:cxn>
              </a:cxnLst>
              <a:rect l="0" t="0" r="r" b="b"/>
              <a:pathLst>
                <a:path w="2" h="7">
                  <a:moveTo>
                    <a:pt x="2" y="0"/>
                  </a:moveTo>
                  <a:lnTo>
                    <a:pt x="0" y="0"/>
                  </a:lnTo>
                  <a:lnTo>
                    <a:pt x="2" y="7"/>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016"/>
            <p:cNvSpPr>
              <a:spLocks/>
            </p:cNvSpPr>
            <p:nvPr/>
          </p:nvSpPr>
          <p:spPr bwMode="auto">
            <a:xfrm>
              <a:off x="1119188" y="5711825"/>
              <a:ext cx="17463" cy="17463"/>
            </a:xfrm>
            <a:custGeom>
              <a:avLst/>
              <a:gdLst>
                <a:gd name="T0" fmla="*/ 0 w 11"/>
                <a:gd name="T1" fmla="*/ 7 h 11"/>
                <a:gd name="T2" fmla="*/ 0 w 11"/>
                <a:gd name="T3" fmla="*/ 11 h 11"/>
                <a:gd name="T4" fmla="*/ 7 w 11"/>
                <a:gd name="T5" fmla="*/ 11 h 11"/>
                <a:gd name="T6" fmla="*/ 9 w 11"/>
                <a:gd name="T7" fmla="*/ 7 h 11"/>
                <a:gd name="T8" fmla="*/ 11 w 11"/>
                <a:gd name="T9" fmla="*/ 0 h 11"/>
                <a:gd name="T10" fmla="*/ 7 w 11"/>
                <a:gd name="T11" fmla="*/ 2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0" y="11"/>
                  </a:lnTo>
                  <a:lnTo>
                    <a:pt x="7" y="11"/>
                  </a:lnTo>
                  <a:lnTo>
                    <a:pt x="9" y="7"/>
                  </a:lnTo>
                  <a:lnTo>
                    <a:pt x="11" y="0"/>
                  </a:lnTo>
                  <a:lnTo>
                    <a:pt x="7" y="2"/>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1017"/>
            <p:cNvSpPr>
              <a:spLocks/>
            </p:cNvSpPr>
            <p:nvPr/>
          </p:nvSpPr>
          <p:spPr bwMode="auto">
            <a:xfrm>
              <a:off x="1119188" y="5711825"/>
              <a:ext cx="17463" cy="17463"/>
            </a:xfrm>
            <a:custGeom>
              <a:avLst/>
              <a:gdLst>
                <a:gd name="T0" fmla="*/ 0 w 11"/>
                <a:gd name="T1" fmla="*/ 7 h 11"/>
                <a:gd name="T2" fmla="*/ 0 w 11"/>
                <a:gd name="T3" fmla="*/ 11 h 11"/>
                <a:gd name="T4" fmla="*/ 7 w 11"/>
                <a:gd name="T5" fmla="*/ 11 h 11"/>
                <a:gd name="T6" fmla="*/ 9 w 11"/>
                <a:gd name="T7" fmla="*/ 7 h 11"/>
                <a:gd name="T8" fmla="*/ 11 w 11"/>
                <a:gd name="T9" fmla="*/ 0 h 11"/>
                <a:gd name="T10" fmla="*/ 7 w 11"/>
                <a:gd name="T11" fmla="*/ 2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0" y="11"/>
                  </a:lnTo>
                  <a:lnTo>
                    <a:pt x="7" y="11"/>
                  </a:lnTo>
                  <a:lnTo>
                    <a:pt x="9" y="7"/>
                  </a:lnTo>
                  <a:lnTo>
                    <a:pt x="11" y="0"/>
                  </a:lnTo>
                  <a:lnTo>
                    <a:pt x="7" y="2"/>
                  </a:lnTo>
                  <a:lnTo>
                    <a:pt x="0"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018"/>
            <p:cNvSpPr>
              <a:spLocks/>
            </p:cNvSpPr>
            <p:nvPr/>
          </p:nvSpPr>
          <p:spPr bwMode="auto">
            <a:xfrm>
              <a:off x="1055688" y="6019800"/>
              <a:ext cx="20638" cy="23813"/>
            </a:xfrm>
            <a:custGeom>
              <a:avLst/>
              <a:gdLst>
                <a:gd name="T0" fmla="*/ 8 w 13"/>
                <a:gd name="T1" fmla="*/ 0 h 15"/>
                <a:gd name="T2" fmla="*/ 4 w 13"/>
                <a:gd name="T3" fmla="*/ 0 h 15"/>
                <a:gd name="T4" fmla="*/ 0 w 13"/>
                <a:gd name="T5" fmla="*/ 4 h 15"/>
                <a:gd name="T6" fmla="*/ 0 w 13"/>
                <a:gd name="T7" fmla="*/ 9 h 15"/>
                <a:gd name="T8" fmla="*/ 0 w 13"/>
                <a:gd name="T9" fmla="*/ 15 h 15"/>
                <a:gd name="T10" fmla="*/ 10 w 13"/>
                <a:gd name="T11" fmla="*/ 11 h 15"/>
                <a:gd name="T12" fmla="*/ 8 w 13"/>
                <a:gd name="T13" fmla="*/ 7 h 15"/>
                <a:gd name="T14" fmla="*/ 13 w 13"/>
                <a:gd name="T15" fmla="*/ 2 h 15"/>
                <a:gd name="T16" fmla="*/ 6 w 13"/>
                <a:gd name="T17" fmla="*/ 4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4" y="0"/>
                  </a:lnTo>
                  <a:lnTo>
                    <a:pt x="0" y="4"/>
                  </a:lnTo>
                  <a:lnTo>
                    <a:pt x="0" y="9"/>
                  </a:lnTo>
                  <a:lnTo>
                    <a:pt x="0" y="15"/>
                  </a:lnTo>
                  <a:lnTo>
                    <a:pt x="10" y="11"/>
                  </a:lnTo>
                  <a:lnTo>
                    <a:pt x="8" y="7"/>
                  </a:lnTo>
                  <a:lnTo>
                    <a:pt x="13" y="2"/>
                  </a:lnTo>
                  <a:lnTo>
                    <a:pt x="6"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019"/>
            <p:cNvSpPr>
              <a:spLocks/>
            </p:cNvSpPr>
            <p:nvPr/>
          </p:nvSpPr>
          <p:spPr bwMode="auto">
            <a:xfrm>
              <a:off x="1055688" y="6019800"/>
              <a:ext cx="20638" cy="23813"/>
            </a:xfrm>
            <a:custGeom>
              <a:avLst/>
              <a:gdLst>
                <a:gd name="T0" fmla="*/ 8 w 13"/>
                <a:gd name="T1" fmla="*/ 0 h 15"/>
                <a:gd name="T2" fmla="*/ 4 w 13"/>
                <a:gd name="T3" fmla="*/ 0 h 15"/>
                <a:gd name="T4" fmla="*/ 0 w 13"/>
                <a:gd name="T5" fmla="*/ 4 h 15"/>
                <a:gd name="T6" fmla="*/ 0 w 13"/>
                <a:gd name="T7" fmla="*/ 9 h 15"/>
                <a:gd name="T8" fmla="*/ 0 w 13"/>
                <a:gd name="T9" fmla="*/ 15 h 15"/>
                <a:gd name="T10" fmla="*/ 10 w 13"/>
                <a:gd name="T11" fmla="*/ 11 h 15"/>
                <a:gd name="T12" fmla="*/ 8 w 13"/>
                <a:gd name="T13" fmla="*/ 7 h 15"/>
                <a:gd name="T14" fmla="*/ 13 w 13"/>
                <a:gd name="T15" fmla="*/ 2 h 15"/>
                <a:gd name="T16" fmla="*/ 6 w 13"/>
                <a:gd name="T17" fmla="*/ 4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4" y="0"/>
                  </a:lnTo>
                  <a:lnTo>
                    <a:pt x="0" y="4"/>
                  </a:lnTo>
                  <a:lnTo>
                    <a:pt x="0" y="9"/>
                  </a:lnTo>
                  <a:lnTo>
                    <a:pt x="0" y="15"/>
                  </a:lnTo>
                  <a:lnTo>
                    <a:pt x="10" y="11"/>
                  </a:lnTo>
                  <a:lnTo>
                    <a:pt x="8" y="7"/>
                  </a:lnTo>
                  <a:lnTo>
                    <a:pt x="13" y="2"/>
                  </a:lnTo>
                  <a:lnTo>
                    <a:pt x="6" y="4"/>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020"/>
            <p:cNvSpPr>
              <a:spLocks/>
            </p:cNvSpPr>
            <p:nvPr/>
          </p:nvSpPr>
          <p:spPr bwMode="auto">
            <a:xfrm>
              <a:off x="1076325" y="6026150"/>
              <a:ext cx="9525" cy="11113"/>
            </a:xfrm>
            <a:custGeom>
              <a:avLst/>
              <a:gdLst>
                <a:gd name="T0" fmla="*/ 6 w 6"/>
                <a:gd name="T1" fmla="*/ 0 h 7"/>
                <a:gd name="T2" fmla="*/ 6 w 6"/>
                <a:gd name="T3" fmla="*/ 0 h 7"/>
                <a:gd name="T4" fmla="*/ 0 w 6"/>
                <a:gd name="T5" fmla="*/ 3 h 7"/>
                <a:gd name="T6" fmla="*/ 4 w 6"/>
                <a:gd name="T7" fmla="*/ 7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6" y="0"/>
                  </a:lnTo>
                  <a:lnTo>
                    <a:pt x="0" y="3"/>
                  </a:lnTo>
                  <a:lnTo>
                    <a:pt x="4" y="7"/>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021"/>
            <p:cNvSpPr>
              <a:spLocks/>
            </p:cNvSpPr>
            <p:nvPr/>
          </p:nvSpPr>
          <p:spPr bwMode="auto">
            <a:xfrm>
              <a:off x="1076325" y="6026150"/>
              <a:ext cx="9525" cy="11113"/>
            </a:xfrm>
            <a:custGeom>
              <a:avLst/>
              <a:gdLst>
                <a:gd name="T0" fmla="*/ 6 w 6"/>
                <a:gd name="T1" fmla="*/ 0 h 7"/>
                <a:gd name="T2" fmla="*/ 6 w 6"/>
                <a:gd name="T3" fmla="*/ 0 h 7"/>
                <a:gd name="T4" fmla="*/ 0 w 6"/>
                <a:gd name="T5" fmla="*/ 3 h 7"/>
                <a:gd name="T6" fmla="*/ 4 w 6"/>
                <a:gd name="T7" fmla="*/ 7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6" y="0"/>
                  </a:lnTo>
                  <a:lnTo>
                    <a:pt x="0" y="3"/>
                  </a:lnTo>
                  <a:lnTo>
                    <a:pt x="4" y="7"/>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022"/>
            <p:cNvSpPr>
              <a:spLocks/>
            </p:cNvSpPr>
            <p:nvPr/>
          </p:nvSpPr>
          <p:spPr bwMode="auto">
            <a:xfrm>
              <a:off x="1082675" y="6040438"/>
              <a:ext cx="23813" cy="30163"/>
            </a:xfrm>
            <a:custGeom>
              <a:avLst/>
              <a:gdLst>
                <a:gd name="T0" fmla="*/ 8 w 15"/>
                <a:gd name="T1" fmla="*/ 11 h 19"/>
                <a:gd name="T2" fmla="*/ 13 w 15"/>
                <a:gd name="T3" fmla="*/ 4 h 19"/>
                <a:gd name="T4" fmla="*/ 15 w 15"/>
                <a:gd name="T5" fmla="*/ 0 h 19"/>
                <a:gd name="T6" fmla="*/ 10 w 15"/>
                <a:gd name="T7" fmla="*/ 4 h 19"/>
                <a:gd name="T8" fmla="*/ 6 w 15"/>
                <a:gd name="T9" fmla="*/ 4 h 19"/>
                <a:gd name="T10" fmla="*/ 4 w 15"/>
                <a:gd name="T11" fmla="*/ 8 h 19"/>
                <a:gd name="T12" fmla="*/ 2 w 15"/>
                <a:gd name="T13" fmla="*/ 15 h 19"/>
                <a:gd name="T14" fmla="*/ 0 w 15"/>
                <a:gd name="T15" fmla="*/ 19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13" y="4"/>
                  </a:lnTo>
                  <a:lnTo>
                    <a:pt x="15" y="0"/>
                  </a:lnTo>
                  <a:lnTo>
                    <a:pt x="10" y="4"/>
                  </a:lnTo>
                  <a:lnTo>
                    <a:pt x="6" y="4"/>
                  </a:lnTo>
                  <a:lnTo>
                    <a:pt x="4" y="8"/>
                  </a:lnTo>
                  <a:lnTo>
                    <a:pt x="2" y="15"/>
                  </a:lnTo>
                  <a:lnTo>
                    <a:pt x="0" y="19"/>
                  </a:lnTo>
                  <a:lnTo>
                    <a:pt x="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023"/>
            <p:cNvSpPr>
              <a:spLocks/>
            </p:cNvSpPr>
            <p:nvPr/>
          </p:nvSpPr>
          <p:spPr bwMode="auto">
            <a:xfrm>
              <a:off x="1082675" y="6040438"/>
              <a:ext cx="23813" cy="30163"/>
            </a:xfrm>
            <a:custGeom>
              <a:avLst/>
              <a:gdLst>
                <a:gd name="T0" fmla="*/ 8 w 15"/>
                <a:gd name="T1" fmla="*/ 11 h 19"/>
                <a:gd name="T2" fmla="*/ 13 w 15"/>
                <a:gd name="T3" fmla="*/ 4 h 19"/>
                <a:gd name="T4" fmla="*/ 15 w 15"/>
                <a:gd name="T5" fmla="*/ 0 h 19"/>
                <a:gd name="T6" fmla="*/ 10 w 15"/>
                <a:gd name="T7" fmla="*/ 4 h 19"/>
                <a:gd name="T8" fmla="*/ 6 w 15"/>
                <a:gd name="T9" fmla="*/ 4 h 19"/>
                <a:gd name="T10" fmla="*/ 4 w 15"/>
                <a:gd name="T11" fmla="*/ 8 h 19"/>
                <a:gd name="T12" fmla="*/ 2 w 15"/>
                <a:gd name="T13" fmla="*/ 15 h 19"/>
                <a:gd name="T14" fmla="*/ 0 w 15"/>
                <a:gd name="T15" fmla="*/ 19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13" y="4"/>
                  </a:lnTo>
                  <a:lnTo>
                    <a:pt x="15" y="0"/>
                  </a:lnTo>
                  <a:lnTo>
                    <a:pt x="10" y="4"/>
                  </a:lnTo>
                  <a:lnTo>
                    <a:pt x="6" y="4"/>
                  </a:lnTo>
                  <a:lnTo>
                    <a:pt x="4" y="8"/>
                  </a:lnTo>
                  <a:lnTo>
                    <a:pt x="2" y="15"/>
                  </a:lnTo>
                  <a:lnTo>
                    <a:pt x="0" y="19"/>
                  </a:lnTo>
                  <a:lnTo>
                    <a:pt x="8"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7" name="Freeform 1024"/>
            <p:cNvSpPr>
              <a:spLocks/>
            </p:cNvSpPr>
            <p:nvPr/>
          </p:nvSpPr>
          <p:spPr bwMode="auto">
            <a:xfrm>
              <a:off x="1119188" y="6046788"/>
              <a:ext cx="3175" cy="17463"/>
            </a:xfrm>
            <a:custGeom>
              <a:avLst/>
              <a:gdLst>
                <a:gd name="T0" fmla="*/ 2 w 2"/>
                <a:gd name="T1" fmla="*/ 0 h 11"/>
                <a:gd name="T2" fmla="*/ 2 w 2"/>
                <a:gd name="T3" fmla="*/ 0 h 11"/>
                <a:gd name="T4" fmla="*/ 0 w 2"/>
                <a:gd name="T5" fmla="*/ 4 h 11"/>
                <a:gd name="T6" fmla="*/ 0 w 2"/>
                <a:gd name="T7" fmla="*/ 11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2" y="0"/>
                  </a:lnTo>
                  <a:lnTo>
                    <a:pt x="0" y="4"/>
                  </a:lnTo>
                  <a:lnTo>
                    <a:pt x="0" y="1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025"/>
            <p:cNvSpPr>
              <a:spLocks/>
            </p:cNvSpPr>
            <p:nvPr/>
          </p:nvSpPr>
          <p:spPr bwMode="auto">
            <a:xfrm>
              <a:off x="1119188" y="6046788"/>
              <a:ext cx="3175" cy="17463"/>
            </a:xfrm>
            <a:custGeom>
              <a:avLst/>
              <a:gdLst>
                <a:gd name="T0" fmla="*/ 2 w 2"/>
                <a:gd name="T1" fmla="*/ 0 h 11"/>
                <a:gd name="T2" fmla="*/ 2 w 2"/>
                <a:gd name="T3" fmla="*/ 0 h 11"/>
                <a:gd name="T4" fmla="*/ 0 w 2"/>
                <a:gd name="T5" fmla="*/ 4 h 11"/>
                <a:gd name="T6" fmla="*/ 0 w 2"/>
                <a:gd name="T7" fmla="*/ 11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2" y="0"/>
                  </a:lnTo>
                  <a:lnTo>
                    <a:pt x="0" y="4"/>
                  </a:lnTo>
                  <a:lnTo>
                    <a:pt x="0" y="11"/>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9" name="Freeform 1026"/>
            <p:cNvSpPr>
              <a:spLocks/>
            </p:cNvSpPr>
            <p:nvPr/>
          </p:nvSpPr>
          <p:spPr bwMode="auto">
            <a:xfrm>
              <a:off x="1122363" y="6064250"/>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1027"/>
            <p:cNvSpPr>
              <a:spLocks/>
            </p:cNvSpPr>
            <p:nvPr/>
          </p:nvSpPr>
          <p:spPr bwMode="auto">
            <a:xfrm>
              <a:off x="1122363" y="6064250"/>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028"/>
            <p:cNvSpPr>
              <a:spLocks/>
            </p:cNvSpPr>
            <p:nvPr/>
          </p:nvSpPr>
          <p:spPr bwMode="auto">
            <a:xfrm>
              <a:off x="1169988" y="5995988"/>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029"/>
            <p:cNvSpPr>
              <a:spLocks/>
            </p:cNvSpPr>
            <p:nvPr/>
          </p:nvSpPr>
          <p:spPr bwMode="auto">
            <a:xfrm>
              <a:off x="1169988" y="5995988"/>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030"/>
            <p:cNvSpPr>
              <a:spLocks/>
            </p:cNvSpPr>
            <p:nvPr/>
          </p:nvSpPr>
          <p:spPr bwMode="auto">
            <a:xfrm>
              <a:off x="1262063" y="5948363"/>
              <a:ext cx="9525" cy="7938"/>
            </a:xfrm>
            <a:custGeom>
              <a:avLst/>
              <a:gdLst>
                <a:gd name="T0" fmla="*/ 2 w 6"/>
                <a:gd name="T1" fmla="*/ 0 h 5"/>
                <a:gd name="T2" fmla="*/ 0 w 6"/>
                <a:gd name="T3" fmla="*/ 5 h 5"/>
                <a:gd name="T4" fmla="*/ 6 w 6"/>
                <a:gd name="T5" fmla="*/ 3 h 5"/>
                <a:gd name="T6" fmla="*/ 2 w 6"/>
                <a:gd name="T7" fmla="*/ 0 h 5"/>
              </a:gdLst>
              <a:ahLst/>
              <a:cxnLst>
                <a:cxn ang="0">
                  <a:pos x="T0" y="T1"/>
                </a:cxn>
                <a:cxn ang="0">
                  <a:pos x="T2" y="T3"/>
                </a:cxn>
                <a:cxn ang="0">
                  <a:pos x="T4" y="T5"/>
                </a:cxn>
                <a:cxn ang="0">
                  <a:pos x="T6" y="T7"/>
                </a:cxn>
              </a:cxnLst>
              <a:rect l="0" t="0" r="r" b="b"/>
              <a:pathLst>
                <a:path w="6" h="5">
                  <a:moveTo>
                    <a:pt x="2" y="0"/>
                  </a:moveTo>
                  <a:lnTo>
                    <a:pt x="0" y="5"/>
                  </a:lnTo>
                  <a:lnTo>
                    <a:pt x="6" y="3"/>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031"/>
            <p:cNvSpPr>
              <a:spLocks/>
            </p:cNvSpPr>
            <p:nvPr/>
          </p:nvSpPr>
          <p:spPr bwMode="auto">
            <a:xfrm>
              <a:off x="1262063" y="5948363"/>
              <a:ext cx="9525" cy="7938"/>
            </a:xfrm>
            <a:custGeom>
              <a:avLst/>
              <a:gdLst>
                <a:gd name="T0" fmla="*/ 2 w 6"/>
                <a:gd name="T1" fmla="*/ 0 h 5"/>
                <a:gd name="T2" fmla="*/ 0 w 6"/>
                <a:gd name="T3" fmla="*/ 5 h 5"/>
                <a:gd name="T4" fmla="*/ 6 w 6"/>
                <a:gd name="T5" fmla="*/ 3 h 5"/>
                <a:gd name="T6" fmla="*/ 2 w 6"/>
                <a:gd name="T7" fmla="*/ 0 h 5"/>
              </a:gdLst>
              <a:ahLst/>
              <a:cxnLst>
                <a:cxn ang="0">
                  <a:pos x="T0" y="T1"/>
                </a:cxn>
                <a:cxn ang="0">
                  <a:pos x="T2" y="T3"/>
                </a:cxn>
                <a:cxn ang="0">
                  <a:pos x="T4" y="T5"/>
                </a:cxn>
                <a:cxn ang="0">
                  <a:pos x="T6" y="T7"/>
                </a:cxn>
              </a:cxnLst>
              <a:rect l="0" t="0" r="r" b="b"/>
              <a:pathLst>
                <a:path w="6" h="5">
                  <a:moveTo>
                    <a:pt x="2" y="0"/>
                  </a:moveTo>
                  <a:lnTo>
                    <a:pt x="0" y="5"/>
                  </a:lnTo>
                  <a:lnTo>
                    <a:pt x="6" y="3"/>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032"/>
            <p:cNvSpPr>
              <a:spLocks/>
            </p:cNvSpPr>
            <p:nvPr/>
          </p:nvSpPr>
          <p:spPr bwMode="auto">
            <a:xfrm>
              <a:off x="1328738" y="6026150"/>
              <a:ext cx="11113" cy="11113"/>
            </a:xfrm>
            <a:custGeom>
              <a:avLst/>
              <a:gdLst>
                <a:gd name="T0" fmla="*/ 7 w 7"/>
                <a:gd name="T1" fmla="*/ 0 h 7"/>
                <a:gd name="T2" fmla="*/ 2 w 7"/>
                <a:gd name="T3" fmla="*/ 3 h 7"/>
                <a:gd name="T4" fmla="*/ 0 w 7"/>
                <a:gd name="T5" fmla="*/ 7 h 7"/>
                <a:gd name="T6" fmla="*/ 4 w 7"/>
                <a:gd name="T7" fmla="*/ 5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2" y="3"/>
                  </a:lnTo>
                  <a:lnTo>
                    <a:pt x="0" y="7"/>
                  </a:lnTo>
                  <a:lnTo>
                    <a:pt x="4" y="5"/>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033"/>
            <p:cNvSpPr>
              <a:spLocks/>
            </p:cNvSpPr>
            <p:nvPr/>
          </p:nvSpPr>
          <p:spPr bwMode="auto">
            <a:xfrm>
              <a:off x="1328738" y="6026150"/>
              <a:ext cx="11113" cy="11113"/>
            </a:xfrm>
            <a:custGeom>
              <a:avLst/>
              <a:gdLst>
                <a:gd name="T0" fmla="*/ 7 w 7"/>
                <a:gd name="T1" fmla="*/ 0 h 7"/>
                <a:gd name="T2" fmla="*/ 2 w 7"/>
                <a:gd name="T3" fmla="*/ 3 h 7"/>
                <a:gd name="T4" fmla="*/ 0 w 7"/>
                <a:gd name="T5" fmla="*/ 7 h 7"/>
                <a:gd name="T6" fmla="*/ 4 w 7"/>
                <a:gd name="T7" fmla="*/ 5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2" y="3"/>
                  </a:lnTo>
                  <a:lnTo>
                    <a:pt x="0" y="7"/>
                  </a:lnTo>
                  <a:lnTo>
                    <a:pt x="4" y="5"/>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034"/>
            <p:cNvSpPr>
              <a:spLocks/>
            </p:cNvSpPr>
            <p:nvPr/>
          </p:nvSpPr>
          <p:spPr bwMode="auto">
            <a:xfrm>
              <a:off x="1397000" y="5851525"/>
              <a:ext cx="131763" cy="111125"/>
            </a:xfrm>
            <a:custGeom>
              <a:avLst/>
              <a:gdLst>
                <a:gd name="T0" fmla="*/ 49 w 83"/>
                <a:gd name="T1" fmla="*/ 44 h 70"/>
                <a:gd name="T2" fmla="*/ 49 w 83"/>
                <a:gd name="T3" fmla="*/ 40 h 70"/>
                <a:gd name="T4" fmla="*/ 59 w 83"/>
                <a:gd name="T5" fmla="*/ 42 h 70"/>
                <a:gd name="T6" fmla="*/ 68 w 83"/>
                <a:gd name="T7" fmla="*/ 40 h 70"/>
                <a:gd name="T8" fmla="*/ 59 w 83"/>
                <a:gd name="T9" fmla="*/ 32 h 70"/>
                <a:gd name="T10" fmla="*/ 70 w 83"/>
                <a:gd name="T11" fmla="*/ 34 h 70"/>
                <a:gd name="T12" fmla="*/ 83 w 83"/>
                <a:gd name="T13" fmla="*/ 27 h 70"/>
                <a:gd name="T14" fmla="*/ 74 w 83"/>
                <a:gd name="T15" fmla="*/ 19 h 70"/>
                <a:gd name="T16" fmla="*/ 76 w 83"/>
                <a:gd name="T17" fmla="*/ 8 h 70"/>
                <a:gd name="T18" fmla="*/ 68 w 83"/>
                <a:gd name="T19" fmla="*/ 10 h 70"/>
                <a:gd name="T20" fmla="*/ 62 w 83"/>
                <a:gd name="T21" fmla="*/ 4 h 70"/>
                <a:gd name="T22" fmla="*/ 53 w 83"/>
                <a:gd name="T23" fmla="*/ 0 h 70"/>
                <a:gd name="T24" fmla="*/ 53 w 83"/>
                <a:gd name="T25" fmla="*/ 10 h 70"/>
                <a:gd name="T26" fmla="*/ 49 w 83"/>
                <a:gd name="T27" fmla="*/ 10 h 70"/>
                <a:gd name="T28" fmla="*/ 45 w 83"/>
                <a:gd name="T29" fmla="*/ 12 h 70"/>
                <a:gd name="T30" fmla="*/ 42 w 83"/>
                <a:gd name="T31" fmla="*/ 12 h 70"/>
                <a:gd name="T32" fmla="*/ 34 w 83"/>
                <a:gd name="T33" fmla="*/ 6 h 70"/>
                <a:gd name="T34" fmla="*/ 32 w 83"/>
                <a:gd name="T35" fmla="*/ 15 h 70"/>
                <a:gd name="T36" fmla="*/ 32 w 83"/>
                <a:gd name="T37" fmla="*/ 21 h 70"/>
                <a:gd name="T38" fmla="*/ 32 w 83"/>
                <a:gd name="T39" fmla="*/ 21 h 70"/>
                <a:gd name="T40" fmla="*/ 32 w 83"/>
                <a:gd name="T41" fmla="*/ 38 h 70"/>
                <a:gd name="T42" fmla="*/ 27 w 83"/>
                <a:gd name="T43" fmla="*/ 27 h 70"/>
                <a:gd name="T44" fmla="*/ 27 w 83"/>
                <a:gd name="T45" fmla="*/ 19 h 70"/>
                <a:gd name="T46" fmla="*/ 17 w 83"/>
                <a:gd name="T47" fmla="*/ 17 h 70"/>
                <a:gd name="T48" fmla="*/ 0 w 83"/>
                <a:gd name="T49" fmla="*/ 32 h 70"/>
                <a:gd name="T50" fmla="*/ 6 w 83"/>
                <a:gd name="T51" fmla="*/ 42 h 70"/>
                <a:gd name="T52" fmla="*/ 4 w 83"/>
                <a:gd name="T53" fmla="*/ 53 h 70"/>
                <a:gd name="T54" fmla="*/ 10 w 83"/>
                <a:gd name="T55" fmla="*/ 61 h 70"/>
                <a:gd name="T56" fmla="*/ 19 w 83"/>
                <a:gd name="T57" fmla="*/ 46 h 70"/>
                <a:gd name="T58" fmla="*/ 8 w 83"/>
                <a:gd name="T59" fmla="*/ 49 h 70"/>
                <a:gd name="T60" fmla="*/ 17 w 83"/>
                <a:gd name="T61" fmla="*/ 44 h 70"/>
                <a:gd name="T62" fmla="*/ 19 w 83"/>
                <a:gd name="T63" fmla="*/ 53 h 70"/>
                <a:gd name="T64" fmla="*/ 30 w 83"/>
                <a:gd name="T65" fmla="*/ 46 h 70"/>
                <a:gd name="T66" fmla="*/ 27 w 83"/>
                <a:gd name="T67" fmla="*/ 55 h 70"/>
                <a:gd name="T68" fmla="*/ 15 w 83"/>
                <a:gd name="T69" fmla="*/ 68 h 70"/>
                <a:gd name="T70" fmla="*/ 30 w 83"/>
                <a:gd name="T71" fmla="*/ 61 h 70"/>
                <a:gd name="T72" fmla="*/ 32 w 83"/>
                <a:gd name="T73" fmla="*/ 53 h 70"/>
                <a:gd name="T74" fmla="*/ 38 w 83"/>
                <a:gd name="T7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49" y="44"/>
                  </a:lnTo>
                  <a:lnTo>
                    <a:pt x="53" y="46"/>
                  </a:lnTo>
                  <a:lnTo>
                    <a:pt x="49" y="40"/>
                  </a:lnTo>
                  <a:lnTo>
                    <a:pt x="55" y="40"/>
                  </a:lnTo>
                  <a:lnTo>
                    <a:pt x="59" y="42"/>
                  </a:lnTo>
                  <a:lnTo>
                    <a:pt x="64" y="44"/>
                  </a:lnTo>
                  <a:lnTo>
                    <a:pt x="68" y="40"/>
                  </a:lnTo>
                  <a:lnTo>
                    <a:pt x="64" y="34"/>
                  </a:lnTo>
                  <a:lnTo>
                    <a:pt x="59" y="32"/>
                  </a:lnTo>
                  <a:lnTo>
                    <a:pt x="66" y="29"/>
                  </a:lnTo>
                  <a:lnTo>
                    <a:pt x="70" y="34"/>
                  </a:lnTo>
                  <a:lnTo>
                    <a:pt x="74" y="36"/>
                  </a:lnTo>
                  <a:lnTo>
                    <a:pt x="83" y="27"/>
                  </a:lnTo>
                  <a:lnTo>
                    <a:pt x="79" y="25"/>
                  </a:lnTo>
                  <a:lnTo>
                    <a:pt x="74" y="19"/>
                  </a:lnTo>
                  <a:lnTo>
                    <a:pt x="79" y="15"/>
                  </a:lnTo>
                  <a:lnTo>
                    <a:pt x="76" y="8"/>
                  </a:lnTo>
                  <a:lnTo>
                    <a:pt x="72" y="6"/>
                  </a:lnTo>
                  <a:lnTo>
                    <a:pt x="68" y="10"/>
                  </a:lnTo>
                  <a:lnTo>
                    <a:pt x="64" y="15"/>
                  </a:lnTo>
                  <a:lnTo>
                    <a:pt x="62" y="4"/>
                  </a:lnTo>
                  <a:lnTo>
                    <a:pt x="57" y="4"/>
                  </a:lnTo>
                  <a:lnTo>
                    <a:pt x="53" y="0"/>
                  </a:lnTo>
                  <a:lnTo>
                    <a:pt x="55" y="6"/>
                  </a:lnTo>
                  <a:lnTo>
                    <a:pt x="53" y="10"/>
                  </a:lnTo>
                  <a:lnTo>
                    <a:pt x="53" y="17"/>
                  </a:lnTo>
                  <a:lnTo>
                    <a:pt x="49" y="10"/>
                  </a:lnTo>
                  <a:lnTo>
                    <a:pt x="49" y="17"/>
                  </a:lnTo>
                  <a:lnTo>
                    <a:pt x="45" y="12"/>
                  </a:lnTo>
                  <a:lnTo>
                    <a:pt x="42" y="17"/>
                  </a:lnTo>
                  <a:lnTo>
                    <a:pt x="42" y="12"/>
                  </a:lnTo>
                  <a:lnTo>
                    <a:pt x="40" y="6"/>
                  </a:lnTo>
                  <a:lnTo>
                    <a:pt x="34" y="6"/>
                  </a:lnTo>
                  <a:lnTo>
                    <a:pt x="30" y="8"/>
                  </a:lnTo>
                  <a:lnTo>
                    <a:pt x="32" y="15"/>
                  </a:lnTo>
                  <a:lnTo>
                    <a:pt x="36" y="17"/>
                  </a:lnTo>
                  <a:lnTo>
                    <a:pt x="32" y="21"/>
                  </a:lnTo>
                  <a:lnTo>
                    <a:pt x="36" y="25"/>
                  </a:lnTo>
                  <a:lnTo>
                    <a:pt x="32" y="21"/>
                  </a:lnTo>
                  <a:lnTo>
                    <a:pt x="32" y="32"/>
                  </a:lnTo>
                  <a:lnTo>
                    <a:pt x="32" y="38"/>
                  </a:lnTo>
                  <a:lnTo>
                    <a:pt x="30" y="32"/>
                  </a:lnTo>
                  <a:lnTo>
                    <a:pt x="27" y="27"/>
                  </a:lnTo>
                  <a:lnTo>
                    <a:pt x="23" y="23"/>
                  </a:lnTo>
                  <a:lnTo>
                    <a:pt x="27" y="19"/>
                  </a:lnTo>
                  <a:lnTo>
                    <a:pt x="23" y="17"/>
                  </a:lnTo>
                  <a:lnTo>
                    <a:pt x="17" y="17"/>
                  </a:lnTo>
                  <a:lnTo>
                    <a:pt x="6" y="23"/>
                  </a:lnTo>
                  <a:lnTo>
                    <a:pt x="0" y="32"/>
                  </a:lnTo>
                  <a:lnTo>
                    <a:pt x="4" y="36"/>
                  </a:lnTo>
                  <a:lnTo>
                    <a:pt x="6" y="42"/>
                  </a:lnTo>
                  <a:lnTo>
                    <a:pt x="6" y="46"/>
                  </a:lnTo>
                  <a:lnTo>
                    <a:pt x="4" y="53"/>
                  </a:lnTo>
                  <a:lnTo>
                    <a:pt x="10" y="55"/>
                  </a:lnTo>
                  <a:lnTo>
                    <a:pt x="10" y="61"/>
                  </a:lnTo>
                  <a:lnTo>
                    <a:pt x="17" y="57"/>
                  </a:lnTo>
                  <a:lnTo>
                    <a:pt x="19" y="46"/>
                  </a:lnTo>
                  <a:lnTo>
                    <a:pt x="15" y="46"/>
                  </a:lnTo>
                  <a:lnTo>
                    <a:pt x="8" y="49"/>
                  </a:lnTo>
                  <a:lnTo>
                    <a:pt x="10" y="44"/>
                  </a:lnTo>
                  <a:lnTo>
                    <a:pt x="17" y="44"/>
                  </a:lnTo>
                  <a:lnTo>
                    <a:pt x="21" y="46"/>
                  </a:lnTo>
                  <a:lnTo>
                    <a:pt x="19" y="53"/>
                  </a:lnTo>
                  <a:lnTo>
                    <a:pt x="23" y="51"/>
                  </a:lnTo>
                  <a:lnTo>
                    <a:pt x="30" y="46"/>
                  </a:lnTo>
                  <a:lnTo>
                    <a:pt x="23" y="55"/>
                  </a:lnTo>
                  <a:lnTo>
                    <a:pt x="27" y="55"/>
                  </a:lnTo>
                  <a:lnTo>
                    <a:pt x="17" y="64"/>
                  </a:lnTo>
                  <a:lnTo>
                    <a:pt x="15" y="68"/>
                  </a:lnTo>
                  <a:lnTo>
                    <a:pt x="21" y="70"/>
                  </a:lnTo>
                  <a:lnTo>
                    <a:pt x="30" y="61"/>
                  </a:lnTo>
                  <a:lnTo>
                    <a:pt x="36" y="57"/>
                  </a:lnTo>
                  <a:lnTo>
                    <a:pt x="32" y="53"/>
                  </a:lnTo>
                  <a:lnTo>
                    <a:pt x="36" y="53"/>
                  </a:lnTo>
                  <a:lnTo>
                    <a:pt x="38" y="46"/>
                  </a:ln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035"/>
            <p:cNvSpPr>
              <a:spLocks/>
            </p:cNvSpPr>
            <p:nvPr/>
          </p:nvSpPr>
          <p:spPr bwMode="auto">
            <a:xfrm>
              <a:off x="1397000" y="5851525"/>
              <a:ext cx="131763" cy="111125"/>
            </a:xfrm>
            <a:custGeom>
              <a:avLst/>
              <a:gdLst>
                <a:gd name="T0" fmla="*/ 49 w 83"/>
                <a:gd name="T1" fmla="*/ 44 h 70"/>
                <a:gd name="T2" fmla="*/ 49 w 83"/>
                <a:gd name="T3" fmla="*/ 40 h 70"/>
                <a:gd name="T4" fmla="*/ 59 w 83"/>
                <a:gd name="T5" fmla="*/ 42 h 70"/>
                <a:gd name="T6" fmla="*/ 68 w 83"/>
                <a:gd name="T7" fmla="*/ 40 h 70"/>
                <a:gd name="T8" fmla="*/ 59 w 83"/>
                <a:gd name="T9" fmla="*/ 32 h 70"/>
                <a:gd name="T10" fmla="*/ 70 w 83"/>
                <a:gd name="T11" fmla="*/ 34 h 70"/>
                <a:gd name="T12" fmla="*/ 83 w 83"/>
                <a:gd name="T13" fmla="*/ 27 h 70"/>
                <a:gd name="T14" fmla="*/ 74 w 83"/>
                <a:gd name="T15" fmla="*/ 19 h 70"/>
                <a:gd name="T16" fmla="*/ 76 w 83"/>
                <a:gd name="T17" fmla="*/ 8 h 70"/>
                <a:gd name="T18" fmla="*/ 68 w 83"/>
                <a:gd name="T19" fmla="*/ 10 h 70"/>
                <a:gd name="T20" fmla="*/ 62 w 83"/>
                <a:gd name="T21" fmla="*/ 4 h 70"/>
                <a:gd name="T22" fmla="*/ 53 w 83"/>
                <a:gd name="T23" fmla="*/ 0 h 70"/>
                <a:gd name="T24" fmla="*/ 53 w 83"/>
                <a:gd name="T25" fmla="*/ 10 h 70"/>
                <a:gd name="T26" fmla="*/ 49 w 83"/>
                <a:gd name="T27" fmla="*/ 10 h 70"/>
                <a:gd name="T28" fmla="*/ 45 w 83"/>
                <a:gd name="T29" fmla="*/ 12 h 70"/>
                <a:gd name="T30" fmla="*/ 42 w 83"/>
                <a:gd name="T31" fmla="*/ 12 h 70"/>
                <a:gd name="T32" fmla="*/ 34 w 83"/>
                <a:gd name="T33" fmla="*/ 6 h 70"/>
                <a:gd name="T34" fmla="*/ 32 w 83"/>
                <a:gd name="T35" fmla="*/ 15 h 70"/>
                <a:gd name="T36" fmla="*/ 32 w 83"/>
                <a:gd name="T37" fmla="*/ 21 h 70"/>
                <a:gd name="T38" fmla="*/ 32 w 83"/>
                <a:gd name="T39" fmla="*/ 21 h 70"/>
                <a:gd name="T40" fmla="*/ 32 w 83"/>
                <a:gd name="T41" fmla="*/ 38 h 70"/>
                <a:gd name="T42" fmla="*/ 27 w 83"/>
                <a:gd name="T43" fmla="*/ 27 h 70"/>
                <a:gd name="T44" fmla="*/ 27 w 83"/>
                <a:gd name="T45" fmla="*/ 19 h 70"/>
                <a:gd name="T46" fmla="*/ 17 w 83"/>
                <a:gd name="T47" fmla="*/ 17 h 70"/>
                <a:gd name="T48" fmla="*/ 0 w 83"/>
                <a:gd name="T49" fmla="*/ 32 h 70"/>
                <a:gd name="T50" fmla="*/ 6 w 83"/>
                <a:gd name="T51" fmla="*/ 42 h 70"/>
                <a:gd name="T52" fmla="*/ 4 w 83"/>
                <a:gd name="T53" fmla="*/ 53 h 70"/>
                <a:gd name="T54" fmla="*/ 10 w 83"/>
                <a:gd name="T55" fmla="*/ 61 h 70"/>
                <a:gd name="T56" fmla="*/ 19 w 83"/>
                <a:gd name="T57" fmla="*/ 46 h 70"/>
                <a:gd name="T58" fmla="*/ 8 w 83"/>
                <a:gd name="T59" fmla="*/ 49 h 70"/>
                <a:gd name="T60" fmla="*/ 17 w 83"/>
                <a:gd name="T61" fmla="*/ 44 h 70"/>
                <a:gd name="T62" fmla="*/ 19 w 83"/>
                <a:gd name="T63" fmla="*/ 53 h 70"/>
                <a:gd name="T64" fmla="*/ 30 w 83"/>
                <a:gd name="T65" fmla="*/ 46 h 70"/>
                <a:gd name="T66" fmla="*/ 27 w 83"/>
                <a:gd name="T67" fmla="*/ 55 h 70"/>
                <a:gd name="T68" fmla="*/ 15 w 83"/>
                <a:gd name="T69" fmla="*/ 68 h 70"/>
                <a:gd name="T70" fmla="*/ 30 w 83"/>
                <a:gd name="T71" fmla="*/ 61 h 70"/>
                <a:gd name="T72" fmla="*/ 32 w 83"/>
                <a:gd name="T73" fmla="*/ 53 h 70"/>
                <a:gd name="T74" fmla="*/ 38 w 83"/>
                <a:gd name="T7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49" y="44"/>
                  </a:lnTo>
                  <a:lnTo>
                    <a:pt x="53" y="46"/>
                  </a:lnTo>
                  <a:lnTo>
                    <a:pt x="49" y="40"/>
                  </a:lnTo>
                  <a:lnTo>
                    <a:pt x="55" y="40"/>
                  </a:lnTo>
                  <a:lnTo>
                    <a:pt x="59" y="42"/>
                  </a:lnTo>
                  <a:lnTo>
                    <a:pt x="64" y="44"/>
                  </a:lnTo>
                  <a:lnTo>
                    <a:pt x="68" y="40"/>
                  </a:lnTo>
                  <a:lnTo>
                    <a:pt x="64" y="34"/>
                  </a:lnTo>
                  <a:lnTo>
                    <a:pt x="59" y="32"/>
                  </a:lnTo>
                  <a:lnTo>
                    <a:pt x="66" y="29"/>
                  </a:lnTo>
                  <a:lnTo>
                    <a:pt x="70" y="34"/>
                  </a:lnTo>
                  <a:lnTo>
                    <a:pt x="74" y="36"/>
                  </a:lnTo>
                  <a:lnTo>
                    <a:pt x="83" y="27"/>
                  </a:lnTo>
                  <a:lnTo>
                    <a:pt x="79" y="25"/>
                  </a:lnTo>
                  <a:lnTo>
                    <a:pt x="74" y="19"/>
                  </a:lnTo>
                  <a:lnTo>
                    <a:pt x="79" y="15"/>
                  </a:lnTo>
                  <a:lnTo>
                    <a:pt x="76" y="8"/>
                  </a:lnTo>
                  <a:lnTo>
                    <a:pt x="72" y="6"/>
                  </a:lnTo>
                  <a:lnTo>
                    <a:pt x="68" y="10"/>
                  </a:lnTo>
                  <a:lnTo>
                    <a:pt x="64" y="15"/>
                  </a:lnTo>
                  <a:lnTo>
                    <a:pt x="62" y="4"/>
                  </a:lnTo>
                  <a:lnTo>
                    <a:pt x="57" y="4"/>
                  </a:lnTo>
                  <a:lnTo>
                    <a:pt x="53" y="0"/>
                  </a:lnTo>
                  <a:lnTo>
                    <a:pt x="55" y="6"/>
                  </a:lnTo>
                  <a:lnTo>
                    <a:pt x="53" y="10"/>
                  </a:lnTo>
                  <a:lnTo>
                    <a:pt x="53" y="17"/>
                  </a:lnTo>
                  <a:lnTo>
                    <a:pt x="49" y="10"/>
                  </a:lnTo>
                  <a:lnTo>
                    <a:pt x="49" y="17"/>
                  </a:lnTo>
                  <a:lnTo>
                    <a:pt x="45" y="12"/>
                  </a:lnTo>
                  <a:lnTo>
                    <a:pt x="42" y="17"/>
                  </a:lnTo>
                  <a:lnTo>
                    <a:pt x="42" y="12"/>
                  </a:lnTo>
                  <a:lnTo>
                    <a:pt x="40" y="6"/>
                  </a:lnTo>
                  <a:lnTo>
                    <a:pt x="34" y="6"/>
                  </a:lnTo>
                  <a:lnTo>
                    <a:pt x="30" y="8"/>
                  </a:lnTo>
                  <a:lnTo>
                    <a:pt x="32" y="15"/>
                  </a:lnTo>
                  <a:lnTo>
                    <a:pt x="36" y="17"/>
                  </a:lnTo>
                  <a:lnTo>
                    <a:pt x="32" y="21"/>
                  </a:lnTo>
                  <a:lnTo>
                    <a:pt x="36" y="25"/>
                  </a:lnTo>
                  <a:lnTo>
                    <a:pt x="32" y="21"/>
                  </a:lnTo>
                  <a:lnTo>
                    <a:pt x="32" y="32"/>
                  </a:lnTo>
                  <a:lnTo>
                    <a:pt x="32" y="38"/>
                  </a:lnTo>
                  <a:lnTo>
                    <a:pt x="30" y="32"/>
                  </a:lnTo>
                  <a:lnTo>
                    <a:pt x="27" y="27"/>
                  </a:lnTo>
                  <a:lnTo>
                    <a:pt x="23" y="23"/>
                  </a:lnTo>
                  <a:lnTo>
                    <a:pt x="27" y="19"/>
                  </a:lnTo>
                  <a:lnTo>
                    <a:pt x="23" y="17"/>
                  </a:lnTo>
                  <a:lnTo>
                    <a:pt x="17" y="17"/>
                  </a:lnTo>
                  <a:lnTo>
                    <a:pt x="6" y="23"/>
                  </a:lnTo>
                  <a:lnTo>
                    <a:pt x="0" y="32"/>
                  </a:lnTo>
                  <a:lnTo>
                    <a:pt x="4" y="36"/>
                  </a:lnTo>
                  <a:lnTo>
                    <a:pt x="6" y="42"/>
                  </a:lnTo>
                  <a:lnTo>
                    <a:pt x="6" y="46"/>
                  </a:lnTo>
                  <a:lnTo>
                    <a:pt x="4" y="53"/>
                  </a:lnTo>
                  <a:lnTo>
                    <a:pt x="10" y="55"/>
                  </a:lnTo>
                  <a:lnTo>
                    <a:pt x="10" y="61"/>
                  </a:lnTo>
                  <a:lnTo>
                    <a:pt x="17" y="57"/>
                  </a:lnTo>
                  <a:lnTo>
                    <a:pt x="19" y="46"/>
                  </a:lnTo>
                  <a:lnTo>
                    <a:pt x="15" y="46"/>
                  </a:lnTo>
                  <a:lnTo>
                    <a:pt x="8" y="49"/>
                  </a:lnTo>
                  <a:lnTo>
                    <a:pt x="10" y="44"/>
                  </a:lnTo>
                  <a:lnTo>
                    <a:pt x="17" y="44"/>
                  </a:lnTo>
                  <a:lnTo>
                    <a:pt x="21" y="46"/>
                  </a:lnTo>
                  <a:lnTo>
                    <a:pt x="19" y="53"/>
                  </a:lnTo>
                  <a:lnTo>
                    <a:pt x="23" y="51"/>
                  </a:lnTo>
                  <a:lnTo>
                    <a:pt x="30" y="46"/>
                  </a:lnTo>
                  <a:lnTo>
                    <a:pt x="23" y="55"/>
                  </a:lnTo>
                  <a:lnTo>
                    <a:pt x="27" y="55"/>
                  </a:lnTo>
                  <a:lnTo>
                    <a:pt x="17" y="64"/>
                  </a:lnTo>
                  <a:lnTo>
                    <a:pt x="15" y="68"/>
                  </a:lnTo>
                  <a:lnTo>
                    <a:pt x="21" y="70"/>
                  </a:lnTo>
                  <a:lnTo>
                    <a:pt x="30" y="61"/>
                  </a:lnTo>
                  <a:lnTo>
                    <a:pt x="36" y="57"/>
                  </a:lnTo>
                  <a:lnTo>
                    <a:pt x="32" y="53"/>
                  </a:lnTo>
                  <a:lnTo>
                    <a:pt x="36" y="53"/>
                  </a:lnTo>
                  <a:lnTo>
                    <a:pt x="38" y="46"/>
                  </a:lnTo>
                  <a:lnTo>
                    <a:pt x="42"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9" name="Freeform 1036"/>
            <p:cNvSpPr>
              <a:spLocks/>
            </p:cNvSpPr>
            <p:nvPr/>
          </p:nvSpPr>
          <p:spPr bwMode="auto">
            <a:xfrm>
              <a:off x="1390650" y="5969000"/>
              <a:ext cx="12700" cy="14288"/>
            </a:xfrm>
            <a:custGeom>
              <a:avLst/>
              <a:gdLst>
                <a:gd name="T0" fmla="*/ 8 w 8"/>
                <a:gd name="T1" fmla="*/ 2 h 9"/>
                <a:gd name="T2" fmla="*/ 6 w 8"/>
                <a:gd name="T3" fmla="*/ 0 h 9"/>
                <a:gd name="T4" fmla="*/ 2 w 8"/>
                <a:gd name="T5" fmla="*/ 4 h 9"/>
                <a:gd name="T6" fmla="*/ 0 w 8"/>
                <a:gd name="T7" fmla="*/ 9 h 9"/>
                <a:gd name="T8" fmla="*/ 6 w 8"/>
                <a:gd name="T9" fmla="*/ 7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0"/>
                  </a:lnTo>
                  <a:lnTo>
                    <a:pt x="2" y="4"/>
                  </a:lnTo>
                  <a:lnTo>
                    <a:pt x="0" y="9"/>
                  </a:lnTo>
                  <a:lnTo>
                    <a:pt x="6" y="7"/>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037"/>
            <p:cNvSpPr>
              <a:spLocks/>
            </p:cNvSpPr>
            <p:nvPr/>
          </p:nvSpPr>
          <p:spPr bwMode="auto">
            <a:xfrm>
              <a:off x="1390650" y="5969000"/>
              <a:ext cx="12700" cy="14288"/>
            </a:xfrm>
            <a:custGeom>
              <a:avLst/>
              <a:gdLst>
                <a:gd name="T0" fmla="*/ 8 w 8"/>
                <a:gd name="T1" fmla="*/ 2 h 9"/>
                <a:gd name="T2" fmla="*/ 6 w 8"/>
                <a:gd name="T3" fmla="*/ 0 h 9"/>
                <a:gd name="T4" fmla="*/ 2 w 8"/>
                <a:gd name="T5" fmla="*/ 4 h 9"/>
                <a:gd name="T6" fmla="*/ 0 w 8"/>
                <a:gd name="T7" fmla="*/ 9 h 9"/>
                <a:gd name="T8" fmla="*/ 6 w 8"/>
                <a:gd name="T9" fmla="*/ 7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0"/>
                  </a:lnTo>
                  <a:lnTo>
                    <a:pt x="2" y="4"/>
                  </a:lnTo>
                  <a:lnTo>
                    <a:pt x="0" y="9"/>
                  </a:lnTo>
                  <a:lnTo>
                    <a:pt x="6" y="7"/>
                  </a:lnTo>
                  <a:lnTo>
                    <a:pt x="8"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1" name="Freeform 1038"/>
            <p:cNvSpPr>
              <a:spLocks/>
            </p:cNvSpPr>
            <p:nvPr/>
          </p:nvSpPr>
          <p:spPr bwMode="auto">
            <a:xfrm>
              <a:off x="1409700" y="5972175"/>
              <a:ext cx="11113" cy="11113"/>
            </a:xfrm>
            <a:custGeom>
              <a:avLst/>
              <a:gdLst>
                <a:gd name="T0" fmla="*/ 7 w 7"/>
                <a:gd name="T1" fmla="*/ 0 h 7"/>
                <a:gd name="T2" fmla="*/ 7 w 7"/>
                <a:gd name="T3" fmla="*/ 0 h 7"/>
                <a:gd name="T4" fmla="*/ 0 w 7"/>
                <a:gd name="T5" fmla="*/ 0 h 7"/>
                <a:gd name="T6" fmla="*/ 0 w 7"/>
                <a:gd name="T7" fmla="*/ 5 h 7"/>
                <a:gd name="T8" fmla="*/ 5 w 7"/>
                <a:gd name="T9" fmla="*/ 7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7" y="0"/>
                  </a:lnTo>
                  <a:lnTo>
                    <a:pt x="0" y="0"/>
                  </a:lnTo>
                  <a:lnTo>
                    <a:pt x="0" y="5"/>
                  </a:lnTo>
                  <a:lnTo>
                    <a:pt x="5" y="7"/>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039"/>
            <p:cNvSpPr>
              <a:spLocks/>
            </p:cNvSpPr>
            <p:nvPr/>
          </p:nvSpPr>
          <p:spPr bwMode="auto">
            <a:xfrm>
              <a:off x="1409700" y="5972175"/>
              <a:ext cx="11113" cy="11113"/>
            </a:xfrm>
            <a:custGeom>
              <a:avLst/>
              <a:gdLst>
                <a:gd name="T0" fmla="*/ 7 w 7"/>
                <a:gd name="T1" fmla="*/ 0 h 7"/>
                <a:gd name="T2" fmla="*/ 7 w 7"/>
                <a:gd name="T3" fmla="*/ 0 h 7"/>
                <a:gd name="T4" fmla="*/ 0 w 7"/>
                <a:gd name="T5" fmla="*/ 0 h 7"/>
                <a:gd name="T6" fmla="*/ 0 w 7"/>
                <a:gd name="T7" fmla="*/ 5 h 7"/>
                <a:gd name="T8" fmla="*/ 5 w 7"/>
                <a:gd name="T9" fmla="*/ 7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7" y="0"/>
                  </a:lnTo>
                  <a:lnTo>
                    <a:pt x="0" y="0"/>
                  </a:lnTo>
                  <a:lnTo>
                    <a:pt x="0" y="5"/>
                  </a:lnTo>
                  <a:lnTo>
                    <a:pt x="5" y="7"/>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3" name="Freeform 1040"/>
            <p:cNvSpPr>
              <a:spLocks/>
            </p:cNvSpPr>
            <p:nvPr/>
          </p:nvSpPr>
          <p:spPr bwMode="auto">
            <a:xfrm>
              <a:off x="1468438" y="5854700"/>
              <a:ext cx="12700" cy="12700"/>
            </a:xfrm>
            <a:custGeom>
              <a:avLst/>
              <a:gdLst>
                <a:gd name="T0" fmla="*/ 2 w 8"/>
                <a:gd name="T1" fmla="*/ 0 h 8"/>
                <a:gd name="T2" fmla="*/ 0 w 8"/>
                <a:gd name="T3" fmla="*/ 2 h 8"/>
                <a:gd name="T4" fmla="*/ 2 w 8"/>
                <a:gd name="T5" fmla="*/ 6 h 8"/>
                <a:gd name="T6" fmla="*/ 8 w 8"/>
                <a:gd name="T7" fmla="*/ 8 h 8"/>
                <a:gd name="T8" fmla="*/ 6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0" y="2"/>
                  </a:lnTo>
                  <a:lnTo>
                    <a:pt x="2" y="6"/>
                  </a:lnTo>
                  <a:lnTo>
                    <a:pt x="8" y="8"/>
                  </a:lnTo>
                  <a:lnTo>
                    <a:pt x="6"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041"/>
            <p:cNvSpPr>
              <a:spLocks/>
            </p:cNvSpPr>
            <p:nvPr/>
          </p:nvSpPr>
          <p:spPr bwMode="auto">
            <a:xfrm>
              <a:off x="1468438" y="5854700"/>
              <a:ext cx="12700" cy="12700"/>
            </a:xfrm>
            <a:custGeom>
              <a:avLst/>
              <a:gdLst>
                <a:gd name="T0" fmla="*/ 2 w 8"/>
                <a:gd name="T1" fmla="*/ 0 h 8"/>
                <a:gd name="T2" fmla="*/ 0 w 8"/>
                <a:gd name="T3" fmla="*/ 2 h 8"/>
                <a:gd name="T4" fmla="*/ 2 w 8"/>
                <a:gd name="T5" fmla="*/ 6 h 8"/>
                <a:gd name="T6" fmla="*/ 8 w 8"/>
                <a:gd name="T7" fmla="*/ 8 h 8"/>
                <a:gd name="T8" fmla="*/ 6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0" y="2"/>
                  </a:lnTo>
                  <a:lnTo>
                    <a:pt x="2" y="6"/>
                  </a:lnTo>
                  <a:lnTo>
                    <a:pt x="8" y="8"/>
                  </a:lnTo>
                  <a:lnTo>
                    <a:pt x="6" y="2"/>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5" name="Freeform 1042"/>
            <p:cNvSpPr>
              <a:spLocks/>
            </p:cNvSpPr>
            <p:nvPr/>
          </p:nvSpPr>
          <p:spPr bwMode="auto">
            <a:xfrm>
              <a:off x="1481138" y="5813425"/>
              <a:ext cx="63500" cy="41275"/>
            </a:xfrm>
            <a:custGeom>
              <a:avLst/>
              <a:gdLst>
                <a:gd name="T0" fmla="*/ 0 w 40"/>
                <a:gd name="T1" fmla="*/ 15 h 26"/>
                <a:gd name="T2" fmla="*/ 0 w 40"/>
                <a:gd name="T3" fmla="*/ 19 h 26"/>
                <a:gd name="T4" fmla="*/ 4 w 40"/>
                <a:gd name="T5" fmla="*/ 24 h 26"/>
                <a:gd name="T6" fmla="*/ 9 w 40"/>
                <a:gd name="T7" fmla="*/ 24 h 26"/>
                <a:gd name="T8" fmla="*/ 6 w 40"/>
                <a:gd name="T9" fmla="*/ 21 h 26"/>
                <a:gd name="T10" fmla="*/ 13 w 40"/>
                <a:gd name="T11" fmla="*/ 26 h 26"/>
                <a:gd name="T12" fmla="*/ 15 w 40"/>
                <a:gd name="T13" fmla="*/ 21 h 26"/>
                <a:gd name="T14" fmla="*/ 19 w 40"/>
                <a:gd name="T15" fmla="*/ 19 h 26"/>
                <a:gd name="T16" fmla="*/ 21 w 40"/>
                <a:gd name="T17" fmla="*/ 15 h 26"/>
                <a:gd name="T18" fmla="*/ 21 w 40"/>
                <a:gd name="T19" fmla="*/ 19 h 26"/>
                <a:gd name="T20" fmla="*/ 26 w 40"/>
                <a:gd name="T21" fmla="*/ 19 h 26"/>
                <a:gd name="T22" fmla="*/ 30 w 40"/>
                <a:gd name="T23" fmla="*/ 15 h 26"/>
                <a:gd name="T24" fmla="*/ 34 w 40"/>
                <a:gd name="T25" fmla="*/ 19 h 26"/>
                <a:gd name="T26" fmla="*/ 40 w 40"/>
                <a:gd name="T27" fmla="*/ 15 h 26"/>
                <a:gd name="T28" fmla="*/ 40 w 40"/>
                <a:gd name="T29" fmla="*/ 9 h 26"/>
                <a:gd name="T30" fmla="*/ 36 w 40"/>
                <a:gd name="T31" fmla="*/ 13 h 26"/>
                <a:gd name="T32" fmla="*/ 36 w 40"/>
                <a:gd name="T33" fmla="*/ 9 h 26"/>
                <a:gd name="T34" fmla="*/ 32 w 40"/>
                <a:gd name="T35" fmla="*/ 7 h 26"/>
                <a:gd name="T36" fmla="*/ 28 w 40"/>
                <a:gd name="T37" fmla="*/ 4 h 26"/>
                <a:gd name="T38" fmla="*/ 23 w 40"/>
                <a:gd name="T39" fmla="*/ 0 h 26"/>
                <a:gd name="T40" fmla="*/ 17 w 40"/>
                <a:gd name="T41" fmla="*/ 0 h 26"/>
                <a:gd name="T42" fmla="*/ 17 w 40"/>
                <a:gd name="T43" fmla="*/ 11 h 26"/>
                <a:gd name="T44" fmla="*/ 11 w 40"/>
                <a:gd name="T45" fmla="*/ 9 h 26"/>
                <a:gd name="T46" fmla="*/ 6 w 40"/>
                <a:gd name="T47" fmla="*/ 9 h 26"/>
                <a:gd name="T48" fmla="*/ 11 w 40"/>
                <a:gd name="T49" fmla="*/ 13 h 26"/>
                <a:gd name="T50" fmla="*/ 6 w 40"/>
                <a:gd name="T51" fmla="*/ 13 h 26"/>
                <a:gd name="T52" fmla="*/ 2 w 40"/>
                <a:gd name="T53" fmla="*/ 17 h 26"/>
                <a:gd name="T54" fmla="*/ 0 w 40"/>
                <a:gd name="T55"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26">
                  <a:moveTo>
                    <a:pt x="0" y="15"/>
                  </a:moveTo>
                  <a:lnTo>
                    <a:pt x="0" y="19"/>
                  </a:lnTo>
                  <a:lnTo>
                    <a:pt x="4" y="24"/>
                  </a:lnTo>
                  <a:lnTo>
                    <a:pt x="9" y="24"/>
                  </a:lnTo>
                  <a:lnTo>
                    <a:pt x="6" y="21"/>
                  </a:lnTo>
                  <a:lnTo>
                    <a:pt x="13" y="26"/>
                  </a:lnTo>
                  <a:lnTo>
                    <a:pt x="15" y="21"/>
                  </a:lnTo>
                  <a:lnTo>
                    <a:pt x="19" y="19"/>
                  </a:lnTo>
                  <a:lnTo>
                    <a:pt x="21" y="15"/>
                  </a:lnTo>
                  <a:lnTo>
                    <a:pt x="21" y="19"/>
                  </a:lnTo>
                  <a:lnTo>
                    <a:pt x="26" y="19"/>
                  </a:lnTo>
                  <a:lnTo>
                    <a:pt x="30" y="15"/>
                  </a:lnTo>
                  <a:lnTo>
                    <a:pt x="34" y="19"/>
                  </a:lnTo>
                  <a:lnTo>
                    <a:pt x="40" y="15"/>
                  </a:lnTo>
                  <a:lnTo>
                    <a:pt x="40" y="9"/>
                  </a:lnTo>
                  <a:lnTo>
                    <a:pt x="36" y="13"/>
                  </a:lnTo>
                  <a:lnTo>
                    <a:pt x="36" y="9"/>
                  </a:lnTo>
                  <a:lnTo>
                    <a:pt x="32" y="7"/>
                  </a:lnTo>
                  <a:lnTo>
                    <a:pt x="28" y="4"/>
                  </a:lnTo>
                  <a:lnTo>
                    <a:pt x="23" y="0"/>
                  </a:lnTo>
                  <a:lnTo>
                    <a:pt x="17" y="0"/>
                  </a:lnTo>
                  <a:lnTo>
                    <a:pt x="17" y="11"/>
                  </a:lnTo>
                  <a:lnTo>
                    <a:pt x="11" y="9"/>
                  </a:lnTo>
                  <a:lnTo>
                    <a:pt x="6" y="9"/>
                  </a:lnTo>
                  <a:lnTo>
                    <a:pt x="11" y="13"/>
                  </a:lnTo>
                  <a:lnTo>
                    <a:pt x="6" y="13"/>
                  </a:lnTo>
                  <a:lnTo>
                    <a:pt x="2" y="17"/>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043"/>
            <p:cNvSpPr>
              <a:spLocks/>
            </p:cNvSpPr>
            <p:nvPr/>
          </p:nvSpPr>
          <p:spPr bwMode="auto">
            <a:xfrm>
              <a:off x="1481138" y="5813425"/>
              <a:ext cx="63500" cy="41275"/>
            </a:xfrm>
            <a:custGeom>
              <a:avLst/>
              <a:gdLst>
                <a:gd name="T0" fmla="*/ 0 w 40"/>
                <a:gd name="T1" fmla="*/ 15 h 26"/>
                <a:gd name="T2" fmla="*/ 0 w 40"/>
                <a:gd name="T3" fmla="*/ 19 h 26"/>
                <a:gd name="T4" fmla="*/ 4 w 40"/>
                <a:gd name="T5" fmla="*/ 24 h 26"/>
                <a:gd name="T6" fmla="*/ 9 w 40"/>
                <a:gd name="T7" fmla="*/ 24 h 26"/>
                <a:gd name="T8" fmla="*/ 6 w 40"/>
                <a:gd name="T9" fmla="*/ 21 h 26"/>
                <a:gd name="T10" fmla="*/ 13 w 40"/>
                <a:gd name="T11" fmla="*/ 26 h 26"/>
                <a:gd name="T12" fmla="*/ 15 w 40"/>
                <a:gd name="T13" fmla="*/ 21 h 26"/>
                <a:gd name="T14" fmla="*/ 19 w 40"/>
                <a:gd name="T15" fmla="*/ 19 h 26"/>
                <a:gd name="T16" fmla="*/ 21 w 40"/>
                <a:gd name="T17" fmla="*/ 15 h 26"/>
                <a:gd name="T18" fmla="*/ 21 w 40"/>
                <a:gd name="T19" fmla="*/ 19 h 26"/>
                <a:gd name="T20" fmla="*/ 26 w 40"/>
                <a:gd name="T21" fmla="*/ 19 h 26"/>
                <a:gd name="T22" fmla="*/ 30 w 40"/>
                <a:gd name="T23" fmla="*/ 15 h 26"/>
                <a:gd name="T24" fmla="*/ 34 w 40"/>
                <a:gd name="T25" fmla="*/ 19 h 26"/>
                <a:gd name="T26" fmla="*/ 40 w 40"/>
                <a:gd name="T27" fmla="*/ 15 h 26"/>
                <a:gd name="T28" fmla="*/ 40 w 40"/>
                <a:gd name="T29" fmla="*/ 9 h 26"/>
                <a:gd name="T30" fmla="*/ 36 w 40"/>
                <a:gd name="T31" fmla="*/ 13 h 26"/>
                <a:gd name="T32" fmla="*/ 36 w 40"/>
                <a:gd name="T33" fmla="*/ 9 h 26"/>
                <a:gd name="T34" fmla="*/ 32 w 40"/>
                <a:gd name="T35" fmla="*/ 7 h 26"/>
                <a:gd name="T36" fmla="*/ 28 w 40"/>
                <a:gd name="T37" fmla="*/ 4 h 26"/>
                <a:gd name="T38" fmla="*/ 23 w 40"/>
                <a:gd name="T39" fmla="*/ 0 h 26"/>
                <a:gd name="T40" fmla="*/ 17 w 40"/>
                <a:gd name="T41" fmla="*/ 0 h 26"/>
                <a:gd name="T42" fmla="*/ 17 w 40"/>
                <a:gd name="T43" fmla="*/ 11 h 26"/>
                <a:gd name="T44" fmla="*/ 11 w 40"/>
                <a:gd name="T45" fmla="*/ 9 h 26"/>
                <a:gd name="T46" fmla="*/ 6 w 40"/>
                <a:gd name="T47" fmla="*/ 9 h 26"/>
                <a:gd name="T48" fmla="*/ 11 w 40"/>
                <a:gd name="T49" fmla="*/ 13 h 26"/>
                <a:gd name="T50" fmla="*/ 6 w 40"/>
                <a:gd name="T51" fmla="*/ 13 h 26"/>
                <a:gd name="T52" fmla="*/ 2 w 40"/>
                <a:gd name="T53" fmla="*/ 17 h 26"/>
                <a:gd name="T54" fmla="*/ 0 w 40"/>
                <a:gd name="T55"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26">
                  <a:moveTo>
                    <a:pt x="0" y="15"/>
                  </a:moveTo>
                  <a:lnTo>
                    <a:pt x="0" y="19"/>
                  </a:lnTo>
                  <a:lnTo>
                    <a:pt x="4" y="24"/>
                  </a:lnTo>
                  <a:lnTo>
                    <a:pt x="9" y="24"/>
                  </a:lnTo>
                  <a:lnTo>
                    <a:pt x="6" y="21"/>
                  </a:lnTo>
                  <a:lnTo>
                    <a:pt x="13" y="26"/>
                  </a:lnTo>
                  <a:lnTo>
                    <a:pt x="15" y="21"/>
                  </a:lnTo>
                  <a:lnTo>
                    <a:pt x="19" y="19"/>
                  </a:lnTo>
                  <a:lnTo>
                    <a:pt x="21" y="15"/>
                  </a:lnTo>
                  <a:lnTo>
                    <a:pt x="21" y="19"/>
                  </a:lnTo>
                  <a:lnTo>
                    <a:pt x="26" y="19"/>
                  </a:lnTo>
                  <a:lnTo>
                    <a:pt x="30" y="15"/>
                  </a:lnTo>
                  <a:lnTo>
                    <a:pt x="34" y="19"/>
                  </a:lnTo>
                  <a:lnTo>
                    <a:pt x="40" y="15"/>
                  </a:lnTo>
                  <a:lnTo>
                    <a:pt x="40" y="9"/>
                  </a:lnTo>
                  <a:lnTo>
                    <a:pt x="36" y="13"/>
                  </a:lnTo>
                  <a:lnTo>
                    <a:pt x="36" y="9"/>
                  </a:lnTo>
                  <a:lnTo>
                    <a:pt x="32" y="7"/>
                  </a:lnTo>
                  <a:lnTo>
                    <a:pt x="28" y="4"/>
                  </a:lnTo>
                  <a:lnTo>
                    <a:pt x="23" y="0"/>
                  </a:lnTo>
                  <a:lnTo>
                    <a:pt x="17" y="0"/>
                  </a:lnTo>
                  <a:lnTo>
                    <a:pt x="17" y="11"/>
                  </a:lnTo>
                  <a:lnTo>
                    <a:pt x="11" y="9"/>
                  </a:lnTo>
                  <a:lnTo>
                    <a:pt x="6" y="9"/>
                  </a:lnTo>
                  <a:lnTo>
                    <a:pt x="11" y="13"/>
                  </a:lnTo>
                  <a:lnTo>
                    <a:pt x="6" y="13"/>
                  </a:lnTo>
                  <a:lnTo>
                    <a:pt x="2" y="17"/>
                  </a:lnTo>
                  <a:lnTo>
                    <a:pt x="0"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044"/>
            <p:cNvSpPr>
              <a:spLocks/>
            </p:cNvSpPr>
            <p:nvPr/>
          </p:nvSpPr>
          <p:spPr bwMode="auto">
            <a:xfrm>
              <a:off x="1463675" y="5929313"/>
              <a:ext cx="23813" cy="12700"/>
            </a:xfrm>
            <a:custGeom>
              <a:avLst/>
              <a:gdLst>
                <a:gd name="T0" fmla="*/ 15 w 15"/>
                <a:gd name="T1" fmla="*/ 2 h 8"/>
                <a:gd name="T2" fmla="*/ 11 w 15"/>
                <a:gd name="T3" fmla="*/ 0 h 8"/>
                <a:gd name="T4" fmla="*/ 7 w 15"/>
                <a:gd name="T5" fmla="*/ 0 h 8"/>
                <a:gd name="T6" fmla="*/ 3 w 15"/>
                <a:gd name="T7" fmla="*/ 0 h 8"/>
                <a:gd name="T8" fmla="*/ 0 w 15"/>
                <a:gd name="T9" fmla="*/ 4 h 8"/>
                <a:gd name="T10" fmla="*/ 5 w 15"/>
                <a:gd name="T11" fmla="*/ 8 h 8"/>
                <a:gd name="T12" fmla="*/ 9 w 15"/>
                <a:gd name="T13" fmla="*/ 4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11" y="0"/>
                  </a:lnTo>
                  <a:lnTo>
                    <a:pt x="7" y="0"/>
                  </a:lnTo>
                  <a:lnTo>
                    <a:pt x="3" y="0"/>
                  </a:lnTo>
                  <a:lnTo>
                    <a:pt x="0" y="4"/>
                  </a:lnTo>
                  <a:lnTo>
                    <a:pt x="5" y="8"/>
                  </a:lnTo>
                  <a:lnTo>
                    <a:pt x="9" y="4"/>
                  </a:ln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1045"/>
            <p:cNvSpPr>
              <a:spLocks/>
            </p:cNvSpPr>
            <p:nvPr/>
          </p:nvSpPr>
          <p:spPr bwMode="auto">
            <a:xfrm>
              <a:off x="1463675" y="5929313"/>
              <a:ext cx="23813" cy="12700"/>
            </a:xfrm>
            <a:custGeom>
              <a:avLst/>
              <a:gdLst>
                <a:gd name="T0" fmla="*/ 15 w 15"/>
                <a:gd name="T1" fmla="*/ 2 h 8"/>
                <a:gd name="T2" fmla="*/ 11 w 15"/>
                <a:gd name="T3" fmla="*/ 0 h 8"/>
                <a:gd name="T4" fmla="*/ 7 w 15"/>
                <a:gd name="T5" fmla="*/ 0 h 8"/>
                <a:gd name="T6" fmla="*/ 3 w 15"/>
                <a:gd name="T7" fmla="*/ 0 h 8"/>
                <a:gd name="T8" fmla="*/ 0 w 15"/>
                <a:gd name="T9" fmla="*/ 4 h 8"/>
                <a:gd name="T10" fmla="*/ 5 w 15"/>
                <a:gd name="T11" fmla="*/ 8 h 8"/>
                <a:gd name="T12" fmla="*/ 9 w 15"/>
                <a:gd name="T13" fmla="*/ 4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11" y="0"/>
                  </a:lnTo>
                  <a:lnTo>
                    <a:pt x="7" y="0"/>
                  </a:lnTo>
                  <a:lnTo>
                    <a:pt x="3" y="0"/>
                  </a:lnTo>
                  <a:lnTo>
                    <a:pt x="0" y="4"/>
                  </a:lnTo>
                  <a:lnTo>
                    <a:pt x="5" y="8"/>
                  </a:lnTo>
                  <a:lnTo>
                    <a:pt x="9" y="4"/>
                  </a:lnTo>
                  <a:lnTo>
                    <a:pt x="1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9" name="Freeform 1046"/>
            <p:cNvSpPr>
              <a:spLocks/>
            </p:cNvSpPr>
            <p:nvPr/>
          </p:nvSpPr>
          <p:spPr bwMode="auto">
            <a:xfrm>
              <a:off x="1517650" y="5797550"/>
              <a:ext cx="14288" cy="12700"/>
            </a:xfrm>
            <a:custGeom>
              <a:avLst/>
              <a:gdLst>
                <a:gd name="T0" fmla="*/ 9 w 9"/>
                <a:gd name="T1" fmla="*/ 4 h 8"/>
                <a:gd name="T2" fmla="*/ 7 w 9"/>
                <a:gd name="T3" fmla="*/ 0 h 8"/>
                <a:gd name="T4" fmla="*/ 3 w 9"/>
                <a:gd name="T5" fmla="*/ 4 h 8"/>
                <a:gd name="T6" fmla="*/ 0 w 9"/>
                <a:gd name="T7" fmla="*/ 8 h 8"/>
                <a:gd name="T8" fmla="*/ 5 w 9"/>
                <a:gd name="T9" fmla="*/ 8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7" y="0"/>
                  </a:lnTo>
                  <a:lnTo>
                    <a:pt x="3" y="4"/>
                  </a:lnTo>
                  <a:lnTo>
                    <a:pt x="0" y="8"/>
                  </a:lnTo>
                  <a:lnTo>
                    <a:pt x="5" y="8"/>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047"/>
            <p:cNvSpPr>
              <a:spLocks/>
            </p:cNvSpPr>
            <p:nvPr/>
          </p:nvSpPr>
          <p:spPr bwMode="auto">
            <a:xfrm>
              <a:off x="1517650" y="5797550"/>
              <a:ext cx="14288" cy="12700"/>
            </a:xfrm>
            <a:custGeom>
              <a:avLst/>
              <a:gdLst>
                <a:gd name="T0" fmla="*/ 9 w 9"/>
                <a:gd name="T1" fmla="*/ 4 h 8"/>
                <a:gd name="T2" fmla="*/ 7 w 9"/>
                <a:gd name="T3" fmla="*/ 0 h 8"/>
                <a:gd name="T4" fmla="*/ 3 w 9"/>
                <a:gd name="T5" fmla="*/ 4 h 8"/>
                <a:gd name="T6" fmla="*/ 0 w 9"/>
                <a:gd name="T7" fmla="*/ 8 h 8"/>
                <a:gd name="T8" fmla="*/ 5 w 9"/>
                <a:gd name="T9" fmla="*/ 8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7" y="0"/>
                  </a:lnTo>
                  <a:lnTo>
                    <a:pt x="3" y="4"/>
                  </a:lnTo>
                  <a:lnTo>
                    <a:pt x="0" y="8"/>
                  </a:lnTo>
                  <a:lnTo>
                    <a:pt x="5" y="8"/>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048"/>
            <p:cNvSpPr>
              <a:spLocks/>
            </p:cNvSpPr>
            <p:nvPr/>
          </p:nvSpPr>
          <p:spPr bwMode="auto">
            <a:xfrm>
              <a:off x="1565275" y="5627688"/>
              <a:ext cx="7938" cy="9525"/>
            </a:xfrm>
            <a:custGeom>
              <a:avLst/>
              <a:gdLst>
                <a:gd name="T0" fmla="*/ 5 w 5"/>
                <a:gd name="T1" fmla="*/ 2 h 6"/>
                <a:gd name="T2" fmla="*/ 0 w 5"/>
                <a:gd name="T3" fmla="*/ 0 h 6"/>
                <a:gd name="T4" fmla="*/ 0 w 5"/>
                <a:gd name="T5" fmla="*/ 6 h 6"/>
                <a:gd name="T6" fmla="*/ 5 w 5"/>
                <a:gd name="T7" fmla="*/ 2 h 6"/>
              </a:gdLst>
              <a:ahLst/>
              <a:cxnLst>
                <a:cxn ang="0">
                  <a:pos x="T0" y="T1"/>
                </a:cxn>
                <a:cxn ang="0">
                  <a:pos x="T2" y="T3"/>
                </a:cxn>
                <a:cxn ang="0">
                  <a:pos x="T4" y="T5"/>
                </a:cxn>
                <a:cxn ang="0">
                  <a:pos x="T6" y="T7"/>
                </a:cxn>
              </a:cxnLst>
              <a:rect l="0" t="0" r="r" b="b"/>
              <a:pathLst>
                <a:path w="5" h="6">
                  <a:moveTo>
                    <a:pt x="5" y="2"/>
                  </a:moveTo>
                  <a:lnTo>
                    <a:pt x="0" y="0"/>
                  </a:lnTo>
                  <a:lnTo>
                    <a:pt x="0" y="6"/>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049"/>
            <p:cNvSpPr>
              <a:spLocks/>
            </p:cNvSpPr>
            <p:nvPr/>
          </p:nvSpPr>
          <p:spPr bwMode="auto">
            <a:xfrm>
              <a:off x="1565275" y="5627688"/>
              <a:ext cx="7938" cy="9525"/>
            </a:xfrm>
            <a:custGeom>
              <a:avLst/>
              <a:gdLst>
                <a:gd name="T0" fmla="*/ 5 w 5"/>
                <a:gd name="T1" fmla="*/ 2 h 6"/>
                <a:gd name="T2" fmla="*/ 0 w 5"/>
                <a:gd name="T3" fmla="*/ 0 h 6"/>
                <a:gd name="T4" fmla="*/ 0 w 5"/>
                <a:gd name="T5" fmla="*/ 6 h 6"/>
                <a:gd name="T6" fmla="*/ 5 w 5"/>
                <a:gd name="T7" fmla="*/ 2 h 6"/>
              </a:gdLst>
              <a:ahLst/>
              <a:cxnLst>
                <a:cxn ang="0">
                  <a:pos x="T0" y="T1"/>
                </a:cxn>
                <a:cxn ang="0">
                  <a:pos x="T2" y="T3"/>
                </a:cxn>
                <a:cxn ang="0">
                  <a:pos x="T4" y="T5"/>
                </a:cxn>
                <a:cxn ang="0">
                  <a:pos x="T6" y="T7"/>
                </a:cxn>
              </a:cxnLst>
              <a:rect l="0" t="0" r="r" b="b"/>
              <a:pathLst>
                <a:path w="5" h="6">
                  <a:moveTo>
                    <a:pt x="5" y="2"/>
                  </a:moveTo>
                  <a:lnTo>
                    <a:pt x="0" y="0"/>
                  </a:lnTo>
                  <a:lnTo>
                    <a:pt x="0" y="6"/>
                  </a:lnTo>
                  <a:lnTo>
                    <a:pt x="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050"/>
            <p:cNvSpPr>
              <a:spLocks/>
            </p:cNvSpPr>
            <p:nvPr/>
          </p:nvSpPr>
          <p:spPr bwMode="auto">
            <a:xfrm>
              <a:off x="1738313" y="5618163"/>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051"/>
            <p:cNvSpPr>
              <a:spLocks/>
            </p:cNvSpPr>
            <p:nvPr/>
          </p:nvSpPr>
          <p:spPr bwMode="auto">
            <a:xfrm>
              <a:off x="1738313" y="5618163"/>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052"/>
            <p:cNvSpPr>
              <a:spLocks/>
            </p:cNvSpPr>
            <p:nvPr/>
          </p:nvSpPr>
          <p:spPr bwMode="auto">
            <a:xfrm>
              <a:off x="1744663" y="5603875"/>
              <a:ext cx="6350" cy="11113"/>
            </a:xfrm>
            <a:custGeom>
              <a:avLst/>
              <a:gdLst>
                <a:gd name="T0" fmla="*/ 2 w 4"/>
                <a:gd name="T1" fmla="*/ 0 h 7"/>
                <a:gd name="T2" fmla="*/ 0 w 4"/>
                <a:gd name="T3" fmla="*/ 2 h 7"/>
                <a:gd name="T4" fmla="*/ 0 w 4"/>
                <a:gd name="T5" fmla="*/ 7 h 7"/>
                <a:gd name="T6" fmla="*/ 4 w 4"/>
                <a:gd name="T7" fmla="*/ 4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2"/>
                  </a:lnTo>
                  <a:lnTo>
                    <a:pt x="0" y="7"/>
                  </a:lnTo>
                  <a:lnTo>
                    <a:pt x="4"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053"/>
            <p:cNvSpPr>
              <a:spLocks/>
            </p:cNvSpPr>
            <p:nvPr/>
          </p:nvSpPr>
          <p:spPr bwMode="auto">
            <a:xfrm>
              <a:off x="1744663" y="5603875"/>
              <a:ext cx="6350" cy="11113"/>
            </a:xfrm>
            <a:custGeom>
              <a:avLst/>
              <a:gdLst>
                <a:gd name="T0" fmla="*/ 2 w 4"/>
                <a:gd name="T1" fmla="*/ 0 h 7"/>
                <a:gd name="T2" fmla="*/ 0 w 4"/>
                <a:gd name="T3" fmla="*/ 2 h 7"/>
                <a:gd name="T4" fmla="*/ 0 w 4"/>
                <a:gd name="T5" fmla="*/ 7 h 7"/>
                <a:gd name="T6" fmla="*/ 4 w 4"/>
                <a:gd name="T7" fmla="*/ 4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2"/>
                  </a:lnTo>
                  <a:lnTo>
                    <a:pt x="0" y="7"/>
                  </a:lnTo>
                  <a:lnTo>
                    <a:pt x="4" y="4"/>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054"/>
            <p:cNvSpPr>
              <a:spLocks/>
            </p:cNvSpPr>
            <p:nvPr/>
          </p:nvSpPr>
          <p:spPr bwMode="auto">
            <a:xfrm>
              <a:off x="1735138" y="5672138"/>
              <a:ext cx="9525" cy="12700"/>
            </a:xfrm>
            <a:custGeom>
              <a:avLst/>
              <a:gdLst>
                <a:gd name="T0" fmla="*/ 6 w 6"/>
                <a:gd name="T1" fmla="*/ 0 h 8"/>
                <a:gd name="T2" fmla="*/ 4 w 6"/>
                <a:gd name="T3" fmla="*/ 0 h 8"/>
                <a:gd name="T4" fmla="*/ 0 w 6"/>
                <a:gd name="T5" fmla="*/ 4 h 8"/>
                <a:gd name="T6" fmla="*/ 0 w 6"/>
                <a:gd name="T7" fmla="*/ 8 h 8"/>
                <a:gd name="T8" fmla="*/ 4 w 6"/>
                <a:gd name="T9" fmla="*/ 4 h 8"/>
                <a:gd name="T10" fmla="*/ 6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6" y="0"/>
                  </a:moveTo>
                  <a:lnTo>
                    <a:pt x="4" y="0"/>
                  </a:lnTo>
                  <a:lnTo>
                    <a:pt x="0" y="4"/>
                  </a:lnTo>
                  <a:lnTo>
                    <a:pt x="0" y="8"/>
                  </a:lnTo>
                  <a:lnTo>
                    <a:pt x="4" y="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055"/>
            <p:cNvSpPr>
              <a:spLocks/>
            </p:cNvSpPr>
            <p:nvPr/>
          </p:nvSpPr>
          <p:spPr bwMode="auto">
            <a:xfrm>
              <a:off x="1735138" y="5672138"/>
              <a:ext cx="9525" cy="12700"/>
            </a:xfrm>
            <a:custGeom>
              <a:avLst/>
              <a:gdLst>
                <a:gd name="T0" fmla="*/ 6 w 6"/>
                <a:gd name="T1" fmla="*/ 0 h 8"/>
                <a:gd name="T2" fmla="*/ 4 w 6"/>
                <a:gd name="T3" fmla="*/ 0 h 8"/>
                <a:gd name="T4" fmla="*/ 0 w 6"/>
                <a:gd name="T5" fmla="*/ 4 h 8"/>
                <a:gd name="T6" fmla="*/ 0 w 6"/>
                <a:gd name="T7" fmla="*/ 8 h 8"/>
                <a:gd name="T8" fmla="*/ 4 w 6"/>
                <a:gd name="T9" fmla="*/ 4 h 8"/>
                <a:gd name="T10" fmla="*/ 6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6" y="0"/>
                  </a:moveTo>
                  <a:lnTo>
                    <a:pt x="4" y="0"/>
                  </a:lnTo>
                  <a:lnTo>
                    <a:pt x="0" y="4"/>
                  </a:lnTo>
                  <a:lnTo>
                    <a:pt x="0" y="8"/>
                  </a:lnTo>
                  <a:lnTo>
                    <a:pt x="4" y="4"/>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9" name="Freeform 1056"/>
            <p:cNvSpPr>
              <a:spLocks/>
            </p:cNvSpPr>
            <p:nvPr/>
          </p:nvSpPr>
          <p:spPr bwMode="auto">
            <a:xfrm>
              <a:off x="1731963" y="5688013"/>
              <a:ext cx="9525" cy="4763"/>
            </a:xfrm>
            <a:custGeom>
              <a:avLst/>
              <a:gdLst>
                <a:gd name="T0" fmla="*/ 6 w 6"/>
                <a:gd name="T1" fmla="*/ 0 h 3"/>
                <a:gd name="T2" fmla="*/ 0 w 6"/>
                <a:gd name="T3" fmla="*/ 3 h 3"/>
                <a:gd name="T4" fmla="*/ 6 w 6"/>
                <a:gd name="T5" fmla="*/ 0 h 3"/>
                <a:gd name="T6" fmla="*/ 6 w 6"/>
                <a:gd name="T7" fmla="*/ 0 h 3"/>
              </a:gdLst>
              <a:ahLst/>
              <a:cxnLst>
                <a:cxn ang="0">
                  <a:pos x="T0" y="T1"/>
                </a:cxn>
                <a:cxn ang="0">
                  <a:pos x="T2" y="T3"/>
                </a:cxn>
                <a:cxn ang="0">
                  <a:pos x="T4" y="T5"/>
                </a:cxn>
                <a:cxn ang="0">
                  <a:pos x="T6" y="T7"/>
                </a:cxn>
              </a:cxnLst>
              <a:rect l="0" t="0" r="r" b="b"/>
              <a:pathLst>
                <a:path w="6" h="3">
                  <a:moveTo>
                    <a:pt x="6" y="0"/>
                  </a:moveTo>
                  <a:lnTo>
                    <a:pt x="0" y="3"/>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057"/>
            <p:cNvSpPr>
              <a:spLocks/>
            </p:cNvSpPr>
            <p:nvPr/>
          </p:nvSpPr>
          <p:spPr bwMode="auto">
            <a:xfrm>
              <a:off x="1731963" y="5688013"/>
              <a:ext cx="9525" cy="4763"/>
            </a:xfrm>
            <a:custGeom>
              <a:avLst/>
              <a:gdLst>
                <a:gd name="T0" fmla="*/ 6 w 6"/>
                <a:gd name="T1" fmla="*/ 0 h 3"/>
                <a:gd name="T2" fmla="*/ 0 w 6"/>
                <a:gd name="T3" fmla="*/ 3 h 3"/>
                <a:gd name="T4" fmla="*/ 6 w 6"/>
                <a:gd name="T5" fmla="*/ 0 h 3"/>
                <a:gd name="T6" fmla="*/ 6 w 6"/>
                <a:gd name="T7" fmla="*/ 0 h 3"/>
              </a:gdLst>
              <a:ahLst/>
              <a:cxnLst>
                <a:cxn ang="0">
                  <a:pos x="T0" y="T1"/>
                </a:cxn>
                <a:cxn ang="0">
                  <a:pos x="T2" y="T3"/>
                </a:cxn>
                <a:cxn ang="0">
                  <a:pos x="T4" y="T5"/>
                </a:cxn>
                <a:cxn ang="0">
                  <a:pos x="T6" y="T7"/>
                </a:cxn>
              </a:cxnLst>
              <a:rect l="0" t="0" r="r" b="b"/>
              <a:pathLst>
                <a:path w="6" h="3">
                  <a:moveTo>
                    <a:pt x="6" y="0"/>
                  </a:moveTo>
                  <a:lnTo>
                    <a:pt x="0" y="3"/>
                  </a:lnTo>
                  <a:lnTo>
                    <a:pt x="6" y="0"/>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058"/>
            <p:cNvSpPr>
              <a:spLocks/>
            </p:cNvSpPr>
            <p:nvPr/>
          </p:nvSpPr>
          <p:spPr bwMode="auto">
            <a:xfrm>
              <a:off x="1744663" y="5654675"/>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059"/>
            <p:cNvSpPr>
              <a:spLocks/>
            </p:cNvSpPr>
            <p:nvPr/>
          </p:nvSpPr>
          <p:spPr bwMode="auto">
            <a:xfrm>
              <a:off x="1744663" y="5654675"/>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3" name="Freeform 1060"/>
            <p:cNvSpPr>
              <a:spLocks/>
            </p:cNvSpPr>
            <p:nvPr/>
          </p:nvSpPr>
          <p:spPr bwMode="auto">
            <a:xfrm>
              <a:off x="1738313" y="5678488"/>
              <a:ext cx="12700" cy="9525"/>
            </a:xfrm>
            <a:custGeom>
              <a:avLst/>
              <a:gdLst>
                <a:gd name="T0" fmla="*/ 0 w 8"/>
                <a:gd name="T1" fmla="*/ 6 h 6"/>
                <a:gd name="T2" fmla="*/ 2 w 8"/>
                <a:gd name="T3" fmla="*/ 4 h 6"/>
                <a:gd name="T4" fmla="*/ 8 w 8"/>
                <a:gd name="T5" fmla="*/ 0 h 6"/>
                <a:gd name="T6" fmla="*/ 2 w 8"/>
                <a:gd name="T7" fmla="*/ 2 h 6"/>
                <a:gd name="T8" fmla="*/ 0 w 8"/>
                <a:gd name="T9" fmla="*/ 6 h 6"/>
              </a:gdLst>
              <a:ahLst/>
              <a:cxnLst>
                <a:cxn ang="0">
                  <a:pos x="T0" y="T1"/>
                </a:cxn>
                <a:cxn ang="0">
                  <a:pos x="T2" y="T3"/>
                </a:cxn>
                <a:cxn ang="0">
                  <a:pos x="T4" y="T5"/>
                </a:cxn>
                <a:cxn ang="0">
                  <a:pos x="T6" y="T7"/>
                </a:cxn>
                <a:cxn ang="0">
                  <a:pos x="T8" y="T9"/>
                </a:cxn>
              </a:cxnLst>
              <a:rect l="0" t="0" r="r" b="b"/>
              <a:pathLst>
                <a:path w="8" h="6">
                  <a:moveTo>
                    <a:pt x="0" y="6"/>
                  </a:moveTo>
                  <a:lnTo>
                    <a:pt x="2" y="4"/>
                  </a:lnTo>
                  <a:lnTo>
                    <a:pt x="8" y="0"/>
                  </a:lnTo>
                  <a:lnTo>
                    <a:pt x="2" y="2"/>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61"/>
            <p:cNvSpPr>
              <a:spLocks/>
            </p:cNvSpPr>
            <p:nvPr/>
          </p:nvSpPr>
          <p:spPr bwMode="auto">
            <a:xfrm>
              <a:off x="1738313" y="5678488"/>
              <a:ext cx="12700" cy="9525"/>
            </a:xfrm>
            <a:custGeom>
              <a:avLst/>
              <a:gdLst>
                <a:gd name="T0" fmla="*/ 0 w 8"/>
                <a:gd name="T1" fmla="*/ 6 h 6"/>
                <a:gd name="T2" fmla="*/ 2 w 8"/>
                <a:gd name="T3" fmla="*/ 4 h 6"/>
                <a:gd name="T4" fmla="*/ 8 w 8"/>
                <a:gd name="T5" fmla="*/ 0 h 6"/>
                <a:gd name="T6" fmla="*/ 2 w 8"/>
                <a:gd name="T7" fmla="*/ 2 h 6"/>
                <a:gd name="T8" fmla="*/ 0 w 8"/>
                <a:gd name="T9" fmla="*/ 6 h 6"/>
              </a:gdLst>
              <a:ahLst/>
              <a:cxnLst>
                <a:cxn ang="0">
                  <a:pos x="T0" y="T1"/>
                </a:cxn>
                <a:cxn ang="0">
                  <a:pos x="T2" y="T3"/>
                </a:cxn>
                <a:cxn ang="0">
                  <a:pos x="T4" y="T5"/>
                </a:cxn>
                <a:cxn ang="0">
                  <a:pos x="T6" y="T7"/>
                </a:cxn>
                <a:cxn ang="0">
                  <a:pos x="T8" y="T9"/>
                </a:cxn>
              </a:cxnLst>
              <a:rect l="0" t="0" r="r" b="b"/>
              <a:pathLst>
                <a:path w="8" h="6">
                  <a:moveTo>
                    <a:pt x="0" y="6"/>
                  </a:moveTo>
                  <a:lnTo>
                    <a:pt x="2" y="4"/>
                  </a:lnTo>
                  <a:lnTo>
                    <a:pt x="8" y="0"/>
                  </a:lnTo>
                  <a:lnTo>
                    <a:pt x="2" y="2"/>
                  </a:lnTo>
                  <a:lnTo>
                    <a:pt x="0" y="6"/>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062"/>
            <p:cNvSpPr>
              <a:spLocks/>
            </p:cNvSpPr>
            <p:nvPr/>
          </p:nvSpPr>
          <p:spPr bwMode="auto">
            <a:xfrm>
              <a:off x="1744663" y="5681663"/>
              <a:ext cx="6350" cy="6350"/>
            </a:xfrm>
            <a:custGeom>
              <a:avLst/>
              <a:gdLst>
                <a:gd name="T0" fmla="*/ 0 w 4"/>
                <a:gd name="T1" fmla="*/ 4 h 4"/>
                <a:gd name="T2" fmla="*/ 2 w 4"/>
                <a:gd name="T3" fmla="*/ 4 h 4"/>
                <a:gd name="T4" fmla="*/ 4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2" y="4"/>
                  </a:lnTo>
                  <a:lnTo>
                    <a:pt x="4"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063"/>
            <p:cNvSpPr>
              <a:spLocks/>
            </p:cNvSpPr>
            <p:nvPr/>
          </p:nvSpPr>
          <p:spPr bwMode="auto">
            <a:xfrm>
              <a:off x="1744663" y="5681663"/>
              <a:ext cx="6350" cy="6350"/>
            </a:xfrm>
            <a:custGeom>
              <a:avLst/>
              <a:gdLst>
                <a:gd name="T0" fmla="*/ 0 w 4"/>
                <a:gd name="T1" fmla="*/ 4 h 4"/>
                <a:gd name="T2" fmla="*/ 2 w 4"/>
                <a:gd name="T3" fmla="*/ 4 h 4"/>
                <a:gd name="T4" fmla="*/ 4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2" y="4"/>
                  </a:lnTo>
                  <a:lnTo>
                    <a:pt x="4" y="0"/>
                  </a:lnTo>
                  <a:lnTo>
                    <a:pt x="0"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064"/>
            <p:cNvSpPr>
              <a:spLocks/>
            </p:cNvSpPr>
            <p:nvPr/>
          </p:nvSpPr>
          <p:spPr bwMode="auto">
            <a:xfrm>
              <a:off x="1747838" y="5645150"/>
              <a:ext cx="14288" cy="26988"/>
            </a:xfrm>
            <a:custGeom>
              <a:avLst/>
              <a:gdLst>
                <a:gd name="T0" fmla="*/ 9 w 9"/>
                <a:gd name="T1" fmla="*/ 4 h 17"/>
                <a:gd name="T2" fmla="*/ 7 w 9"/>
                <a:gd name="T3" fmla="*/ 0 h 17"/>
                <a:gd name="T4" fmla="*/ 5 w 9"/>
                <a:gd name="T5" fmla="*/ 8 h 17"/>
                <a:gd name="T6" fmla="*/ 0 w 9"/>
                <a:gd name="T7" fmla="*/ 15 h 17"/>
                <a:gd name="T8" fmla="*/ 5 w 9"/>
                <a:gd name="T9" fmla="*/ 17 h 17"/>
                <a:gd name="T10" fmla="*/ 7 w 9"/>
                <a:gd name="T11" fmla="*/ 12 h 17"/>
                <a:gd name="T12" fmla="*/ 9 w 9"/>
                <a:gd name="T13" fmla="*/ 8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7" y="0"/>
                  </a:lnTo>
                  <a:lnTo>
                    <a:pt x="5" y="8"/>
                  </a:lnTo>
                  <a:lnTo>
                    <a:pt x="0" y="15"/>
                  </a:lnTo>
                  <a:lnTo>
                    <a:pt x="5" y="17"/>
                  </a:lnTo>
                  <a:lnTo>
                    <a:pt x="7" y="12"/>
                  </a:lnTo>
                  <a:lnTo>
                    <a:pt x="9" y="8"/>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065"/>
            <p:cNvSpPr>
              <a:spLocks/>
            </p:cNvSpPr>
            <p:nvPr/>
          </p:nvSpPr>
          <p:spPr bwMode="auto">
            <a:xfrm>
              <a:off x="1747838" y="5645150"/>
              <a:ext cx="14288" cy="26988"/>
            </a:xfrm>
            <a:custGeom>
              <a:avLst/>
              <a:gdLst>
                <a:gd name="T0" fmla="*/ 9 w 9"/>
                <a:gd name="T1" fmla="*/ 4 h 17"/>
                <a:gd name="T2" fmla="*/ 7 w 9"/>
                <a:gd name="T3" fmla="*/ 0 h 17"/>
                <a:gd name="T4" fmla="*/ 5 w 9"/>
                <a:gd name="T5" fmla="*/ 8 h 17"/>
                <a:gd name="T6" fmla="*/ 0 w 9"/>
                <a:gd name="T7" fmla="*/ 15 h 17"/>
                <a:gd name="T8" fmla="*/ 5 w 9"/>
                <a:gd name="T9" fmla="*/ 17 h 17"/>
                <a:gd name="T10" fmla="*/ 7 w 9"/>
                <a:gd name="T11" fmla="*/ 12 h 17"/>
                <a:gd name="T12" fmla="*/ 9 w 9"/>
                <a:gd name="T13" fmla="*/ 8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7" y="0"/>
                  </a:lnTo>
                  <a:lnTo>
                    <a:pt x="5" y="8"/>
                  </a:lnTo>
                  <a:lnTo>
                    <a:pt x="0" y="15"/>
                  </a:lnTo>
                  <a:lnTo>
                    <a:pt x="5" y="17"/>
                  </a:lnTo>
                  <a:lnTo>
                    <a:pt x="7" y="12"/>
                  </a:lnTo>
                  <a:lnTo>
                    <a:pt x="9" y="8"/>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9" name="Freeform 1066"/>
            <p:cNvSpPr>
              <a:spLocks/>
            </p:cNvSpPr>
            <p:nvPr/>
          </p:nvSpPr>
          <p:spPr bwMode="auto">
            <a:xfrm>
              <a:off x="1751013" y="5654675"/>
              <a:ext cx="38100" cy="53975"/>
            </a:xfrm>
            <a:custGeom>
              <a:avLst/>
              <a:gdLst>
                <a:gd name="T0" fmla="*/ 5 w 24"/>
                <a:gd name="T1" fmla="*/ 21 h 34"/>
                <a:gd name="T2" fmla="*/ 0 w 24"/>
                <a:gd name="T3" fmla="*/ 30 h 34"/>
                <a:gd name="T4" fmla="*/ 0 w 24"/>
                <a:gd name="T5" fmla="*/ 34 h 34"/>
                <a:gd name="T6" fmla="*/ 7 w 24"/>
                <a:gd name="T7" fmla="*/ 30 h 34"/>
                <a:gd name="T8" fmla="*/ 11 w 24"/>
                <a:gd name="T9" fmla="*/ 26 h 34"/>
                <a:gd name="T10" fmla="*/ 13 w 24"/>
                <a:gd name="T11" fmla="*/ 21 h 34"/>
                <a:gd name="T12" fmla="*/ 17 w 24"/>
                <a:gd name="T13" fmla="*/ 15 h 34"/>
                <a:gd name="T14" fmla="*/ 24 w 24"/>
                <a:gd name="T15" fmla="*/ 11 h 34"/>
                <a:gd name="T16" fmla="*/ 22 w 24"/>
                <a:gd name="T17" fmla="*/ 0 h 34"/>
                <a:gd name="T18" fmla="*/ 15 w 24"/>
                <a:gd name="T19" fmla="*/ 13 h 34"/>
                <a:gd name="T20" fmla="*/ 11 w 24"/>
                <a:gd name="T21" fmla="*/ 17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0" y="30"/>
                  </a:lnTo>
                  <a:lnTo>
                    <a:pt x="0" y="34"/>
                  </a:lnTo>
                  <a:lnTo>
                    <a:pt x="7" y="30"/>
                  </a:lnTo>
                  <a:lnTo>
                    <a:pt x="11" y="26"/>
                  </a:lnTo>
                  <a:lnTo>
                    <a:pt x="13" y="21"/>
                  </a:lnTo>
                  <a:lnTo>
                    <a:pt x="17" y="15"/>
                  </a:lnTo>
                  <a:lnTo>
                    <a:pt x="24" y="11"/>
                  </a:lnTo>
                  <a:lnTo>
                    <a:pt x="22" y="0"/>
                  </a:lnTo>
                  <a:lnTo>
                    <a:pt x="15" y="13"/>
                  </a:lnTo>
                  <a:lnTo>
                    <a:pt x="11" y="17"/>
                  </a:lnTo>
                  <a:lnTo>
                    <a:pt x="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067"/>
            <p:cNvSpPr>
              <a:spLocks/>
            </p:cNvSpPr>
            <p:nvPr/>
          </p:nvSpPr>
          <p:spPr bwMode="auto">
            <a:xfrm>
              <a:off x="1751013" y="5654675"/>
              <a:ext cx="38100" cy="53975"/>
            </a:xfrm>
            <a:custGeom>
              <a:avLst/>
              <a:gdLst>
                <a:gd name="T0" fmla="*/ 5 w 24"/>
                <a:gd name="T1" fmla="*/ 21 h 34"/>
                <a:gd name="T2" fmla="*/ 0 w 24"/>
                <a:gd name="T3" fmla="*/ 30 h 34"/>
                <a:gd name="T4" fmla="*/ 0 w 24"/>
                <a:gd name="T5" fmla="*/ 34 h 34"/>
                <a:gd name="T6" fmla="*/ 7 w 24"/>
                <a:gd name="T7" fmla="*/ 30 h 34"/>
                <a:gd name="T8" fmla="*/ 11 w 24"/>
                <a:gd name="T9" fmla="*/ 26 h 34"/>
                <a:gd name="T10" fmla="*/ 13 w 24"/>
                <a:gd name="T11" fmla="*/ 21 h 34"/>
                <a:gd name="T12" fmla="*/ 17 w 24"/>
                <a:gd name="T13" fmla="*/ 15 h 34"/>
                <a:gd name="T14" fmla="*/ 24 w 24"/>
                <a:gd name="T15" fmla="*/ 11 h 34"/>
                <a:gd name="T16" fmla="*/ 22 w 24"/>
                <a:gd name="T17" fmla="*/ 0 h 34"/>
                <a:gd name="T18" fmla="*/ 15 w 24"/>
                <a:gd name="T19" fmla="*/ 13 h 34"/>
                <a:gd name="T20" fmla="*/ 11 w 24"/>
                <a:gd name="T21" fmla="*/ 17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0" y="30"/>
                  </a:lnTo>
                  <a:lnTo>
                    <a:pt x="0" y="34"/>
                  </a:lnTo>
                  <a:lnTo>
                    <a:pt x="7" y="30"/>
                  </a:lnTo>
                  <a:lnTo>
                    <a:pt x="11" y="26"/>
                  </a:lnTo>
                  <a:lnTo>
                    <a:pt x="13" y="21"/>
                  </a:lnTo>
                  <a:lnTo>
                    <a:pt x="17" y="15"/>
                  </a:lnTo>
                  <a:lnTo>
                    <a:pt x="24" y="11"/>
                  </a:lnTo>
                  <a:lnTo>
                    <a:pt x="22" y="0"/>
                  </a:lnTo>
                  <a:lnTo>
                    <a:pt x="15" y="13"/>
                  </a:lnTo>
                  <a:lnTo>
                    <a:pt x="11" y="17"/>
                  </a:lnTo>
                  <a:lnTo>
                    <a:pt x="5" y="2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068"/>
            <p:cNvSpPr>
              <a:spLocks/>
            </p:cNvSpPr>
            <p:nvPr/>
          </p:nvSpPr>
          <p:spPr bwMode="auto">
            <a:xfrm>
              <a:off x="1804988" y="5648325"/>
              <a:ext cx="26988" cy="15875"/>
            </a:xfrm>
            <a:custGeom>
              <a:avLst/>
              <a:gdLst>
                <a:gd name="T0" fmla="*/ 17 w 17"/>
                <a:gd name="T1" fmla="*/ 4 h 10"/>
                <a:gd name="T2" fmla="*/ 17 w 17"/>
                <a:gd name="T3" fmla="*/ 2 h 10"/>
                <a:gd name="T4" fmla="*/ 11 w 17"/>
                <a:gd name="T5" fmla="*/ 2 h 10"/>
                <a:gd name="T6" fmla="*/ 7 w 17"/>
                <a:gd name="T7" fmla="*/ 0 h 10"/>
                <a:gd name="T8" fmla="*/ 0 w 17"/>
                <a:gd name="T9" fmla="*/ 2 h 10"/>
                <a:gd name="T10" fmla="*/ 0 w 17"/>
                <a:gd name="T11" fmla="*/ 6 h 10"/>
                <a:gd name="T12" fmla="*/ 5 w 17"/>
                <a:gd name="T13" fmla="*/ 6 h 10"/>
                <a:gd name="T14" fmla="*/ 0 w 17"/>
                <a:gd name="T15" fmla="*/ 10 h 10"/>
                <a:gd name="T16" fmla="*/ 5 w 17"/>
                <a:gd name="T17" fmla="*/ 10 h 10"/>
                <a:gd name="T18" fmla="*/ 11 w 17"/>
                <a:gd name="T19" fmla="*/ 6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7" y="2"/>
                  </a:lnTo>
                  <a:lnTo>
                    <a:pt x="11" y="2"/>
                  </a:lnTo>
                  <a:lnTo>
                    <a:pt x="7" y="0"/>
                  </a:lnTo>
                  <a:lnTo>
                    <a:pt x="0" y="2"/>
                  </a:lnTo>
                  <a:lnTo>
                    <a:pt x="0" y="6"/>
                  </a:lnTo>
                  <a:lnTo>
                    <a:pt x="5" y="6"/>
                  </a:lnTo>
                  <a:lnTo>
                    <a:pt x="0" y="10"/>
                  </a:lnTo>
                  <a:lnTo>
                    <a:pt x="5" y="10"/>
                  </a:lnTo>
                  <a:lnTo>
                    <a:pt x="11" y="6"/>
                  </a:lnTo>
                  <a:lnTo>
                    <a:pt x="1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1069"/>
            <p:cNvSpPr>
              <a:spLocks/>
            </p:cNvSpPr>
            <p:nvPr/>
          </p:nvSpPr>
          <p:spPr bwMode="auto">
            <a:xfrm>
              <a:off x="1804988" y="5648325"/>
              <a:ext cx="26988" cy="15875"/>
            </a:xfrm>
            <a:custGeom>
              <a:avLst/>
              <a:gdLst>
                <a:gd name="T0" fmla="*/ 17 w 17"/>
                <a:gd name="T1" fmla="*/ 4 h 10"/>
                <a:gd name="T2" fmla="*/ 17 w 17"/>
                <a:gd name="T3" fmla="*/ 2 h 10"/>
                <a:gd name="T4" fmla="*/ 11 w 17"/>
                <a:gd name="T5" fmla="*/ 2 h 10"/>
                <a:gd name="T6" fmla="*/ 7 w 17"/>
                <a:gd name="T7" fmla="*/ 0 h 10"/>
                <a:gd name="T8" fmla="*/ 0 w 17"/>
                <a:gd name="T9" fmla="*/ 2 h 10"/>
                <a:gd name="T10" fmla="*/ 0 w 17"/>
                <a:gd name="T11" fmla="*/ 6 h 10"/>
                <a:gd name="T12" fmla="*/ 5 w 17"/>
                <a:gd name="T13" fmla="*/ 6 h 10"/>
                <a:gd name="T14" fmla="*/ 0 w 17"/>
                <a:gd name="T15" fmla="*/ 10 h 10"/>
                <a:gd name="T16" fmla="*/ 5 w 17"/>
                <a:gd name="T17" fmla="*/ 10 h 10"/>
                <a:gd name="T18" fmla="*/ 11 w 17"/>
                <a:gd name="T19" fmla="*/ 6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7" y="2"/>
                  </a:lnTo>
                  <a:lnTo>
                    <a:pt x="11" y="2"/>
                  </a:lnTo>
                  <a:lnTo>
                    <a:pt x="7" y="0"/>
                  </a:lnTo>
                  <a:lnTo>
                    <a:pt x="0" y="2"/>
                  </a:lnTo>
                  <a:lnTo>
                    <a:pt x="0" y="6"/>
                  </a:lnTo>
                  <a:lnTo>
                    <a:pt x="5" y="6"/>
                  </a:lnTo>
                  <a:lnTo>
                    <a:pt x="0" y="10"/>
                  </a:lnTo>
                  <a:lnTo>
                    <a:pt x="5" y="10"/>
                  </a:lnTo>
                  <a:lnTo>
                    <a:pt x="11" y="6"/>
                  </a:lnTo>
                  <a:lnTo>
                    <a:pt x="17"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3" name="Freeform 1070"/>
            <p:cNvSpPr>
              <a:spLocks/>
            </p:cNvSpPr>
            <p:nvPr/>
          </p:nvSpPr>
          <p:spPr bwMode="auto">
            <a:xfrm>
              <a:off x="1828800" y="5637213"/>
              <a:ext cx="17463" cy="11113"/>
            </a:xfrm>
            <a:custGeom>
              <a:avLst/>
              <a:gdLst>
                <a:gd name="T0" fmla="*/ 11 w 11"/>
                <a:gd name="T1" fmla="*/ 0 h 7"/>
                <a:gd name="T2" fmla="*/ 9 w 11"/>
                <a:gd name="T3" fmla="*/ 0 h 7"/>
                <a:gd name="T4" fmla="*/ 2 w 11"/>
                <a:gd name="T5" fmla="*/ 3 h 7"/>
                <a:gd name="T6" fmla="*/ 0 w 11"/>
                <a:gd name="T7" fmla="*/ 7 h 7"/>
                <a:gd name="T8" fmla="*/ 11 w 11"/>
                <a:gd name="T9" fmla="*/ 0 h 7"/>
              </a:gdLst>
              <a:ahLst/>
              <a:cxnLst>
                <a:cxn ang="0">
                  <a:pos x="T0" y="T1"/>
                </a:cxn>
                <a:cxn ang="0">
                  <a:pos x="T2" y="T3"/>
                </a:cxn>
                <a:cxn ang="0">
                  <a:pos x="T4" y="T5"/>
                </a:cxn>
                <a:cxn ang="0">
                  <a:pos x="T6" y="T7"/>
                </a:cxn>
                <a:cxn ang="0">
                  <a:pos x="T8" y="T9"/>
                </a:cxn>
              </a:cxnLst>
              <a:rect l="0" t="0" r="r" b="b"/>
              <a:pathLst>
                <a:path w="11" h="7">
                  <a:moveTo>
                    <a:pt x="11" y="0"/>
                  </a:moveTo>
                  <a:lnTo>
                    <a:pt x="9" y="0"/>
                  </a:lnTo>
                  <a:lnTo>
                    <a:pt x="2" y="3"/>
                  </a:lnTo>
                  <a:lnTo>
                    <a:pt x="0" y="7"/>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9" name="Group 1272"/>
            <p:cNvGrpSpPr>
              <a:grpSpLocks/>
            </p:cNvGrpSpPr>
            <p:nvPr/>
          </p:nvGrpSpPr>
          <p:grpSpPr bwMode="auto">
            <a:xfrm>
              <a:off x="642937" y="4610100"/>
              <a:ext cx="2017713" cy="1514475"/>
              <a:chOff x="306" y="3054"/>
              <a:chExt cx="1271" cy="954"/>
            </a:xfrm>
            <a:grpFill/>
          </p:grpSpPr>
          <p:sp>
            <p:nvSpPr>
              <p:cNvPr id="864" name="Freeform 1072"/>
              <p:cNvSpPr>
                <a:spLocks/>
              </p:cNvSpPr>
              <p:nvPr/>
            </p:nvSpPr>
            <p:spPr bwMode="auto">
              <a:xfrm>
                <a:off x="1053" y="3701"/>
                <a:ext cx="11" cy="7"/>
              </a:xfrm>
              <a:custGeom>
                <a:avLst/>
                <a:gdLst>
                  <a:gd name="T0" fmla="*/ 11 w 11"/>
                  <a:gd name="T1" fmla="*/ 0 h 7"/>
                  <a:gd name="T2" fmla="*/ 9 w 11"/>
                  <a:gd name="T3" fmla="*/ 0 h 7"/>
                  <a:gd name="T4" fmla="*/ 2 w 11"/>
                  <a:gd name="T5" fmla="*/ 3 h 7"/>
                  <a:gd name="T6" fmla="*/ 0 w 11"/>
                  <a:gd name="T7" fmla="*/ 7 h 7"/>
                  <a:gd name="T8" fmla="*/ 11 w 11"/>
                  <a:gd name="T9" fmla="*/ 0 h 7"/>
                </a:gdLst>
                <a:ahLst/>
                <a:cxnLst>
                  <a:cxn ang="0">
                    <a:pos x="T0" y="T1"/>
                  </a:cxn>
                  <a:cxn ang="0">
                    <a:pos x="T2" y="T3"/>
                  </a:cxn>
                  <a:cxn ang="0">
                    <a:pos x="T4" y="T5"/>
                  </a:cxn>
                  <a:cxn ang="0">
                    <a:pos x="T6" y="T7"/>
                  </a:cxn>
                  <a:cxn ang="0">
                    <a:pos x="T8" y="T9"/>
                  </a:cxn>
                </a:cxnLst>
                <a:rect l="0" t="0" r="r" b="b"/>
                <a:pathLst>
                  <a:path w="11" h="7">
                    <a:moveTo>
                      <a:pt x="11" y="0"/>
                    </a:moveTo>
                    <a:lnTo>
                      <a:pt x="9" y="0"/>
                    </a:lnTo>
                    <a:lnTo>
                      <a:pt x="2" y="3"/>
                    </a:lnTo>
                    <a:lnTo>
                      <a:pt x="0" y="7"/>
                    </a:lnTo>
                    <a:lnTo>
                      <a:pt x="11"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1073"/>
              <p:cNvSpPr>
                <a:spLocks/>
              </p:cNvSpPr>
              <p:nvPr/>
            </p:nvSpPr>
            <p:spPr bwMode="auto">
              <a:xfrm>
                <a:off x="1083" y="3712"/>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074"/>
              <p:cNvSpPr>
                <a:spLocks/>
              </p:cNvSpPr>
              <p:nvPr/>
            </p:nvSpPr>
            <p:spPr bwMode="auto">
              <a:xfrm>
                <a:off x="1083" y="3712"/>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1075"/>
              <p:cNvSpPr>
                <a:spLocks/>
              </p:cNvSpPr>
              <p:nvPr/>
            </p:nvSpPr>
            <p:spPr bwMode="auto">
              <a:xfrm>
                <a:off x="1100" y="3736"/>
                <a:ext cx="9" cy="8"/>
              </a:xfrm>
              <a:custGeom>
                <a:avLst/>
                <a:gdLst>
                  <a:gd name="T0" fmla="*/ 7 w 9"/>
                  <a:gd name="T1" fmla="*/ 0 h 8"/>
                  <a:gd name="T2" fmla="*/ 2 w 9"/>
                  <a:gd name="T3" fmla="*/ 4 h 8"/>
                  <a:gd name="T4" fmla="*/ 0 w 9"/>
                  <a:gd name="T5" fmla="*/ 8 h 8"/>
                  <a:gd name="T6" fmla="*/ 9 w 9"/>
                  <a:gd name="T7" fmla="*/ 0 h 8"/>
                  <a:gd name="T8" fmla="*/ 7 w 9"/>
                  <a:gd name="T9" fmla="*/ 0 h 8"/>
                </a:gdLst>
                <a:ahLst/>
                <a:cxnLst>
                  <a:cxn ang="0">
                    <a:pos x="T0" y="T1"/>
                  </a:cxn>
                  <a:cxn ang="0">
                    <a:pos x="T2" y="T3"/>
                  </a:cxn>
                  <a:cxn ang="0">
                    <a:pos x="T4" y="T5"/>
                  </a:cxn>
                  <a:cxn ang="0">
                    <a:pos x="T6" y="T7"/>
                  </a:cxn>
                  <a:cxn ang="0">
                    <a:pos x="T8" y="T9"/>
                  </a:cxn>
                </a:cxnLst>
                <a:rect l="0" t="0" r="r" b="b"/>
                <a:pathLst>
                  <a:path w="9" h="8">
                    <a:moveTo>
                      <a:pt x="7" y="0"/>
                    </a:moveTo>
                    <a:lnTo>
                      <a:pt x="2" y="4"/>
                    </a:lnTo>
                    <a:lnTo>
                      <a:pt x="0" y="8"/>
                    </a:lnTo>
                    <a:lnTo>
                      <a:pt x="9"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076"/>
              <p:cNvSpPr>
                <a:spLocks/>
              </p:cNvSpPr>
              <p:nvPr/>
            </p:nvSpPr>
            <p:spPr bwMode="auto">
              <a:xfrm>
                <a:off x="1100" y="3736"/>
                <a:ext cx="9" cy="8"/>
              </a:xfrm>
              <a:custGeom>
                <a:avLst/>
                <a:gdLst>
                  <a:gd name="T0" fmla="*/ 7 w 9"/>
                  <a:gd name="T1" fmla="*/ 0 h 8"/>
                  <a:gd name="T2" fmla="*/ 2 w 9"/>
                  <a:gd name="T3" fmla="*/ 4 h 8"/>
                  <a:gd name="T4" fmla="*/ 0 w 9"/>
                  <a:gd name="T5" fmla="*/ 8 h 8"/>
                  <a:gd name="T6" fmla="*/ 9 w 9"/>
                  <a:gd name="T7" fmla="*/ 0 h 8"/>
                  <a:gd name="T8" fmla="*/ 7 w 9"/>
                  <a:gd name="T9" fmla="*/ 0 h 8"/>
                </a:gdLst>
                <a:ahLst/>
                <a:cxnLst>
                  <a:cxn ang="0">
                    <a:pos x="T0" y="T1"/>
                  </a:cxn>
                  <a:cxn ang="0">
                    <a:pos x="T2" y="T3"/>
                  </a:cxn>
                  <a:cxn ang="0">
                    <a:pos x="T4" y="T5"/>
                  </a:cxn>
                  <a:cxn ang="0">
                    <a:pos x="T6" y="T7"/>
                  </a:cxn>
                  <a:cxn ang="0">
                    <a:pos x="T8" y="T9"/>
                  </a:cxn>
                </a:cxnLst>
                <a:rect l="0" t="0" r="r" b="b"/>
                <a:pathLst>
                  <a:path w="9" h="8">
                    <a:moveTo>
                      <a:pt x="7" y="0"/>
                    </a:moveTo>
                    <a:lnTo>
                      <a:pt x="2" y="4"/>
                    </a:lnTo>
                    <a:lnTo>
                      <a:pt x="0" y="8"/>
                    </a:lnTo>
                    <a:lnTo>
                      <a:pt x="9" y="0"/>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9" name="Freeform 1077"/>
              <p:cNvSpPr>
                <a:spLocks/>
              </p:cNvSpPr>
              <p:nvPr/>
            </p:nvSpPr>
            <p:spPr bwMode="auto">
              <a:xfrm>
                <a:off x="1345" y="3831"/>
                <a:ext cx="6" cy="13"/>
              </a:xfrm>
              <a:custGeom>
                <a:avLst/>
                <a:gdLst>
                  <a:gd name="T0" fmla="*/ 2 w 6"/>
                  <a:gd name="T1" fmla="*/ 0 h 13"/>
                  <a:gd name="T2" fmla="*/ 0 w 6"/>
                  <a:gd name="T3" fmla="*/ 0 h 13"/>
                  <a:gd name="T4" fmla="*/ 0 w 6"/>
                  <a:gd name="T5" fmla="*/ 11 h 13"/>
                  <a:gd name="T6" fmla="*/ 4 w 6"/>
                  <a:gd name="T7" fmla="*/ 13 h 13"/>
                  <a:gd name="T8" fmla="*/ 6 w 6"/>
                  <a:gd name="T9" fmla="*/ 9 h 13"/>
                  <a:gd name="T10" fmla="*/ 6 w 6"/>
                  <a:gd name="T11" fmla="*/ 5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0" y="0"/>
                    </a:lnTo>
                    <a:lnTo>
                      <a:pt x="0" y="11"/>
                    </a:lnTo>
                    <a:lnTo>
                      <a:pt x="4" y="13"/>
                    </a:lnTo>
                    <a:lnTo>
                      <a:pt x="6" y="9"/>
                    </a:lnTo>
                    <a:lnTo>
                      <a:pt x="6"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078"/>
              <p:cNvSpPr>
                <a:spLocks/>
              </p:cNvSpPr>
              <p:nvPr/>
            </p:nvSpPr>
            <p:spPr bwMode="auto">
              <a:xfrm>
                <a:off x="1345" y="3831"/>
                <a:ext cx="6" cy="13"/>
              </a:xfrm>
              <a:custGeom>
                <a:avLst/>
                <a:gdLst>
                  <a:gd name="T0" fmla="*/ 2 w 6"/>
                  <a:gd name="T1" fmla="*/ 0 h 13"/>
                  <a:gd name="T2" fmla="*/ 0 w 6"/>
                  <a:gd name="T3" fmla="*/ 0 h 13"/>
                  <a:gd name="T4" fmla="*/ 0 w 6"/>
                  <a:gd name="T5" fmla="*/ 11 h 13"/>
                  <a:gd name="T6" fmla="*/ 4 w 6"/>
                  <a:gd name="T7" fmla="*/ 13 h 13"/>
                  <a:gd name="T8" fmla="*/ 6 w 6"/>
                  <a:gd name="T9" fmla="*/ 9 h 13"/>
                  <a:gd name="T10" fmla="*/ 6 w 6"/>
                  <a:gd name="T11" fmla="*/ 5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0" y="0"/>
                    </a:lnTo>
                    <a:lnTo>
                      <a:pt x="0" y="11"/>
                    </a:lnTo>
                    <a:lnTo>
                      <a:pt x="4" y="13"/>
                    </a:lnTo>
                    <a:lnTo>
                      <a:pt x="6" y="9"/>
                    </a:lnTo>
                    <a:lnTo>
                      <a:pt x="6"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1" name="Freeform 1079"/>
              <p:cNvSpPr>
                <a:spLocks/>
              </p:cNvSpPr>
              <p:nvPr/>
            </p:nvSpPr>
            <p:spPr bwMode="auto">
              <a:xfrm>
                <a:off x="1349" y="3819"/>
                <a:ext cx="51" cy="51"/>
              </a:xfrm>
              <a:custGeom>
                <a:avLst/>
                <a:gdLst>
                  <a:gd name="T0" fmla="*/ 24 w 51"/>
                  <a:gd name="T1" fmla="*/ 49 h 51"/>
                  <a:gd name="T2" fmla="*/ 19 w 51"/>
                  <a:gd name="T3" fmla="*/ 44 h 51"/>
                  <a:gd name="T4" fmla="*/ 22 w 51"/>
                  <a:gd name="T5" fmla="*/ 51 h 51"/>
                  <a:gd name="T6" fmla="*/ 28 w 51"/>
                  <a:gd name="T7" fmla="*/ 51 h 51"/>
                  <a:gd name="T8" fmla="*/ 30 w 51"/>
                  <a:gd name="T9" fmla="*/ 42 h 51"/>
                  <a:gd name="T10" fmla="*/ 26 w 51"/>
                  <a:gd name="T11" fmla="*/ 36 h 51"/>
                  <a:gd name="T12" fmla="*/ 24 w 51"/>
                  <a:gd name="T13" fmla="*/ 29 h 51"/>
                  <a:gd name="T14" fmla="*/ 28 w 51"/>
                  <a:gd name="T15" fmla="*/ 32 h 51"/>
                  <a:gd name="T16" fmla="*/ 45 w 51"/>
                  <a:gd name="T17" fmla="*/ 42 h 51"/>
                  <a:gd name="T18" fmla="*/ 51 w 51"/>
                  <a:gd name="T19" fmla="*/ 42 h 51"/>
                  <a:gd name="T20" fmla="*/ 51 w 51"/>
                  <a:gd name="T21" fmla="*/ 38 h 51"/>
                  <a:gd name="T22" fmla="*/ 47 w 51"/>
                  <a:gd name="T23" fmla="*/ 25 h 51"/>
                  <a:gd name="T24" fmla="*/ 43 w 51"/>
                  <a:gd name="T25" fmla="*/ 25 h 51"/>
                  <a:gd name="T26" fmla="*/ 37 w 51"/>
                  <a:gd name="T27" fmla="*/ 27 h 51"/>
                  <a:gd name="T28" fmla="*/ 32 w 51"/>
                  <a:gd name="T29" fmla="*/ 23 h 51"/>
                  <a:gd name="T30" fmla="*/ 19 w 51"/>
                  <a:gd name="T31" fmla="*/ 17 h 51"/>
                  <a:gd name="T32" fmla="*/ 24 w 51"/>
                  <a:gd name="T33" fmla="*/ 19 h 51"/>
                  <a:gd name="T34" fmla="*/ 34 w 51"/>
                  <a:gd name="T35" fmla="*/ 23 h 51"/>
                  <a:gd name="T36" fmla="*/ 39 w 51"/>
                  <a:gd name="T37" fmla="*/ 25 h 51"/>
                  <a:gd name="T38" fmla="*/ 43 w 51"/>
                  <a:gd name="T39" fmla="*/ 23 h 51"/>
                  <a:gd name="T40" fmla="*/ 41 w 51"/>
                  <a:gd name="T41" fmla="*/ 19 h 51"/>
                  <a:gd name="T42" fmla="*/ 45 w 51"/>
                  <a:gd name="T43" fmla="*/ 19 h 51"/>
                  <a:gd name="T44" fmla="*/ 45 w 51"/>
                  <a:gd name="T45" fmla="*/ 14 h 51"/>
                  <a:gd name="T46" fmla="*/ 43 w 51"/>
                  <a:gd name="T47" fmla="*/ 8 h 51"/>
                  <a:gd name="T48" fmla="*/ 39 w 51"/>
                  <a:gd name="T49" fmla="*/ 6 h 51"/>
                  <a:gd name="T50" fmla="*/ 32 w 51"/>
                  <a:gd name="T51" fmla="*/ 6 h 51"/>
                  <a:gd name="T52" fmla="*/ 28 w 51"/>
                  <a:gd name="T53" fmla="*/ 6 h 51"/>
                  <a:gd name="T54" fmla="*/ 24 w 51"/>
                  <a:gd name="T55" fmla="*/ 14 h 51"/>
                  <a:gd name="T56" fmla="*/ 19 w 51"/>
                  <a:gd name="T57" fmla="*/ 12 h 51"/>
                  <a:gd name="T58" fmla="*/ 26 w 51"/>
                  <a:gd name="T59" fmla="*/ 8 h 51"/>
                  <a:gd name="T60" fmla="*/ 26 w 51"/>
                  <a:gd name="T61" fmla="*/ 4 h 51"/>
                  <a:gd name="T62" fmla="*/ 22 w 51"/>
                  <a:gd name="T63" fmla="*/ 2 h 51"/>
                  <a:gd name="T64" fmla="*/ 17 w 51"/>
                  <a:gd name="T65" fmla="*/ 0 h 51"/>
                  <a:gd name="T66" fmla="*/ 13 w 51"/>
                  <a:gd name="T67" fmla="*/ 4 h 51"/>
                  <a:gd name="T68" fmla="*/ 7 w 51"/>
                  <a:gd name="T69" fmla="*/ 4 h 51"/>
                  <a:gd name="T70" fmla="*/ 7 w 51"/>
                  <a:gd name="T71" fmla="*/ 8 h 51"/>
                  <a:gd name="T72" fmla="*/ 2 w 51"/>
                  <a:gd name="T73" fmla="*/ 4 h 51"/>
                  <a:gd name="T74" fmla="*/ 2 w 51"/>
                  <a:gd name="T75" fmla="*/ 10 h 51"/>
                  <a:gd name="T76" fmla="*/ 0 w 51"/>
                  <a:gd name="T77" fmla="*/ 14 h 51"/>
                  <a:gd name="T78" fmla="*/ 9 w 51"/>
                  <a:gd name="T79" fmla="*/ 21 h 51"/>
                  <a:gd name="T80" fmla="*/ 5 w 51"/>
                  <a:gd name="T81" fmla="*/ 19 h 51"/>
                  <a:gd name="T82" fmla="*/ 2 w 51"/>
                  <a:gd name="T83" fmla="*/ 23 h 51"/>
                  <a:gd name="T84" fmla="*/ 5 w 51"/>
                  <a:gd name="T85" fmla="*/ 29 h 51"/>
                  <a:gd name="T86" fmla="*/ 9 w 51"/>
                  <a:gd name="T87" fmla="*/ 32 h 51"/>
                  <a:gd name="T88" fmla="*/ 11 w 51"/>
                  <a:gd name="T89" fmla="*/ 38 h 51"/>
                  <a:gd name="T90" fmla="*/ 17 w 51"/>
                  <a:gd name="T91" fmla="*/ 38 h 51"/>
                  <a:gd name="T92" fmla="*/ 19 w 51"/>
                  <a:gd name="T93" fmla="*/ 42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4"/>
                    </a:lnTo>
                    <a:lnTo>
                      <a:pt x="22" y="51"/>
                    </a:lnTo>
                    <a:lnTo>
                      <a:pt x="28" y="51"/>
                    </a:lnTo>
                    <a:lnTo>
                      <a:pt x="30" y="42"/>
                    </a:lnTo>
                    <a:lnTo>
                      <a:pt x="26" y="36"/>
                    </a:lnTo>
                    <a:lnTo>
                      <a:pt x="24" y="29"/>
                    </a:lnTo>
                    <a:lnTo>
                      <a:pt x="28" y="32"/>
                    </a:lnTo>
                    <a:lnTo>
                      <a:pt x="45" y="42"/>
                    </a:lnTo>
                    <a:lnTo>
                      <a:pt x="51" y="42"/>
                    </a:lnTo>
                    <a:lnTo>
                      <a:pt x="51" y="38"/>
                    </a:lnTo>
                    <a:lnTo>
                      <a:pt x="47" y="25"/>
                    </a:lnTo>
                    <a:lnTo>
                      <a:pt x="43" y="25"/>
                    </a:lnTo>
                    <a:lnTo>
                      <a:pt x="37" y="27"/>
                    </a:lnTo>
                    <a:lnTo>
                      <a:pt x="32" y="23"/>
                    </a:lnTo>
                    <a:lnTo>
                      <a:pt x="19" y="17"/>
                    </a:lnTo>
                    <a:lnTo>
                      <a:pt x="24" y="19"/>
                    </a:lnTo>
                    <a:lnTo>
                      <a:pt x="34" y="23"/>
                    </a:lnTo>
                    <a:lnTo>
                      <a:pt x="39" y="25"/>
                    </a:lnTo>
                    <a:lnTo>
                      <a:pt x="43" y="23"/>
                    </a:lnTo>
                    <a:lnTo>
                      <a:pt x="41" y="19"/>
                    </a:lnTo>
                    <a:lnTo>
                      <a:pt x="45" y="19"/>
                    </a:lnTo>
                    <a:lnTo>
                      <a:pt x="45" y="14"/>
                    </a:lnTo>
                    <a:lnTo>
                      <a:pt x="43" y="8"/>
                    </a:lnTo>
                    <a:lnTo>
                      <a:pt x="39" y="6"/>
                    </a:lnTo>
                    <a:lnTo>
                      <a:pt x="32" y="6"/>
                    </a:lnTo>
                    <a:lnTo>
                      <a:pt x="28" y="6"/>
                    </a:lnTo>
                    <a:lnTo>
                      <a:pt x="24" y="14"/>
                    </a:lnTo>
                    <a:lnTo>
                      <a:pt x="19" y="12"/>
                    </a:lnTo>
                    <a:lnTo>
                      <a:pt x="26" y="8"/>
                    </a:lnTo>
                    <a:lnTo>
                      <a:pt x="26" y="4"/>
                    </a:lnTo>
                    <a:lnTo>
                      <a:pt x="22" y="2"/>
                    </a:lnTo>
                    <a:lnTo>
                      <a:pt x="17" y="0"/>
                    </a:lnTo>
                    <a:lnTo>
                      <a:pt x="13" y="4"/>
                    </a:lnTo>
                    <a:lnTo>
                      <a:pt x="7" y="4"/>
                    </a:lnTo>
                    <a:lnTo>
                      <a:pt x="7" y="8"/>
                    </a:lnTo>
                    <a:lnTo>
                      <a:pt x="2" y="4"/>
                    </a:lnTo>
                    <a:lnTo>
                      <a:pt x="2" y="10"/>
                    </a:lnTo>
                    <a:lnTo>
                      <a:pt x="0" y="14"/>
                    </a:lnTo>
                    <a:lnTo>
                      <a:pt x="9" y="21"/>
                    </a:lnTo>
                    <a:lnTo>
                      <a:pt x="5" y="19"/>
                    </a:lnTo>
                    <a:lnTo>
                      <a:pt x="2" y="23"/>
                    </a:lnTo>
                    <a:lnTo>
                      <a:pt x="5" y="29"/>
                    </a:lnTo>
                    <a:lnTo>
                      <a:pt x="9" y="32"/>
                    </a:lnTo>
                    <a:lnTo>
                      <a:pt x="11" y="38"/>
                    </a:lnTo>
                    <a:lnTo>
                      <a:pt x="17" y="38"/>
                    </a:lnTo>
                    <a:lnTo>
                      <a:pt x="19" y="42"/>
                    </a:lnTo>
                    <a:lnTo>
                      <a:pt x="24"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080"/>
              <p:cNvSpPr>
                <a:spLocks/>
              </p:cNvSpPr>
              <p:nvPr/>
            </p:nvSpPr>
            <p:spPr bwMode="auto">
              <a:xfrm>
                <a:off x="1349" y="3819"/>
                <a:ext cx="51" cy="51"/>
              </a:xfrm>
              <a:custGeom>
                <a:avLst/>
                <a:gdLst>
                  <a:gd name="T0" fmla="*/ 24 w 51"/>
                  <a:gd name="T1" fmla="*/ 49 h 51"/>
                  <a:gd name="T2" fmla="*/ 19 w 51"/>
                  <a:gd name="T3" fmla="*/ 44 h 51"/>
                  <a:gd name="T4" fmla="*/ 22 w 51"/>
                  <a:gd name="T5" fmla="*/ 51 h 51"/>
                  <a:gd name="T6" fmla="*/ 28 w 51"/>
                  <a:gd name="T7" fmla="*/ 51 h 51"/>
                  <a:gd name="T8" fmla="*/ 30 w 51"/>
                  <a:gd name="T9" fmla="*/ 42 h 51"/>
                  <a:gd name="T10" fmla="*/ 26 w 51"/>
                  <a:gd name="T11" fmla="*/ 36 h 51"/>
                  <a:gd name="T12" fmla="*/ 24 w 51"/>
                  <a:gd name="T13" fmla="*/ 29 h 51"/>
                  <a:gd name="T14" fmla="*/ 28 w 51"/>
                  <a:gd name="T15" fmla="*/ 32 h 51"/>
                  <a:gd name="T16" fmla="*/ 45 w 51"/>
                  <a:gd name="T17" fmla="*/ 42 h 51"/>
                  <a:gd name="T18" fmla="*/ 51 w 51"/>
                  <a:gd name="T19" fmla="*/ 42 h 51"/>
                  <a:gd name="T20" fmla="*/ 51 w 51"/>
                  <a:gd name="T21" fmla="*/ 38 h 51"/>
                  <a:gd name="T22" fmla="*/ 47 w 51"/>
                  <a:gd name="T23" fmla="*/ 25 h 51"/>
                  <a:gd name="T24" fmla="*/ 43 w 51"/>
                  <a:gd name="T25" fmla="*/ 25 h 51"/>
                  <a:gd name="T26" fmla="*/ 37 w 51"/>
                  <a:gd name="T27" fmla="*/ 27 h 51"/>
                  <a:gd name="T28" fmla="*/ 32 w 51"/>
                  <a:gd name="T29" fmla="*/ 23 h 51"/>
                  <a:gd name="T30" fmla="*/ 19 w 51"/>
                  <a:gd name="T31" fmla="*/ 17 h 51"/>
                  <a:gd name="T32" fmla="*/ 24 w 51"/>
                  <a:gd name="T33" fmla="*/ 19 h 51"/>
                  <a:gd name="T34" fmla="*/ 34 w 51"/>
                  <a:gd name="T35" fmla="*/ 23 h 51"/>
                  <a:gd name="T36" fmla="*/ 39 w 51"/>
                  <a:gd name="T37" fmla="*/ 25 h 51"/>
                  <a:gd name="T38" fmla="*/ 43 w 51"/>
                  <a:gd name="T39" fmla="*/ 23 h 51"/>
                  <a:gd name="T40" fmla="*/ 41 w 51"/>
                  <a:gd name="T41" fmla="*/ 19 h 51"/>
                  <a:gd name="T42" fmla="*/ 45 w 51"/>
                  <a:gd name="T43" fmla="*/ 19 h 51"/>
                  <a:gd name="T44" fmla="*/ 45 w 51"/>
                  <a:gd name="T45" fmla="*/ 14 h 51"/>
                  <a:gd name="T46" fmla="*/ 43 w 51"/>
                  <a:gd name="T47" fmla="*/ 8 h 51"/>
                  <a:gd name="T48" fmla="*/ 39 w 51"/>
                  <a:gd name="T49" fmla="*/ 6 h 51"/>
                  <a:gd name="T50" fmla="*/ 32 w 51"/>
                  <a:gd name="T51" fmla="*/ 6 h 51"/>
                  <a:gd name="T52" fmla="*/ 28 w 51"/>
                  <a:gd name="T53" fmla="*/ 6 h 51"/>
                  <a:gd name="T54" fmla="*/ 24 w 51"/>
                  <a:gd name="T55" fmla="*/ 14 h 51"/>
                  <a:gd name="T56" fmla="*/ 19 w 51"/>
                  <a:gd name="T57" fmla="*/ 12 h 51"/>
                  <a:gd name="T58" fmla="*/ 26 w 51"/>
                  <a:gd name="T59" fmla="*/ 8 h 51"/>
                  <a:gd name="T60" fmla="*/ 26 w 51"/>
                  <a:gd name="T61" fmla="*/ 4 h 51"/>
                  <a:gd name="T62" fmla="*/ 22 w 51"/>
                  <a:gd name="T63" fmla="*/ 2 h 51"/>
                  <a:gd name="T64" fmla="*/ 17 w 51"/>
                  <a:gd name="T65" fmla="*/ 0 h 51"/>
                  <a:gd name="T66" fmla="*/ 13 w 51"/>
                  <a:gd name="T67" fmla="*/ 4 h 51"/>
                  <a:gd name="T68" fmla="*/ 7 w 51"/>
                  <a:gd name="T69" fmla="*/ 4 h 51"/>
                  <a:gd name="T70" fmla="*/ 7 w 51"/>
                  <a:gd name="T71" fmla="*/ 8 h 51"/>
                  <a:gd name="T72" fmla="*/ 2 w 51"/>
                  <a:gd name="T73" fmla="*/ 4 h 51"/>
                  <a:gd name="T74" fmla="*/ 2 w 51"/>
                  <a:gd name="T75" fmla="*/ 10 h 51"/>
                  <a:gd name="T76" fmla="*/ 0 w 51"/>
                  <a:gd name="T77" fmla="*/ 14 h 51"/>
                  <a:gd name="T78" fmla="*/ 9 w 51"/>
                  <a:gd name="T79" fmla="*/ 21 h 51"/>
                  <a:gd name="T80" fmla="*/ 5 w 51"/>
                  <a:gd name="T81" fmla="*/ 19 h 51"/>
                  <a:gd name="T82" fmla="*/ 2 w 51"/>
                  <a:gd name="T83" fmla="*/ 23 h 51"/>
                  <a:gd name="T84" fmla="*/ 5 w 51"/>
                  <a:gd name="T85" fmla="*/ 29 h 51"/>
                  <a:gd name="T86" fmla="*/ 9 w 51"/>
                  <a:gd name="T87" fmla="*/ 32 h 51"/>
                  <a:gd name="T88" fmla="*/ 11 w 51"/>
                  <a:gd name="T89" fmla="*/ 38 h 51"/>
                  <a:gd name="T90" fmla="*/ 17 w 51"/>
                  <a:gd name="T91" fmla="*/ 38 h 51"/>
                  <a:gd name="T92" fmla="*/ 19 w 51"/>
                  <a:gd name="T93" fmla="*/ 42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4"/>
                    </a:lnTo>
                    <a:lnTo>
                      <a:pt x="22" y="51"/>
                    </a:lnTo>
                    <a:lnTo>
                      <a:pt x="28" y="51"/>
                    </a:lnTo>
                    <a:lnTo>
                      <a:pt x="30" y="42"/>
                    </a:lnTo>
                    <a:lnTo>
                      <a:pt x="26" y="36"/>
                    </a:lnTo>
                    <a:lnTo>
                      <a:pt x="24" y="29"/>
                    </a:lnTo>
                    <a:lnTo>
                      <a:pt x="28" y="32"/>
                    </a:lnTo>
                    <a:lnTo>
                      <a:pt x="45" y="42"/>
                    </a:lnTo>
                    <a:lnTo>
                      <a:pt x="51" y="42"/>
                    </a:lnTo>
                    <a:lnTo>
                      <a:pt x="51" y="38"/>
                    </a:lnTo>
                    <a:lnTo>
                      <a:pt x="47" y="25"/>
                    </a:lnTo>
                    <a:lnTo>
                      <a:pt x="43" y="25"/>
                    </a:lnTo>
                    <a:lnTo>
                      <a:pt x="37" y="27"/>
                    </a:lnTo>
                    <a:lnTo>
                      <a:pt x="32" y="23"/>
                    </a:lnTo>
                    <a:lnTo>
                      <a:pt x="19" y="17"/>
                    </a:lnTo>
                    <a:lnTo>
                      <a:pt x="24" y="19"/>
                    </a:lnTo>
                    <a:lnTo>
                      <a:pt x="34" y="23"/>
                    </a:lnTo>
                    <a:lnTo>
                      <a:pt x="39" y="25"/>
                    </a:lnTo>
                    <a:lnTo>
                      <a:pt x="43" y="23"/>
                    </a:lnTo>
                    <a:lnTo>
                      <a:pt x="41" y="19"/>
                    </a:lnTo>
                    <a:lnTo>
                      <a:pt x="45" y="19"/>
                    </a:lnTo>
                    <a:lnTo>
                      <a:pt x="45" y="14"/>
                    </a:lnTo>
                    <a:lnTo>
                      <a:pt x="43" y="8"/>
                    </a:lnTo>
                    <a:lnTo>
                      <a:pt x="39" y="6"/>
                    </a:lnTo>
                    <a:lnTo>
                      <a:pt x="32" y="6"/>
                    </a:lnTo>
                    <a:lnTo>
                      <a:pt x="28" y="6"/>
                    </a:lnTo>
                    <a:lnTo>
                      <a:pt x="24" y="14"/>
                    </a:lnTo>
                    <a:lnTo>
                      <a:pt x="19" y="12"/>
                    </a:lnTo>
                    <a:lnTo>
                      <a:pt x="26" y="8"/>
                    </a:lnTo>
                    <a:lnTo>
                      <a:pt x="26" y="4"/>
                    </a:lnTo>
                    <a:lnTo>
                      <a:pt x="22" y="2"/>
                    </a:lnTo>
                    <a:lnTo>
                      <a:pt x="17" y="0"/>
                    </a:lnTo>
                    <a:lnTo>
                      <a:pt x="13" y="4"/>
                    </a:lnTo>
                    <a:lnTo>
                      <a:pt x="7" y="4"/>
                    </a:lnTo>
                    <a:lnTo>
                      <a:pt x="7" y="8"/>
                    </a:lnTo>
                    <a:lnTo>
                      <a:pt x="2" y="4"/>
                    </a:lnTo>
                    <a:lnTo>
                      <a:pt x="2" y="10"/>
                    </a:lnTo>
                    <a:lnTo>
                      <a:pt x="0" y="14"/>
                    </a:lnTo>
                    <a:lnTo>
                      <a:pt x="9" y="21"/>
                    </a:lnTo>
                    <a:lnTo>
                      <a:pt x="5" y="19"/>
                    </a:lnTo>
                    <a:lnTo>
                      <a:pt x="2" y="23"/>
                    </a:lnTo>
                    <a:lnTo>
                      <a:pt x="5" y="29"/>
                    </a:lnTo>
                    <a:lnTo>
                      <a:pt x="9" y="32"/>
                    </a:lnTo>
                    <a:lnTo>
                      <a:pt x="11" y="38"/>
                    </a:lnTo>
                    <a:lnTo>
                      <a:pt x="17" y="38"/>
                    </a:lnTo>
                    <a:lnTo>
                      <a:pt x="19" y="42"/>
                    </a:lnTo>
                    <a:lnTo>
                      <a:pt x="24"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3" name="Freeform 1081"/>
              <p:cNvSpPr>
                <a:spLocks/>
              </p:cNvSpPr>
              <p:nvPr/>
            </p:nvSpPr>
            <p:spPr bwMode="auto">
              <a:xfrm>
                <a:off x="1371" y="3872"/>
                <a:ext cx="10" cy="19"/>
              </a:xfrm>
              <a:custGeom>
                <a:avLst/>
                <a:gdLst>
                  <a:gd name="T0" fmla="*/ 4 w 10"/>
                  <a:gd name="T1" fmla="*/ 0 h 19"/>
                  <a:gd name="T2" fmla="*/ 0 w 10"/>
                  <a:gd name="T3" fmla="*/ 0 h 19"/>
                  <a:gd name="T4" fmla="*/ 6 w 10"/>
                  <a:gd name="T5" fmla="*/ 13 h 19"/>
                  <a:gd name="T6" fmla="*/ 4 w 10"/>
                  <a:gd name="T7" fmla="*/ 17 h 19"/>
                  <a:gd name="T8" fmla="*/ 8 w 10"/>
                  <a:gd name="T9" fmla="*/ 19 h 19"/>
                  <a:gd name="T10" fmla="*/ 10 w 10"/>
                  <a:gd name="T11" fmla="*/ 15 h 19"/>
                  <a:gd name="T12" fmla="*/ 10 w 10"/>
                  <a:gd name="T13" fmla="*/ 4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0" y="0"/>
                    </a:lnTo>
                    <a:lnTo>
                      <a:pt x="6" y="13"/>
                    </a:lnTo>
                    <a:lnTo>
                      <a:pt x="4" y="17"/>
                    </a:lnTo>
                    <a:lnTo>
                      <a:pt x="8" y="19"/>
                    </a:lnTo>
                    <a:lnTo>
                      <a:pt x="10" y="15"/>
                    </a:lnTo>
                    <a:lnTo>
                      <a:pt x="10"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082"/>
              <p:cNvSpPr>
                <a:spLocks/>
              </p:cNvSpPr>
              <p:nvPr/>
            </p:nvSpPr>
            <p:spPr bwMode="auto">
              <a:xfrm>
                <a:off x="1371" y="3872"/>
                <a:ext cx="10" cy="19"/>
              </a:xfrm>
              <a:custGeom>
                <a:avLst/>
                <a:gdLst>
                  <a:gd name="T0" fmla="*/ 4 w 10"/>
                  <a:gd name="T1" fmla="*/ 0 h 19"/>
                  <a:gd name="T2" fmla="*/ 0 w 10"/>
                  <a:gd name="T3" fmla="*/ 0 h 19"/>
                  <a:gd name="T4" fmla="*/ 6 w 10"/>
                  <a:gd name="T5" fmla="*/ 13 h 19"/>
                  <a:gd name="T6" fmla="*/ 4 w 10"/>
                  <a:gd name="T7" fmla="*/ 17 h 19"/>
                  <a:gd name="T8" fmla="*/ 8 w 10"/>
                  <a:gd name="T9" fmla="*/ 19 h 19"/>
                  <a:gd name="T10" fmla="*/ 10 w 10"/>
                  <a:gd name="T11" fmla="*/ 15 h 19"/>
                  <a:gd name="T12" fmla="*/ 10 w 10"/>
                  <a:gd name="T13" fmla="*/ 4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0" y="0"/>
                    </a:lnTo>
                    <a:lnTo>
                      <a:pt x="6" y="13"/>
                    </a:lnTo>
                    <a:lnTo>
                      <a:pt x="4" y="17"/>
                    </a:lnTo>
                    <a:lnTo>
                      <a:pt x="8" y="19"/>
                    </a:lnTo>
                    <a:lnTo>
                      <a:pt x="10" y="15"/>
                    </a:lnTo>
                    <a:lnTo>
                      <a:pt x="10" y="4"/>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5" name="Freeform 1083"/>
              <p:cNvSpPr>
                <a:spLocks/>
              </p:cNvSpPr>
              <p:nvPr/>
            </p:nvSpPr>
            <p:spPr bwMode="auto">
              <a:xfrm>
                <a:off x="1392" y="3810"/>
                <a:ext cx="40" cy="72"/>
              </a:xfrm>
              <a:custGeom>
                <a:avLst/>
                <a:gdLst>
                  <a:gd name="T0" fmla="*/ 17 w 40"/>
                  <a:gd name="T1" fmla="*/ 47 h 72"/>
                  <a:gd name="T2" fmla="*/ 23 w 40"/>
                  <a:gd name="T3" fmla="*/ 43 h 72"/>
                  <a:gd name="T4" fmla="*/ 19 w 40"/>
                  <a:gd name="T5" fmla="*/ 47 h 72"/>
                  <a:gd name="T6" fmla="*/ 23 w 40"/>
                  <a:gd name="T7" fmla="*/ 53 h 72"/>
                  <a:gd name="T8" fmla="*/ 19 w 40"/>
                  <a:gd name="T9" fmla="*/ 68 h 72"/>
                  <a:gd name="T10" fmla="*/ 21 w 40"/>
                  <a:gd name="T11" fmla="*/ 72 h 72"/>
                  <a:gd name="T12" fmla="*/ 25 w 40"/>
                  <a:gd name="T13" fmla="*/ 70 h 72"/>
                  <a:gd name="T14" fmla="*/ 28 w 40"/>
                  <a:gd name="T15" fmla="*/ 66 h 72"/>
                  <a:gd name="T16" fmla="*/ 32 w 40"/>
                  <a:gd name="T17" fmla="*/ 62 h 72"/>
                  <a:gd name="T18" fmla="*/ 34 w 40"/>
                  <a:gd name="T19" fmla="*/ 58 h 72"/>
                  <a:gd name="T20" fmla="*/ 30 w 40"/>
                  <a:gd name="T21" fmla="*/ 51 h 72"/>
                  <a:gd name="T22" fmla="*/ 36 w 40"/>
                  <a:gd name="T23" fmla="*/ 55 h 72"/>
                  <a:gd name="T24" fmla="*/ 40 w 40"/>
                  <a:gd name="T25" fmla="*/ 51 h 72"/>
                  <a:gd name="T26" fmla="*/ 36 w 40"/>
                  <a:gd name="T27" fmla="*/ 47 h 72"/>
                  <a:gd name="T28" fmla="*/ 36 w 40"/>
                  <a:gd name="T29" fmla="*/ 43 h 72"/>
                  <a:gd name="T30" fmla="*/ 36 w 40"/>
                  <a:gd name="T31" fmla="*/ 36 h 72"/>
                  <a:gd name="T32" fmla="*/ 30 w 40"/>
                  <a:gd name="T33" fmla="*/ 32 h 72"/>
                  <a:gd name="T34" fmla="*/ 23 w 40"/>
                  <a:gd name="T35" fmla="*/ 23 h 72"/>
                  <a:gd name="T36" fmla="*/ 21 w 40"/>
                  <a:gd name="T37" fmla="*/ 17 h 72"/>
                  <a:gd name="T38" fmla="*/ 19 w 40"/>
                  <a:gd name="T39" fmla="*/ 13 h 72"/>
                  <a:gd name="T40" fmla="*/ 25 w 40"/>
                  <a:gd name="T41" fmla="*/ 15 h 72"/>
                  <a:gd name="T42" fmla="*/ 28 w 40"/>
                  <a:gd name="T43" fmla="*/ 21 h 72"/>
                  <a:gd name="T44" fmla="*/ 32 w 40"/>
                  <a:gd name="T45" fmla="*/ 26 h 72"/>
                  <a:gd name="T46" fmla="*/ 34 w 40"/>
                  <a:gd name="T47" fmla="*/ 32 h 72"/>
                  <a:gd name="T48" fmla="*/ 38 w 40"/>
                  <a:gd name="T49" fmla="*/ 36 h 72"/>
                  <a:gd name="T50" fmla="*/ 36 w 40"/>
                  <a:gd name="T51" fmla="*/ 30 h 72"/>
                  <a:gd name="T52" fmla="*/ 30 w 40"/>
                  <a:gd name="T53" fmla="*/ 19 h 72"/>
                  <a:gd name="T54" fmla="*/ 25 w 40"/>
                  <a:gd name="T55" fmla="*/ 13 h 72"/>
                  <a:gd name="T56" fmla="*/ 23 w 40"/>
                  <a:gd name="T57" fmla="*/ 9 h 72"/>
                  <a:gd name="T58" fmla="*/ 19 w 40"/>
                  <a:gd name="T59" fmla="*/ 9 h 72"/>
                  <a:gd name="T60" fmla="*/ 13 w 40"/>
                  <a:gd name="T61" fmla="*/ 9 h 72"/>
                  <a:gd name="T62" fmla="*/ 8 w 40"/>
                  <a:gd name="T63" fmla="*/ 9 h 72"/>
                  <a:gd name="T64" fmla="*/ 4 w 40"/>
                  <a:gd name="T65" fmla="*/ 4 h 72"/>
                  <a:gd name="T66" fmla="*/ 0 w 40"/>
                  <a:gd name="T67" fmla="*/ 0 h 72"/>
                  <a:gd name="T68" fmla="*/ 0 w 40"/>
                  <a:gd name="T69" fmla="*/ 4 h 72"/>
                  <a:gd name="T70" fmla="*/ 2 w 40"/>
                  <a:gd name="T71" fmla="*/ 9 h 72"/>
                  <a:gd name="T72" fmla="*/ 6 w 40"/>
                  <a:gd name="T73" fmla="*/ 15 h 72"/>
                  <a:gd name="T74" fmla="*/ 13 w 40"/>
                  <a:gd name="T75" fmla="*/ 38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23" y="43"/>
                    </a:lnTo>
                    <a:lnTo>
                      <a:pt x="19" y="47"/>
                    </a:lnTo>
                    <a:lnTo>
                      <a:pt x="23" y="53"/>
                    </a:lnTo>
                    <a:lnTo>
                      <a:pt x="19" y="68"/>
                    </a:lnTo>
                    <a:lnTo>
                      <a:pt x="21" y="72"/>
                    </a:lnTo>
                    <a:lnTo>
                      <a:pt x="25" y="70"/>
                    </a:lnTo>
                    <a:lnTo>
                      <a:pt x="28" y="66"/>
                    </a:lnTo>
                    <a:lnTo>
                      <a:pt x="32" y="62"/>
                    </a:lnTo>
                    <a:lnTo>
                      <a:pt x="34" y="58"/>
                    </a:lnTo>
                    <a:lnTo>
                      <a:pt x="30" y="51"/>
                    </a:lnTo>
                    <a:lnTo>
                      <a:pt x="36" y="55"/>
                    </a:lnTo>
                    <a:lnTo>
                      <a:pt x="40" y="51"/>
                    </a:lnTo>
                    <a:lnTo>
                      <a:pt x="36" y="47"/>
                    </a:lnTo>
                    <a:lnTo>
                      <a:pt x="36" y="43"/>
                    </a:lnTo>
                    <a:lnTo>
                      <a:pt x="36" y="36"/>
                    </a:lnTo>
                    <a:lnTo>
                      <a:pt x="30" y="32"/>
                    </a:lnTo>
                    <a:lnTo>
                      <a:pt x="23" y="23"/>
                    </a:lnTo>
                    <a:lnTo>
                      <a:pt x="21" y="17"/>
                    </a:lnTo>
                    <a:lnTo>
                      <a:pt x="19" y="13"/>
                    </a:lnTo>
                    <a:lnTo>
                      <a:pt x="25" y="15"/>
                    </a:lnTo>
                    <a:lnTo>
                      <a:pt x="28" y="21"/>
                    </a:lnTo>
                    <a:lnTo>
                      <a:pt x="32" y="26"/>
                    </a:lnTo>
                    <a:lnTo>
                      <a:pt x="34" y="32"/>
                    </a:lnTo>
                    <a:lnTo>
                      <a:pt x="38" y="36"/>
                    </a:lnTo>
                    <a:lnTo>
                      <a:pt x="36" y="30"/>
                    </a:lnTo>
                    <a:lnTo>
                      <a:pt x="30" y="19"/>
                    </a:lnTo>
                    <a:lnTo>
                      <a:pt x="25" y="13"/>
                    </a:lnTo>
                    <a:lnTo>
                      <a:pt x="23" y="9"/>
                    </a:lnTo>
                    <a:lnTo>
                      <a:pt x="19" y="9"/>
                    </a:lnTo>
                    <a:lnTo>
                      <a:pt x="13" y="9"/>
                    </a:lnTo>
                    <a:lnTo>
                      <a:pt x="8" y="9"/>
                    </a:lnTo>
                    <a:lnTo>
                      <a:pt x="4" y="4"/>
                    </a:lnTo>
                    <a:lnTo>
                      <a:pt x="0" y="0"/>
                    </a:lnTo>
                    <a:lnTo>
                      <a:pt x="0" y="4"/>
                    </a:lnTo>
                    <a:lnTo>
                      <a:pt x="2" y="9"/>
                    </a:lnTo>
                    <a:lnTo>
                      <a:pt x="6" y="15"/>
                    </a:lnTo>
                    <a:lnTo>
                      <a:pt x="13" y="38"/>
                    </a:lnTo>
                    <a:lnTo>
                      <a:pt x="1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084"/>
              <p:cNvSpPr>
                <a:spLocks/>
              </p:cNvSpPr>
              <p:nvPr/>
            </p:nvSpPr>
            <p:spPr bwMode="auto">
              <a:xfrm>
                <a:off x="1392" y="3810"/>
                <a:ext cx="40" cy="72"/>
              </a:xfrm>
              <a:custGeom>
                <a:avLst/>
                <a:gdLst>
                  <a:gd name="T0" fmla="*/ 17 w 40"/>
                  <a:gd name="T1" fmla="*/ 47 h 72"/>
                  <a:gd name="T2" fmla="*/ 23 w 40"/>
                  <a:gd name="T3" fmla="*/ 43 h 72"/>
                  <a:gd name="T4" fmla="*/ 19 w 40"/>
                  <a:gd name="T5" fmla="*/ 47 h 72"/>
                  <a:gd name="T6" fmla="*/ 23 w 40"/>
                  <a:gd name="T7" fmla="*/ 53 h 72"/>
                  <a:gd name="T8" fmla="*/ 19 w 40"/>
                  <a:gd name="T9" fmla="*/ 68 h 72"/>
                  <a:gd name="T10" fmla="*/ 21 w 40"/>
                  <a:gd name="T11" fmla="*/ 72 h 72"/>
                  <a:gd name="T12" fmla="*/ 25 w 40"/>
                  <a:gd name="T13" fmla="*/ 70 h 72"/>
                  <a:gd name="T14" fmla="*/ 28 w 40"/>
                  <a:gd name="T15" fmla="*/ 66 h 72"/>
                  <a:gd name="T16" fmla="*/ 32 w 40"/>
                  <a:gd name="T17" fmla="*/ 62 h 72"/>
                  <a:gd name="T18" fmla="*/ 34 w 40"/>
                  <a:gd name="T19" fmla="*/ 58 h 72"/>
                  <a:gd name="T20" fmla="*/ 30 w 40"/>
                  <a:gd name="T21" fmla="*/ 51 h 72"/>
                  <a:gd name="T22" fmla="*/ 36 w 40"/>
                  <a:gd name="T23" fmla="*/ 55 h 72"/>
                  <a:gd name="T24" fmla="*/ 40 w 40"/>
                  <a:gd name="T25" fmla="*/ 51 h 72"/>
                  <a:gd name="T26" fmla="*/ 36 w 40"/>
                  <a:gd name="T27" fmla="*/ 47 h 72"/>
                  <a:gd name="T28" fmla="*/ 36 w 40"/>
                  <a:gd name="T29" fmla="*/ 43 h 72"/>
                  <a:gd name="T30" fmla="*/ 36 w 40"/>
                  <a:gd name="T31" fmla="*/ 36 h 72"/>
                  <a:gd name="T32" fmla="*/ 30 w 40"/>
                  <a:gd name="T33" fmla="*/ 32 h 72"/>
                  <a:gd name="T34" fmla="*/ 23 w 40"/>
                  <a:gd name="T35" fmla="*/ 23 h 72"/>
                  <a:gd name="T36" fmla="*/ 21 w 40"/>
                  <a:gd name="T37" fmla="*/ 17 h 72"/>
                  <a:gd name="T38" fmla="*/ 19 w 40"/>
                  <a:gd name="T39" fmla="*/ 13 h 72"/>
                  <a:gd name="T40" fmla="*/ 25 w 40"/>
                  <a:gd name="T41" fmla="*/ 15 h 72"/>
                  <a:gd name="T42" fmla="*/ 28 w 40"/>
                  <a:gd name="T43" fmla="*/ 21 h 72"/>
                  <a:gd name="T44" fmla="*/ 32 w 40"/>
                  <a:gd name="T45" fmla="*/ 26 h 72"/>
                  <a:gd name="T46" fmla="*/ 34 w 40"/>
                  <a:gd name="T47" fmla="*/ 32 h 72"/>
                  <a:gd name="T48" fmla="*/ 38 w 40"/>
                  <a:gd name="T49" fmla="*/ 36 h 72"/>
                  <a:gd name="T50" fmla="*/ 36 w 40"/>
                  <a:gd name="T51" fmla="*/ 30 h 72"/>
                  <a:gd name="T52" fmla="*/ 30 w 40"/>
                  <a:gd name="T53" fmla="*/ 19 h 72"/>
                  <a:gd name="T54" fmla="*/ 25 w 40"/>
                  <a:gd name="T55" fmla="*/ 13 h 72"/>
                  <a:gd name="T56" fmla="*/ 23 w 40"/>
                  <a:gd name="T57" fmla="*/ 9 h 72"/>
                  <a:gd name="T58" fmla="*/ 19 w 40"/>
                  <a:gd name="T59" fmla="*/ 9 h 72"/>
                  <a:gd name="T60" fmla="*/ 13 w 40"/>
                  <a:gd name="T61" fmla="*/ 9 h 72"/>
                  <a:gd name="T62" fmla="*/ 8 w 40"/>
                  <a:gd name="T63" fmla="*/ 9 h 72"/>
                  <a:gd name="T64" fmla="*/ 4 w 40"/>
                  <a:gd name="T65" fmla="*/ 4 h 72"/>
                  <a:gd name="T66" fmla="*/ 0 w 40"/>
                  <a:gd name="T67" fmla="*/ 0 h 72"/>
                  <a:gd name="T68" fmla="*/ 0 w 40"/>
                  <a:gd name="T69" fmla="*/ 4 h 72"/>
                  <a:gd name="T70" fmla="*/ 2 w 40"/>
                  <a:gd name="T71" fmla="*/ 9 h 72"/>
                  <a:gd name="T72" fmla="*/ 6 w 40"/>
                  <a:gd name="T73" fmla="*/ 15 h 72"/>
                  <a:gd name="T74" fmla="*/ 13 w 40"/>
                  <a:gd name="T75" fmla="*/ 38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23" y="43"/>
                    </a:lnTo>
                    <a:lnTo>
                      <a:pt x="19" y="47"/>
                    </a:lnTo>
                    <a:lnTo>
                      <a:pt x="23" y="53"/>
                    </a:lnTo>
                    <a:lnTo>
                      <a:pt x="19" y="68"/>
                    </a:lnTo>
                    <a:lnTo>
                      <a:pt x="21" y="72"/>
                    </a:lnTo>
                    <a:lnTo>
                      <a:pt x="25" y="70"/>
                    </a:lnTo>
                    <a:lnTo>
                      <a:pt x="28" y="66"/>
                    </a:lnTo>
                    <a:lnTo>
                      <a:pt x="32" y="62"/>
                    </a:lnTo>
                    <a:lnTo>
                      <a:pt x="34" y="58"/>
                    </a:lnTo>
                    <a:lnTo>
                      <a:pt x="30" y="51"/>
                    </a:lnTo>
                    <a:lnTo>
                      <a:pt x="36" y="55"/>
                    </a:lnTo>
                    <a:lnTo>
                      <a:pt x="40" y="51"/>
                    </a:lnTo>
                    <a:lnTo>
                      <a:pt x="36" y="47"/>
                    </a:lnTo>
                    <a:lnTo>
                      <a:pt x="36" y="43"/>
                    </a:lnTo>
                    <a:lnTo>
                      <a:pt x="36" y="36"/>
                    </a:lnTo>
                    <a:lnTo>
                      <a:pt x="30" y="32"/>
                    </a:lnTo>
                    <a:lnTo>
                      <a:pt x="23" y="23"/>
                    </a:lnTo>
                    <a:lnTo>
                      <a:pt x="21" y="17"/>
                    </a:lnTo>
                    <a:lnTo>
                      <a:pt x="19" y="13"/>
                    </a:lnTo>
                    <a:lnTo>
                      <a:pt x="25" y="15"/>
                    </a:lnTo>
                    <a:lnTo>
                      <a:pt x="28" y="21"/>
                    </a:lnTo>
                    <a:lnTo>
                      <a:pt x="32" y="26"/>
                    </a:lnTo>
                    <a:lnTo>
                      <a:pt x="34" y="32"/>
                    </a:lnTo>
                    <a:lnTo>
                      <a:pt x="38" y="36"/>
                    </a:lnTo>
                    <a:lnTo>
                      <a:pt x="36" y="30"/>
                    </a:lnTo>
                    <a:lnTo>
                      <a:pt x="30" y="19"/>
                    </a:lnTo>
                    <a:lnTo>
                      <a:pt x="25" y="13"/>
                    </a:lnTo>
                    <a:lnTo>
                      <a:pt x="23" y="9"/>
                    </a:lnTo>
                    <a:lnTo>
                      <a:pt x="19" y="9"/>
                    </a:lnTo>
                    <a:lnTo>
                      <a:pt x="13" y="9"/>
                    </a:lnTo>
                    <a:lnTo>
                      <a:pt x="8" y="9"/>
                    </a:lnTo>
                    <a:lnTo>
                      <a:pt x="4" y="4"/>
                    </a:lnTo>
                    <a:lnTo>
                      <a:pt x="0" y="0"/>
                    </a:lnTo>
                    <a:lnTo>
                      <a:pt x="0" y="4"/>
                    </a:lnTo>
                    <a:lnTo>
                      <a:pt x="2" y="9"/>
                    </a:lnTo>
                    <a:lnTo>
                      <a:pt x="6" y="15"/>
                    </a:lnTo>
                    <a:lnTo>
                      <a:pt x="13" y="38"/>
                    </a:lnTo>
                    <a:lnTo>
                      <a:pt x="17" y="4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7" name="Freeform 1085"/>
              <p:cNvSpPr>
                <a:spLocks/>
              </p:cNvSpPr>
              <p:nvPr/>
            </p:nvSpPr>
            <p:spPr bwMode="auto">
              <a:xfrm>
                <a:off x="1377" y="3857"/>
                <a:ext cx="40" cy="74"/>
              </a:xfrm>
              <a:custGeom>
                <a:avLst/>
                <a:gdLst>
                  <a:gd name="T0" fmla="*/ 23 w 40"/>
                  <a:gd name="T1" fmla="*/ 55 h 74"/>
                  <a:gd name="T2" fmla="*/ 26 w 40"/>
                  <a:gd name="T3" fmla="*/ 49 h 74"/>
                  <a:gd name="T4" fmla="*/ 26 w 40"/>
                  <a:gd name="T5" fmla="*/ 55 h 74"/>
                  <a:gd name="T6" fmla="*/ 28 w 40"/>
                  <a:gd name="T7" fmla="*/ 62 h 74"/>
                  <a:gd name="T8" fmla="*/ 32 w 40"/>
                  <a:gd name="T9" fmla="*/ 66 h 74"/>
                  <a:gd name="T10" fmla="*/ 36 w 40"/>
                  <a:gd name="T11" fmla="*/ 70 h 74"/>
                  <a:gd name="T12" fmla="*/ 40 w 40"/>
                  <a:gd name="T13" fmla="*/ 74 h 74"/>
                  <a:gd name="T14" fmla="*/ 40 w 40"/>
                  <a:gd name="T15" fmla="*/ 68 h 74"/>
                  <a:gd name="T16" fmla="*/ 38 w 40"/>
                  <a:gd name="T17" fmla="*/ 57 h 74"/>
                  <a:gd name="T18" fmla="*/ 40 w 40"/>
                  <a:gd name="T19" fmla="*/ 53 h 74"/>
                  <a:gd name="T20" fmla="*/ 36 w 40"/>
                  <a:gd name="T21" fmla="*/ 43 h 74"/>
                  <a:gd name="T22" fmla="*/ 28 w 40"/>
                  <a:gd name="T23" fmla="*/ 19 h 74"/>
                  <a:gd name="T24" fmla="*/ 23 w 40"/>
                  <a:gd name="T25" fmla="*/ 15 h 74"/>
                  <a:gd name="T26" fmla="*/ 21 w 40"/>
                  <a:gd name="T27" fmla="*/ 11 h 74"/>
                  <a:gd name="T28" fmla="*/ 13 w 40"/>
                  <a:gd name="T29" fmla="*/ 4 h 74"/>
                  <a:gd name="T30" fmla="*/ 6 w 40"/>
                  <a:gd name="T31" fmla="*/ 6 h 74"/>
                  <a:gd name="T32" fmla="*/ 11 w 40"/>
                  <a:gd name="T33" fmla="*/ 2 h 74"/>
                  <a:gd name="T34" fmla="*/ 6 w 40"/>
                  <a:gd name="T35" fmla="*/ 0 h 74"/>
                  <a:gd name="T36" fmla="*/ 2 w 40"/>
                  <a:gd name="T37" fmla="*/ 11 h 74"/>
                  <a:gd name="T38" fmla="*/ 0 w 40"/>
                  <a:gd name="T39" fmla="*/ 15 h 74"/>
                  <a:gd name="T40" fmla="*/ 4 w 40"/>
                  <a:gd name="T41" fmla="*/ 19 h 74"/>
                  <a:gd name="T42" fmla="*/ 11 w 40"/>
                  <a:gd name="T43" fmla="*/ 17 h 74"/>
                  <a:gd name="T44" fmla="*/ 9 w 40"/>
                  <a:gd name="T45" fmla="*/ 23 h 74"/>
                  <a:gd name="T46" fmla="*/ 13 w 40"/>
                  <a:gd name="T47" fmla="*/ 28 h 74"/>
                  <a:gd name="T48" fmla="*/ 17 w 40"/>
                  <a:gd name="T49" fmla="*/ 30 h 74"/>
                  <a:gd name="T50" fmla="*/ 13 w 40"/>
                  <a:gd name="T51" fmla="*/ 34 h 74"/>
                  <a:gd name="T52" fmla="*/ 15 w 40"/>
                  <a:gd name="T53" fmla="*/ 45 h 74"/>
                  <a:gd name="T54" fmla="*/ 21 w 40"/>
                  <a:gd name="T55" fmla="*/ 45 h 74"/>
                  <a:gd name="T56" fmla="*/ 19 w 40"/>
                  <a:gd name="T57" fmla="*/ 49 h 74"/>
                  <a:gd name="T58" fmla="*/ 23 w 40"/>
                  <a:gd name="T59" fmla="*/ 47 h 74"/>
                  <a:gd name="T60" fmla="*/ 23 w 40"/>
                  <a:gd name="T61" fmla="*/ 51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6" y="49"/>
                    </a:lnTo>
                    <a:lnTo>
                      <a:pt x="26" y="55"/>
                    </a:lnTo>
                    <a:lnTo>
                      <a:pt x="28" y="62"/>
                    </a:lnTo>
                    <a:lnTo>
                      <a:pt x="32" y="66"/>
                    </a:lnTo>
                    <a:lnTo>
                      <a:pt x="36" y="70"/>
                    </a:lnTo>
                    <a:lnTo>
                      <a:pt x="40" y="74"/>
                    </a:lnTo>
                    <a:lnTo>
                      <a:pt x="40" y="68"/>
                    </a:lnTo>
                    <a:lnTo>
                      <a:pt x="38" y="57"/>
                    </a:lnTo>
                    <a:lnTo>
                      <a:pt x="40" y="53"/>
                    </a:lnTo>
                    <a:lnTo>
                      <a:pt x="36" y="43"/>
                    </a:lnTo>
                    <a:lnTo>
                      <a:pt x="28" y="19"/>
                    </a:lnTo>
                    <a:lnTo>
                      <a:pt x="23" y="15"/>
                    </a:lnTo>
                    <a:lnTo>
                      <a:pt x="21" y="11"/>
                    </a:lnTo>
                    <a:lnTo>
                      <a:pt x="13" y="4"/>
                    </a:lnTo>
                    <a:lnTo>
                      <a:pt x="6" y="6"/>
                    </a:lnTo>
                    <a:lnTo>
                      <a:pt x="11" y="2"/>
                    </a:lnTo>
                    <a:lnTo>
                      <a:pt x="6" y="0"/>
                    </a:lnTo>
                    <a:lnTo>
                      <a:pt x="2" y="11"/>
                    </a:lnTo>
                    <a:lnTo>
                      <a:pt x="0" y="15"/>
                    </a:lnTo>
                    <a:lnTo>
                      <a:pt x="4" y="19"/>
                    </a:lnTo>
                    <a:lnTo>
                      <a:pt x="11" y="17"/>
                    </a:lnTo>
                    <a:lnTo>
                      <a:pt x="9" y="23"/>
                    </a:lnTo>
                    <a:lnTo>
                      <a:pt x="13" y="28"/>
                    </a:lnTo>
                    <a:lnTo>
                      <a:pt x="17" y="30"/>
                    </a:lnTo>
                    <a:lnTo>
                      <a:pt x="13" y="34"/>
                    </a:lnTo>
                    <a:lnTo>
                      <a:pt x="15" y="45"/>
                    </a:lnTo>
                    <a:lnTo>
                      <a:pt x="21" y="45"/>
                    </a:lnTo>
                    <a:lnTo>
                      <a:pt x="19" y="49"/>
                    </a:lnTo>
                    <a:lnTo>
                      <a:pt x="23" y="47"/>
                    </a:lnTo>
                    <a:lnTo>
                      <a:pt x="23" y="51"/>
                    </a:lnTo>
                    <a:lnTo>
                      <a:pt x="23"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086"/>
              <p:cNvSpPr>
                <a:spLocks/>
              </p:cNvSpPr>
              <p:nvPr/>
            </p:nvSpPr>
            <p:spPr bwMode="auto">
              <a:xfrm>
                <a:off x="1377" y="3857"/>
                <a:ext cx="40" cy="74"/>
              </a:xfrm>
              <a:custGeom>
                <a:avLst/>
                <a:gdLst>
                  <a:gd name="T0" fmla="*/ 23 w 40"/>
                  <a:gd name="T1" fmla="*/ 55 h 74"/>
                  <a:gd name="T2" fmla="*/ 26 w 40"/>
                  <a:gd name="T3" fmla="*/ 49 h 74"/>
                  <a:gd name="T4" fmla="*/ 26 w 40"/>
                  <a:gd name="T5" fmla="*/ 55 h 74"/>
                  <a:gd name="T6" fmla="*/ 28 w 40"/>
                  <a:gd name="T7" fmla="*/ 62 h 74"/>
                  <a:gd name="T8" fmla="*/ 32 w 40"/>
                  <a:gd name="T9" fmla="*/ 66 h 74"/>
                  <a:gd name="T10" fmla="*/ 36 w 40"/>
                  <a:gd name="T11" fmla="*/ 70 h 74"/>
                  <a:gd name="T12" fmla="*/ 40 w 40"/>
                  <a:gd name="T13" fmla="*/ 74 h 74"/>
                  <a:gd name="T14" fmla="*/ 40 w 40"/>
                  <a:gd name="T15" fmla="*/ 68 h 74"/>
                  <a:gd name="T16" fmla="*/ 38 w 40"/>
                  <a:gd name="T17" fmla="*/ 57 h 74"/>
                  <a:gd name="T18" fmla="*/ 40 w 40"/>
                  <a:gd name="T19" fmla="*/ 53 h 74"/>
                  <a:gd name="T20" fmla="*/ 36 w 40"/>
                  <a:gd name="T21" fmla="*/ 43 h 74"/>
                  <a:gd name="T22" fmla="*/ 28 w 40"/>
                  <a:gd name="T23" fmla="*/ 19 h 74"/>
                  <a:gd name="T24" fmla="*/ 23 w 40"/>
                  <a:gd name="T25" fmla="*/ 15 h 74"/>
                  <a:gd name="T26" fmla="*/ 21 w 40"/>
                  <a:gd name="T27" fmla="*/ 11 h 74"/>
                  <a:gd name="T28" fmla="*/ 13 w 40"/>
                  <a:gd name="T29" fmla="*/ 4 h 74"/>
                  <a:gd name="T30" fmla="*/ 6 w 40"/>
                  <a:gd name="T31" fmla="*/ 6 h 74"/>
                  <a:gd name="T32" fmla="*/ 11 w 40"/>
                  <a:gd name="T33" fmla="*/ 2 h 74"/>
                  <a:gd name="T34" fmla="*/ 6 w 40"/>
                  <a:gd name="T35" fmla="*/ 0 h 74"/>
                  <a:gd name="T36" fmla="*/ 2 w 40"/>
                  <a:gd name="T37" fmla="*/ 11 h 74"/>
                  <a:gd name="T38" fmla="*/ 0 w 40"/>
                  <a:gd name="T39" fmla="*/ 15 h 74"/>
                  <a:gd name="T40" fmla="*/ 4 w 40"/>
                  <a:gd name="T41" fmla="*/ 19 h 74"/>
                  <a:gd name="T42" fmla="*/ 11 w 40"/>
                  <a:gd name="T43" fmla="*/ 17 h 74"/>
                  <a:gd name="T44" fmla="*/ 9 w 40"/>
                  <a:gd name="T45" fmla="*/ 23 h 74"/>
                  <a:gd name="T46" fmla="*/ 13 w 40"/>
                  <a:gd name="T47" fmla="*/ 28 h 74"/>
                  <a:gd name="T48" fmla="*/ 17 w 40"/>
                  <a:gd name="T49" fmla="*/ 30 h 74"/>
                  <a:gd name="T50" fmla="*/ 13 w 40"/>
                  <a:gd name="T51" fmla="*/ 34 h 74"/>
                  <a:gd name="T52" fmla="*/ 15 w 40"/>
                  <a:gd name="T53" fmla="*/ 45 h 74"/>
                  <a:gd name="T54" fmla="*/ 21 w 40"/>
                  <a:gd name="T55" fmla="*/ 45 h 74"/>
                  <a:gd name="T56" fmla="*/ 19 w 40"/>
                  <a:gd name="T57" fmla="*/ 49 h 74"/>
                  <a:gd name="T58" fmla="*/ 23 w 40"/>
                  <a:gd name="T59" fmla="*/ 47 h 74"/>
                  <a:gd name="T60" fmla="*/ 23 w 40"/>
                  <a:gd name="T61" fmla="*/ 51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6" y="49"/>
                    </a:lnTo>
                    <a:lnTo>
                      <a:pt x="26" y="55"/>
                    </a:lnTo>
                    <a:lnTo>
                      <a:pt x="28" y="62"/>
                    </a:lnTo>
                    <a:lnTo>
                      <a:pt x="32" y="66"/>
                    </a:lnTo>
                    <a:lnTo>
                      <a:pt x="36" y="70"/>
                    </a:lnTo>
                    <a:lnTo>
                      <a:pt x="40" y="74"/>
                    </a:lnTo>
                    <a:lnTo>
                      <a:pt x="40" y="68"/>
                    </a:lnTo>
                    <a:lnTo>
                      <a:pt x="38" y="57"/>
                    </a:lnTo>
                    <a:lnTo>
                      <a:pt x="40" y="53"/>
                    </a:lnTo>
                    <a:lnTo>
                      <a:pt x="36" y="43"/>
                    </a:lnTo>
                    <a:lnTo>
                      <a:pt x="28" y="19"/>
                    </a:lnTo>
                    <a:lnTo>
                      <a:pt x="23" y="15"/>
                    </a:lnTo>
                    <a:lnTo>
                      <a:pt x="21" y="11"/>
                    </a:lnTo>
                    <a:lnTo>
                      <a:pt x="13" y="4"/>
                    </a:lnTo>
                    <a:lnTo>
                      <a:pt x="6" y="6"/>
                    </a:lnTo>
                    <a:lnTo>
                      <a:pt x="11" y="2"/>
                    </a:lnTo>
                    <a:lnTo>
                      <a:pt x="6" y="0"/>
                    </a:lnTo>
                    <a:lnTo>
                      <a:pt x="2" y="11"/>
                    </a:lnTo>
                    <a:lnTo>
                      <a:pt x="0" y="15"/>
                    </a:lnTo>
                    <a:lnTo>
                      <a:pt x="4" y="19"/>
                    </a:lnTo>
                    <a:lnTo>
                      <a:pt x="11" y="17"/>
                    </a:lnTo>
                    <a:lnTo>
                      <a:pt x="9" y="23"/>
                    </a:lnTo>
                    <a:lnTo>
                      <a:pt x="13" y="28"/>
                    </a:lnTo>
                    <a:lnTo>
                      <a:pt x="17" y="30"/>
                    </a:lnTo>
                    <a:lnTo>
                      <a:pt x="13" y="34"/>
                    </a:lnTo>
                    <a:lnTo>
                      <a:pt x="15" y="45"/>
                    </a:lnTo>
                    <a:lnTo>
                      <a:pt x="21" y="45"/>
                    </a:lnTo>
                    <a:lnTo>
                      <a:pt x="19" y="49"/>
                    </a:lnTo>
                    <a:lnTo>
                      <a:pt x="23" y="47"/>
                    </a:lnTo>
                    <a:lnTo>
                      <a:pt x="23" y="51"/>
                    </a:lnTo>
                    <a:lnTo>
                      <a:pt x="23" y="5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9" name="Freeform 1087"/>
              <p:cNvSpPr>
                <a:spLocks/>
              </p:cNvSpPr>
              <p:nvPr/>
            </p:nvSpPr>
            <p:spPr bwMode="auto">
              <a:xfrm>
                <a:off x="1400" y="3863"/>
                <a:ext cx="5" cy="7"/>
              </a:xfrm>
              <a:custGeom>
                <a:avLst/>
                <a:gdLst>
                  <a:gd name="T0" fmla="*/ 3 w 5"/>
                  <a:gd name="T1" fmla="*/ 0 h 7"/>
                  <a:gd name="T2" fmla="*/ 0 w 5"/>
                  <a:gd name="T3" fmla="*/ 2 h 7"/>
                  <a:gd name="T4" fmla="*/ 5 w 5"/>
                  <a:gd name="T5" fmla="*/ 7 h 7"/>
                  <a:gd name="T6" fmla="*/ 3 w 5"/>
                  <a:gd name="T7" fmla="*/ 0 h 7"/>
                </a:gdLst>
                <a:ahLst/>
                <a:cxnLst>
                  <a:cxn ang="0">
                    <a:pos x="T0" y="T1"/>
                  </a:cxn>
                  <a:cxn ang="0">
                    <a:pos x="T2" y="T3"/>
                  </a:cxn>
                  <a:cxn ang="0">
                    <a:pos x="T4" y="T5"/>
                  </a:cxn>
                  <a:cxn ang="0">
                    <a:pos x="T6" y="T7"/>
                  </a:cxn>
                </a:cxnLst>
                <a:rect l="0" t="0" r="r" b="b"/>
                <a:pathLst>
                  <a:path w="5" h="7">
                    <a:moveTo>
                      <a:pt x="3" y="0"/>
                    </a:moveTo>
                    <a:lnTo>
                      <a:pt x="0" y="2"/>
                    </a:lnTo>
                    <a:lnTo>
                      <a:pt x="5" y="7"/>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088"/>
              <p:cNvSpPr>
                <a:spLocks/>
              </p:cNvSpPr>
              <p:nvPr/>
            </p:nvSpPr>
            <p:spPr bwMode="auto">
              <a:xfrm>
                <a:off x="1400" y="3863"/>
                <a:ext cx="5" cy="7"/>
              </a:xfrm>
              <a:custGeom>
                <a:avLst/>
                <a:gdLst>
                  <a:gd name="T0" fmla="*/ 3 w 5"/>
                  <a:gd name="T1" fmla="*/ 0 h 7"/>
                  <a:gd name="T2" fmla="*/ 0 w 5"/>
                  <a:gd name="T3" fmla="*/ 2 h 7"/>
                  <a:gd name="T4" fmla="*/ 5 w 5"/>
                  <a:gd name="T5" fmla="*/ 7 h 7"/>
                  <a:gd name="T6" fmla="*/ 3 w 5"/>
                  <a:gd name="T7" fmla="*/ 0 h 7"/>
                </a:gdLst>
                <a:ahLst/>
                <a:cxnLst>
                  <a:cxn ang="0">
                    <a:pos x="T0" y="T1"/>
                  </a:cxn>
                  <a:cxn ang="0">
                    <a:pos x="T2" y="T3"/>
                  </a:cxn>
                  <a:cxn ang="0">
                    <a:pos x="T4" y="T5"/>
                  </a:cxn>
                  <a:cxn ang="0">
                    <a:pos x="T6" y="T7"/>
                  </a:cxn>
                </a:cxnLst>
                <a:rect l="0" t="0" r="r" b="b"/>
                <a:pathLst>
                  <a:path w="5" h="7">
                    <a:moveTo>
                      <a:pt x="3" y="0"/>
                    </a:moveTo>
                    <a:lnTo>
                      <a:pt x="0" y="2"/>
                    </a:lnTo>
                    <a:lnTo>
                      <a:pt x="5" y="7"/>
                    </a:lnTo>
                    <a:lnTo>
                      <a:pt x="3"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1" name="Freeform 1089"/>
              <p:cNvSpPr>
                <a:spLocks/>
              </p:cNvSpPr>
              <p:nvPr/>
            </p:nvSpPr>
            <p:spPr bwMode="auto">
              <a:xfrm>
                <a:off x="1417" y="3833"/>
                <a:ext cx="5" cy="5"/>
              </a:xfrm>
              <a:custGeom>
                <a:avLst/>
                <a:gdLst>
                  <a:gd name="T0" fmla="*/ 0 w 5"/>
                  <a:gd name="T1" fmla="*/ 0 h 5"/>
                  <a:gd name="T2" fmla="*/ 0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0" y="0"/>
                    </a:lnTo>
                    <a:lnTo>
                      <a:pt x="5"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090"/>
              <p:cNvSpPr>
                <a:spLocks/>
              </p:cNvSpPr>
              <p:nvPr/>
            </p:nvSpPr>
            <p:spPr bwMode="auto">
              <a:xfrm>
                <a:off x="1417" y="3833"/>
                <a:ext cx="5" cy="5"/>
              </a:xfrm>
              <a:custGeom>
                <a:avLst/>
                <a:gdLst>
                  <a:gd name="T0" fmla="*/ 0 w 5"/>
                  <a:gd name="T1" fmla="*/ 0 h 5"/>
                  <a:gd name="T2" fmla="*/ 0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0" y="0"/>
                    </a:lnTo>
                    <a:lnTo>
                      <a:pt x="5"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3" name="Freeform 1091"/>
              <p:cNvSpPr>
                <a:spLocks/>
              </p:cNvSpPr>
              <p:nvPr/>
            </p:nvSpPr>
            <p:spPr bwMode="auto">
              <a:xfrm>
                <a:off x="1422" y="3889"/>
                <a:ext cx="21" cy="51"/>
              </a:xfrm>
              <a:custGeom>
                <a:avLst/>
                <a:gdLst>
                  <a:gd name="T0" fmla="*/ 15 w 21"/>
                  <a:gd name="T1" fmla="*/ 51 h 51"/>
                  <a:gd name="T2" fmla="*/ 15 w 21"/>
                  <a:gd name="T3" fmla="*/ 47 h 51"/>
                  <a:gd name="T4" fmla="*/ 10 w 21"/>
                  <a:gd name="T5" fmla="*/ 42 h 51"/>
                  <a:gd name="T6" fmla="*/ 15 w 21"/>
                  <a:gd name="T7" fmla="*/ 38 h 51"/>
                  <a:gd name="T8" fmla="*/ 17 w 21"/>
                  <a:gd name="T9" fmla="*/ 42 h 51"/>
                  <a:gd name="T10" fmla="*/ 19 w 21"/>
                  <a:gd name="T11" fmla="*/ 38 h 51"/>
                  <a:gd name="T12" fmla="*/ 17 w 21"/>
                  <a:gd name="T13" fmla="*/ 32 h 51"/>
                  <a:gd name="T14" fmla="*/ 19 w 21"/>
                  <a:gd name="T15" fmla="*/ 28 h 51"/>
                  <a:gd name="T16" fmla="*/ 19 w 21"/>
                  <a:gd name="T17" fmla="*/ 17 h 51"/>
                  <a:gd name="T18" fmla="*/ 21 w 21"/>
                  <a:gd name="T19" fmla="*/ 13 h 51"/>
                  <a:gd name="T20" fmla="*/ 21 w 21"/>
                  <a:gd name="T21" fmla="*/ 8 h 51"/>
                  <a:gd name="T22" fmla="*/ 15 w 21"/>
                  <a:gd name="T23" fmla="*/ 4 h 51"/>
                  <a:gd name="T24" fmla="*/ 17 w 21"/>
                  <a:gd name="T25" fmla="*/ 11 h 51"/>
                  <a:gd name="T26" fmla="*/ 15 w 21"/>
                  <a:gd name="T27" fmla="*/ 15 h 51"/>
                  <a:gd name="T28" fmla="*/ 15 w 21"/>
                  <a:gd name="T29" fmla="*/ 8 h 51"/>
                  <a:gd name="T30" fmla="*/ 13 w 21"/>
                  <a:gd name="T31" fmla="*/ 4 h 51"/>
                  <a:gd name="T32" fmla="*/ 8 w 21"/>
                  <a:gd name="T33" fmla="*/ 0 h 51"/>
                  <a:gd name="T34" fmla="*/ 4 w 21"/>
                  <a:gd name="T35" fmla="*/ 0 h 51"/>
                  <a:gd name="T36" fmla="*/ 8 w 21"/>
                  <a:gd name="T37" fmla="*/ 2 h 51"/>
                  <a:gd name="T38" fmla="*/ 2 w 21"/>
                  <a:gd name="T39" fmla="*/ 2 h 51"/>
                  <a:gd name="T40" fmla="*/ 4 w 21"/>
                  <a:gd name="T41" fmla="*/ 6 h 51"/>
                  <a:gd name="T42" fmla="*/ 0 w 21"/>
                  <a:gd name="T43" fmla="*/ 11 h 51"/>
                  <a:gd name="T44" fmla="*/ 4 w 21"/>
                  <a:gd name="T45" fmla="*/ 15 h 51"/>
                  <a:gd name="T46" fmla="*/ 8 w 21"/>
                  <a:gd name="T47" fmla="*/ 15 h 51"/>
                  <a:gd name="T48" fmla="*/ 6 w 21"/>
                  <a:gd name="T49" fmla="*/ 19 h 51"/>
                  <a:gd name="T50" fmla="*/ 15 w 21"/>
                  <a:gd name="T51" fmla="*/ 28 h 51"/>
                  <a:gd name="T52" fmla="*/ 8 w 21"/>
                  <a:gd name="T53" fmla="*/ 30 h 51"/>
                  <a:gd name="T54" fmla="*/ 8 w 21"/>
                  <a:gd name="T55" fmla="*/ 34 h 51"/>
                  <a:gd name="T56" fmla="*/ 10 w 21"/>
                  <a:gd name="T57" fmla="*/ 45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5" y="47"/>
                    </a:lnTo>
                    <a:lnTo>
                      <a:pt x="10" y="42"/>
                    </a:lnTo>
                    <a:lnTo>
                      <a:pt x="15" y="38"/>
                    </a:lnTo>
                    <a:lnTo>
                      <a:pt x="17" y="42"/>
                    </a:lnTo>
                    <a:lnTo>
                      <a:pt x="19" y="38"/>
                    </a:lnTo>
                    <a:lnTo>
                      <a:pt x="17" y="32"/>
                    </a:lnTo>
                    <a:lnTo>
                      <a:pt x="19" y="28"/>
                    </a:lnTo>
                    <a:lnTo>
                      <a:pt x="19" y="17"/>
                    </a:lnTo>
                    <a:lnTo>
                      <a:pt x="21" y="13"/>
                    </a:lnTo>
                    <a:lnTo>
                      <a:pt x="21" y="8"/>
                    </a:lnTo>
                    <a:lnTo>
                      <a:pt x="15" y="4"/>
                    </a:lnTo>
                    <a:lnTo>
                      <a:pt x="17" y="11"/>
                    </a:lnTo>
                    <a:lnTo>
                      <a:pt x="15" y="15"/>
                    </a:lnTo>
                    <a:lnTo>
                      <a:pt x="15" y="8"/>
                    </a:lnTo>
                    <a:lnTo>
                      <a:pt x="13" y="4"/>
                    </a:lnTo>
                    <a:lnTo>
                      <a:pt x="8" y="0"/>
                    </a:lnTo>
                    <a:lnTo>
                      <a:pt x="4" y="0"/>
                    </a:lnTo>
                    <a:lnTo>
                      <a:pt x="8" y="2"/>
                    </a:lnTo>
                    <a:lnTo>
                      <a:pt x="2" y="2"/>
                    </a:lnTo>
                    <a:lnTo>
                      <a:pt x="4" y="6"/>
                    </a:lnTo>
                    <a:lnTo>
                      <a:pt x="0" y="11"/>
                    </a:lnTo>
                    <a:lnTo>
                      <a:pt x="4" y="15"/>
                    </a:lnTo>
                    <a:lnTo>
                      <a:pt x="8" y="15"/>
                    </a:lnTo>
                    <a:lnTo>
                      <a:pt x="6" y="19"/>
                    </a:lnTo>
                    <a:lnTo>
                      <a:pt x="15" y="28"/>
                    </a:lnTo>
                    <a:lnTo>
                      <a:pt x="8" y="30"/>
                    </a:lnTo>
                    <a:lnTo>
                      <a:pt x="8" y="34"/>
                    </a:lnTo>
                    <a:lnTo>
                      <a:pt x="10" y="45"/>
                    </a:lnTo>
                    <a:lnTo>
                      <a:pt x="15"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092"/>
              <p:cNvSpPr>
                <a:spLocks/>
              </p:cNvSpPr>
              <p:nvPr/>
            </p:nvSpPr>
            <p:spPr bwMode="auto">
              <a:xfrm>
                <a:off x="1422" y="3889"/>
                <a:ext cx="21" cy="51"/>
              </a:xfrm>
              <a:custGeom>
                <a:avLst/>
                <a:gdLst>
                  <a:gd name="T0" fmla="*/ 15 w 21"/>
                  <a:gd name="T1" fmla="*/ 51 h 51"/>
                  <a:gd name="T2" fmla="*/ 15 w 21"/>
                  <a:gd name="T3" fmla="*/ 47 h 51"/>
                  <a:gd name="T4" fmla="*/ 10 w 21"/>
                  <a:gd name="T5" fmla="*/ 42 h 51"/>
                  <a:gd name="T6" fmla="*/ 15 w 21"/>
                  <a:gd name="T7" fmla="*/ 38 h 51"/>
                  <a:gd name="T8" fmla="*/ 17 w 21"/>
                  <a:gd name="T9" fmla="*/ 42 h 51"/>
                  <a:gd name="T10" fmla="*/ 19 w 21"/>
                  <a:gd name="T11" fmla="*/ 38 h 51"/>
                  <a:gd name="T12" fmla="*/ 17 w 21"/>
                  <a:gd name="T13" fmla="*/ 32 h 51"/>
                  <a:gd name="T14" fmla="*/ 19 w 21"/>
                  <a:gd name="T15" fmla="*/ 28 h 51"/>
                  <a:gd name="T16" fmla="*/ 19 w 21"/>
                  <a:gd name="T17" fmla="*/ 17 h 51"/>
                  <a:gd name="T18" fmla="*/ 21 w 21"/>
                  <a:gd name="T19" fmla="*/ 13 h 51"/>
                  <a:gd name="T20" fmla="*/ 21 w 21"/>
                  <a:gd name="T21" fmla="*/ 8 h 51"/>
                  <a:gd name="T22" fmla="*/ 15 w 21"/>
                  <a:gd name="T23" fmla="*/ 4 h 51"/>
                  <a:gd name="T24" fmla="*/ 17 w 21"/>
                  <a:gd name="T25" fmla="*/ 11 h 51"/>
                  <a:gd name="T26" fmla="*/ 15 w 21"/>
                  <a:gd name="T27" fmla="*/ 15 h 51"/>
                  <a:gd name="T28" fmla="*/ 15 w 21"/>
                  <a:gd name="T29" fmla="*/ 8 h 51"/>
                  <a:gd name="T30" fmla="*/ 13 w 21"/>
                  <a:gd name="T31" fmla="*/ 4 h 51"/>
                  <a:gd name="T32" fmla="*/ 8 w 21"/>
                  <a:gd name="T33" fmla="*/ 0 h 51"/>
                  <a:gd name="T34" fmla="*/ 4 w 21"/>
                  <a:gd name="T35" fmla="*/ 0 h 51"/>
                  <a:gd name="T36" fmla="*/ 8 w 21"/>
                  <a:gd name="T37" fmla="*/ 2 h 51"/>
                  <a:gd name="T38" fmla="*/ 2 w 21"/>
                  <a:gd name="T39" fmla="*/ 2 h 51"/>
                  <a:gd name="T40" fmla="*/ 4 w 21"/>
                  <a:gd name="T41" fmla="*/ 6 h 51"/>
                  <a:gd name="T42" fmla="*/ 0 w 21"/>
                  <a:gd name="T43" fmla="*/ 11 h 51"/>
                  <a:gd name="T44" fmla="*/ 4 w 21"/>
                  <a:gd name="T45" fmla="*/ 15 h 51"/>
                  <a:gd name="T46" fmla="*/ 8 w 21"/>
                  <a:gd name="T47" fmla="*/ 15 h 51"/>
                  <a:gd name="T48" fmla="*/ 6 w 21"/>
                  <a:gd name="T49" fmla="*/ 19 h 51"/>
                  <a:gd name="T50" fmla="*/ 15 w 21"/>
                  <a:gd name="T51" fmla="*/ 28 h 51"/>
                  <a:gd name="T52" fmla="*/ 8 w 21"/>
                  <a:gd name="T53" fmla="*/ 30 h 51"/>
                  <a:gd name="T54" fmla="*/ 8 w 21"/>
                  <a:gd name="T55" fmla="*/ 34 h 51"/>
                  <a:gd name="T56" fmla="*/ 10 w 21"/>
                  <a:gd name="T57" fmla="*/ 45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5" y="47"/>
                    </a:lnTo>
                    <a:lnTo>
                      <a:pt x="10" y="42"/>
                    </a:lnTo>
                    <a:lnTo>
                      <a:pt x="15" y="38"/>
                    </a:lnTo>
                    <a:lnTo>
                      <a:pt x="17" y="42"/>
                    </a:lnTo>
                    <a:lnTo>
                      <a:pt x="19" y="38"/>
                    </a:lnTo>
                    <a:lnTo>
                      <a:pt x="17" y="32"/>
                    </a:lnTo>
                    <a:lnTo>
                      <a:pt x="19" y="28"/>
                    </a:lnTo>
                    <a:lnTo>
                      <a:pt x="19" y="17"/>
                    </a:lnTo>
                    <a:lnTo>
                      <a:pt x="21" y="13"/>
                    </a:lnTo>
                    <a:lnTo>
                      <a:pt x="21" y="8"/>
                    </a:lnTo>
                    <a:lnTo>
                      <a:pt x="15" y="4"/>
                    </a:lnTo>
                    <a:lnTo>
                      <a:pt x="17" y="11"/>
                    </a:lnTo>
                    <a:lnTo>
                      <a:pt x="15" y="15"/>
                    </a:lnTo>
                    <a:lnTo>
                      <a:pt x="15" y="8"/>
                    </a:lnTo>
                    <a:lnTo>
                      <a:pt x="13" y="4"/>
                    </a:lnTo>
                    <a:lnTo>
                      <a:pt x="8" y="0"/>
                    </a:lnTo>
                    <a:lnTo>
                      <a:pt x="4" y="0"/>
                    </a:lnTo>
                    <a:lnTo>
                      <a:pt x="8" y="2"/>
                    </a:lnTo>
                    <a:lnTo>
                      <a:pt x="2" y="2"/>
                    </a:lnTo>
                    <a:lnTo>
                      <a:pt x="4" y="6"/>
                    </a:lnTo>
                    <a:lnTo>
                      <a:pt x="0" y="11"/>
                    </a:lnTo>
                    <a:lnTo>
                      <a:pt x="4" y="15"/>
                    </a:lnTo>
                    <a:lnTo>
                      <a:pt x="8" y="15"/>
                    </a:lnTo>
                    <a:lnTo>
                      <a:pt x="6" y="19"/>
                    </a:lnTo>
                    <a:lnTo>
                      <a:pt x="15" y="28"/>
                    </a:lnTo>
                    <a:lnTo>
                      <a:pt x="8" y="30"/>
                    </a:lnTo>
                    <a:lnTo>
                      <a:pt x="8" y="34"/>
                    </a:lnTo>
                    <a:lnTo>
                      <a:pt x="10" y="45"/>
                    </a:lnTo>
                    <a:lnTo>
                      <a:pt x="15" y="5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5" name="Freeform 1093"/>
              <p:cNvSpPr>
                <a:spLocks/>
              </p:cNvSpPr>
              <p:nvPr/>
            </p:nvSpPr>
            <p:spPr bwMode="auto">
              <a:xfrm>
                <a:off x="1430" y="3878"/>
                <a:ext cx="39" cy="34"/>
              </a:xfrm>
              <a:custGeom>
                <a:avLst/>
                <a:gdLst>
                  <a:gd name="T0" fmla="*/ 22 w 39"/>
                  <a:gd name="T1" fmla="*/ 34 h 34"/>
                  <a:gd name="T2" fmla="*/ 24 w 39"/>
                  <a:gd name="T3" fmla="*/ 32 h 34"/>
                  <a:gd name="T4" fmla="*/ 30 w 39"/>
                  <a:gd name="T5" fmla="*/ 30 h 34"/>
                  <a:gd name="T6" fmla="*/ 34 w 39"/>
                  <a:gd name="T7" fmla="*/ 28 h 34"/>
                  <a:gd name="T8" fmla="*/ 28 w 39"/>
                  <a:gd name="T9" fmla="*/ 15 h 34"/>
                  <a:gd name="T10" fmla="*/ 24 w 39"/>
                  <a:gd name="T11" fmla="*/ 13 h 34"/>
                  <a:gd name="T12" fmla="*/ 28 w 39"/>
                  <a:gd name="T13" fmla="*/ 15 h 34"/>
                  <a:gd name="T14" fmla="*/ 32 w 39"/>
                  <a:gd name="T15" fmla="*/ 19 h 34"/>
                  <a:gd name="T16" fmla="*/ 39 w 39"/>
                  <a:gd name="T17" fmla="*/ 22 h 34"/>
                  <a:gd name="T18" fmla="*/ 36 w 39"/>
                  <a:gd name="T19" fmla="*/ 17 h 34"/>
                  <a:gd name="T20" fmla="*/ 34 w 39"/>
                  <a:gd name="T21" fmla="*/ 11 h 34"/>
                  <a:gd name="T22" fmla="*/ 36 w 39"/>
                  <a:gd name="T23" fmla="*/ 7 h 34"/>
                  <a:gd name="T24" fmla="*/ 32 w 39"/>
                  <a:gd name="T25" fmla="*/ 2 h 34"/>
                  <a:gd name="T26" fmla="*/ 28 w 39"/>
                  <a:gd name="T27" fmla="*/ 0 h 34"/>
                  <a:gd name="T28" fmla="*/ 26 w 39"/>
                  <a:gd name="T29" fmla="*/ 4 h 34"/>
                  <a:gd name="T30" fmla="*/ 22 w 39"/>
                  <a:gd name="T31" fmla="*/ 2 h 34"/>
                  <a:gd name="T32" fmla="*/ 17 w 39"/>
                  <a:gd name="T33" fmla="*/ 0 h 34"/>
                  <a:gd name="T34" fmla="*/ 7 w 39"/>
                  <a:gd name="T35" fmla="*/ 0 h 34"/>
                  <a:gd name="T36" fmla="*/ 0 w 39"/>
                  <a:gd name="T37" fmla="*/ 2 h 34"/>
                  <a:gd name="T38" fmla="*/ 5 w 39"/>
                  <a:gd name="T39" fmla="*/ 7 h 34"/>
                  <a:gd name="T40" fmla="*/ 9 w 39"/>
                  <a:gd name="T41" fmla="*/ 9 h 34"/>
                  <a:gd name="T42" fmla="*/ 11 w 39"/>
                  <a:gd name="T43" fmla="*/ 15 h 34"/>
                  <a:gd name="T44" fmla="*/ 17 w 39"/>
                  <a:gd name="T45" fmla="*/ 26 h 34"/>
                  <a:gd name="T46" fmla="*/ 17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24" y="32"/>
                    </a:lnTo>
                    <a:lnTo>
                      <a:pt x="30" y="30"/>
                    </a:lnTo>
                    <a:lnTo>
                      <a:pt x="34" y="28"/>
                    </a:lnTo>
                    <a:lnTo>
                      <a:pt x="28" y="15"/>
                    </a:lnTo>
                    <a:lnTo>
                      <a:pt x="24" y="13"/>
                    </a:lnTo>
                    <a:lnTo>
                      <a:pt x="28" y="15"/>
                    </a:lnTo>
                    <a:lnTo>
                      <a:pt x="32" y="19"/>
                    </a:lnTo>
                    <a:lnTo>
                      <a:pt x="39" y="22"/>
                    </a:lnTo>
                    <a:lnTo>
                      <a:pt x="36" y="17"/>
                    </a:lnTo>
                    <a:lnTo>
                      <a:pt x="34" y="11"/>
                    </a:lnTo>
                    <a:lnTo>
                      <a:pt x="36" y="7"/>
                    </a:lnTo>
                    <a:lnTo>
                      <a:pt x="32" y="2"/>
                    </a:lnTo>
                    <a:lnTo>
                      <a:pt x="28" y="0"/>
                    </a:lnTo>
                    <a:lnTo>
                      <a:pt x="26" y="4"/>
                    </a:lnTo>
                    <a:lnTo>
                      <a:pt x="22" y="2"/>
                    </a:lnTo>
                    <a:lnTo>
                      <a:pt x="17" y="0"/>
                    </a:lnTo>
                    <a:lnTo>
                      <a:pt x="7" y="0"/>
                    </a:lnTo>
                    <a:lnTo>
                      <a:pt x="0" y="2"/>
                    </a:lnTo>
                    <a:lnTo>
                      <a:pt x="5" y="7"/>
                    </a:lnTo>
                    <a:lnTo>
                      <a:pt x="9" y="9"/>
                    </a:lnTo>
                    <a:lnTo>
                      <a:pt x="11" y="15"/>
                    </a:lnTo>
                    <a:lnTo>
                      <a:pt x="17" y="26"/>
                    </a:lnTo>
                    <a:lnTo>
                      <a:pt x="17" y="32"/>
                    </a:lnTo>
                    <a:lnTo>
                      <a:pt x="2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1094"/>
              <p:cNvSpPr>
                <a:spLocks/>
              </p:cNvSpPr>
              <p:nvPr/>
            </p:nvSpPr>
            <p:spPr bwMode="auto">
              <a:xfrm>
                <a:off x="1430" y="3878"/>
                <a:ext cx="39" cy="34"/>
              </a:xfrm>
              <a:custGeom>
                <a:avLst/>
                <a:gdLst>
                  <a:gd name="T0" fmla="*/ 22 w 39"/>
                  <a:gd name="T1" fmla="*/ 34 h 34"/>
                  <a:gd name="T2" fmla="*/ 24 w 39"/>
                  <a:gd name="T3" fmla="*/ 32 h 34"/>
                  <a:gd name="T4" fmla="*/ 30 w 39"/>
                  <a:gd name="T5" fmla="*/ 30 h 34"/>
                  <a:gd name="T6" fmla="*/ 34 w 39"/>
                  <a:gd name="T7" fmla="*/ 28 h 34"/>
                  <a:gd name="T8" fmla="*/ 28 w 39"/>
                  <a:gd name="T9" fmla="*/ 15 h 34"/>
                  <a:gd name="T10" fmla="*/ 24 w 39"/>
                  <a:gd name="T11" fmla="*/ 13 h 34"/>
                  <a:gd name="T12" fmla="*/ 28 w 39"/>
                  <a:gd name="T13" fmla="*/ 15 h 34"/>
                  <a:gd name="T14" fmla="*/ 32 w 39"/>
                  <a:gd name="T15" fmla="*/ 19 h 34"/>
                  <a:gd name="T16" fmla="*/ 39 w 39"/>
                  <a:gd name="T17" fmla="*/ 22 h 34"/>
                  <a:gd name="T18" fmla="*/ 36 w 39"/>
                  <a:gd name="T19" fmla="*/ 17 h 34"/>
                  <a:gd name="T20" fmla="*/ 34 w 39"/>
                  <a:gd name="T21" fmla="*/ 11 h 34"/>
                  <a:gd name="T22" fmla="*/ 36 w 39"/>
                  <a:gd name="T23" fmla="*/ 7 h 34"/>
                  <a:gd name="T24" fmla="*/ 32 w 39"/>
                  <a:gd name="T25" fmla="*/ 2 h 34"/>
                  <a:gd name="T26" fmla="*/ 28 w 39"/>
                  <a:gd name="T27" fmla="*/ 0 h 34"/>
                  <a:gd name="T28" fmla="*/ 26 w 39"/>
                  <a:gd name="T29" fmla="*/ 4 h 34"/>
                  <a:gd name="T30" fmla="*/ 22 w 39"/>
                  <a:gd name="T31" fmla="*/ 2 h 34"/>
                  <a:gd name="T32" fmla="*/ 17 w 39"/>
                  <a:gd name="T33" fmla="*/ 0 h 34"/>
                  <a:gd name="T34" fmla="*/ 7 w 39"/>
                  <a:gd name="T35" fmla="*/ 0 h 34"/>
                  <a:gd name="T36" fmla="*/ 0 w 39"/>
                  <a:gd name="T37" fmla="*/ 2 h 34"/>
                  <a:gd name="T38" fmla="*/ 5 w 39"/>
                  <a:gd name="T39" fmla="*/ 7 h 34"/>
                  <a:gd name="T40" fmla="*/ 9 w 39"/>
                  <a:gd name="T41" fmla="*/ 9 h 34"/>
                  <a:gd name="T42" fmla="*/ 11 w 39"/>
                  <a:gd name="T43" fmla="*/ 15 h 34"/>
                  <a:gd name="T44" fmla="*/ 17 w 39"/>
                  <a:gd name="T45" fmla="*/ 26 h 34"/>
                  <a:gd name="T46" fmla="*/ 17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24" y="32"/>
                    </a:lnTo>
                    <a:lnTo>
                      <a:pt x="30" y="30"/>
                    </a:lnTo>
                    <a:lnTo>
                      <a:pt x="34" y="28"/>
                    </a:lnTo>
                    <a:lnTo>
                      <a:pt x="28" y="15"/>
                    </a:lnTo>
                    <a:lnTo>
                      <a:pt x="24" y="13"/>
                    </a:lnTo>
                    <a:lnTo>
                      <a:pt x="28" y="15"/>
                    </a:lnTo>
                    <a:lnTo>
                      <a:pt x="32" y="19"/>
                    </a:lnTo>
                    <a:lnTo>
                      <a:pt x="39" y="22"/>
                    </a:lnTo>
                    <a:lnTo>
                      <a:pt x="36" y="17"/>
                    </a:lnTo>
                    <a:lnTo>
                      <a:pt x="34" y="11"/>
                    </a:lnTo>
                    <a:lnTo>
                      <a:pt x="36" y="7"/>
                    </a:lnTo>
                    <a:lnTo>
                      <a:pt x="32" y="2"/>
                    </a:lnTo>
                    <a:lnTo>
                      <a:pt x="28" y="0"/>
                    </a:lnTo>
                    <a:lnTo>
                      <a:pt x="26" y="4"/>
                    </a:lnTo>
                    <a:lnTo>
                      <a:pt x="22" y="2"/>
                    </a:lnTo>
                    <a:lnTo>
                      <a:pt x="17" y="0"/>
                    </a:lnTo>
                    <a:lnTo>
                      <a:pt x="7" y="0"/>
                    </a:lnTo>
                    <a:lnTo>
                      <a:pt x="0" y="2"/>
                    </a:lnTo>
                    <a:lnTo>
                      <a:pt x="5" y="7"/>
                    </a:lnTo>
                    <a:lnTo>
                      <a:pt x="9" y="9"/>
                    </a:lnTo>
                    <a:lnTo>
                      <a:pt x="11" y="15"/>
                    </a:lnTo>
                    <a:lnTo>
                      <a:pt x="17" y="26"/>
                    </a:lnTo>
                    <a:lnTo>
                      <a:pt x="17" y="32"/>
                    </a:lnTo>
                    <a:lnTo>
                      <a:pt x="22" y="3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7" name="Freeform 1095"/>
              <p:cNvSpPr>
                <a:spLocks/>
              </p:cNvSpPr>
              <p:nvPr/>
            </p:nvSpPr>
            <p:spPr bwMode="auto">
              <a:xfrm>
                <a:off x="1430" y="3946"/>
                <a:ext cx="9" cy="5"/>
              </a:xfrm>
              <a:custGeom>
                <a:avLst/>
                <a:gdLst>
                  <a:gd name="T0" fmla="*/ 9 w 9"/>
                  <a:gd name="T1" fmla="*/ 0 h 5"/>
                  <a:gd name="T2" fmla="*/ 0 w 9"/>
                  <a:gd name="T3" fmla="*/ 0 h 5"/>
                  <a:gd name="T4" fmla="*/ 5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0"/>
                    </a:lnTo>
                    <a:lnTo>
                      <a:pt x="5" y="5"/>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096"/>
              <p:cNvSpPr>
                <a:spLocks/>
              </p:cNvSpPr>
              <p:nvPr/>
            </p:nvSpPr>
            <p:spPr bwMode="auto">
              <a:xfrm>
                <a:off x="1430" y="3946"/>
                <a:ext cx="9" cy="5"/>
              </a:xfrm>
              <a:custGeom>
                <a:avLst/>
                <a:gdLst>
                  <a:gd name="T0" fmla="*/ 9 w 9"/>
                  <a:gd name="T1" fmla="*/ 0 h 5"/>
                  <a:gd name="T2" fmla="*/ 0 w 9"/>
                  <a:gd name="T3" fmla="*/ 0 h 5"/>
                  <a:gd name="T4" fmla="*/ 5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0"/>
                    </a:lnTo>
                    <a:lnTo>
                      <a:pt x="5" y="5"/>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9" name="Freeform 1097"/>
              <p:cNvSpPr>
                <a:spLocks/>
              </p:cNvSpPr>
              <p:nvPr/>
            </p:nvSpPr>
            <p:spPr bwMode="auto">
              <a:xfrm>
                <a:off x="1449" y="3919"/>
                <a:ext cx="71" cy="85"/>
              </a:xfrm>
              <a:custGeom>
                <a:avLst/>
                <a:gdLst>
                  <a:gd name="T0" fmla="*/ 7 w 71"/>
                  <a:gd name="T1" fmla="*/ 12 h 85"/>
                  <a:gd name="T2" fmla="*/ 0 w 71"/>
                  <a:gd name="T3" fmla="*/ 21 h 85"/>
                  <a:gd name="T4" fmla="*/ 7 w 71"/>
                  <a:gd name="T5" fmla="*/ 21 h 85"/>
                  <a:gd name="T6" fmla="*/ 15 w 71"/>
                  <a:gd name="T7" fmla="*/ 15 h 85"/>
                  <a:gd name="T8" fmla="*/ 15 w 71"/>
                  <a:gd name="T9" fmla="*/ 15 h 85"/>
                  <a:gd name="T10" fmla="*/ 20 w 71"/>
                  <a:gd name="T11" fmla="*/ 25 h 85"/>
                  <a:gd name="T12" fmla="*/ 17 w 71"/>
                  <a:gd name="T13" fmla="*/ 34 h 85"/>
                  <a:gd name="T14" fmla="*/ 22 w 71"/>
                  <a:gd name="T15" fmla="*/ 42 h 85"/>
                  <a:gd name="T16" fmla="*/ 26 w 71"/>
                  <a:gd name="T17" fmla="*/ 42 h 85"/>
                  <a:gd name="T18" fmla="*/ 28 w 71"/>
                  <a:gd name="T19" fmla="*/ 53 h 85"/>
                  <a:gd name="T20" fmla="*/ 24 w 71"/>
                  <a:gd name="T21" fmla="*/ 57 h 85"/>
                  <a:gd name="T22" fmla="*/ 34 w 71"/>
                  <a:gd name="T23" fmla="*/ 57 h 85"/>
                  <a:gd name="T24" fmla="*/ 37 w 71"/>
                  <a:gd name="T25" fmla="*/ 57 h 85"/>
                  <a:gd name="T26" fmla="*/ 43 w 71"/>
                  <a:gd name="T27" fmla="*/ 57 h 85"/>
                  <a:gd name="T28" fmla="*/ 52 w 71"/>
                  <a:gd name="T29" fmla="*/ 68 h 85"/>
                  <a:gd name="T30" fmla="*/ 54 w 71"/>
                  <a:gd name="T31" fmla="*/ 72 h 85"/>
                  <a:gd name="T32" fmla="*/ 60 w 71"/>
                  <a:gd name="T33" fmla="*/ 85 h 85"/>
                  <a:gd name="T34" fmla="*/ 71 w 71"/>
                  <a:gd name="T35" fmla="*/ 81 h 85"/>
                  <a:gd name="T36" fmla="*/ 69 w 71"/>
                  <a:gd name="T37" fmla="*/ 66 h 85"/>
                  <a:gd name="T38" fmla="*/ 62 w 71"/>
                  <a:gd name="T39" fmla="*/ 64 h 85"/>
                  <a:gd name="T40" fmla="*/ 66 w 71"/>
                  <a:gd name="T41" fmla="*/ 55 h 85"/>
                  <a:gd name="T42" fmla="*/ 60 w 71"/>
                  <a:gd name="T43" fmla="*/ 51 h 85"/>
                  <a:gd name="T44" fmla="*/ 52 w 71"/>
                  <a:gd name="T45" fmla="*/ 47 h 85"/>
                  <a:gd name="T46" fmla="*/ 43 w 71"/>
                  <a:gd name="T47" fmla="*/ 44 h 85"/>
                  <a:gd name="T48" fmla="*/ 49 w 71"/>
                  <a:gd name="T49" fmla="*/ 40 h 85"/>
                  <a:gd name="T50" fmla="*/ 52 w 71"/>
                  <a:gd name="T51" fmla="*/ 36 h 85"/>
                  <a:gd name="T52" fmla="*/ 45 w 71"/>
                  <a:gd name="T53" fmla="*/ 27 h 85"/>
                  <a:gd name="T54" fmla="*/ 37 w 71"/>
                  <a:gd name="T55" fmla="*/ 19 h 85"/>
                  <a:gd name="T56" fmla="*/ 24 w 71"/>
                  <a:gd name="T57" fmla="*/ 12 h 85"/>
                  <a:gd name="T58" fmla="*/ 20 w 71"/>
                  <a:gd name="T59" fmla="*/ 6 h 85"/>
                  <a:gd name="T60" fmla="*/ 0 w 71"/>
                  <a:gd name="T61" fmla="*/ 0 h 85"/>
                  <a:gd name="T62" fmla="*/ 7 w 71"/>
                  <a:gd name="T63" fmla="*/ 8 h 85"/>
                  <a:gd name="T64" fmla="*/ 11 w 71"/>
                  <a:gd name="T65"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85">
                    <a:moveTo>
                      <a:pt x="11" y="10"/>
                    </a:moveTo>
                    <a:lnTo>
                      <a:pt x="7" y="12"/>
                    </a:lnTo>
                    <a:lnTo>
                      <a:pt x="3" y="15"/>
                    </a:lnTo>
                    <a:lnTo>
                      <a:pt x="0" y="21"/>
                    </a:lnTo>
                    <a:lnTo>
                      <a:pt x="0" y="25"/>
                    </a:lnTo>
                    <a:lnTo>
                      <a:pt x="7" y="21"/>
                    </a:lnTo>
                    <a:lnTo>
                      <a:pt x="9" y="17"/>
                    </a:lnTo>
                    <a:lnTo>
                      <a:pt x="15" y="15"/>
                    </a:lnTo>
                    <a:lnTo>
                      <a:pt x="13" y="12"/>
                    </a:lnTo>
                    <a:lnTo>
                      <a:pt x="15" y="15"/>
                    </a:lnTo>
                    <a:lnTo>
                      <a:pt x="17" y="19"/>
                    </a:lnTo>
                    <a:lnTo>
                      <a:pt x="20" y="25"/>
                    </a:lnTo>
                    <a:lnTo>
                      <a:pt x="20" y="30"/>
                    </a:lnTo>
                    <a:lnTo>
                      <a:pt x="17" y="34"/>
                    </a:lnTo>
                    <a:lnTo>
                      <a:pt x="15" y="40"/>
                    </a:lnTo>
                    <a:lnTo>
                      <a:pt x="22" y="42"/>
                    </a:lnTo>
                    <a:lnTo>
                      <a:pt x="26" y="38"/>
                    </a:lnTo>
                    <a:lnTo>
                      <a:pt x="26" y="42"/>
                    </a:lnTo>
                    <a:lnTo>
                      <a:pt x="34" y="53"/>
                    </a:lnTo>
                    <a:lnTo>
                      <a:pt x="28" y="53"/>
                    </a:lnTo>
                    <a:lnTo>
                      <a:pt x="24" y="53"/>
                    </a:lnTo>
                    <a:lnTo>
                      <a:pt x="24" y="57"/>
                    </a:lnTo>
                    <a:lnTo>
                      <a:pt x="30" y="57"/>
                    </a:lnTo>
                    <a:lnTo>
                      <a:pt x="34" y="57"/>
                    </a:lnTo>
                    <a:lnTo>
                      <a:pt x="30" y="61"/>
                    </a:lnTo>
                    <a:lnTo>
                      <a:pt x="37" y="57"/>
                    </a:lnTo>
                    <a:lnTo>
                      <a:pt x="41" y="61"/>
                    </a:lnTo>
                    <a:lnTo>
                      <a:pt x="43" y="57"/>
                    </a:lnTo>
                    <a:lnTo>
                      <a:pt x="45" y="64"/>
                    </a:lnTo>
                    <a:lnTo>
                      <a:pt x="52" y="68"/>
                    </a:lnTo>
                    <a:lnTo>
                      <a:pt x="47" y="72"/>
                    </a:lnTo>
                    <a:lnTo>
                      <a:pt x="54" y="72"/>
                    </a:lnTo>
                    <a:lnTo>
                      <a:pt x="62" y="78"/>
                    </a:lnTo>
                    <a:lnTo>
                      <a:pt x="60" y="85"/>
                    </a:lnTo>
                    <a:lnTo>
                      <a:pt x="64" y="85"/>
                    </a:lnTo>
                    <a:lnTo>
                      <a:pt x="71" y="81"/>
                    </a:lnTo>
                    <a:lnTo>
                      <a:pt x="71" y="76"/>
                    </a:lnTo>
                    <a:lnTo>
                      <a:pt x="69" y="66"/>
                    </a:lnTo>
                    <a:lnTo>
                      <a:pt x="64" y="70"/>
                    </a:lnTo>
                    <a:lnTo>
                      <a:pt x="62" y="64"/>
                    </a:lnTo>
                    <a:lnTo>
                      <a:pt x="64" y="59"/>
                    </a:lnTo>
                    <a:lnTo>
                      <a:pt x="66" y="55"/>
                    </a:lnTo>
                    <a:lnTo>
                      <a:pt x="60" y="55"/>
                    </a:lnTo>
                    <a:lnTo>
                      <a:pt x="60" y="51"/>
                    </a:lnTo>
                    <a:lnTo>
                      <a:pt x="56" y="47"/>
                    </a:lnTo>
                    <a:lnTo>
                      <a:pt x="52" y="47"/>
                    </a:lnTo>
                    <a:lnTo>
                      <a:pt x="49" y="40"/>
                    </a:lnTo>
                    <a:lnTo>
                      <a:pt x="43" y="44"/>
                    </a:lnTo>
                    <a:lnTo>
                      <a:pt x="45" y="40"/>
                    </a:lnTo>
                    <a:lnTo>
                      <a:pt x="49" y="40"/>
                    </a:lnTo>
                    <a:lnTo>
                      <a:pt x="54" y="40"/>
                    </a:lnTo>
                    <a:lnTo>
                      <a:pt x="52" y="36"/>
                    </a:lnTo>
                    <a:lnTo>
                      <a:pt x="45" y="34"/>
                    </a:lnTo>
                    <a:lnTo>
                      <a:pt x="45" y="27"/>
                    </a:lnTo>
                    <a:lnTo>
                      <a:pt x="41" y="23"/>
                    </a:lnTo>
                    <a:lnTo>
                      <a:pt x="37" y="19"/>
                    </a:lnTo>
                    <a:lnTo>
                      <a:pt x="32" y="15"/>
                    </a:lnTo>
                    <a:lnTo>
                      <a:pt x="24" y="12"/>
                    </a:lnTo>
                    <a:lnTo>
                      <a:pt x="17" y="10"/>
                    </a:lnTo>
                    <a:lnTo>
                      <a:pt x="20" y="6"/>
                    </a:lnTo>
                    <a:lnTo>
                      <a:pt x="17" y="0"/>
                    </a:lnTo>
                    <a:lnTo>
                      <a:pt x="0" y="0"/>
                    </a:lnTo>
                    <a:lnTo>
                      <a:pt x="3" y="4"/>
                    </a:lnTo>
                    <a:lnTo>
                      <a:pt x="7" y="8"/>
                    </a:lnTo>
                    <a:lnTo>
                      <a:pt x="11" y="8"/>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098"/>
              <p:cNvSpPr>
                <a:spLocks/>
              </p:cNvSpPr>
              <p:nvPr/>
            </p:nvSpPr>
            <p:spPr bwMode="auto">
              <a:xfrm>
                <a:off x="1449" y="3919"/>
                <a:ext cx="71" cy="85"/>
              </a:xfrm>
              <a:custGeom>
                <a:avLst/>
                <a:gdLst>
                  <a:gd name="T0" fmla="*/ 7 w 71"/>
                  <a:gd name="T1" fmla="*/ 12 h 85"/>
                  <a:gd name="T2" fmla="*/ 0 w 71"/>
                  <a:gd name="T3" fmla="*/ 21 h 85"/>
                  <a:gd name="T4" fmla="*/ 7 w 71"/>
                  <a:gd name="T5" fmla="*/ 21 h 85"/>
                  <a:gd name="T6" fmla="*/ 15 w 71"/>
                  <a:gd name="T7" fmla="*/ 15 h 85"/>
                  <a:gd name="T8" fmla="*/ 15 w 71"/>
                  <a:gd name="T9" fmla="*/ 15 h 85"/>
                  <a:gd name="T10" fmla="*/ 20 w 71"/>
                  <a:gd name="T11" fmla="*/ 25 h 85"/>
                  <a:gd name="T12" fmla="*/ 17 w 71"/>
                  <a:gd name="T13" fmla="*/ 34 h 85"/>
                  <a:gd name="T14" fmla="*/ 22 w 71"/>
                  <a:gd name="T15" fmla="*/ 42 h 85"/>
                  <a:gd name="T16" fmla="*/ 26 w 71"/>
                  <a:gd name="T17" fmla="*/ 42 h 85"/>
                  <a:gd name="T18" fmla="*/ 28 w 71"/>
                  <a:gd name="T19" fmla="*/ 53 h 85"/>
                  <a:gd name="T20" fmla="*/ 24 w 71"/>
                  <a:gd name="T21" fmla="*/ 57 h 85"/>
                  <a:gd name="T22" fmla="*/ 34 w 71"/>
                  <a:gd name="T23" fmla="*/ 57 h 85"/>
                  <a:gd name="T24" fmla="*/ 37 w 71"/>
                  <a:gd name="T25" fmla="*/ 57 h 85"/>
                  <a:gd name="T26" fmla="*/ 43 w 71"/>
                  <a:gd name="T27" fmla="*/ 57 h 85"/>
                  <a:gd name="T28" fmla="*/ 52 w 71"/>
                  <a:gd name="T29" fmla="*/ 68 h 85"/>
                  <a:gd name="T30" fmla="*/ 54 w 71"/>
                  <a:gd name="T31" fmla="*/ 72 h 85"/>
                  <a:gd name="T32" fmla="*/ 60 w 71"/>
                  <a:gd name="T33" fmla="*/ 85 h 85"/>
                  <a:gd name="T34" fmla="*/ 71 w 71"/>
                  <a:gd name="T35" fmla="*/ 81 h 85"/>
                  <a:gd name="T36" fmla="*/ 69 w 71"/>
                  <a:gd name="T37" fmla="*/ 66 h 85"/>
                  <a:gd name="T38" fmla="*/ 62 w 71"/>
                  <a:gd name="T39" fmla="*/ 64 h 85"/>
                  <a:gd name="T40" fmla="*/ 66 w 71"/>
                  <a:gd name="T41" fmla="*/ 55 h 85"/>
                  <a:gd name="T42" fmla="*/ 60 w 71"/>
                  <a:gd name="T43" fmla="*/ 51 h 85"/>
                  <a:gd name="T44" fmla="*/ 52 w 71"/>
                  <a:gd name="T45" fmla="*/ 47 h 85"/>
                  <a:gd name="T46" fmla="*/ 43 w 71"/>
                  <a:gd name="T47" fmla="*/ 44 h 85"/>
                  <a:gd name="T48" fmla="*/ 49 w 71"/>
                  <a:gd name="T49" fmla="*/ 40 h 85"/>
                  <a:gd name="T50" fmla="*/ 52 w 71"/>
                  <a:gd name="T51" fmla="*/ 36 h 85"/>
                  <a:gd name="T52" fmla="*/ 45 w 71"/>
                  <a:gd name="T53" fmla="*/ 27 h 85"/>
                  <a:gd name="T54" fmla="*/ 37 w 71"/>
                  <a:gd name="T55" fmla="*/ 19 h 85"/>
                  <a:gd name="T56" fmla="*/ 24 w 71"/>
                  <a:gd name="T57" fmla="*/ 12 h 85"/>
                  <a:gd name="T58" fmla="*/ 20 w 71"/>
                  <a:gd name="T59" fmla="*/ 6 h 85"/>
                  <a:gd name="T60" fmla="*/ 0 w 71"/>
                  <a:gd name="T61" fmla="*/ 0 h 85"/>
                  <a:gd name="T62" fmla="*/ 7 w 71"/>
                  <a:gd name="T63" fmla="*/ 8 h 85"/>
                  <a:gd name="T64" fmla="*/ 11 w 71"/>
                  <a:gd name="T65"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85">
                    <a:moveTo>
                      <a:pt x="11" y="10"/>
                    </a:moveTo>
                    <a:lnTo>
                      <a:pt x="7" y="12"/>
                    </a:lnTo>
                    <a:lnTo>
                      <a:pt x="3" y="15"/>
                    </a:lnTo>
                    <a:lnTo>
                      <a:pt x="0" y="21"/>
                    </a:lnTo>
                    <a:lnTo>
                      <a:pt x="0" y="25"/>
                    </a:lnTo>
                    <a:lnTo>
                      <a:pt x="7" y="21"/>
                    </a:lnTo>
                    <a:lnTo>
                      <a:pt x="9" y="17"/>
                    </a:lnTo>
                    <a:lnTo>
                      <a:pt x="15" y="15"/>
                    </a:lnTo>
                    <a:lnTo>
                      <a:pt x="13" y="12"/>
                    </a:lnTo>
                    <a:lnTo>
                      <a:pt x="15" y="15"/>
                    </a:lnTo>
                    <a:lnTo>
                      <a:pt x="17" y="19"/>
                    </a:lnTo>
                    <a:lnTo>
                      <a:pt x="20" y="25"/>
                    </a:lnTo>
                    <a:lnTo>
                      <a:pt x="20" y="30"/>
                    </a:lnTo>
                    <a:lnTo>
                      <a:pt x="17" y="34"/>
                    </a:lnTo>
                    <a:lnTo>
                      <a:pt x="15" y="40"/>
                    </a:lnTo>
                    <a:lnTo>
                      <a:pt x="22" y="42"/>
                    </a:lnTo>
                    <a:lnTo>
                      <a:pt x="26" y="38"/>
                    </a:lnTo>
                    <a:lnTo>
                      <a:pt x="26" y="42"/>
                    </a:lnTo>
                    <a:lnTo>
                      <a:pt x="34" y="53"/>
                    </a:lnTo>
                    <a:lnTo>
                      <a:pt x="28" y="53"/>
                    </a:lnTo>
                    <a:lnTo>
                      <a:pt x="24" y="53"/>
                    </a:lnTo>
                    <a:lnTo>
                      <a:pt x="24" y="57"/>
                    </a:lnTo>
                    <a:lnTo>
                      <a:pt x="30" y="57"/>
                    </a:lnTo>
                    <a:lnTo>
                      <a:pt x="34" y="57"/>
                    </a:lnTo>
                    <a:lnTo>
                      <a:pt x="30" y="61"/>
                    </a:lnTo>
                    <a:lnTo>
                      <a:pt x="37" y="57"/>
                    </a:lnTo>
                    <a:lnTo>
                      <a:pt x="41" y="61"/>
                    </a:lnTo>
                    <a:lnTo>
                      <a:pt x="43" y="57"/>
                    </a:lnTo>
                    <a:lnTo>
                      <a:pt x="45" y="64"/>
                    </a:lnTo>
                    <a:lnTo>
                      <a:pt x="52" y="68"/>
                    </a:lnTo>
                    <a:lnTo>
                      <a:pt x="47" y="72"/>
                    </a:lnTo>
                    <a:lnTo>
                      <a:pt x="54" y="72"/>
                    </a:lnTo>
                    <a:lnTo>
                      <a:pt x="62" y="78"/>
                    </a:lnTo>
                    <a:lnTo>
                      <a:pt x="60" y="85"/>
                    </a:lnTo>
                    <a:lnTo>
                      <a:pt x="64" y="85"/>
                    </a:lnTo>
                    <a:lnTo>
                      <a:pt x="71" y="81"/>
                    </a:lnTo>
                    <a:lnTo>
                      <a:pt x="71" y="76"/>
                    </a:lnTo>
                    <a:lnTo>
                      <a:pt x="69" y="66"/>
                    </a:lnTo>
                    <a:lnTo>
                      <a:pt x="64" y="70"/>
                    </a:lnTo>
                    <a:lnTo>
                      <a:pt x="62" y="64"/>
                    </a:lnTo>
                    <a:lnTo>
                      <a:pt x="64" y="59"/>
                    </a:lnTo>
                    <a:lnTo>
                      <a:pt x="66" y="55"/>
                    </a:lnTo>
                    <a:lnTo>
                      <a:pt x="60" y="55"/>
                    </a:lnTo>
                    <a:lnTo>
                      <a:pt x="60" y="51"/>
                    </a:lnTo>
                    <a:lnTo>
                      <a:pt x="56" y="47"/>
                    </a:lnTo>
                    <a:lnTo>
                      <a:pt x="52" y="47"/>
                    </a:lnTo>
                    <a:lnTo>
                      <a:pt x="49" y="40"/>
                    </a:lnTo>
                    <a:lnTo>
                      <a:pt x="43" y="44"/>
                    </a:lnTo>
                    <a:lnTo>
                      <a:pt x="45" y="40"/>
                    </a:lnTo>
                    <a:lnTo>
                      <a:pt x="49" y="40"/>
                    </a:lnTo>
                    <a:lnTo>
                      <a:pt x="54" y="40"/>
                    </a:lnTo>
                    <a:lnTo>
                      <a:pt x="52" y="36"/>
                    </a:lnTo>
                    <a:lnTo>
                      <a:pt x="45" y="34"/>
                    </a:lnTo>
                    <a:lnTo>
                      <a:pt x="45" y="27"/>
                    </a:lnTo>
                    <a:lnTo>
                      <a:pt x="41" y="23"/>
                    </a:lnTo>
                    <a:lnTo>
                      <a:pt x="37" y="19"/>
                    </a:lnTo>
                    <a:lnTo>
                      <a:pt x="32" y="15"/>
                    </a:lnTo>
                    <a:lnTo>
                      <a:pt x="24" y="12"/>
                    </a:lnTo>
                    <a:lnTo>
                      <a:pt x="17" y="10"/>
                    </a:lnTo>
                    <a:lnTo>
                      <a:pt x="20" y="6"/>
                    </a:lnTo>
                    <a:lnTo>
                      <a:pt x="17" y="0"/>
                    </a:lnTo>
                    <a:lnTo>
                      <a:pt x="0" y="0"/>
                    </a:lnTo>
                    <a:lnTo>
                      <a:pt x="3" y="4"/>
                    </a:lnTo>
                    <a:lnTo>
                      <a:pt x="7" y="8"/>
                    </a:lnTo>
                    <a:lnTo>
                      <a:pt x="11" y="8"/>
                    </a:lnTo>
                    <a:lnTo>
                      <a:pt x="11" y="1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1099"/>
              <p:cNvSpPr>
                <a:spLocks/>
              </p:cNvSpPr>
              <p:nvPr/>
            </p:nvSpPr>
            <p:spPr bwMode="auto">
              <a:xfrm>
                <a:off x="1445"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1100"/>
              <p:cNvSpPr>
                <a:spLocks/>
              </p:cNvSpPr>
              <p:nvPr/>
            </p:nvSpPr>
            <p:spPr bwMode="auto">
              <a:xfrm>
                <a:off x="1445"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1101"/>
              <p:cNvSpPr>
                <a:spLocks/>
              </p:cNvSpPr>
              <p:nvPr/>
            </p:nvSpPr>
            <p:spPr bwMode="auto">
              <a:xfrm>
                <a:off x="1466" y="3889"/>
                <a:ext cx="13" cy="17"/>
              </a:xfrm>
              <a:custGeom>
                <a:avLst/>
                <a:gdLst>
                  <a:gd name="T0" fmla="*/ 5 w 13"/>
                  <a:gd name="T1" fmla="*/ 0 h 17"/>
                  <a:gd name="T2" fmla="*/ 0 w 13"/>
                  <a:gd name="T3" fmla="*/ 2 h 17"/>
                  <a:gd name="T4" fmla="*/ 3 w 13"/>
                  <a:gd name="T5" fmla="*/ 6 h 17"/>
                  <a:gd name="T6" fmla="*/ 3 w 13"/>
                  <a:gd name="T7" fmla="*/ 13 h 17"/>
                  <a:gd name="T8" fmla="*/ 7 w 13"/>
                  <a:gd name="T9" fmla="*/ 17 h 17"/>
                  <a:gd name="T10" fmla="*/ 13 w 13"/>
                  <a:gd name="T11" fmla="*/ 13 h 17"/>
                  <a:gd name="T12" fmla="*/ 13 w 13"/>
                  <a:gd name="T13" fmla="*/ 8 h 17"/>
                  <a:gd name="T14" fmla="*/ 5 w 13"/>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7">
                    <a:moveTo>
                      <a:pt x="5" y="0"/>
                    </a:moveTo>
                    <a:lnTo>
                      <a:pt x="0" y="2"/>
                    </a:lnTo>
                    <a:lnTo>
                      <a:pt x="3" y="6"/>
                    </a:lnTo>
                    <a:lnTo>
                      <a:pt x="3" y="13"/>
                    </a:lnTo>
                    <a:lnTo>
                      <a:pt x="7" y="17"/>
                    </a:lnTo>
                    <a:lnTo>
                      <a:pt x="13" y="13"/>
                    </a:lnTo>
                    <a:lnTo>
                      <a:pt x="13" y="8"/>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102"/>
              <p:cNvSpPr>
                <a:spLocks/>
              </p:cNvSpPr>
              <p:nvPr/>
            </p:nvSpPr>
            <p:spPr bwMode="auto">
              <a:xfrm>
                <a:off x="1466" y="3889"/>
                <a:ext cx="13" cy="17"/>
              </a:xfrm>
              <a:custGeom>
                <a:avLst/>
                <a:gdLst>
                  <a:gd name="T0" fmla="*/ 5 w 13"/>
                  <a:gd name="T1" fmla="*/ 0 h 17"/>
                  <a:gd name="T2" fmla="*/ 0 w 13"/>
                  <a:gd name="T3" fmla="*/ 2 h 17"/>
                  <a:gd name="T4" fmla="*/ 3 w 13"/>
                  <a:gd name="T5" fmla="*/ 6 h 17"/>
                  <a:gd name="T6" fmla="*/ 3 w 13"/>
                  <a:gd name="T7" fmla="*/ 13 h 17"/>
                  <a:gd name="T8" fmla="*/ 7 w 13"/>
                  <a:gd name="T9" fmla="*/ 17 h 17"/>
                  <a:gd name="T10" fmla="*/ 13 w 13"/>
                  <a:gd name="T11" fmla="*/ 13 h 17"/>
                  <a:gd name="T12" fmla="*/ 13 w 13"/>
                  <a:gd name="T13" fmla="*/ 8 h 17"/>
                  <a:gd name="T14" fmla="*/ 5 w 13"/>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7">
                    <a:moveTo>
                      <a:pt x="5" y="0"/>
                    </a:moveTo>
                    <a:lnTo>
                      <a:pt x="0" y="2"/>
                    </a:lnTo>
                    <a:lnTo>
                      <a:pt x="3" y="6"/>
                    </a:lnTo>
                    <a:lnTo>
                      <a:pt x="3" y="13"/>
                    </a:lnTo>
                    <a:lnTo>
                      <a:pt x="7" y="17"/>
                    </a:lnTo>
                    <a:lnTo>
                      <a:pt x="13" y="13"/>
                    </a:lnTo>
                    <a:lnTo>
                      <a:pt x="13" y="8"/>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5" name="Freeform 1103"/>
              <p:cNvSpPr>
                <a:spLocks/>
              </p:cNvSpPr>
              <p:nvPr/>
            </p:nvSpPr>
            <p:spPr bwMode="auto">
              <a:xfrm>
                <a:off x="1456" y="3949"/>
                <a:ext cx="10" cy="6"/>
              </a:xfrm>
              <a:custGeom>
                <a:avLst/>
                <a:gdLst>
                  <a:gd name="T0" fmla="*/ 10 w 10"/>
                  <a:gd name="T1" fmla="*/ 0 h 6"/>
                  <a:gd name="T2" fmla="*/ 6 w 10"/>
                  <a:gd name="T3" fmla="*/ 2 h 6"/>
                  <a:gd name="T4" fmla="*/ 0 w 10"/>
                  <a:gd name="T5" fmla="*/ 0 h 6"/>
                  <a:gd name="T6" fmla="*/ 0 w 10"/>
                  <a:gd name="T7" fmla="*/ 4 h 6"/>
                  <a:gd name="T8" fmla="*/ 4 w 10"/>
                  <a:gd name="T9" fmla="*/ 6 h 6"/>
                  <a:gd name="T10" fmla="*/ 4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6" y="2"/>
                    </a:lnTo>
                    <a:lnTo>
                      <a:pt x="0" y="0"/>
                    </a:lnTo>
                    <a:lnTo>
                      <a:pt x="0" y="4"/>
                    </a:lnTo>
                    <a:lnTo>
                      <a:pt x="4" y="6"/>
                    </a:lnTo>
                    <a:lnTo>
                      <a:pt x="4" y="2"/>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104"/>
              <p:cNvSpPr>
                <a:spLocks/>
              </p:cNvSpPr>
              <p:nvPr/>
            </p:nvSpPr>
            <p:spPr bwMode="auto">
              <a:xfrm>
                <a:off x="1456" y="3949"/>
                <a:ext cx="10" cy="6"/>
              </a:xfrm>
              <a:custGeom>
                <a:avLst/>
                <a:gdLst>
                  <a:gd name="T0" fmla="*/ 10 w 10"/>
                  <a:gd name="T1" fmla="*/ 0 h 6"/>
                  <a:gd name="T2" fmla="*/ 6 w 10"/>
                  <a:gd name="T3" fmla="*/ 2 h 6"/>
                  <a:gd name="T4" fmla="*/ 0 w 10"/>
                  <a:gd name="T5" fmla="*/ 0 h 6"/>
                  <a:gd name="T6" fmla="*/ 0 w 10"/>
                  <a:gd name="T7" fmla="*/ 4 h 6"/>
                  <a:gd name="T8" fmla="*/ 4 w 10"/>
                  <a:gd name="T9" fmla="*/ 6 h 6"/>
                  <a:gd name="T10" fmla="*/ 4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6" y="2"/>
                    </a:lnTo>
                    <a:lnTo>
                      <a:pt x="0" y="0"/>
                    </a:lnTo>
                    <a:lnTo>
                      <a:pt x="0" y="4"/>
                    </a:lnTo>
                    <a:lnTo>
                      <a:pt x="4" y="6"/>
                    </a:lnTo>
                    <a:lnTo>
                      <a:pt x="4" y="2"/>
                    </a:lnTo>
                    <a:lnTo>
                      <a:pt x="1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105"/>
              <p:cNvSpPr>
                <a:spLocks/>
              </p:cNvSpPr>
              <p:nvPr/>
            </p:nvSpPr>
            <p:spPr bwMode="auto">
              <a:xfrm>
                <a:off x="1454" y="3966"/>
                <a:ext cx="6" cy="4"/>
              </a:xfrm>
              <a:custGeom>
                <a:avLst/>
                <a:gdLst>
                  <a:gd name="T0" fmla="*/ 4 w 6"/>
                  <a:gd name="T1" fmla="*/ 4 h 4"/>
                  <a:gd name="T2" fmla="*/ 6 w 6"/>
                  <a:gd name="T3" fmla="*/ 0 h 4"/>
                  <a:gd name="T4" fmla="*/ 0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6" y="0"/>
                    </a:lnTo>
                    <a:lnTo>
                      <a:pt x="0"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106"/>
              <p:cNvSpPr>
                <a:spLocks/>
              </p:cNvSpPr>
              <p:nvPr/>
            </p:nvSpPr>
            <p:spPr bwMode="auto">
              <a:xfrm>
                <a:off x="1454" y="3966"/>
                <a:ext cx="6" cy="4"/>
              </a:xfrm>
              <a:custGeom>
                <a:avLst/>
                <a:gdLst>
                  <a:gd name="T0" fmla="*/ 4 w 6"/>
                  <a:gd name="T1" fmla="*/ 4 h 4"/>
                  <a:gd name="T2" fmla="*/ 6 w 6"/>
                  <a:gd name="T3" fmla="*/ 0 h 4"/>
                  <a:gd name="T4" fmla="*/ 0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6" y="0"/>
                    </a:lnTo>
                    <a:lnTo>
                      <a:pt x="0" y="0"/>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107"/>
              <p:cNvSpPr>
                <a:spLocks/>
              </p:cNvSpPr>
              <p:nvPr/>
            </p:nvSpPr>
            <p:spPr bwMode="auto">
              <a:xfrm>
                <a:off x="1469" y="3908"/>
                <a:ext cx="12" cy="13"/>
              </a:xfrm>
              <a:custGeom>
                <a:avLst/>
                <a:gdLst>
                  <a:gd name="T0" fmla="*/ 8 w 12"/>
                  <a:gd name="T1" fmla="*/ 0 h 13"/>
                  <a:gd name="T2" fmla="*/ 0 w 12"/>
                  <a:gd name="T3" fmla="*/ 4 h 13"/>
                  <a:gd name="T4" fmla="*/ 2 w 12"/>
                  <a:gd name="T5" fmla="*/ 9 h 13"/>
                  <a:gd name="T6" fmla="*/ 6 w 12"/>
                  <a:gd name="T7" fmla="*/ 13 h 13"/>
                  <a:gd name="T8" fmla="*/ 10 w 12"/>
                  <a:gd name="T9" fmla="*/ 11 h 13"/>
                  <a:gd name="T10" fmla="*/ 12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0" y="4"/>
                    </a:lnTo>
                    <a:lnTo>
                      <a:pt x="2" y="9"/>
                    </a:lnTo>
                    <a:lnTo>
                      <a:pt x="6" y="13"/>
                    </a:lnTo>
                    <a:lnTo>
                      <a:pt x="10" y="11"/>
                    </a:lnTo>
                    <a:lnTo>
                      <a:pt x="12"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1108"/>
              <p:cNvSpPr>
                <a:spLocks/>
              </p:cNvSpPr>
              <p:nvPr/>
            </p:nvSpPr>
            <p:spPr bwMode="auto">
              <a:xfrm>
                <a:off x="1469" y="3908"/>
                <a:ext cx="12" cy="13"/>
              </a:xfrm>
              <a:custGeom>
                <a:avLst/>
                <a:gdLst>
                  <a:gd name="T0" fmla="*/ 8 w 12"/>
                  <a:gd name="T1" fmla="*/ 0 h 13"/>
                  <a:gd name="T2" fmla="*/ 0 w 12"/>
                  <a:gd name="T3" fmla="*/ 4 h 13"/>
                  <a:gd name="T4" fmla="*/ 2 w 12"/>
                  <a:gd name="T5" fmla="*/ 9 h 13"/>
                  <a:gd name="T6" fmla="*/ 6 w 12"/>
                  <a:gd name="T7" fmla="*/ 13 h 13"/>
                  <a:gd name="T8" fmla="*/ 10 w 12"/>
                  <a:gd name="T9" fmla="*/ 11 h 13"/>
                  <a:gd name="T10" fmla="*/ 12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0" y="4"/>
                    </a:lnTo>
                    <a:lnTo>
                      <a:pt x="2" y="9"/>
                    </a:lnTo>
                    <a:lnTo>
                      <a:pt x="6" y="13"/>
                    </a:lnTo>
                    <a:lnTo>
                      <a:pt x="10" y="11"/>
                    </a:lnTo>
                    <a:lnTo>
                      <a:pt x="12" y="4"/>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109"/>
              <p:cNvSpPr>
                <a:spLocks/>
              </p:cNvSpPr>
              <p:nvPr/>
            </p:nvSpPr>
            <p:spPr bwMode="auto">
              <a:xfrm>
                <a:off x="1464"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110"/>
              <p:cNvSpPr>
                <a:spLocks/>
              </p:cNvSpPr>
              <p:nvPr/>
            </p:nvSpPr>
            <p:spPr bwMode="auto">
              <a:xfrm>
                <a:off x="1464"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111"/>
              <p:cNvSpPr>
                <a:spLocks/>
              </p:cNvSpPr>
              <p:nvPr/>
            </p:nvSpPr>
            <p:spPr bwMode="auto">
              <a:xfrm>
                <a:off x="1462" y="3966"/>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112"/>
              <p:cNvSpPr>
                <a:spLocks/>
              </p:cNvSpPr>
              <p:nvPr/>
            </p:nvSpPr>
            <p:spPr bwMode="auto">
              <a:xfrm>
                <a:off x="1462" y="3966"/>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5" name="Freeform 1113"/>
              <p:cNvSpPr>
                <a:spLocks/>
              </p:cNvSpPr>
              <p:nvPr/>
            </p:nvSpPr>
            <p:spPr bwMode="auto">
              <a:xfrm>
                <a:off x="1460" y="3972"/>
                <a:ext cx="4" cy="8"/>
              </a:xfrm>
              <a:custGeom>
                <a:avLst/>
                <a:gdLst>
                  <a:gd name="T0" fmla="*/ 4 w 4"/>
                  <a:gd name="T1" fmla="*/ 0 h 8"/>
                  <a:gd name="T2" fmla="*/ 2 w 4"/>
                  <a:gd name="T3" fmla="*/ 0 h 8"/>
                  <a:gd name="T4" fmla="*/ 0 w 4"/>
                  <a:gd name="T5" fmla="*/ 4 h 8"/>
                  <a:gd name="T6" fmla="*/ 2 w 4"/>
                  <a:gd name="T7" fmla="*/ 8 h 8"/>
                  <a:gd name="T8" fmla="*/ 0 w 4"/>
                  <a:gd name="T9" fmla="*/ 4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2" y="0"/>
                    </a:lnTo>
                    <a:lnTo>
                      <a:pt x="0" y="4"/>
                    </a:lnTo>
                    <a:lnTo>
                      <a:pt x="2" y="8"/>
                    </a:lnTo>
                    <a:lnTo>
                      <a:pt x="0"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114"/>
              <p:cNvSpPr>
                <a:spLocks/>
              </p:cNvSpPr>
              <p:nvPr/>
            </p:nvSpPr>
            <p:spPr bwMode="auto">
              <a:xfrm>
                <a:off x="1460" y="3972"/>
                <a:ext cx="4" cy="8"/>
              </a:xfrm>
              <a:custGeom>
                <a:avLst/>
                <a:gdLst>
                  <a:gd name="T0" fmla="*/ 4 w 4"/>
                  <a:gd name="T1" fmla="*/ 0 h 8"/>
                  <a:gd name="T2" fmla="*/ 2 w 4"/>
                  <a:gd name="T3" fmla="*/ 0 h 8"/>
                  <a:gd name="T4" fmla="*/ 0 w 4"/>
                  <a:gd name="T5" fmla="*/ 4 h 8"/>
                  <a:gd name="T6" fmla="*/ 2 w 4"/>
                  <a:gd name="T7" fmla="*/ 8 h 8"/>
                  <a:gd name="T8" fmla="*/ 0 w 4"/>
                  <a:gd name="T9" fmla="*/ 4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2" y="0"/>
                    </a:lnTo>
                    <a:lnTo>
                      <a:pt x="0" y="4"/>
                    </a:lnTo>
                    <a:lnTo>
                      <a:pt x="2" y="8"/>
                    </a:lnTo>
                    <a:lnTo>
                      <a:pt x="0" y="4"/>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7" name="Freeform 1115"/>
              <p:cNvSpPr>
                <a:spLocks/>
              </p:cNvSpPr>
              <p:nvPr/>
            </p:nvSpPr>
            <p:spPr bwMode="auto">
              <a:xfrm>
                <a:off x="1464" y="3963"/>
                <a:ext cx="5" cy="5"/>
              </a:xfrm>
              <a:custGeom>
                <a:avLst/>
                <a:gdLst>
                  <a:gd name="T0" fmla="*/ 5 w 5"/>
                  <a:gd name="T1" fmla="*/ 0 h 5"/>
                  <a:gd name="T2" fmla="*/ 0 w 5"/>
                  <a:gd name="T3" fmla="*/ 0 h 5"/>
                  <a:gd name="T4" fmla="*/ 5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0"/>
                    </a:lnTo>
                    <a:lnTo>
                      <a:pt x="5" y="5"/>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1116"/>
              <p:cNvSpPr>
                <a:spLocks/>
              </p:cNvSpPr>
              <p:nvPr/>
            </p:nvSpPr>
            <p:spPr bwMode="auto">
              <a:xfrm>
                <a:off x="1464" y="3963"/>
                <a:ext cx="5" cy="5"/>
              </a:xfrm>
              <a:custGeom>
                <a:avLst/>
                <a:gdLst>
                  <a:gd name="T0" fmla="*/ 5 w 5"/>
                  <a:gd name="T1" fmla="*/ 0 h 5"/>
                  <a:gd name="T2" fmla="*/ 0 w 5"/>
                  <a:gd name="T3" fmla="*/ 0 h 5"/>
                  <a:gd name="T4" fmla="*/ 5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0"/>
                    </a:lnTo>
                    <a:lnTo>
                      <a:pt x="5" y="5"/>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117"/>
              <p:cNvSpPr>
                <a:spLocks/>
              </p:cNvSpPr>
              <p:nvPr/>
            </p:nvSpPr>
            <p:spPr bwMode="auto">
              <a:xfrm>
                <a:off x="1466" y="3974"/>
                <a:ext cx="7" cy="9"/>
              </a:xfrm>
              <a:custGeom>
                <a:avLst/>
                <a:gdLst>
                  <a:gd name="T0" fmla="*/ 5 w 7"/>
                  <a:gd name="T1" fmla="*/ 0 h 9"/>
                  <a:gd name="T2" fmla="*/ 0 w 7"/>
                  <a:gd name="T3" fmla="*/ 4 h 9"/>
                  <a:gd name="T4" fmla="*/ 0 w 7"/>
                  <a:gd name="T5" fmla="*/ 9 h 9"/>
                  <a:gd name="T6" fmla="*/ 7 w 7"/>
                  <a:gd name="T7" fmla="*/ 6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0" y="4"/>
                    </a:lnTo>
                    <a:lnTo>
                      <a:pt x="0" y="9"/>
                    </a:lnTo>
                    <a:lnTo>
                      <a:pt x="7" y="6"/>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1118"/>
              <p:cNvSpPr>
                <a:spLocks/>
              </p:cNvSpPr>
              <p:nvPr/>
            </p:nvSpPr>
            <p:spPr bwMode="auto">
              <a:xfrm>
                <a:off x="1466" y="3974"/>
                <a:ext cx="7" cy="9"/>
              </a:xfrm>
              <a:custGeom>
                <a:avLst/>
                <a:gdLst>
                  <a:gd name="T0" fmla="*/ 5 w 7"/>
                  <a:gd name="T1" fmla="*/ 0 h 9"/>
                  <a:gd name="T2" fmla="*/ 0 w 7"/>
                  <a:gd name="T3" fmla="*/ 4 h 9"/>
                  <a:gd name="T4" fmla="*/ 0 w 7"/>
                  <a:gd name="T5" fmla="*/ 9 h 9"/>
                  <a:gd name="T6" fmla="*/ 7 w 7"/>
                  <a:gd name="T7" fmla="*/ 6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0" y="4"/>
                    </a:lnTo>
                    <a:lnTo>
                      <a:pt x="0" y="9"/>
                    </a:lnTo>
                    <a:lnTo>
                      <a:pt x="7" y="6"/>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1" name="Freeform 1119"/>
              <p:cNvSpPr>
                <a:spLocks/>
              </p:cNvSpPr>
              <p:nvPr/>
            </p:nvSpPr>
            <p:spPr bwMode="auto">
              <a:xfrm>
                <a:off x="1481" y="3912"/>
                <a:ext cx="22" cy="24"/>
              </a:xfrm>
              <a:custGeom>
                <a:avLst/>
                <a:gdLst>
                  <a:gd name="T0" fmla="*/ 9 w 22"/>
                  <a:gd name="T1" fmla="*/ 0 h 24"/>
                  <a:gd name="T2" fmla="*/ 2 w 22"/>
                  <a:gd name="T3" fmla="*/ 0 h 24"/>
                  <a:gd name="T4" fmla="*/ 2 w 22"/>
                  <a:gd name="T5" fmla="*/ 7 h 24"/>
                  <a:gd name="T6" fmla="*/ 0 w 22"/>
                  <a:gd name="T7" fmla="*/ 11 h 24"/>
                  <a:gd name="T8" fmla="*/ 2 w 22"/>
                  <a:gd name="T9" fmla="*/ 15 h 24"/>
                  <a:gd name="T10" fmla="*/ 7 w 22"/>
                  <a:gd name="T11" fmla="*/ 17 h 24"/>
                  <a:gd name="T12" fmla="*/ 15 w 22"/>
                  <a:gd name="T13" fmla="*/ 24 h 24"/>
                  <a:gd name="T14" fmla="*/ 22 w 22"/>
                  <a:gd name="T15" fmla="*/ 22 h 24"/>
                  <a:gd name="T16" fmla="*/ 17 w 22"/>
                  <a:gd name="T17" fmla="*/ 15 h 24"/>
                  <a:gd name="T18" fmla="*/ 17 w 22"/>
                  <a:gd name="T19" fmla="*/ 11 h 24"/>
                  <a:gd name="T20" fmla="*/ 9 w 22"/>
                  <a:gd name="T21" fmla="*/ 5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2" y="0"/>
                    </a:lnTo>
                    <a:lnTo>
                      <a:pt x="2" y="7"/>
                    </a:lnTo>
                    <a:lnTo>
                      <a:pt x="0" y="11"/>
                    </a:lnTo>
                    <a:lnTo>
                      <a:pt x="2" y="15"/>
                    </a:lnTo>
                    <a:lnTo>
                      <a:pt x="7" y="17"/>
                    </a:lnTo>
                    <a:lnTo>
                      <a:pt x="15" y="24"/>
                    </a:lnTo>
                    <a:lnTo>
                      <a:pt x="22" y="22"/>
                    </a:lnTo>
                    <a:lnTo>
                      <a:pt x="17" y="15"/>
                    </a:lnTo>
                    <a:lnTo>
                      <a:pt x="17" y="11"/>
                    </a:lnTo>
                    <a:lnTo>
                      <a:pt x="9" y="5"/>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1120"/>
              <p:cNvSpPr>
                <a:spLocks/>
              </p:cNvSpPr>
              <p:nvPr/>
            </p:nvSpPr>
            <p:spPr bwMode="auto">
              <a:xfrm>
                <a:off x="1481" y="3912"/>
                <a:ext cx="22" cy="24"/>
              </a:xfrm>
              <a:custGeom>
                <a:avLst/>
                <a:gdLst>
                  <a:gd name="T0" fmla="*/ 9 w 22"/>
                  <a:gd name="T1" fmla="*/ 0 h 24"/>
                  <a:gd name="T2" fmla="*/ 2 w 22"/>
                  <a:gd name="T3" fmla="*/ 0 h 24"/>
                  <a:gd name="T4" fmla="*/ 2 w 22"/>
                  <a:gd name="T5" fmla="*/ 7 h 24"/>
                  <a:gd name="T6" fmla="*/ 0 w 22"/>
                  <a:gd name="T7" fmla="*/ 11 h 24"/>
                  <a:gd name="T8" fmla="*/ 2 w 22"/>
                  <a:gd name="T9" fmla="*/ 15 h 24"/>
                  <a:gd name="T10" fmla="*/ 7 w 22"/>
                  <a:gd name="T11" fmla="*/ 17 h 24"/>
                  <a:gd name="T12" fmla="*/ 15 w 22"/>
                  <a:gd name="T13" fmla="*/ 24 h 24"/>
                  <a:gd name="T14" fmla="*/ 22 w 22"/>
                  <a:gd name="T15" fmla="*/ 22 h 24"/>
                  <a:gd name="T16" fmla="*/ 17 w 22"/>
                  <a:gd name="T17" fmla="*/ 15 h 24"/>
                  <a:gd name="T18" fmla="*/ 17 w 22"/>
                  <a:gd name="T19" fmla="*/ 11 h 24"/>
                  <a:gd name="T20" fmla="*/ 9 w 22"/>
                  <a:gd name="T21" fmla="*/ 5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2" y="0"/>
                    </a:lnTo>
                    <a:lnTo>
                      <a:pt x="2" y="7"/>
                    </a:lnTo>
                    <a:lnTo>
                      <a:pt x="0" y="11"/>
                    </a:lnTo>
                    <a:lnTo>
                      <a:pt x="2" y="15"/>
                    </a:lnTo>
                    <a:lnTo>
                      <a:pt x="7" y="17"/>
                    </a:lnTo>
                    <a:lnTo>
                      <a:pt x="15" y="24"/>
                    </a:lnTo>
                    <a:lnTo>
                      <a:pt x="22" y="22"/>
                    </a:lnTo>
                    <a:lnTo>
                      <a:pt x="17" y="15"/>
                    </a:lnTo>
                    <a:lnTo>
                      <a:pt x="17" y="11"/>
                    </a:lnTo>
                    <a:lnTo>
                      <a:pt x="9" y="5"/>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3" name="Freeform 1121"/>
              <p:cNvSpPr>
                <a:spLocks/>
              </p:cNvSpPr>
              <p:nvPr/>
            </p:nvSpPr>
            <p:spPr bwMode="auto">
              <a:xfrm>
                <a:off x="1490" y="3904"/>
                <a:ext cx="13" cy="19"/>
              </a:xfrm>
              <a:custGeom>
                <a:avLst/>
                <a:gdLst>
                  <a:gd name="T0" fmla="*/ 0 w 13"/>
                  <a:gd name="T1" fmla="*/ 0 h 19"/>
                  <a:gd name="T2" fmla="*/ 2 w 13"/>
                  <a:gd name="T3" fmla="*/ 15 h 19"/>
                  <a:gd name="T4" fmla="*/ 8 w 13"/>
                  <a:gd name="T5" fmla="*/ 15 h 19"/>
                  <a:gd name="T6" fmla="*/ 13 w 13"/>
                  <a:gd name="T7" fmla="*/ 19 h 19"/>
                  <a:gd name="T8" fmla="*/ 13 w 13"/>
                  <a:gd name="T9" fmla="*/ 15 h 19"/>
                  <a:gd name="T10" fmla="*/ 13 w 13"/>
                  <a:gd name="T11" fmla="*/ 8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2" y="15"/>
                    </a:lnTo>
                    <a:lnTo>
                      <a:pt x="8" y="15"/>
                    </a:lnTo>
                    <a:lnTo>
                      <a:pt x="13" y="19"/>
                    </a:lnTo>
                    <a:lnTo>
                      <a:pt x="13" y="15"/>
                    </a:lnTo>
                    <a:lnTo>
                      <a:pt x="13"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1122"/>
              <p:cNvSpPr>
                <a:spLocks/>
              </p:cNvSpPr>
              <p:nvPr/>
            </p:nvSpPr>
            <p:spPr bwMode="auto">
              <a:xfrm>
                <a:off x="1490" y="3904"/>
                <a:ext cx="13" cy="19"/>
              </a:xfrm>
              <a:custGeom>
                <a:avLst/>
                <a:gdLst>
                  <a:gd name="T0" fmla="*/ 0 w 13"/>
                  <a:gd name="T1" fmla="*/ 0 h 19"/>
                  <a:gd name="T2" fmla="*/ 2 w 13"/>
                  <a:gd name="T3" fmla="*/ 15 h 19"/>
                  <a:gd name="T4" fmla="*/ 8 w 13"/>
                  <a:gd name="T5" fmla="*/ 15 h 19"/>
                  <a:gd name="T6" fmla="*/ 13 w 13"/>
                  <a:gd name="T7" fmla="*/ 19 h 19"/>
                  <a:gd name="T8" fmla="*/ 13 w 13"/>
                  <a:gd name="T9" fmla="*/ 15 h 19"/>
                  <a:gd name="T10" fmla="*/ 13 w 13"/>
                  <a:gd name="T11" fmla="*/ 8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2" y="15"/>
                    </a:lnTo>
                    <a:lnTo>
                      <a:pt x="8" y="15"/>
                    </a:lnTo>
                    <a:lnTo>
                      <a:pt x="13" y="19"/>
                    </a:lnTo>
                    <a:lnTo>
                      <a:pt x="13" y="15"/>
                    </a:lnTo>
                    <a:lnTo>
                      <a:pt x="13" y="8"/>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5" name="Freeform 1123"/>
              <p:cNvSpPr>
                <a:spLocks/>
              </p:cNvSpPr>
              <p:nvPr/>
            </p:nvSpPr>
            <p:spPr bwMode="auto">
              <a:xfrm>
                <a:off x="1475" y="3978"/>
                <a:ext cx="21" cy="30"/>
              </a:xfrm>
              <a:custGeom>
                <a:avLst/>
                <a:gdLst>
                  <a:gd name="T0" fmla="*/ 2 w 21"/>
                  <a:gd name="T1" fmla="*/ 0 h 30"/>
                  <a:gd name="T2" fmla="*/ 2 w 21"/>
                  <a:gd name="T3" fmla="*/ 0 h 30"/>
                  <a:gd name="T4" fmla="*/ 0 w 21"/>
                  <a:gd name="T5" fmla="*/ 11 h 30"/>
                  <a:gd name="T6" fmla="*/ 4 w 21"/>
                  <a:gd name="T7" fmla="*/ 17 h 30"/>
                  <a:gd name="T8" fmla="*/ 17 w 21"/>
                  <a:gd name="T9" fmla="*/ 30 h 30"/>
                  <a:gd name="T10" fmla="*/ 21 w 21"/>
                  <a:gd name="T11" fmla="*/ 30 h 30"/>
                  <a:gd name="T12" fmla="*/ 19 w 21"/>
                  <a:gd name="T13" fmla="*/ 24 h 30"/>
                  <a:gd name="T14" fmla="*/ 11 w 21"/>
                  <a:gd name="T15" fmla="*/ 15 h 30"/>
                  <a:gd name="T16" fmla="*/ 8 w 21"/>
                  <a:gd name="T17" fmla="*/ 11 h 30"/>
                  <a:gd name="T18" fmla="*/ 4 w 21"/>
                  <a:gd name="T19" fmla="*/ 7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2" y="0"/>
                    </a:lnTo>
                    <a:lnTo>
                      <a:pt x="0" y="11"/>
                    </a:lnTo>
                    <a:lnTo>
                      <a:pt x="4" y="17"/>
                    </a:lnTo>
                    <a:lnTo>
                      <a:pt x="17" y="30"/>
                    </a:lnTo>
                    <a:lnTo>
                      <a:pt x="21" y="30"/>
                    </a:lnTo>
                    <a:lnTo>
                      <a:pt x="19" y="24"/>
                    </a:lnTo>
                    <a:lnTo>
                      <a:pt x="11" y="15"/>
                    </a:lnTo>
                    <a:lnTo>
                      <a:pt x="8" y="11"/>
                    </a:lnTo>
                    <a:lnTo>
                      <a:pt x="4"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1124"/>
              <p:cNvSpPr>
                <a:spLocks/>
              </p:cNvSpPr>
              <p:nvPr/>
            </p:nvSpPr>
            <p:spPr bwMode="auto">
              <a:xfrm>
                <a:off x="1475" y="3978"/>
                <a:ext cx="21" cy="30"/>
              </a:xfrm>
              <a:custGeom>
                <a:avLst/>
                <a:gdLst>
                  <a:gd name="T0" fmla="*/ 2 w 21"/>
                  <a:gd name="T1" fmla="*/ 0 h 30"/>
                  <a:gd name="T2" fmla="*/ 2 w 21"/>
                  <a:gd name="T3" fmla="*/ 0 h 30"/>
                  <a:gd name="T4" fmla="*/ 0 w 21"/>
                  <a:gd name="T5" fmla="*/ 11 h 30"/>
                  <a:gd name="T6" fmla="*/ 4 w 21"/>
                  <a:gd name="T7" fmla="*/ 17 h 30"/>
                  <a:gd name="T8" fmla="*/ 17 w 21"/>
                  <a:gd name="T9" fmla="*/ 30 h 30"/>
                  <a:gd name="T10" fmla="*/ 21 w 21"/>
                  <a:gd name="T11" fmla="*/ 30 h 30"/>
                  <a:gd name="T12" fmla="*/ 19 w 21"/>
                  <a:gd name="T13" fmla="*/ 24 h 30"/>
                  <a:gd name="T14" fmla="*/ 11 w 21"/>
                  <a:gd name="T15" fmla="*/ 15 h 30"/>
                  <a:gd name="T16" fmla="*/ 8 w 21"/>
                  <a:gd name="T17" fmla="*/ 11 h 30"/>
                  <a:gd name="T18" fmla="*/ 4 w 21"/>
                  <a:gd name="T19" fmla="*/ 7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2" y="0"/>
                    </a:lnTo>
                    <a:lnTo>
                      <a:pt x="0" y="11"/>
                    </a:lnTo>
                    <a:lnTo>
                      <a:pt x="4" y="17"/>
                    </a:lnTo>
                    <a:lnTo>
                      <a:pt x="17" y="30"/>
                    </a:lnTo>
                    <a:lnTo>
                      <a:pt x="21" y="30"/>
                    </a:lnTo>
                    <a:lnTo>
                      <a:pt x="19" y="24"/>
                    </a:lnTo>
                    <a:lnTo>
                      <a:pt x="11" y="15"/>
                    </a:lnTo>
                    <a:lnTo>
                      <a:pt x="8" y="11"/>
                    </a:lnTo>
                    <a:lnTo>
                      <a:pt x="4" y="7"/>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7" name="Freeform 1125"/>
              <p:cNvSpPr>
                <a:spLocks/>
              </p:cNvSpPr>
              <p:nvPr/>
            </p:nvSpPr>
            <p:spPr bwMode="auto">
              <a:xfrm>
                <a:off x="1488" y="3980"/>
                <a:ext cx="4" cy="9"/>
              </a:xfrm>
              <a:custGeom>
                <a:avLst/>
                <a:gdLst>
                  <a:gd name="T0" fmla="*/ 0 w 4"/>
                  <a:gd name="T1" fmla="*/ 0 h 9"/>
                  <a:gd name="T2" fmla="*/ 0 w 4"/>
                  <a:gd name="T3" fmla="*/ 5 h 9"/>
                  <a:gd name="T4" fmla="*/ 0 w 4"/>
                  <a:gd name="T5" fmla="*/ 9 h 9"/>
                  <a:gd name="T6" fmla="*/ 4 w 4"/>
                  <a:gd name="T7" fmla="*/ 9 h 9"/>
                  <a:gd name="T8" fmla="*/ 4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0" y="5"/>
                    </a:lnTo>
                    <a:lnTo>
                      <a:pt x="0" y="9"/>
                    </a:lnTo>
                    <a:lnTo>
                      <a:pt x="4" y="9"/>
                    </a:lnTo>
                    <a:lnTo>
                      <a:pt x="4"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1126"/>
              <p:cNvSpPr>
                <a:spLocks/>
              </p:cNvSpPr>
              <p:nvPr/>
            </p:nvSpPr>
            <p:spPr bwMode="auto">
              <a:xfrm>
                <a:off x="1488" y="3980"/>
                <a:ext cx="4" cy="9"/>
              </a:xfrm>
              <a:custGeom>
                <a:avLst/>
                <a:gdLst>
                  <a:gd name="T0" fmla="*/ 0 w 4"/>
                  <a:gd name="T1" fmla="*/ 0 h 9"/>
                  <a:gd name="T2" fmla="*/ 0 w 4"/>
                  <a:gd name="T3" fmla="*/ 5 h 9"/>
                  <a:gd name="T4" fmla="*/ 0 w 4"/>
                  <a:gd name="T5" fmla="*/ 9 h 9"/>
                  <a:gd name="T6" fmla="*/ 4 w 4"/>
                  <a:gd name="T7" fmla="*/ 9 h 9"/>
                  <a:gd name="T8" fmla="*/ 4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0" y="5"/>
                    </a:lnTo>
                    <a:lnTo>
                      <a:pt x="0" y="9"/>
                    </a:lnTo>
                    <a:lnTo>
                      <a:pt x="4" y="9"/>
                    </a:lnTo>
                    <a:lnTo>
                      <a:pt x="4"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9" name="Freeform 1127"/>
              <p:cNvSpPr>
                <a:spLocks/>
              </p:cNvSpPr>
              <p:nvPr/>
            </p:nvSpPr>
            <p:spPr bwMode="auto">
              <a:xfrm>
                <a:off x="1494" y="3995"/>
                <a:ext cx="4" cy="7"/>
              </a:xfrm>
              <a:custGeom>
                <a:avLst/>
                <a:gdLst>
                  <a:gd name="T0" fmla="*/ 2 w 4"/>
                  <a:gd name="T1" fmla="*/ 0 h 7"/>
                  <a:gd name="T2" fmla="*/ 0 w 4"/>
                  <a:gd name="T3" fmla="*/ 0 h 7"/>
                  <a:gd name="T4" fmla="*/ 0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0"/>
                    </a:lnTo>
                    <a:lnTo>
                      <a:pt x="0" y="5"/>
                    </a:lnTo>
                    <a:lnTo>
                      <a:pt x="4"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1128"/>
              <p:cNvSpPr>
                <a:spLocks/>
              </p:cNvSpPr>
              <p:nvPr/>
            </p:nvSpPr>
            <p:spPr bwMode="auto">
              <a:xfrm>
                <a:off x="1494" y="3995"/>
                <a:ext cx="4" cy="7"/>
              </a:xfrm>
              <a:custGeom>
                <a:avLst/>
                <a:gdLst>
                  <a:gd name="T0" fmla="*/ 2 w 4"/>
                  <a:gd name="T1" fmla="*/ 0 h 7"/>
                  <a:gd name="T2" fmla="*/ 0 w 4"/>
                  <a:gd name="T3" fmla="*/ 0 h 7"/>
                  <a:gd name="T4" fmla="*/ 0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0"/>
                    </a:lnTo>
                    <a:lnTo>
                      <a:pt x="0" y="5"/>
                    </a:lnTo>
                    <a:lnTo>
                      <a:pt x="4" y="7"/>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1" name="Freeform 1129"/>
              <p:cNvSpPr>
                <a:spLocks/>
              </p:cNvSpPr>
              <p:nvPr/>
            </p:nvSpPr>
            <p:spPr bwMode="auto">
              <a:xfrm>
                <a:off x="1518" y="3927"/>
                <a:ext cx="27" cy="43"/>
              </a:xfrm>
              <a:custGeom>
                <a:avLst/>
                <a:gdLst>
                  <a:gd name="T0" fmla="*/ 8 w 27"/>
                  <a:gd name="T1" fmla="*/ 39 h 43"/>
                  <a:gd name="T2" fmla="*/ 12 w 27"/>
                  <a:gd name="T3" fmla="*/ 34 h 43"/>
                  <a:gd name="T4" fmla="*/ 8 w 27"/>
                  <a:gd name="T5" fmla="*/ 28 h 43"/>
                  <a:gd name="T6" fmla="*/ 12 w 27"/>
                  <a:gd name="T7" fmla="*/ 32 h 43"/>
                  <a:gd name="T8" fmla="*/ 14 w 27"/>
                  <a:gd name="T9" fmla="*/ 28 h 43"/>
                  <a:gd name="T10" fmla="*/ 12 w 27"/>
                  <a:gd name="T11" fmla="*/ 24 h 43"/>
                  <a:gd name="T12" fmla="*/ 17 w 27"/>
                  <a:gd name="T13" fmla="*/ 28 h 43"/>
                  <a:gd name="T14" fmla="*/ 14 w 27"/>
                  <a:gd name="T15" fmla="*/ 34 h 43"/>
                  <a:gd name="T16" fmla="*/ 12 w 27"/>
                  <a:gd name="T17" fmla="*/ 39 h 43"/>
                  <a:gd name="T18" fmla="*/ 19 w 27"/>
                  <a:gd name="T19" fmla="*/ 39 h 43"/>
                  <a:gd name="T20" fmla="*/ 17 w 27"/>
                  <a:gd name="T21" fmla="*/ 34 h 43"/>
                  <a:gd name="T22" fmla="*/ 19 w 27"/>
                  <a:gd name="T23" fmla="*/ 41 h 43"/>
                  <a:gd name="T24" fmla="*/ 23 w 27"/>
                  <a:gd name="T25" fmla="*/ 43 h 43"/>
                  <a:gd name="T26" fmla="*/ 25 w 27"/>
                  <a:gd name="T27" fmla="*/ 39 h 43"/>
                  <a:gd name="T28" fmla="*/ 27 w 27"/>
                  <a:gd name="T29" fmla="*/ 28 h 43"/>
                  <a:gd name="T30" fmla="*/ 25 w 27"/>
                  <a:gd name="T31" fmla="*/ 22 h 43"/>
                  <a:gd name="T32" fmla="*/ 25 w 27"/>
                  <a:gd name="T33" fmla="*/ 17 h 43"/>
                  <a:gd name="T34" fmla="*/ 19 w 27"/>
                  <a:gd name="T35" fmla="*/ 4 h 43"/>
                  <a:gd name="T36" fmla="*/ 14 w 27"/>
                  <a:gd name="T37" fmla="*/ 0 h 43"/>
                  <a:gd name="T38" fmla="*/ 8 w 27"/>
                  <a:gd name="T39" fmla="*/ 0 h 43"/>
                  <a:gd name="T40" fmla="*/ 4 w 27"/>
                  <a:gd name="T41" fmla="*/ 4 h 43"/>
                  <a:gd name="T42" fmla="*/ 0 w 27"/>
                  <a:gd name="T43" fmla="*/ 9 h 43"/>
                  <a:gd name="T44" fmla="*/ 6 w 27"/>
                  <a:gd name="T45" fmla="*/ 11 h 43"/>
                  <a:gd name="T46" fmla="*/ 0 w 27"/>
                  <a:gd name="T47" fmla="*/ 15 h 43"/>
                  <a:gd name="T48" fmla="*/ 6 w 27"/>
                  <a:gd name="T49" fmla="*/ 15 h 43"/>
                  <a:gd name="T50" fmla="*/ 0 w 27"/>
                  <a:gd name="T51" fmla="*/ 19 h 43"/>
                  <a:gd name="T52" fmla="*/ 4 w 27"/>
                  <a:gd name="T53" fmla="*/ 24 h 43"/>
                  <a:gd name="T54" fmla="*/ 2 w 27"/>
                  <a:gd name="T55" fmla="*/ 28 h 43"/>
                  <a:gd name="T56" fmla="*/ 0 w 27"/>
                  <a:gd name="T57" fmla="*/ 34 h 43"/>
                  <a:gd name="T58" fmla="*/ 4 w 27"/>
                  <a:gd name="T59" fmla="*/ 36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12" y="34"/>
                    </a:lnTo>
                    <a:lnTo>
                      <a:pt x="8" y="28"/>
                    </a:lnTo>
                    <a:lnTo>
                      <a:pt x="12" y="32"/>
                    </a:lnTo>
                    <a:lnTo>
                      <a:pt x="14" y="28"/>
                    </a:lnTo>
                    <a:lnTo>
                      <a:pt x="12" y="24"/>
                    </a:lnTo>
                    <a:lnTo>
                      <a:pt x="17" y="28"/>
                    </a:lnTo>
                    <a:lnTo>
                      <a:pt x="14" y="34"/>
                    </a:lnTo>
                    <a:lnTo>
                      <a:pt x="12" y="39"/>
                    </a:lnTo>
                    <a:lnTo>
                      <a:pt x="19" y="39"/>
                    </a:lnTo>
                    <a:lnTo>
                      <a:pt x="17" y="34"/>
                    </a:lnTo>
                    <a:lnTo>
                      <a:pt x="19" y="41"/>
                    </a:lnTo>
                    <a:lnTo>
                      <a:pt x="23" y="43"/>
                    </a:lnTo>
                    <a:lnTo>
                      <a:pt x="25" y="39"/>
                    </a:lnTo>
                    <a:lnTo>
                      <a:pt x="27" y="28"/>
                    </a:lnTo>
                    <a:lnTo>
                      <a:pt x="25" y="22"/>
                    </a:lnTo>
                    <a:lnTo>
                      <a:pt x="25" y="17"/>
                    </a:lnTo>
                    <a:lnTo>
                      <a:pt x="19" y="4"/>
                    </a:lnTo>
                    <a:lnTo>
                      <a:pt x="14" y="0"/>
                    </a:lnTo>
                    <a:lnTo>
                      <a:pt x="8" y="0"/>
                    </a:lnTo>
                    <a:lnTo>
                      <a:pt x="4" y="4"/>
                    </a:lnTo>
                    <a:lnTo>
                      <a:pt x="0" y="9"/>
                    </a:lnTo>
                    <a:lnTo>
                      <a:pt x="6" y="11"/>
                    </a:lnTo>
                    <a:lnTo>
                      <a:pt x="0" y="15"/>
                    </a:lnTo>
                    <a:lnTo>
                      <a:pt x="6" y="15"/>
                    </a:lnTo>
                    <a:lnTo>
                      <a:pt x="0" y="19"/>
                    </a:lnTo>
                    <a:lnTo>
                      <a:pt x="4" y="24"/>
                    </a:lnTo>
                    <a:lnTo>
                      <a:pt x="2" y="28"/>
                    </a:lnTo>
                    <a:lnTo>
                      <a:pt x="0" y="34"/>
                    </a:lnTo>
                    <a:lnTo>
                      <a:pt x="4" y="36"/>
                    </a:lnTo>
                    <a:lnTo>
                      <a:pt x="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1130"/>
              <p:cNvSpPr>
                <a:spLocks/>
              </p:cNvSpPr>
              <p:nvPr/>
            </p:nvSpPr>
            <p:spPr bwMode="auto">
              <a:xfrm>
                <a:off x="1518" y="3927"/>
                <a:ext cx="27" cy="43"/>
              </a:xfrm>
              <a:custGeom>
                <a:avLst/>
                <a:gdLst>
                  <a:gd name="T0" fmla="*/ 8 w 27"/>
                  <a:gd name="T1" fmla="*/ 39 h 43"/>
                  <a:gd name="T2" fmla="*/ 12 w 27"/>
                  <a:gd name="T3" fmla="*/ 34 h 43"/>
                  <a:gd name="T4" fmla="*/ 8 w 27"/>
                  <a:gd name="T5" fmla="*/ 28 h 43"/>
                  <a:gd name="T6" fmla="*/ 12 w 27"/>
                  <a:gd name="T7" fmla="*/ 32 h 43"/>
                  <a:gd name="T8" fmla="*/ 14 w 27"/>
                  <a:gd name="T9" fmla="*/ 28 h 43"/>
                  <a:gd name="T10" fmla="*/ 12 w 27"/>
                  <a:gd name="T11" fmla="*/ 24 h 43"/>
                  <a:gd name="T12" fmla="*/ 17 w 27"/>
                  <a:gd name="T13" fmla="*/ 28 h 43"/>
                  <a:gd name="T14" fmla="*/ 14 w 27"/>
                  <a:gd name="T15" fmla="*/ 34 h 43"/>
                  <a:gd name="T16" fmla="*/ 12 w 27"/>
                  <a:gd name="T17" fmla="*/ 39 h 43"/>
                  <a:gd name="T18" fmla="*/ 19 w 27"/>
                  <a:gd name="T19" fmla="*/ 39 h 43"/>
                  <a:gd name="T20" fmla="*/ 17 w 27"/>
                  <a:gd name="T21" fmla="*/ 34 h 43"/>
                  <a:gd name="T22" fmla="*/ 19 w 27"/>
                  <a:gd name="T23" fmla="*/ 41 h 43"/>
                  <a:gd name="T24" fmla="*/ 23 w 27"/>
                  <a:gd name="T25" fmla="*/ 43 h 43"/>
                  <a:gd name="T26" fmla="*/ 25 w 27"/>
                  <a:gd name="T27" fmla="*/ 39 h 43"/>
                  <a:gd name="T28" fmla="*/ 27 w 27"/>
                  <a:gd name="T29" fmla="*/ 28 h 43"/>
                  <a:gd name="T30" fmla="*/ 25 w 27"/>
                  <a:gd name="T31" fmla="*/ 22 h 43"/>
                  <a:gd name="T32" fmla="*/ 25 w 27"/>
                  <a:gd name="T33" fmla="*/ 17 h 43"/>
                  <a:gd name="T34" fmla="*/ 19 w 27"/>
                  <a:gd name="T35" fmla="*/ 4 h 43"/>
                  <a:gd name="T36" fmla="*/ 14 w 27"/>
                  <a:gd name="T37" fmla="*/ 0 h 43"/>
                  <a:gd name="T38" fmla="*/ 8 w 27"/>
                  <a:gd name="T39" fmla="*/ 0 h 43"/>
                  <a:gd name="T40" fmla="*/ 4 w 27"/>
                  <a:gd name="T41" fmla="*/ 4 h 43"/>
                  <a:gd name="T42" fmla="*/ 0 w 27"/>
                  <a:gd name="T43" fmla="*/ 9 h 43"/>
                  <a:gd name="T44" fmla="*/ 6 w 27"/>
                  <a:gd name="T45" fmla="*/ 11 h 43"/>
                  <a:gd name="T46" fmla="*/ 0 w 27"/>
                  <a:gd name="T47" fmla="*/ 15 h 43"/>
                  <a:gd name="T48" fmla="*/ 6 w 27"/>
                  <a:gd name="T49" fmla="*/ 15 h 43"/>
                  <a:gd name="T50" fmla="*/ 0 w 27"/>
                  <a:gd name="T51" fmla="*/ 19 h 43"/>
                  <a:gd name="T52" fmla="*/ 4 w 27"/>
                  <a:gd name="T53" fmla="*/ 24 h 43"/>
                  <a:gd name="T54" fmla="*/ 2 w 27"/>
                  <a:gd name="T55" fmla="*/ 28 h 43"/>
                  <a:gd name="T56" fmla="*/ 0 w 27"/>
                  <a:gd name="T57" fmla="*/ 34 h 43"/>
                  <a:gd name="T58" fmla="*/ 4 w 27"/>
                  <a:gd name="T59" fmla="*/ 36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12" y="34"/>
                    </a:lnTo>
                    <a:lnTo>
                      <a:pt x="8" y="28"/>
                    </a:lnTo>
                    <a:lnTo>
                      <a:pt x="12" y="32"/>
                    </a:lnTo>
                    <a:lnTo>
                      <a:pt x="14" y="28"/>
                    </a:lnTo>
                    <a:lnTo>
                      <a:pt x="12" y="24"/>
                    </a:lnTo>
                    <a:lnTo>
                      <a:pt x="17" y="28"/>
                    </a:lnTo>
                    <a:lnTo>
                      <a:pt x="14" y="34"/>
                    </a:lnTo>
                    <a:lnTo>
                      <a:pt x="12" y="39"/>
                    </a:lnTo>
                    <a:lnTo>
                      <a:pt x="19" y="39"/>
                    </a:lnTo>
                    <a:lnTo>
                      <a:pt x="17" y="34"/>
                    </a:lnTo>
                    <a:lnTo>
                      <a:pt x="19" y="41"/>
                    </a:lnTo>
                    <a:lnTo>
                      <a:pt x="23" y="43"/>
                    </a:lnTo>
                    <a:lnTo>
                      <a:pt x="25" y="39"/>
                    </a:lnTo>
                    <a:lnTo>
                      <a:pt x="27" y="28"/>
                    </a:lnTo>
                    <a:lnTo>
                      <a:pt x="25" y="22"/>
                    </a:lnTo>
                    <a:lnTo>
                      <a:pt x="25" y="17"/>
                    </a:lnTo>
                    <a:lnTo>
                      <a:pt x="19" y="4"/>
                    </a:lnTo>
                    <a:lnTo>
                      <a:pt x="14" y="0"/>
                    </a:lnTo>
                    <a:lnTo>
                      <a:pt x="8" y="0"/>
                    </a:lnTo>
                    <a:lnTo>
                      <a:pt x="4" y="4"/>
                    </a:lnTo>
                    <a:lnTo>
                      <a:pt x="0" y="9"/>
                    </a:lnTo>
                    <a:lnTo>
                      <a:pt x="6" y="11"/>
                    </a:lnTo>
                    <a:lnTo>
                      <a:pt x="0" y="15"/>
                    </a:lnTo>
                    <a:lnTo>
                      <a:pt x="6" y="15"/>
                    </a:lnTo>
                    <a:lnTo>
                      <a:pt x="0" y="19"/>
                    </a:lnTo>
                    <a:lnTo>
                      <a:pt x="4" y="24"/>
                    </a:lnTo>
                    <a:lnTo>
                      <a:pt x="2" y="28"/>
                    </a:lnTo>
                    <a:lnTo>
                      <a:pt x="0" y="34"/>
                    </a:lnTo>
                    <a:lnTo>
                      <a:pt x="4" y="36"/>
                    </a:lnTo>
                    <a:lnTo>
                      <a:pt x="8" y="3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3" name="Freeform 1131"/>
              <p:cNvSpPr>
                <a:spLocks/>
              </p:cNvSpPr>
              <p:nvPr/>
            </p:nvSpPr>
            <p:spPr bwMode="auto">
              <a:xfrm>
                <a:off x="1518" y="3961"/>
                <a:ext cx="6" cy="13"/>
              </a:xfrm>
              <a:custGeom>
                <a:avLst/>
                <a:gdLst>
                  <a:gd name="T0" fmla="*/ 0 w 6"/>
                  <a:gd name="T1" fmla="*/ 0 h 13"/>
                  <a:gd name="T2" fmla="*/ 0 w 6"/>
                  <a:gd name="T3" fmla="*/ 5 h 13"/>
                  <a:gd name="T4" fmla="*/ 2 w 6"/>
                  <a:gd name="T5" fmla="*/ 11 h 13"/>
                  <a:gd name="T6" fmla="*/ 6 w 6"/>
                  <a:gd name="T7" fmla="*/ 13 h 13"/>
                  <a:gd name="T8" fmla="*/ 6 w 6"/>
                  <a:gd name="T9" fmla="*/ 9 h 13"/>
                  <a:gd name="T10" fmla="*/ 4 w 6"/>
                  <a:gd name="T11" fmla="*/ 2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0" y="5"/>
                    </a:lnTo>
                    <a:lnTo>
                      <a:pt x="2" y="11"/>
                    </a:lnTo>
                    <a:lnTo>
                      <a:pt x="6" y="13"/>
                    </a:lnTo>
                    <a:lnTo>
                      <a:pt x="6" y="9"/>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1132"/>
              <p:cNvSpPr>
                <a:spLocks/>
              </p:cNvSpPr>
              <p:nvPr/>
            </p:nvSpPr>
            <p:spPr bwMode="auto">
              <a:xfrm>
                <a:off x="1518" y="3961"/>
                <a:ext cx="6" cy="13"/>
              </a:xfrm>
              <a:custGeom>
                <a:avLst/>
                <a:gdLst>
                  <a:gd name="T0" fmla="*/ 0 w 6"/>
                  <a:gd name="T1" fmla="*/ 0 h 13"/>
                  <a:gd name="T2" fmla="*/ 0 w 6"/>
                  <a:gd name="T3" fmla="*/ 5 h 13"/>
                  <a:gd name="T4" fmla="*/ 2 w 6"/>
                  <a:gd name="T5" fmla="*/ 11 h 13"/>
                  <a:gd name="T6" fmla="*/ 6 w 6"/>
                  <a:gd name="T7" fmla="*/ 13 h 13"/>
                  <a:gd name="T8" fmla="*/ 6 w 6"/>
                  <a:gd name="T9" fmla="*/ 9 h 13"/>
                  <a:gd name="T10" fmla="*/ 4 w 6"/>
                  <a:gd name="T11" fmla="*/ 2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0" y="5"/>
                    </a:lnTo>
                    <a:lnTo>
                      <a:pt x="2" y="11"/>
                    </a:lnTo>
                    <a:lnTo>
                      <a:pt x="6" y="13"/>
                    </a:lnTo>
                    <a:lnTo>
                      <a:pt x="6" y="9"/>
                    </a:lnTo>
                    <a:lnTo>
                      <a:pt x="4" y="2"/>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5" name="Freeform 1133"/>
              <p:cNvSpPr>
                <a:spLocks/>
              </p:cNvSpPr>
              <p:nvPr/>
            </p:nvSpPr>
            <p:spPr bwMode="auto">
              <a:xfrm>
                <a:off x="1528" y="3968"/>
                <a:ext cx="9" cy="10"/>
              </a:xfrm>
              <a:custGeom>
                <a:avLst/>
                <a:gdLst>
                  <a:gd name="T0" fmla="*/ 2 w 9"/>
                  <a:gd name="T1" fmla="*/ 2 h 10"/>
                  <a:gd name="T2" fmla="*/ 0 w 9"/>
                  <a:gd name="T3" fmla="*/ 0 h 10"/>
                  <a:gd name="T4" fmla="*/ 0 w 9"/>
                  <a:gd name="T5" fmla="*/ 6 h 10"/>
                  <a:gd name="T6" fmla="*/ 4 w 9"/>
                  <a:gd name="T7" fmla="*/ 10 h 10"/>
                  <a:gd name="T8" fmla="*/ 9 w 9"/>
                  <a:gd name="T9" fmla="*/ 10 h 10"/>
                  <a:gd name="T10" fmla="*/ 7 w 9"/>
                  <a:gd name="T11" fmla="*/ 4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0" y="0"/>
                    </a:lnTo>
                    <a:lnTo>
                      <a:pt x="0" y="6"/>
                    </a:lnTo>
                    <a:lnTo>
                      <a:pt x="4" y="10"/>
                    </a:lnTo>
                    <a:lnTo>
                      <a:pt x="9" y="10"/>
                    </a:lnTo>
                    <a:lnTo>
                      <a:pt x="7" y="4"/>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1134"/>
              <p:cNvSpPr>
                <a:spLocks/>
              </p:cNvSpPr>
              <p:nvPr/>
            </p:nvSpPr>
            <p:spPr bwMode="auto">
              <a:xfrm>
                <a:off x="1528" y="3968"/>
                <a:ext cx="9" cy="10"/>
              </a:xfrm>
              <a:custGeom>
                <a:avLst/>
                <a:gdLst>
                  <a:gd name="T0" fmla="*/ 2 w 9"/>
                  <a:gd name="T1" fmla="*/ 2 h 10"/>
                  <a:gd name="T2" fmla="*/ 0 w 9"/>
                  <a:gd name="T3" fmla="*/ 0 h 10"/>
                  <a:gd name="T4" fmla="*/ 0 w 9"/>
                  <a:gd name="T5" fmla="*/ 6 h 10"/>
                  <a:gd name="T6" fmla="*/ 4 w 9"/>
                  <a:gd name="T7" fmla="*/ 10 h 10"/>
                  <a:gd name="T8" fmla="*/ 9 w 9"/>
                  <a:gd name="T9" fmla="*/ 10 h 10"/>
                  <a:gd name="T10" fmla="*/ 7 w 9"/>
                  <a:gd name="T11" fmla="*/ 4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0" y="0"/>
                    </a:lnTo>
                    <a:lnTo>
                      <a:pt x="0" y="6"/>
                    </a:lnTo>
                    <a:lnTo>
                      <a:pt x="4" y="10"/>
                    </a:lnTo>
                    <a:lnTo>
                      <a:pt x="9" y="10"/>
                    </a:lnTo>
                    <a:lnTo>
                      <a:pt x="7" y="4"/>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7" name="Freeform 1135"/>
              <p:cNvSpPr>
                <a:spLocks/>
              </p:cNvSpPr>
              <p:nvPr/>
            </p:nvSpPr>
            <p:spPr bwMode="auto">
              <a:xfrm>
                <a:off x="1537" y="3983"/>
                <a:ext cx="6" cy="6"/>
              </a:xfrm>
              <a:custGeom>
                <a:avLst/>
                <a:gdLst>
                  <a:gd name="T0" fmla="*/ 4 w 6"/>
                  <a:gd name="T1" fmla="*/ 0 h 6"/>
                  <a:gd name="T2" fmla="*/ 2 w 6"/>
                  <a:gd name="T3" fmla="*/ 2 h 6"/>
                  <a:gd name="T4" fmla="*/ 0 w 6"/>
                  <a:gd name="T5" fmla="*/ 6 h 6"/>
                  <a:gd name="T6" fmla="*/ 6 w 6"/>
                  <a:gd name="T7" fmla="*/ 4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2" y="2"/>
                    </a:lnTo>
                    <a:lnTo>
                      <a:pt x="0" y="6"/>
                    </a:lnTo>
                    <a:lnTo>
                      <a:pt x="6"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1136"/>
              <p:cNvSpPr>
                <a:spLocks/>
              </p:cNvSpPr>
              <p:nvPr/>
            </p:nvSpPr>
            <p:spPr bwMode="auto">
              <a:xfrm>
                <a:off x="1537" y="3983"/>
                <a:ext cx="6" cy="6"/>
              </a:xfrm>
              <a:custGeom>
                <a:avLst/>
                <a:gdLst>
                  <a:gd name="T0" fmla="*/ 4 w 6"/>
                  <a:gd name="T1" fmla="*/ 0 h 6"/>
                  <a:gd name="T2" fmla="*/ 2 w 6"/>
                  <a:gd name="T3" fmla="*/ 2 h 6"/>
                  <a:gd name="T4" fmla="*/ 0 w 6"/>
                  <a:gd name="T5" fmla="*/ 6 h 6"/>
                  <a:gd name="T6" fmla="*/ 6 w 6"/>
                  <a:gd name="T7" fmla="*/ 4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2" y="2"/>
                    </a:lnTo>
                    <a:lnTo>
                      <a:pt x="0" y="6"/>
                    </a:lnTo>
                    <a:lnTo>
                      <a:pt x="6" y="4"/>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9" name="Freeform 1137"/>
              <p:cNvSpPr>
                <a:spLocks/>
              </p:cNvSpPr>
              <p:nvPr/>
            </p:nvSpPr>
            <p:spPr bwMode="auto">
              <a:xfrm>
                <a:off x="549" y="3305"/>
                <a:ext cx="4" cy="2"/>
              </a:xfrm>
              <a:custGeom>
                <a:avLst/>
                <a:gdLst>
                  <a:gd name="T0" fmla="*/ 0 w 4"/>
                  <a:gd name="T1" fmla="*/ 2 h 2"/>
                  <a:gd name="T2" fmla="*/ 2 w 4"/>
                  <a:gd name="T3" fmla="*/ 0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0"/>
                    </a:lnTo>
                    <a:lnTo>
                      <a:pt x="4"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1138"/>
              <p:cNvSpPr>
                <a:spLocks/>
              </p:cNvSpPr>
              <p:nvPr/>
            </p:nvSpPr>
            <p:spPr bwMode="auto">
              <a:xfrm>
                <a:off x="549" y="3305"/>
                <a:ext cx="4" cy="2"/>
              </a:xfrm>
              <a:custGeom>
                <a:avLst/>
                <a:gdLst>
                  <a:gd name="T0" fmla="*/ 0 w 4"/>
                  <a:gd name="T1" fmla="*/ 2 h 2"/>
                  <a:gd name="T2" fmla="*/ 2 w 4"/>
                  <a:gd name="T3" fmla="*/ 0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0"/>
                    </a:lnTo>
                    <a:lnTo>
                      <a:pt x="4" y="0"/>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1" name="Freeform 1139"/>
              <p:cNvSpPr>
                <a:spLocks/>
              </p:cNvSpPr>
              <p:nvPr/>
            </p:nvSpPr>
            <p:spPr bwMode="auto">
              <a:xfrm>
                <a:off x="481" y="3054"/>
                <a:ext cx="1096" cy="937"/>
              </a:xfrm>
              <a:custGeom>
                <a:avLst/>
                <a:gdLst>
                  <a:gd name="T0" fmla="*/ 161 w 1096"/>
                  <a:gd name="T1" fmla="*/ 230 h 937"/>
                  <a:gd name="T2" fmla="*/ 210 w 1096"/>
                  <a:gd name="T3" fmla="*/ 279 h 937"/>
                  <a:gd name="T4" fmla="*/ 219 w 1096"/>
                  <a:gd name="T5" fmla="*/ 230 h 937"/>
                  <a:gd name="T6" fmla="*/ 223 w 1096"/>
                  <a:gd name="T7" fmla="*/ 241 h 937"/>
                  <a:gd name="T8" fmla="*/ 170 w 1096"/>
                  <a:gd name="T9" fmla="*/ 143 h 937"/>
                  <a:gd name="T10" fmla="*/ 242 w 1096"/>
                  <a:gd name="T11" fmla="*/ 68 h 937"/>
                  <a:gd name="T12" fmla="*/ 313 w 1096"/>
                  <a:gd name="T13" fmla="*/ 43 h 937"/>
                  <a:gd name="T14" fmla="*/ 393 w 1096"/>
                  <a:gd name="T15" fmla="*/ 0 h 937"/>
                  <a:gd name="T16" fmla="*/ 423 w 1096"/>
                  <a:gd name="T17" fmla="*/ 36 h 937"/>
                  <a:gd name="T18" fmla="*/ 489 w 1096"/>
                  <a:gd name="T19" fmla="*/ 66 h 937"/>
                  <a:gd name="T20" fmla="*/ 577 w 1096"/>
                  <a:gd name="T21" fmla="*/ 87 h 937"/>
                  <a:gd name="T22" fmla="*/ 668 w 1096"/>
                  <a:gd name="T23" fmla="*/ 109 h 937"/>
                  <a:gd name="T24" fmla="*/ 777 w 1096"/>
                  <a:gd name="T25" fmla="*/ 673 h 937"/>
                  <a:gd name="T26" fmla="*/ 894 w 1096"/>
                  <a:gd name="T27" fmla="*/ 684 h 937"/>
                  <a:gd name="T28" fmla="*/ 996 w 1096"/>
                  <a:gd name="T29" fmla="*/ 799 h 937"/>
                  <a:gd name="T30" fmla="*/ 1083 w 1096"/>
                  <a:gd name="T31" fmla="*/ 856 h 937"/>
                  <a:gd name="T32" fmla="*/ 1075 w 1096"/>
                  <a:gd name="T33" fmla="*/ 918 h 937"/>
                  <a:gd name="T34" fmla="*/ 1030 w 1096"/>
                  <a:gd name="T35" fmla="*/ 882 h 937"/>
                  <a:gd name="T36" fmla="*/ 1007 w 1096"/>
                  <a:gd name="T37" fmla="*/ 848 h 937"/>
                  <a:gd name="T38" fmla="*/ 966 w 1096"/>
                  <a:gd name="T39" fmla="*/ 801 h 937"/>
                  <a:gd name="T40" fmla="*/ 945 w 1096"/>
                  <a:gd name="T41" fmla="*/ 771 h 937"/>
                  <a:gd name="T42" fmla="*/ 902 w 1096"/>
                  <a:gd name="T43" fmla="*/ 731 h 937"/>
                  <a:gd name="T44" fmla="*/ 900 w 1096"/>
                  <a:gd name="T45" fmla="*/ 765 h 937"/>
                  <a:gd name="T46" fmla="*/ 847 w 1096"/>
                  <a:gd name="T47" fmla="*/ 731 h 937"/>
                  <a:gd name="T48" fmla="*/ 828 w 1096"/>
                  <a:gd name="T49" fmla="*/ 752 h 937"/>
                  <a:gd name="T50" fmla="*/ 762 w 1096"/>
                  <a:gd name="T51" fmla="*/ 686 h 937"/>
                  <a:gd name="T52" fmla="*/ 713 w 1096"/>
                  <a:gd name="T53" fmla="*/ 682 h 937"/>
                  <a:gd name="T54" fmla="*/ 613 w 1096"/>
                  <a:gd name="T55" fmla="*/ 643 h 937"/>
                  <a:gd name="T56" fmla="*/ 574 w 1096"/>
                  <a:gd name="T57" fmla="*/ 633 h 937"/>
                  <a:gd name="T58" fmla="*/ 530 w 1096"/>
                  <a:gd name="T59" fmla="*/ 624 h 937"/>
                  <a:gd name="T60" fmla="*/ 508 w 1096"/>
                  <a:gd name="T61" fmla="*/ 635 h 937"/>
                  <a:gd name="T62" fmla="*/ 504 w 1096"/>
                  <a:gd name="T63" fmla="*/ 679 h 937"/>
                  <a:gd name="T64" fmla="*/ 453 w 1096"/>
                  <a:gd name="T65" fmla="*/ 699 h 937"/>
                  <a:gd name="T66" fmla="*/ 413 w 1096"/>
                  <a:gd name="T67" fmla="*/ 703 h 937"/>
                  <a:gd name="T68" fmla="*/ 453 w 1096"/>
                  <a:gd name="T69" fmla="*/ 615 h 937"/>
                  <a:gd name="T70" fmla="*/ 453 w 1096"/>
                  <a:gd name="T71" fmla="*/ 601 h 937"/>
                  <a:gd name="T72" fmla="*/ 379 w 1096"/>
                  <a:gd name="T73" fmla="*/ 654 h 937"/>
                  <a:gd name="T74" fmla="*/ 332 w 1096"/>
                  <a:gd name="T75" fmla="*/ 713 h 937"/>
                  <a:gd name="T76" fmla="*/ 319 w 1096"/>
                  <a:gd name="T77" fmla="*/ 771 h 937"/>
                  <a:gd name="T78" fmla="*/ 251 w 1096"/>
                  <a:gd name="T79" fmla="*/ 807 h 937"/>
                  <a:gd name="T80" fmla="*/ 181 w 1096"/>
                  <a:gd name="T81" fmla="*/ 843 h 937"/>
                  <a:gd name="T82" fmla="*/ 129 w 1096"/>
                  <a:gd name="T83" fmla="*/ 882 h 937"/>
                  <a:gd name="T84" fmla="*/ 76 w 1096"/>
                  <a:gd name="T85" fmla="*/ 875 h 937"/>
                  <a:gd name="T86" fmla="*/ 12 w 1096"/>
                  <a:gd name="T87" fmla="*/ 884 h 937"/>
                  <a:gd name="T88" fmla="*/ 85 w 1096"/>
                  <a:gd name="T89" fmla="*/ 852 h 937"/>
                  <a:gd name="T90" fmla="*/ 159 w 1096"/>
                  <a:gd name="T91" fmla="*/ 820 h 937"/>
                  <a:gd name="T92" fmla="*/ 234 w 1096"/>
                  <a:gd name="T93" fmla="*/ 752 h 937"/>
                  <a:gd name="T94" fmla="*/ 240 w 1096"/>
                  <a:gd name="T95" fmla="*/ 713 h 937"/>
                  <a:gd name="T96" fmla="*/ 191 w 1096"/>
                  <a:gd name="T97" fmla="*/ 711 h 937"/>
                  <a:gd name="T98" fmla="*/ 119 w 1096"/>
                  <a:gd name="T99" fmla="*/ 694 h 937"/>
                  <a:gd name="T100" fmla="*/ 121 w 1096"/>
                  <a:gd name="T101" fmla="*/ 586 h 937"/>
                  <a:gd name="T102" fmla="*/ 68 w 1096"/>
                  <a:gd name="T103" fmla="*/ 615 h 937"/>
                  <a:gd name="T104" fmla="*/ 59 w 1096"/>
                  <a:gd name="T105" fmla="*/ 549 h 937"/>
                  <a:gd name="T106" fmla="*/ 66 w 1096"/>
                  <a:gd name="T107" fmla="*/ 549 h 937"/>
                  <a:gd name="T108" fmla="*/ 42 w 1096"/>
                  <a:gd name="T109" fmla="*/ 528 h 937"/>
                  <a:gd name="T110" fmla="*/ 80 w 1096"/>
                  <a:gd name="T111" fmla="*/ 451 h 937"/>
                  <a:gd name="T112" fmla="*/ 102 w 1096"/>
                  <a:gd name="T113" fmla="*/ 424 h 937"/>
                  <a:gd name="T114" fmla="*/ 204 w 1096"/>
                  <a:gd name="T115" fmla="*/ 415 h 937"/>
                  <a:gd name="T116" fmla="*/ 191 w 1096"/>
                  <a:gd name="T117" fmla="*/ 349 h 937"/>
                  <a:gd name="T118" fmla="*/ 85 w 1096"/>
                  <a:gd name="T119" fmla="*/ 319 h 937"/>
                  <a:gd name="T120" fmla="*/ 74 w 1096"/>
                  <a:gd name="T121" fmla="*/ 27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6" h="937">
                    <a:moveTo>
                      <a:pt x="68" y="253"/>
                    </a:moveTo>
                    <a:lnTo>
                      <a:pt x="72" y="253"/>
                    </a:lnTo>
                    <a:lnTo>
                      <a:pt x="76" y="253"/>
                    </a:lnTo>
                    <a:lnTo>
                      <a:pt x="80" y="249"/>
                    </a:lnTo>
                    <a:lnTo>
                      <a:pt x="85" y="247"/>
                    </a:lnTo>
                    <a:lnTo>
                      <a:pt x="91" y="251"/>
                    </a:lnTo>
                    <a:lnTo>
                      <a:pt x="95" y="249"/>
                    </a:lnTo>
                    <a:lnTo>
                      <a:pt x="98" y="245"/>
                    </a:lnTo>
                    <a:lnTo>
                      <a:pt x="115" y="241"/>
                    </a:lnTo>
                    <a:lnTo>
                      <a:pt x="123" y="247"/>
                    </a:lnTo>
                    <a:lnTo>
                      <a:pt x="129" y="247"/>
                    </a:lnTo>
                    <a:lnTo>
                      <a:pt x="129" y="243"/>
                    </a:lnTo>
                    <a:lnTo>
                      <a:pt x="127" y="236"/>
                    </a:lnTo>
                    <a:lnTo>
                      <a:pt x="134" y="234"/>
                    </a:lnTo>
                    <a:lnTo>
                      <a:pt x="138" y="232"/>
                    </a:lnTo>
                    <a:lnTo>
                      <a:pt x="149" y="234"/>
                    </a:lnTo>
                    <a:lnTo>
                      <a:pt x="151" y="234"/>
                    </a:lnTo>
                    <a:lnTo>
                      <a:pt x="157" y="232"/>
                    </a:lnTo>
                    <a:lnTo>
                      <a:pt x="161" y="230"/>
                    </a:lnTo>
                    <a:lnTo>
                      <a:pt x="166" y="230"/>
                    </a:lnTo>
                    <a:lnTo>
                      <a:pt x="176" y="232"/>
                    </a:lnTo>
                    <a:lnTo>
                      <a:pt x="181" y="236"/>
                    </a:lnTo>
                    <a:lnTo>
                      <a:pt x="176" y="234"/>
                    </a:lnTo>
                    <a:lnTo>
                      <a:pt x="178" y="239"/>
                    </a:lnTo>
                    <a:lnTo>
                      <a:pt x="174" y="243"/>
                    </a:lnTo>
                    <a:lnTo>
                      <a:pt x="170" y="253"/>
                    </a:lnTo>
                    <a:lnTo>
                      <a:pt x="164" y="253"/>
                    </a:lnTo>
                    <a:lnTo>
                      <a:pt x="168" y="253"/>
                    </a:lnTo>
                    <a:lnTo>
                      <a:pt x="170" y="260"/>
                    </a:lnTo>
                    <a:lnTo>
                      <a:pt x="174" y="264"/>
                    </a:lnTo>
                    <a:lnTo>
                      <a:pt x="178" y="264"/>
                    </a:lnTo>
                    <a:lnTo>
                      <a:pt x="183" y="266"/>
                    </a:lnTo>
                    <a:lnTo>
                      <a:pt x="193" y="268"/>
                    </a:lnTo>
                    <a:lnTo>
                      <a:pt x="193" y="273"/>
                    </a:lnTo>
                    <a:lnTo>
                      <a:pt x="200" y="273"/>
                    </a:lnTo>
                    <a:lnTo>
                      <a:pt x="204" y="275"/>
                    </a:lnTo>
                    <a:lnTo>
                      <a:pt x="208" y="275"/>
                    </a:lnTo>
                    <a:lnTo>
                      <a:pt x="210" y="279"/>
                    </a:lnTo>
                    <a:lnTo>
                      <a:pt x="217" y="277"/>
                    </a:lnTo>
                    <a:lnTo>
                      <a:pt x="215" y="275"/>
                    </a:lnTo>
                    <a:lnTo>
                      <a:pt x="221" y="270"/>
                    </a:lnTo>
                    <a:lnTo>
                      <a:pt x="223" y="266"/>
                    </a:lnTo>
                    <a:lnTo>
                      <a:pt x="227" y="266"/>
                    </a:lnTo>
                    <a:lnTo>
                      <a:pt x="232" y="270"/>
                    </a:lnTo>
                    <a:lnTo>
                      <a:pt x="232" y="275"/>
                    </a:lnTo>
                    <a:lnTo>
                      <a:pt x="236" y="270"/>
                    </a:lnTo>
                    <a:lnTo>
                      <a:pt x="234" y="266"/>
                    </a:lnTo>
                    <a:lnTo>
                      <a:pt x="225" y="258"/>
                    </a:lnTo>
                    <a:lnTo>
                      <a:pt x="221" y="258"/>
                    </a:lnTo>
                    <a:lnTo>
                      <a:pt x="217" y="262"/>
                    </a:lnTo>
                    <a:lnTo>
                      <a:pt x="219" y="251"/>
                    </a:lnTo>
                    <a:lnTo>
                      <a:pt x="219" y="247"/>
                    </a:lnTo>
                    <a:lnTo>
                      <a:pt x="217" y="241"/>
                    </a:lnTo>
                    <a:lnTo>
                      <a:pt x="208" y="230"/>
                    </a:lnTo>
                    <a:lnTo>
                      <a:pt x="208" y="224"/>
                    </a:lnTo>
                    <a:lnTo>
                      <a:pt x="215" y="224"/>
                    </a:lnTo>
                    <a:lnTo>
                      <a:pt x="219" y="230"/>
                    </a:lnTo>
                    <a:lnTo>
                      <a:pt x="221" y="236"/>
                    </a:lnTo>
                    <a:lnTo>
                      <a:pt x="217" y="241"/>
                    </a:lnTo>
                    <a:lnTo>
                      <a:pt x="219" y="245"/>
                    </a:lnTo>
                    <a:lnTo>
                      <a:pt x="221" y="251"/>
                    </a:lnTo>
                    <a:lnTo>
                      <a:pt x="225" y="256"/>
                    </a:lnTo>
                    <a:lnTo>
                      <a:pt x="232" y="256"/>
                    </a:lnTo>
                    <a:lnTo>
                      <a:pt x="236" y="256"/>
                    </a:lnTo>
                    <a:lnTo>
                      <a:pt x="240" y="262"/>
                    </a:lnTo>
                    <a:lnTo>
                      <a:pt x="244" y="264"/>
                    </a:lnTo>
                    <a:lnTo>
                      <a:pt x="255" y="266"/>
                    </a:lnTo>
                    <a:lnTo>
                      <a:pt x="257" y="262"/>
                    </a:lnTo>
                    <a:lnTo>
                      <a:pt x="257" y="256"/>
                    </a:lnTo>
                    <a:lnTo>
                      <a:pt x="253" y="251"/>
                    </a:lnTo>
                    <a:lnTo>
                      <a:pt x="247" y="251"/>
                    </a:lnTo>
                    <a:lnTo>
                      <a:pt x="242" y="247"/>
                    </a:lnTo>
                    <a:lnTo>
                      <a:pt x="238" y="247"/>
                    </a:lnTo>
                    <a:lnTo>
                      <a:pt x="232" y="253"/>
                    </a:lnTo>
                    <a:lnTo>
                      <a:pt x="227" y="249"/>
                    </a:lnTo>
                    <a:lnTo>
                      <a:pt x="223" y="241"/>
                    </a:lnTo>
                    <a:lnTo>
                      <a:pt x="225" y="234"/>
                    </a:lnTo>
                    <a:lnTo>
                      <a:pt x="230" y="226"/>
                    </a:lnTo>
                    <a:lnTo>
                      <a:pt x="230" y="221"/>
                    </a:lnTo>
                    <a:lnTo>
                      <a:pt x="225" y="219"/>
                    </a:lnTo>
                    <a:lnTo>
                      <a:pt x="219" y="219"/>
                    </a:lnTo>
                    <a:lnTo>
                      <a:pt x="219" y="217"/>
                    </a:lnTo>
                    <a:lnTo>
                      <a:pt x="217" y="211"/>
                    </a:lnTo>
                    <a:lnTo>
                      <a:pt x="215" y="215"/>
                    </a:lnTo>
                    <a:lnTo>
                      <a:pt x="210" y="215"/>
                    </a:lnTo>
                    <a:lnTo>
                      <a:pt x="200" y="213"/>
                    </a:lnTo>
                    <a:lnTo>
                      <a:pt x="191" y="207"/>
                    </a:lnTo>
                    <a:lnTo>
                      <a:pt x="189" y="200"/>
                    </a:lnTo>
                    <a:lnTo>
                      <a:pt x="191" y="192"/>
                    </a:lnTo>
                    <a:lnTo>
                      <a:pt x="189" y="181"/>
                    </a:lnTo>
                    <a:lnTo>
                      <a:pt x="187" y="175"/>
                    </a:lnTo>
                    <a:lnTo>
                      <a:pt x="183" y="170"/>
                    </a:lnTo>
                    <a:lnTo>
                      <a:pt x="181" y="164"/>
                    </a:lnTo>
                    <a:lnTo>
                      <a:pt x="178" y="162"/>
                    </a:lnTo>
                    <a:lnTo>
                      <a:pt x="170" y="143"/>
                    </a:lnTo>
                    <a:lnTo>
                      <a:pt x="166" y="138"/>
                    </a:lnTo>
                    <a:lnTo>
                      <a:pt x="161" y="136"/>
                    </a:lnTo>
                    <a:lnTo>
                      <a:pt x="155" y="126"/>
                    </a:lnTo>
                    <a:lnTo>
                      <a:pt x="151" y="119"/>
                    </a:lnTo>
                    <a:lnTo>
                      <a:pt x="146" y="117"/>
                    </a:lnTo>
                    <a:lnTo>
                      <a:pt x="149" y="117"/>
                    </a:lnTo>
                    <a:lnTo>
                      <a:pt x="151" y="117"/>
                    </a:lnTo>
                    <a:lnTo>
                      <a:pt x="157" y="113"/>
                    </a:lnTo>
                    <a:lnTo>
                      <a:pt x="159" y="109"/>
                    </a:lnTo>
                    <a:lnTo>
                      <a:pt x="166" y="96"/>
                    </a:lnTo>
                    <a:lnTo>
                      <a:pt x="172" y="94"/>
                    </a:lnTo>
                    <a:lnTo>
                      <a:pt x="181" y="98"/>
                    </a:lnTo>
                    <a:lnTo>
                      <a:pt x="204" y="100"/>
                    </a:lnTo>
                    <a:lnTo>
                      <a:pt x="210" y="100"/>
                    </a:lnTo>
                    <a:lnTo>
                      <a:pt x="217" y="98"/>
                    </a:lnTo>
                    <a:lnTo>
                      <a:pt x="221" y="96"/>
                    </a:lnTo>
                    <a:lnTo>
                      <a:pt x="232" y="87"/>
                    </a:lnTo>
                    <a:lnTo>
                      <a:pt x="238" y="79"/>
                    </a:lnTo>
                    <a:lnTo>
                      <a:pt x="242" y="68"/>
                    </a:lnTo>
                    <a:lnTo>
                      <a:pt x="242" y="68"/>
                    </a:lnTo>
                    <a:lnTo>
                      <a:pt x="249" y="60"/>
                    </a:lnTo>
                    <a:lnTo>
                      <a:pt x="259" y="53"/>
                    </a:lnTo>
                    <a:lnTo>
                      <a:pt x="259" y="51"/>
                    </a:lnTo>
                    <a:lnTo>
                      <a:pt x="272" y="38"/>
                    </a:lnTo>
                    <a:lnTo>
                      <a:pt x="276" y="40"/>
                    </a:lnTo>
                    <a:lnTo>
                      <a:pt x="276" y="43"/>
                    </a:lnTo>
                    <a:lnTo>
                      <a:pt x="272" y="43"/>
                    </a:lnTo>
                    <a:lnTo>
                      <a:pt x="276" y="45"/>
                    </a:lnTo>
                    <a:lnTo>
                      <a:pt x="281" y="43"/>
                    </a:lnTo>
                    <a:lnTo>
                      <a:pt x="287" y="43"/>
                    </a:lnTo>
                    <a:lnTo>
                      <a:pt x="287" y="43"/>
                    </a:lnTo>
                    <a:lnTo>
                      <a:pt x="298" y="40"/>
                    </a:lnTo>
                    <a:lnTo>
                      <a:pt x="310" y="32"/>
                    </a:lnTo>
                    <a:lnTo>
                      <a:pt x="315" y="32"/>
                    </a:lnTo>
                    <a:lnTo>
                      <a:pt x="315" y="32"/>
                    </a:lnTo>
                    <a:lnTo>
                      <a:pt x="315" y="40"/>
                    </a:lnTo>
                    <a:lnTo>
                      <a:pt x="310" y="45"/>
                    </a:lnTo>
                    <a:lnTo>
                      <a:pt x="313" y="43"/>
                    </a:lnTo>
                    <a:lnTo>
                      <a:pt x="315" y="49"/>
                    </a:lnTo>
                    <a:lnTo>
                      <a:pt x="317" y="40"/>
                    </a:lnTo>
                    <a:lnTo>
                      <a:pt x="327" y="38"/>
                    </a:lnTo>
                    <a:lnTo>
                      <a:pt x="323" y="38"/>
                    </a:lnTo>
                    <a:lnTo>
                      <a:pt x="319" y="34"/>
                    </a:lnTo>
                    <a:lnTo>
                      <a:pt x="317" y="28"/>
                    </a:lnTo>
                    <a:lnTo>
                      <a:pt x="317" y="26"/>
                    </a:lnTo>
                    <a:lnTo>
                      <a:pt x="327" y="19"/>
                    </a:lnTo>
                    <a:lnTo>
                      <a:pt x="334" y="19"/>
                    </a:lnTo>
                    <a:lnTo>
                      <a:pt x="330" y="23"/>
                    </a:lnTo>
                    <a:lnTo>
                      <a:pt x="332" y="28"/>
                    </a:lnTo>
                    <a:lnTo>
                      <a:pt x="338" y="23"/>
                    </a:lnTo>
                    <a:lnTo>
                      <a:pt x="342" y="26"/>
                    </a:lnTo>
                    <a:lnTo>
                      <a:pt x="357" y="26"/>
                    </a:lnTo>
                    <a:lnTo>
                      <a:pt x="370" y="19"/>
                    </a:lnTo>
                    <a:lnTo>
                      <a:pt x="374" y="15"/>
                    </a:lnTo>
                    <a:lnTo>
                      <a:pt x="379" y="11"/>
                    </a:lnTo>
                    <a:lnTo>
                      <a:pt x="387" y="2"/>
                    </a:lnTo>
                    <a:lnTo>
                      <a:pt x="393" y="0"/>
                    </a:lnTo>
                    <a:lnTo>
                      <a:pt x="389" y="4"/>
                    </a:lnTo>
                    <a:lnTo>
                      <a:pt x="393" y="6"/>
                    </a:lnTo>
                    <a:lnTo>
                      <a:pt x="396" y="13"/>
                    </a:lnTo>
                    <a:lnTo>
                      <a:pt x="402" y="13"/>
                    </a:lnTo>
                    <a:lnTo>
                      <a:pt x="406" y="17"/>
                    </a:lnTo>
                    <a:lnTo>
                      <a:pt x="404" y="21"/>
                    </a:lnTo>
                    <a:lnTo>
                      <a:pt x="400" y="26"/>
                    </a:lnTo>
                    <a:lnTo>
                      <a:pt x="393" y="26"/>
                    </a:lnTo>
                    <a:lnTo>
                      <a:pt x="393" y="28"/>
                    </a:lnTo>
                    <a:lnTo>
                      <a:pt x="396" y="32"/>
                    </a:lnTo>
                    <a:lnTo>
                      <a:pt x="400" y="34"/>
                    </a:lnTo>
                    <a:lnTo>
                      <a:pt x="408" y="26"/>
                    </a:lnTo>
                    <a:lnTo>
                      <a:pt x="411" y="19"/>
                    </a:lnTo>
                    <a:lnTo>
                      <a:pt x="415" y="26"/>
                    </a:lnTo>
                    <a:lnTo>
                      <a:pt x="417" y="21"/>
                    </a:lnTo>
                    <a:lnTo>
                      <a:pt x="421" y="23"/>
                    </a:lnTo>
                    <a:lnTo>
                      <a:pt x="423" y="28"/>
                    </a:lnTo>
                    <a:lnTo>
                      <a:pt x="419" y="32"/>
                    </a:lnTo>
                    <a:lnTo>
                      <a:pt x="423" y="36"/>
                    </a:lnTo>
                    <a:lnTo>
                      <a:pt x="428" y="40"/>
                    </a:lnTo>
                    <a:lnTo>
                      <a:pt x="440" y="36"/>
                    </a:lnTo>
                    <a:lnTo>
                      <a:pt x="445" y="36"/>
                    </a:lnTo>
                    <a:lnTo>
                      <a:pt x="451" y="36"/>
                    </a:lnTo>
                    <a:lnTo>
                      <a:pt x="455" y="40"/>
                    </a:lnTo>
                    <a:lnTo>
                      <a:pt x="459" y="40"/>
                    </a:lnTo>
                    <a:lnTo>
                      <a:pt x="464" y="40"/>
                    </a:lnTo>
                    <a:lnTo>
                      <a:pt x="464" y="47"/>
                    </a:lnTo>
                    <a:lnTo>
                      <a:pt x="462" y="49"/>
                    </a:lnTo>
                    <a:lnTo>
                      <a:pt x="466" y="55"/>
                    </a:lnTo>
                    <a:lnTo>
                      <a:pt x="459" y="55"/>
                    </a:lnTo>
                    <a:lnTo>
                      <a:pt x="464" y="60"/>
                    </a:lnTo>
                    <a:lnTo>
                      <a:pt x="468" y="57"/>
                    </a:lnTo>
                    <a:lnTo>
                      <a:pt x="474" y="60"/>
                    </a:lnTo>
                    <a:lnTo>
                      <a:pt x="470" y="64"/>
                    </a:lnTo>
                    <a:lnTo>
                      <a:pt x="481" y="68"/>
                    </a:lnTo>
                    <a:lnTo>
                      <a:pt x="485" y="70"/>
                    </a:lnTo>
                    <a:lnTo>
                      <a:pt x="487" y="68"/>
                    </a:lnTo>
                    <a:lnTo>
                      <a:pt x="489" y="66"/>
                    </a:lnTo>
                    <a:lnTo>
                      <a:pt x="494" y="66"/>
                    </a:lnTo>
                    <a:lnTo>
                      <a:pt x="500" y="66"/>
                    </a:lnTo>
                    <a:lnTo>
                      <a:pt x="500" y="68"/>
                    </a:lnTo>
                    <a:lnTo>
                      <a:pt x="506" y="70"/>
                    </a:lnTo>
                    <a:lnTo>
                      <a:pt x="511" y="66"/>
                    </a:lnTo>
                    <a:lnTo>
                      <a:pt x="517" y="66"/>
                    </a:lnTo>
                    <a:lnTo>
                      <a:pt x="521" y="68"/>
                    </a:lnTo>
                    <a:lnTo>
                      <a:pt x="526" y="68"/>
                    </a:lnTo>
                    <a:lnTo>
                      <a:pt x="530" y="70"/>
                    </a:lnTo>
                    <a:lnTo>
                      <a:pt x="534" y="72"/>
                    </a:lnTo>
                    <a:lnTo>
                      <a:pt x="538" y="79"/>
                    </a:lnTo>
                    <a:lnTo>
                      <a:pt x="543" y="77"/>
                    </a:lnTo>
                    <a:lnTo>
                      <a:pt x="547" y="79"/>
                    </a:lnTo>
                    <a:lnTo>
                      <a:pt x="551" y="79"/>
                    </a:lnTo>
                    <a:lnTo>
                      <a:pt x="551" y="83"/>
                    </a:lnTo>
                    <a:lnTo>
                      <a:pt x="555" y="85"/>
                    </a:lnTo>
                    <a:lnTo>
                      <a:pt x="566" y="89"/>
                    </a:lnTo>
                    <a:lnTo>
                      <a:pt x="570" y="87"/>
                    </a:lnTo>
                    <a:lnTo>
                      <a:pt x="577" y="87"/>
                    </a:lnTo>
                    <a:lnTo>
                      <a:pt x="581" y="87"/>
                    </a:lnTo>
                    <a:lnTo>
                      <a:pt x="587" y="89"/>
                    </a:lnTo>
                    <a:lnTo>
                      <a:pt x="592" y="89"/>
                    </a:lnTo>
                    <a:lnTo>
                      <a:pt x="596" y="96"/>
                    </a:lnTo>
                    <a:lnTo>
                      <a:pt x="600" y="98"/>
                    </a:lnTo>
                    <a:lnTo>
                      <a:pt x="600" y="98"/>
                    </a:lnTo>
                    <a:lnTo>
                      <a:pt x="609" y="100"/>
                    </a:lnTo>
                    <a:lnTo>
                      <a:pt x="613" y="100"/>
                    </a:lnTo>
                    <a:lnTo>
                      <a:pt x="621" y="96"/>
                    </a:lnTo>
                    <a:lnTo>
                      <a:pt x="626" y="98"/>
                    </a:lnTo>
                    <a:lnTo>
                      <a:pt x="628" y="94"/>
                    </a:lnTo>
                    <a:lnTo>
                      <a:pt x="632" y="92"/>
                    </a:lnTo>
                    <a:lnTo>
                      <a:pt x="636" y="94"/>
                    </a:lnTo>
                    <a:lnTo>
                      <a:pt x="643" y="96"/>
                    </a:lnTo>
                    <a:lnTo>
                      <a:pt x="647" y="94"/>
                    </a:lnTo>
                    <a:lnTo>
                      <a:pt x="651" y="96"/>
                    </a:lnTo>
                    <a:lnTo>
                      <a:pt x="655" y="98"/>
                    </a:lnTo>
                    <a:lnTo>
                      <a:pt x="660" y="102"/>
                    </a:lnTo>
                    <a:lnTo>
                      <a:pt x="668" y="109"/>
                    </a:lnTo>
                    <a:lnTo>
                      <a:pt x="670" y="109"/>
                    </a:lnTo>
                    <a:lnTo>
                      <a:pt x="675" y="111"/>
                    </a:lnTo>
                    <a:lnTo>
                      <a:pt x="679" y="115"/>
                    </a:lnTo>
                    <a:lnTo>
                      <a:pt x="681" y="115"/>
                    </a:lnTo>
                    <a:lnTo>
                      <a:pt x="689" y="117"/>
                    </a:lnTo>
                    <a:lnTo>
                      <a:pt x="689" y="119"/>
                    </a:lnTo>
                    <a:lnTo>
                      <a:pt x="692" y="160"/>
                    </a:lnTo>
                    <a:lnTo>
                      <a:pt x="719" y="656"/>
                    </a:lnTo>
                    <a:lnTo>
                      <a:pt x="721" y="660"/>
                    </a:lnTo>
                    <a:lnTo>
                      <a:pt x="734" y="664"/>
                    </a:lnTo>
                    <a:lnTo>
                      <a:pt x="738" y="660"/>
                    </a:lnTo>
                    <a:lnTo>
                      <a:pt x="749" y="664"/>
                    </a:lnTo>
                    <a:lnTo>
                      <a:pt x="751" y="664"/>
                    </a:lnTo>
                    <a:lnTo>
                      <a:pt x="760" y="656"/>
                    </a:lnTo>
                    <a:lnTo>
                      <a:pt x="770" y="654"/>
                    </a:lnTo>
                    <a:lnTo>
                      <a:pt x="775" y="658"/>
                    </a:lnTo>
                    <a:lnTo>
                      <a:pt x="775" y="664"/>
                    </a:lnTo>
                    <a:lnTo>
                      <a:pt x="773" y="669"/>
                    </a:lnTo>
                    <a:lnTo>
                      <a:pt x="777" y="673"/>
                    </a:lnTo>
                    <a:lnTo>
                      <a:pt x="783" y="677"/>
                    </a:lnTo>
                    <a:lnTo>
                      <a:pt x="790" y="682"/>
                    </a:lnTo>
                    <a:lnTo>
                      <a:pt x="792" y="688"/>
                    </a:lnTo>
                    <a:lnTo>
                      <a:pt x="824" y="716"/>
                    </a:lnTo>
                    <a:lnTo>
                      <a:pt x="832" y="733"/>
                    </a:lnTo>
                    <a:lnTo>
                      <a:pt x="834" y="728"/>
                    </a:lnTo>
                    <a:lnTo>
                      <a:pt x="839" y="724"/>
                    </a:lnTo>
                    <a:lnTo>
                      <a:pt x="849" y="716"/>
                    </a:lnTo>
                    <a:lnTo>
                      <a:pt x="856" y="711"/>
                    </a:lnTo>
                    <a:lnTo>
                      <a:pt x="858" y="707"/>
                    </a:lnTo>
                    <a:lnTo>
                      <a:pt x="856" y="703"/>
                    </a:lnTo>
                    <a:lnTo>
                      <a:pt x="862" y="692"/>
                    </a:lnTo>
                    <a:lnTo>
                      <a:pt x="862" y="686"/>
                    </a:lnTo>
                    <a:lnTo>
                      <a:pt x="868" y="684"/>
                    </a:lnTo>
                    <a:lnTo>
                      <a:pt x="873" y="679"/>
                    </a:lnTo>
                    <a:lnTo>
                      <a:pt x="879" y="675"/>
                    </a:lnTo>
                    <a:lnTo>
                      <a:pt x="885" y="677"/>
                    </a:lnTo>
                    <a:lnTo>
                      <a:pt x="890" y="679"/>
                    </a:lnTo>
                    <a:lnTo>
                      <a:pt x="894" y="684"/>
                    </a:lnTo>
                    <a:lnTo>
                      <a:pt x="896" y="684"/>
                    </a:lnTo>
                    <a:lnTo>
                      <a:pt x="898" y="690"/>
                    </a:lnTo>
                    <a:lnTo>
                      <a:pt x="902" y="703"/>
                    </a:lnTo>
                    <a:lnTo>
                      <a:pt x="907" y="703"/>
                    </a:lnTo>
                    <a:lnTo>
                      <a:pt x="911" y="707"/>
                    </a:lnTo>
                    <a:lnTo>
                      <a:pt x="917" y="709"/>
                    </a:lnTo>
                    <a:lnTo>
                      <a:pt x="924" y="720"/>
                    </a:lnTo>
                    <a:lnTo>
                      <a:pt x="928" y="724"/>
                    </a:lnTo>
                    <a:lnTo>
                      <a:pt x="936" y="728"/>
                    </a:lnTo>
                    <a:lnTo>
                      <a:pt x="941" y="731"/>
                    </a:lnTo>
                    <a:lnTo>
                      <a:pt x="947" y="737"/>
                    </a:lnTo>
                    <a:lnTo>
                      <a:pt x="956" y="745"/>
                    </a:lnTo>
                    <a:lnTo>
                      <a:pt x="956" y="745"/>
                    </a:lnTo>
                    <a:lnTo>
                      <a:pt x="958" y="752"/>
                    </a:lnTo>
                    <a:lnTo>
                      <a:pt x="966" y="760"/>
                    </a:lnTo>
                    <a:lnTo>
                      <a:pt x="968" y="765"/>
                    </a:lnTo>
                    <a:lnTo>
                      <a:pt x="977" y="773"/>
                    </a:lnTo>
                    <a:lnTo>
                      <a:pt x="990" y="790"/>
                    </a:lnTo>
                    <a:lnTo>
                      <a:pt x="996" y="799"/>
                    </a:lnTo>
                    <a:lnTo>
                      <a:pt x="1000" y="803"/>
                    </a:lnTo>
                    <a:lnTo>
                      <a:pt x="1002" y="809"/>
                    </a:lnTo>
                    <a:lnTo>
                      <a:pt x="1002" y="814"/>
                    </a:lnTo>
                    <a:lnTo>
                      <a:pt x="1007" y="816"/>
                    </a:lnTo>
                    <a:lnTo>
                      <a:pt x="1011" y="820"/>
                    </a:lnTo>
                    <a:lnTo>
                      <a:pt x="1015" y="826"/>
                    </a:lnTo>
                    <a:lnTo>
                      <a:pt x="1020" y="831"/>
                    </a:lnTo>
                    <a:lnTo>
                      <a:pt x="1022" y="837"/>
                    </a:lnTo>
                    <a:lnTo>
                      <a:pt x="1024" y="839"/>
                    </a:lnTo>
                    <a:lnTo>
                      <a:pt x="1028" y="839"/>
                    </a:lnTo>
                    <a:lnTo>
                      <a:pt x="1034" y="839"/>
                    </a:lnTo>
                    <a:lnTo>
                      <a:pt x="1043" y="843"/>
                    </a:lnTo>
                    <a:lnTo>
                      <a:pt x="1047" y="846"/>
                    </a:lnTo>
                    <a:lnTo>
                      <a:pt x="1058" y="846"/>
                    </a:lnTo>
                    <a:lnTo>
                      <a:pt x="1062" y="850"/>
                    </a:lnTo>
                    <a:lnTo>
                      <a:pt x="1068" y="852"/>
                    </a:lnTo>
                    <a:lnTo>
                      <a:pt x="1073" y="856"/>
                    </a:lnTo>
                    <a:lnTo>
                      <a:pt x="1077" y="858"/>
                    </a:lnTo>
                    <a:lnTo>
                      <a:pt x="1083" y="856"/>
                    </a:lnTo>
                    <a:lnTo>
                      <a:pt x="1088" y="860"/>
                    </a:lnTo>
                    <a:lnTo>
                      <a:pt x="1088" y="867"/>
                    </a:lnTo>
                    <a:lnTo>
                      <a:pt x="1088" y="871"/>
                    </a:lnTo>
                    <a:lnTo>
                      <a:pt x="1086" y="875"/>
                    </a:lnTo>
                    <a:lnTo>
                      <a:pt x="1088" y="882"/>
                    </a:lnTo>
                    <a:lnTo>
                      <a:pt x="1088" y="888"/>
                    </a:lnTo>
                    <a:lnTo>
                      <a:pt x="1096" y="903"/>
                    </a:lnTo>
                    <a:lnTo>
                      <a:pt x="1094" y="907"/>
                    </a:lnTo>
                    <a:lnTo>
                      <a:pt x="1092" y="922"/>
                    </a:lnTo>
                    <a:lnTo>
                      <a:pt x="1090" y="926"/>
                    </a:lnTo>
                    <a:lnTo>
                      <a:pt x="1086" y="931"/>
                    </a:lnTo>
                    <a:lnTo>
                      <a:pt x="1081" y="935"/>
                    </a:lnTo>
                    <a:lnTo>
                      <a:pt x="1081" y="937"/>
                    </a:lnTo>
                    <a:lnTo>
                      <a:pt x="1077" y="926"/>
                    </a:lnTo>
                    <a:lnTo>
                      <a:pt x="1077" y="935"/>
                    </a:lnTo>
                    <a:lnTo>
                      <a:pt x="1073" y="935"/>
                    </a:lnTo>
                    <a:lnTo>
                      <a:pt x="1068" y="924"/>
                    </a:lnTo>
                    <a:lnTo>
                      <a:pt x="1071" y="920"/>
                    </a:lnTo>
                    <a:lnTo>
                      <a:pt x="1075" y="918"/>
                    </a:lnTo>
                    <a:lnTo>
                      <a:pt x="1077" y="914"/>
                    </a:lnTo>
                    <a:lnTo>
                      <a:pt x="1081" y="905"/>
                    </a:lnTo>
                    <a:lnTo>
                      <a:pt x="1077" y="914"/>
                    </a:lnTo>
                    <a:lnTo>
                      <a:pt x="1075" y="918"/>
                    </a:lnTo>
                    <a:lnTo>
                      <a:pt x="1068" y="920"/>
                    </a:lnTo>
                    <a:lnTo>
                      <a:pt x="1064" y="918"/>
                    </a:lnTo>
                    <a:lnTo>
                      <a:pt x="1064" y="914"/>
                    </a:lnTo>
                    <a:lnTo>
                      <a:pt x="1066" y="907"/>
                    </a:lnTo>
                    <a:lnTo>
                      <a:pt x="1073" y="907"/>
                    </a:lnTo>
                    <a:lnTo>
                      <a:pt x="1068" y="905"/>
                    </a:lnTo>
                    <a:lnTo>
                      <a:pt x="1066" y="899"/>
                    </a:lnTo>
                    <a:lnTo>
                      <a:pt x="1064" y="888"/>
                    </a:lnTo>
                    <a:lnTo>
                      <a:pt x="1060" y="882"/>
                    </a:lnTo>
                    <a:lnTo>
                      <a:pt x="1054" y="873"/>
                    </a:lnTo>
                    <a:lnTo>
                      <a:pt x="1051" y="869"/>
                    </a:lnTo>
                    <a:lnTo>
                      <a:pt x="1054" y="865"/>
                    </a:lnTo>
                    <a:lnTo>
                      <a:pt x="1045" y="873"/>
                    </a:lnTo>
                    <a:lnTo>
                      <a:pt x="1041" y="873"/>
                    </a:lnTo>
                    <a:lnTo>
                      <a:pt x="1030" y="882"/>
                    </a:lnTo>
                    <a:lnTo>
                      <a:pt x="1034" y="886"/>
                    </a:lnTo>
                    <a:lnTo>
                      <a:pt x="1032" y="897"/>
                    </a:lnTo>
                    <a:lnTo>
                      <a:pt x="1028" y="895"/>
                    </a:lnTo>
                    <a:lnTo>
                      <a:pt x="1032" y="901"/>
                    </a:lnTo>
                    <a:lnTo>
                      <a:pt x="1026" y="901"/>
                    </a:lnTo>
                    <a:lnTo>
                      <a:pt x="1022" y="897"/>
                    </a:lnTo>
                    <a:lnTo>
                      <a:pt x="1017" y="892"/>
                    </a:lnTo>
                    <a:lnTo>
                      <a:pt x="1022" y="886"/>
                    </a:lnTo>
                    <a:lnTo>
                      <a:pt x="1024" y="882"/>
                    </a:lnTo>
                    <a:lnTo>
                      <a:pt x="1026" y="873"/>
                    </a:lnTo>
                    <a:lnTo>
                      <a:pt x="1024" y="867"/>
                    </a:lnTo>
                    <a:lnTo>
                      <a:pt x="1028" y="863"/>
                    </a:lnTo>
                    <a:lnTo>
                      <a:pt x="1032" y="863"/>
                    </a:lnTo>
                    <a:lnTo>
                      <a:pt x="1030" y="860"/>
                    </a:lnTo>
                    <a:lnTo>
                      <a:pt x="1026" y="860"/>
                    </a:lnTo>
                    <a:lnTo>
                      <a:pt x="1022" y="856"/>
                    </a:lnTo>
                    <a:lnTo>
                      <a:pt x="1017" y="854"/>
                    </a:lnTo>
                    <a:lnTo>
                      <a:pt x="1011" y="850"/>
                    </a:lnTo>
                    <a:lnTo>
                      <a:pt x="1007" y="848"/>
                    </a:lnTo>
                    <a:lnTo>
                      <a:pt x="1007" y="841"/>
                    </a:lnTo>
                    <a:lnTo>
                      <a:pt x="1000" y="843"/>
                    </a:lnTo>
                    <a:lnTo>
                      <a:pt x="1000" y="837"/>
                    </a:lnTo>
                    <a:lnTo>
                      <a:pt x="1002" y="833"/>
                    </a:lnTo>
                    <a:lnTo>
                      <a:pt x="996" y="835"/>
                    </a:lnTo>
                    <a:lnTo>
                      <a:pt x="992" y="833"/>
                    </a:lnTo>
                    <a:lnTo>
                      <a:pt x="988" y="828"/>
                    </a:lnTo>
                    <a:lnTo>
                      <a:pt x="990" y="822"/>
                    </a:lnTo>
                    <a:lnTo>
                      <a:pt x="988" y="818"/>
                    </a:lnTo>
                    <a:lnTo>
                      <a:pt x="983" y="822"/>
                    </a:lnTo>
                    <a:lnTo>
                      <a:pt x="977" y="820"/>
                    </a:lnTo>
                    <a:lnTo>
                      <a:pt x="973" y="816"/>
                    </a:lnTo>
                    <a:lnTo>
                      <a:pt x="968" y="818"/>
                    </a:lnTo>
                    <a:lnTo>
                      <a:pt x="962" y="816"/>
                    </a:lnTo>
                    <a:lnTo>
                      <a:pt x="964" y="811"/>
                    </a:lnTo>
                    <a:lnTo>
                      <a:pt x="971" y="809"/>
                    </a:lnTo>
                    <a:lnTo>
                      <a:pt x="975" y="805"/>
                    </a:lnTo>
                    <a:lnTo>
                      <a:pt x="964" y="805"/>
                    </a:lnTo>
                    <a:lnTo>
                      <a:pt x="966" y="801"/>
                    </a:lnTo>
                    <a:lnTo>
                      <a:pt x="962" y="801"/>
                    </a:lnTo>
                    <a:lnTo>
                      <a:pt x="962" y="794"/>
                    </a:lnTo>
                    <a:lnTo>
                      <a:pt x="958" y="792"/>
                    </a:lnTo>
                    <a:lnTo>
                      <a:pt x="956" y="788"/>
                    </a:lnTo>
                    <a:lnTo>
                      <a:pt x="964" y="790"/>
                    </a:lnTo>
                    <a:lnTo>
                      <a:pt x="973" y="794"/>
                    </a:lnTo>
                    <a:lnTo>
                      <a:pt x="971" y="788"/>
                    </a:lnTo>
                    <a:lnTo>
                      <a:pt x="964" y="788"/>
                    </a:lnTo>
                    <a:lnTo>
                      <a:pt x="960" y="784"/>
                    </a:lnTo>
                    <a:lnTo>
                      <a:pt x="956" y="779"/>
                    </a:lnTo>
                    <a:lnTo>
                      <a:pt x="956" y="775"/>
                    </a:lnTo>
                    <a:lnTo>
                      <a:pt x="966" y="775"/>
                    </a:lnTo>
                    <a:lnTo>
                      <a:pt x="956" y="773"/>
                    </a:lnTo>
                    <a:lnTo>
                      <a:pt x="954" y="777"/>
                    </a:lnTo>
                    <a:lnTo>
                      <a:pt x="949" y="777"/>
                    </a:lnTo>
                    <a:lnTo>
                      <a:pt x="947" y="771"/>
                    </a:lnTo>
                    <a:lnTo>
                      <a:pt x="949" y="762"/>
                    </a:lnTo>
                    <a:lnTo>
                      <a:pt x="947" y="767"/>
                    </a:lnTo>
                    <a:lnTo>
                      <a:pt x="945" y="771"/>
                    </a:lnTo>
                    <a:lnTo>
                      <a:pt x="941" y="769"/>
                    </a:lnTo>
                    <a:lnTo>
                      <a:pt x="939" y="762"/>
                    </a:lnTo>
                    <a:lnTo>
                      <a:pt x="936" y="758"/>
                    </a:lnTo>
                    <a:lnTo>
                      <a:pt x="939" y="754"/>
                    </a:lnTo>
                    <a:lnTo>
                      <a:pt x="939" y="748"/>
                    </a:lnTo>
                    <a:lnTo>
                      <a:pt x="939" y="743"/>
                    </a:lnTo>
                    <a:lnTo>
                      <a:pt x="943" y="741"/>
                    </a:lnTo>
                    <a:lnTo>
                      <a:pt x="936" y="741"/>
                    </a:lnTo>
                    <a:lnTo>
                      <a:pt x="936" y="756"/>
                    </a:lnTo>
                    <a:lnTo>
                      <a:pt x="930" y="758"/>
                    </a:lnTo>
                    <a:lnTo>
                      <a:pt x="926" y="756"/>
                    </a:lnTo>
                    <a:lnTo>
                      <a:pt x="922" y="754"/>
                    </a:lnTo>
                    <a:lnTo>
                      <a:pt x="922" y="754"/>
                    </a:lnTo>
                    <a:lnTo>
                      <a:pt x="922" y="754"/>
                    </a:lnTo>
                    <a:lnTo>
                      <a:pt x="915" y="754"/>
                    </a:lnTo>
                    <a:lnTo>
                      <a:pt x="913" y="748"/>
                    </a:lnTo>
                    <a:lnTo>
                      <a:pt x="905" y="737"/>
                    </a:lnTo>
                    <a:lnTo>
                      <a:pt x="907" y="733"/>
                    </a:lnTo>
                    <a:lnTo>
                      <a:pt x="902" y="731"/>
                    </a:lnTo>
                    <a:lnTo>
                      <a:pt x="898" y="724"/>
                    </a:lnTo>
                    <a:lnTo>
                      <a:pt x="898" y="720"/>
                    </a:lnTo>
                    <a:lnTo>
                      <a:pt x="892" y="709"/>
                    </a:lnTo>
                    <a:lnTo>
                      <a:pt x="890" y="703"/>
                    </a:lnTo>
                    <a:lnTo>
                      <a:pt x="887" y="692"/>
                    </a:lnTo>
                    <a:lnTo>
                      <a:pt x="885" y="703"/>
                    </a:lnTo>
                    <a:lnTo>
                      <a:pt x="885" y="703"/>
                    </a:lnTo>
                    <a:lnTo>
                      <a:pt x="890" y="707"/>
                    </a:lnTo>
                    <a:lnTo>
                      <a:pt x="892" y="713"/>
                    </a:lnTo>
                    <a:lnTo>
                      <a:pt x="887" y="709"/>
                    </a:lnTo>
                    <a:lnTo>
                      <a:pt x="890" y="713"/>
                    </a:lnTo>
                    <a:lnTo>
                      <a:pt x="892" y="720"/>
                    </a:lnTo>
                    <a:lnTo>
                      <a:pt x="898" y="737"/>
                    </a:lnTo>
                    <a:lnTo>
                      <a:pt x="902" y="743"/>
                    </a:lnTo>
                    <a:lnTo>
                      <a:pt x="900" y="741"/>
                    </a:lnTo>
                    <a:lnTo>
                      <a:pt x="902" y="748"/>
                    </a:lnTo>
                    <a:lnTo>
                      <a:pt x="907" y="758"/>
                    </a:lnTo>
                    <a:lnTo>
                      <a:pt x="907" y="762"/>
                    </a:lnTo>
                    <a:lnTo>
                      <a:pt x="900" y="765"/>
                    </a:lnTo>
                    <a:lnTo>
                      <a:pt x="896" y="760"/>
                    </a:lnTo>
                    <a:lnTo>
                      <a:pt x="894" y="754"/>
                    </a:lnTo>
                    <a:lnTo>
                      <a:pt x="887" y="754"/>
                    </a:lnTo>
                    <a:lnTo>
                      <a:pt x="883" y="756"/>
                    </a:lnTo>
                    <a:lnTo>
                      <a:pt x="879" y="754"/>
                    </a:lnTo>
                    <a:lnTo>
                      <a:pt x="881" y="750"/>
                    </a:lnTo>
                    <a:lnTo>
                      <a:pt x="875" y="737"/>
                    </a:lnTo>
                    <a:lnTo>
                      <a:pt x="875" y="733"/>
                    </a:lnTo>
                    <a:lnTo>
                      <a:pt x="879" y="728"/>
                    </a:lnTo>
                    <a:lnTo>
                      <a:pt x="870" y="726"/>
                    </a:lnTo>
                    <a:lnTo>
                      <a:pt x="870" y="731"/>
                    </a:lnTo>
                    <a:lnTo>
                      <a:pt x="870" y="737"/>
                    </a:lnTo>
                    <a:lnTo>
                      <a:pt x="866" y="737"/>
                    </a:lnTo>
                    <a:lnTo>
                      <a:pt x="860" y="735"/>
                    </a:lnTo>
                    <a:lnTo>
                      <a:pt x="858" y="728"/>
                    </a:lnTo>
                    <a:lnTo>
                      <a:pt x="853" y="726"/>
                    </a:lnTo>
                    <a:lnTo>
                      <a:pt x="847" y="728"/>
                    </a:lnTo>
                    <a:lnTo>
                      <a:pt x="845" y="724"/>
                    </a:lnTo>
                    <a:lnTo>
                      <a:pt x="847" y="731"/>
                    </a:lnTo>
                    <a:lnTo>
                      <a:pt x="843" y="735"/>
                    </a:lnTo>
                    <a:lnTo>
                      <a:pt x="847" y="733"/>
                    </a:lnTo>
                    <a:lnTo>
                      <a:pt x="858" y="735"/>
                    </a:lnTo>
                    <a:lnTo>
                      <a:pt x="860" y="739"/>
                    </a:lnTo>
                    <a:lnTo>
                      <a:pt x="864" y="741"/>
                    </a:lnTo>
                    <a:lnTo>
                      <a:pt x="862" y="745"/>
                    </a:lnTo>
                    <a:lnTo>
                      <a:pt x="868" y="743"/>
                    </a:lnTo>
                    <a:lnTo>
                      <a:pt x="873" y="748"/>
                    </a:lnTo>
                    <a:lnTo>
                      <a:pt x="875" y="754"/>
                    </a:lnTo>
                    <a:lnTo>
                      <a:pt x="877" y="758"/>
                    </a:lnTo>
                    <a:lnTo>
                      <a:pt x="870" y="762"/>
                    </a:lnTo>
                    <a:lnTo>
                      <a:pt x="862" y="758"/>
                    </a:lnTo>
                    <a:lnTo>
                      <a:pt x="862" y="762"/>
                    </a:lnTo>
                    <a:lnTo>
                      <a:pt x="862" y="767"/>
                    </a:lnTo>
                    <a:lnTo>
                      <a:pt x="860" y="771"/>
                    </a:lnTo>
                    <a:lnTo>
                      <a:pt x="856" y="767"/>
                    </a:lnTo>
                    <a:lnTo>
                      <a:pt x="849" y="762"/>
                    </a:lnTo>
                    <a:lnTo>
                      <a:pt x="841" y="760"/>
                    </a:lnTo>
                    <a:lnTo>
                      <a:pt x="828" y="752"/>
                    </a:lnTo>
                    <a:lnTo>
                      <a:pt x="832" y="748"/>
                    </a:lnTo>
                    <a:lnTo>
                      <a:pt x="828" y="750"/>
                    </a:lnTo>
                    <a:lnTo>
                      <a:pt x="817" y="743"/>
                    </a:lnTo>
                    <a:lnTo>
                      <a:pt x="815" y="737"/>
                    </a:lnTo>
                    <a:lnTo>
                      <a:pt x="809" y="728"/>
                    </a:lnTo>
                    <a:lnTo>
                      <a:pt x="802" y="726"/>
                    </a:lnTo>
                    <a:lnTo>
                      <a:pt x="798" y="724"/>
                    </a:lnTo>
                    <a:lnTo>
                      <a:pt x="800" y="720"/>
                    </a:lnTo>
                    <a:lnTo>
                      <a:pt x="794" y="722"/>
                    </a:lnTo>
                    <a:lnTo>
                      <a:pt x="785" y="718"/>
                    </a:lnTo>
                    <a:lnTo>
                      <a:pt x="779" y="716"/>
                    </a:lnTo>
                    <a:lnTo>
                      <a:pt x="775" y="711"/>
                    </a:lnTo>
                    <a:lnTo>
                      <a:pt x="770" y="711"/>
                    </a:lnTo>
                    <a:lnTo>
                      <a:pt x="766" y="707"/>
                    </a:lnTo>
                    <a:lnTo>
                      <a:pt x="755" y="703"/>
                    </a:lnTo>
                    <a:lnTo>
                      <a:pt x="762" y="701"/>
                    </a:lnTo>
                    <a:lnTo>
                      <a:pt x="764" y="696"/>
                    </a:lnTo>
                    <a:lnTo>
                      <a:pt x="766" y="690"/>
                    </a:lnTo>
                    <a:lnTo>
                      <a:pt x="762" y="686"/>
                    </a:lnTo>
                    <a:lnTo>
                      <a:pt x="762" y="679"/>
                    </a:lnTo>
                    <a:lnTo>
                      <a:pt x="768" y="679"/>
                    </a:lnTo>
                    <a:lnTo>
                      <a:pt x="770" y="684"/>
                    </a:lnTo>
                    <a:lnTo>
                      <a:pt x="770" y="690"/>
                    </a:lnTo>
                    <a:lnTo>
                      <a:pt x="773" y="696"/>
                    </a:lnTo>
                    <a:lnTo>
                      <a:pt x="770" y="690"/>
                    </a:lnTo>
                    <a:lnTo>
                      <a:pt x="770" y="684"/>
                    </a:lnTo>
                    <a:lnTo>
                      <a:pt x="777" y="684"/>
                    </a:lnTo>
                    <a:lnTo>
                      <a:pt x="781" y="686"/>
                    </a:lnTo>
                    <a:lnTo>
                      <a:pt x="777" y="684"/>
                    </a:lnTo>
                    <a:lnTo>
                      <a:pt x="773" y="682"/>
                    </a:lnTo>
                    <a:lnTo>
                      <a:pt x="766" y="675"/>
                    </a:lnTo>
                    <a:lnTo>
                      <a:pt x="762" y="675"/>
                    </a:lnTo>
                    <a:lnTo>
                      <a:pt x="758" y="684"/>
                    </a:lnTo>
                    <a:lnTo>
                      <a:pt x="745" y="692"/>
                    </a:lnTo>
                    <a:lnTo>
                      <a:pt x="741" y="694"/>
                    </a:lnTo>
                    <a:lnTo>
                      <a:pt x="724" y="692"/>
                    </a:lnTo>
                    <a:lnTo>
                      <a:pt x="711" y="686"/>
                    </a:lnTo>
                    <a:lnTo>
                      <a:pt x="713" y="682"/>
                    </a:lnTo>
                    <a:lnTo>
                      <a:pt x="713" y="679"/>
                    </a:lnTo>
                    <a:lnTo>
                      <a:pt x="711" y="673"/>
                    </a:lnTo>
                    <a:lnTo>
                      <a:pt x="709" y="677"/>
                    </a:lnTo>
                    <a:lnTo>
                      <a:pt x="702" y="682"/>
                    </a:lnTo>
                    <a:lnTo>
                      <a:pt x="696" y="679"/>
                    </a:lnTo>
                    <a:lnTo>
                      <a:pt x="672" y="675"/>
                    </a:lnTo>
                    <a:lnTo>
                      <a:pt x="662" y="677"/>
                    </a:lnTo>
                    <a:lnTo>
                      <a:pt x="645" y="679"/>
                    </a:lnTo>
                    <a:lnTo>
                      <a:pt x="638" y="682"/>
                    </a:lnTo>
                    <a:lnTo>
                      <a:pt x="636" y="682"/>
                    </a:lnTo>
                    <a:lnTo>
                      <a:pt x="632" y="679"/>
                    </a:lnTo>
                    <a:lnTo>
                      <a:pt x="630" y="673"/>
                    </a:lnTo>
                    <a:lnTo>
                      <a:pt x="626" y="669"/>
                    </a:lnTo>
                    <a:lnTo>
                      <a:pt x="615" y="669"/>
                    </a:lnTo>
                    <a:lnTo>
                      <a:pt x="611" y="664"/>
                    </a:lnTo>
                    <a:lnTo>
                      <a:pt x="609" y="658"/>
                    </a:lnTo>
                    <a:lnTo>
                      <a:pt x="611" y="654"/>
                    </a:lnTo>
                    <a:lnTo>
                      <a:pt x="611" y="650"/>
                    </a:lnTo>
                    <a:lnTo>
                      <a:pt x="613" y="643"/>
                    </a:lnTo>
                    <a:lnTo>
                      <a:pt x="617" y="639"/>
                    </a:lnTo>
                    <a:lnTo>
                      <a:pt x="611" y="643"/>
                    </a:lnTo>
                    <a:lnTo>
                      <a:pt x="609" y="647"/>
                    </a:lnTo>
                    <a:lnTo>
                      <a:pt x="604" y="652"/>
                    </a:lnTo>
                    <a:lnTo>
                      <a:pt x="602" y="658"/>
                    </a:lnTo>
                    <a:lnTo>
                      <a:pt x="596" y="660"/>
                    </a:lnTo>
                    <a:lnTo>
                      <a:pt x="592" y="658"/>
                    </a:lnTo>
                    <a:lnTo>
                      <a:pt x="587" y="654"/>
                    </a:lnTo>
                    <a:lnTo>
                      <a:pt x="583" y="654"/>
                    </a:lnTo>
                    <a:lnTo>
                      <a:pt x="583" y="650"/>
                    </a:lnTo>
                    <a:lnTo>
                      <a:pt x="587" y="645"/>
                    </a:lnTo>
                    <a:lnTo>
                      <a:pt x="581" y="645"/>
                    </a:lnTo>
                    <a:lnTo>
                      <a:pt x="577" y="641"/>
                    </a:lnTo>
                    <a:lnTo>
                      <a:pt x="570" y="643"/>
                    </a:lnTo>
                    <a:lnTo>
                      <a:pt x="577" y="635"/>
                    </a:lnTo>
                    <a:lnTo>
                      <a:pt x="564" y="641"/>
                    </a:lnTo>
                    <a:lnTo>
                      <a:pt x="560" y="641"/>
                    </a:lnTo>
                    <a:lnTo>
                      <a:pt x="564" y="637"/>
                    </a:lnTo>
                    <a:lnTo>
                      <a:pt x="574" y="633"/>
                    </a:lnTo>
                    <a:lnTo>
                      <a:pt x="570" y="628"/>
                    </a:lnTo>
                    <a:lnTo>
                      <a:pt x="566" y="633"/>
                    </a:lnTo>
                    <a:lnTo>
                      <a:pt x="562" y="630"/>
                    </a:lnTo>
                    <a:lnTo>
                      <a:pt x="557" y="628"/>
                    </a:lnTo>
                    <a:lnTo>
                      <a:pt x="557" y="622"/>
                    </a:lnTo>
                    <a:lnTo>
                      <a:pt x="560" y="618"/>
                    </a:lnTo>
                    <a:lnTo>
                      <a:pt x="570" y="618"/>
                    </a:lnTo>
                    <a:lnTo>
                      <a:pt x="566" y="615"/>
                    </a:lnTo>
                    <a:lnTo>
                      <a:pt x="562" y="615"/>
                    </a:lnTo>
                    <a:lnTo>
                      <a:pt x="553" y="624"/>
                    </a:lnTo>
                    <a:lnTo>
                      <a:pt x="549" y="624"/>
                    </a:lnTo>
                    <a:lnTo>
                      <a:pt x="543" y="622"/>
                    </a:lnTo>
                    <a:lnTo>
                      <a:pt x="540" y="626"/>
                    </a:lnTo>
                    <a:lnTo>
                      <a:pt x="536" y="622"/>
                    </a:lnTo>
                    <a:lnTo>
                      <a:pt x="536" y="626"/>
                    </a:lnTo>
                    <a:lnTo>
                      <a:pt x="536" y="615"/>
                    </a:lnTo>
                    <a:lnTo>
                      <a:pt x="532" y="620"/>
                    </a:lnTo>
                    <a:lnTo>
                      <a:pt x="532" y="630"/>
                    </a:lnTo>
                    <a:lnTo>
                      <a:pt x="530" y="624"/>
                    </a:lnTo>
                    <a:lnTo>
                      <a:pt x="528" y="628"/>
                    </a:lnTo>
                    <a:lnTo>
                      <a:pt x="521" y="626"/>
                    </a:lnTo>
                    <a:lnTo>
                      <a:pt x="523" y="620"/>
                    </a:lnTo>
                    <a:lnTo>
                      <a:pt x="523" y="615"/>
                    </a:lnTo>
                    <a:lnTo>
                      <a:pt x="528" y="611"/>
                    </a:lnTo>
                    <a:lnTo>
                      <a:pt x="530" y="605"/>
                    </a:lnTo>
                    <a:lnTo>
                      <a:pt x="528" y="609"/>
                    </a:lnTo>
                    <a:lnTo>
                      <a:pt x="523" y="613"/>
                    </a:lnTo>
                    <a:lnTo>
                      <a:pt x="521" y="618"/>
                    </a:lnTo>
                    <a:lnTo>
                      <a:pt x="517" y="613"/>
                    </a:lnTo>
                    <a:lnTo>
                      <a:pt x="511" y="615"/>
                    </a:lnTo>
                    <a:lnTo>
                      <a:pt x="508" y="622"/>
                    </a:lnTo>
                    <a:lnTo>
                      <a:pt x="515" y="618"/>
                    </a:lnTo>
                    <a:lnTo>
                      <a:pt x="515" y="622"/>
                    </a:lnTo>
                    <a:lnTo>
                      <a:pt x="513" y="628"/>
                    </a:lnTo>
                    <a:lnTo>
                      <a:pt x="502" y="633"/>
                    </a:lnTo>
                    <a:lnTo>
                      <a:pt x="506" y="630"/>
                    </a:lnTo>
                    <a:lnTo>
                      <a:pt x="502" y="635"/>
                    </a:lnTo>
                    <a:lnTo>
                      <a:pt x="508" y="635"/>
                    </a:lnTo>
                    <a:lnTo>
                      <a:pt x="508" y="639"/>
                    </a:lnTo>
                    <a:lnTo>
                      <a:pt x="513" y="635"/>
                    </a:lnTo>
                    <a:lnTo>
                      <a:pt x="515" y="641"/>
                    </a:lnTo>
                    <a:lnTo>
                      <a:pt x="513" y="645"/>
                    </a:lnTo>
                    <a:lnTo>
                      <a:pt x="506" y="645"/>
                    </a:lnTo>
                    <a:lnTo>
                      <a:pt x="502" y="650"/>
                    </a:lnTo>
                    <a:lnTo>
                      <a:pt x="508" y="647"/>
                    </a:lnTo>
                    <a:lnTo>
                      <a:pt x="513" y="650"/>
                    </a:lnTo>
                    <a:lnTo>
                      <a:pt x="517" y="645"/>
                    </a:lnTo>
                    <a:lnTo>
                      <a:pt x="521" y="650"/>
                    </a:lnTo>
                    <a:lnTo>
                      <a:pt x="521" y="654"/>
                    </a:lnTo>
                    <a:lnTo>
                      <a:pt x="515" y="656"/>
                    </a:lnTo>
                    <a:lnTo>
                      <a:pt x="513" y="660"/>
                    </a:lnTo>
                    <a:lnTo>
                      <a:pt x="508" y="664"/>
                    </a:lnTo>
                    <a:lnTo>
                      <a:pt x="513" y="664"/>
                    </a:lnTo>
                    <a:lnTo>
                      <a:pt x="513" y="669"/>
                    </a:lnTo>
                    <a:lnTo>
                      <a:pt x="508" y="673"/>
                    </a:lnTo>
                    <a:lnTo>
                      <a:pt x="506" y="679"/>
                    </a:lnTo>
                    <a:lnTo>
                      <a:pt x="504" y="679"/>
                    </a:lnTo>
                    <a:lnTo>
                      <a:pt x="500" y="684"/>
                    </a:lnTo>
                    <a:lnTo>
                      <a:pt x="487" y="677"/>
                    </a:lnTo>
                    <a:lnTo>
                      <a:pt x="485" y="677"/>
                    </a:lnTo>
                    <a:lnTo>
                      <a:pt x="483" y="682"/>
                    </a:lnTo>
                    <a:lnTo>
                      <a:pt x="481" y="671"/>
                    </a:lnTo>
                    <a:lnTo>
                      <a:pt x="479" y="677"/>
                    </a:lnTo>
                    <a:lnTo>
                      <a:pt x="474" y="682"/>
                    </a:lnTo>
                    <a:lnTo>
                      <a:pt x="472" y="686"/>
                    </a:lnTo>
                    <a:lnTo>
                      <a:pt x="472" y="690"/>
                    </a:lnTo>
                    <a:lnTo>
                      <a:pt x="470" y="686"/>
                    </a:lnTo>
                    <a:lnTo>
                      <a:pt x="470" y="679"/>
                    </a:lnTo>
                    <a:lnTo>
                      <a:pt x="468" y="686"/>
                    </a:lnTo>
                    <a:lnTo>
                      <a:pt x="466" y="690"/>
                    </a:lnTo>
                    <a:lnTo>
                      <a:pt x="466" y="694"/>
                    </a:lnTo>
                    <a:lnTo>
                      <a:pt x="464" y="690"/>
                    </a:lnTo>
                    <a:lnTo>
                      <a:pt x="459" y="688"/>
                    </a:lnTo>
                    <a:lnTo>
                      <a:pt x="462" y="694"/>
                    </a:lnTo>
                    <a:lnTo>
                      <a:pt x="459" y="696"/>
                    </a:lnTo>
                    <a:lnTo>
                      <a:pt x="453" y="699"/>
                    </a:lnTo>
                    <a:lnTo>
                      <a:pt x="451" y="703"/>
                    </a:lnTo>
                    <a:lnTo>
                      <a:pt x="451" y="699"/>
                    </a:lnTo>
                    <a:lnTo>
                      <a:pt x="453" y="694"/>
                    </a:lnTo>
                    <a:lnTo>
                      <a:pt x="447" y="703"/>
                    </a:lnTo>
                    <a:lnTo>
                      <a:pt x="442" y="699"/>
                    </a:lnTo>
                    <a:lnTo>
                      <a:pt x="442" y="705"/>
                    </a:lnTo>
                    <a:lnTo>
                      <a:pt x="432" y="711"/>
                    </a:lnTo>
                    <a:lnTo>
                      <a:pt x="432" y="718"/>
                    </a:lnTo>
                    <a:lnTo>
                      <a:pt x="421" y="713"/>
                    </a:lnTo>
                    <a:lnTo>
                      <a:pt x="425" y="718"/>
                    </a:lnTo>
                    <a:lnTo>
                      <a:pt x="419" y="718"/>
                    </a:lnTo>
                    <a:lnTo>
                      <a:pt x="415" y="716"/>
                    </a:lnTo>
                    <a:lnTo>
                      <a:pt x="411" y="720"/>
                    </a:lnTo>
                    <a:lnTo>
                      <a:pt x="406" y="720"/>
                    </a:lnTo>
                    <a:lnTo>
                      <a:pt x="402" y="716"/>
                    </a:lnTo>
                    <a:lnTo>
                      <a:pt x="400" y="709"/>
                    </a:lnTo>
                    <a:lnTo>
                      <a:pt x="402" y="705"/>
                    </a:lnTo>
                    <a:lnTo>
                      <a:pt x="408" y="703"/>
                    </a:lnTo>
                    <a:lnTo>
                      <a:pt x="413" y="703"/>
                    </a:lnTo>
                    <a:lnTo>
                      <a:pt x="419" y="705"/>
                    </a:lnTo>
                    <a:lnTo>
                      <a:pt x="417" y="699"/>
                    </a:lnTo>
                    <a:lnTo>
                      <a:pt x="423" y="696"/>
                    </a:lnTo>
                    <a:lnTo>
                      <a:pt x="430" y="688"/>
                    </a:lnTo>
                    <a:lnTo>
                      <a:pt x="425" y="688"/>
                    </a:lnTo>
                    <a:lnTo>
                      <a:pt x="419" y="692"/>
                    </a:lnTo>
                    <a:lnTo>
                      <a:pt x="413" y="692"/>
                    </a:lnTo>
                    <a:lnTo>
                      <a:pt x="408" y="690"/>
                    </a:lnTo>
                    <a:lnTo>
                      <a:pt x="406" y="684"/>
                    </a:lnTo>
                    <a:lnTo>
                      <a:pt x="411" y="671"/>
                    </a:lnTo>
                    <a:lnTo>
                      <a:pt x="415" y="667"/>
                    </a:lnTo>
                    <a:lnTo>
                      <a:pt x="421" y="658"/>
                    </a:lnTo>
                    <a:lnTo>
                      <a:pt x="423" y="652"/>
                    </a:lnTo>
                    <a:lnTo>
                      <a:pt x="425" y="650"/>
                    </a:lnTo>
                    <a:lnTo>
                      <a:pt x="428" y="641"/>
                    </a:lnTo>
                    <a:lnTo>
                      <a:pt x="425" y="630"/>
                    </a:lnTo>
                    <a:lnTo>
                      <a:pt x="436" y="626"/>
                    </a:lnTo>
                    <a:lnTo>
                      <a:pt x="447" y="618"/>
                    </a:lnTo>
                    <a:lnTo>
                      <a:pt x="453" y="615"/>
                    </a:lnTo>
                    <a:lnTo>
                      <a:pt x="462" y="622"/>
                    </a:lnTo>
                    <a:lnTo>
                      <a:pt x="466" y="622"/>
                    </a:lnTo>
                    <a:lnTo>
                      <a:pt x="470" y="620"/>
                    </a:lnTo>
                    <a:lnTo>
                      <a:pt x="474" y="622"/>
                    </a:lnTo>
                    <a:lnTo>
                      <a:pt x="489" y="626"/>
                    </a:lnTo>
                    <a:lnTo>
                      <a:pt x="485" y="622"/>
                    </a:lnTo>
                    <a:lnTo>
                      <a:pt x="477" y="618"/>
                    </a:lnTo>
                    <a:lnTo>
                      <a:pt x="466" y="609"/>
                    </a:lnTo>
                    <a:lnTo>
                      <a:pt x="466" y="605"/>
                    </a:lnTo>
                    <a:lnTo>
                      <a:pt x="470" y="601"/>
                    </a:lnTo>
                    <a:lnTo>
                      <a:pt x="481" y="594"/>
                    </a:lnTo>
                    <a:lnTo>
                      <a:pt x="485" y="590"/>
                    </a:lnTo>
                    <a:lnTo>
                      <a:pt x="481" y="590"/>
                    </a:lnTo>
                    <a:lnTo>
                      <a:pt x="477" y="590"/>
                    </a:lnTo>
                    <a:lnTo>
                      <a:pt x="472" y="594"/>
                    </a:lnTo>
                    <a:lnTo>
                      <a:pt x="466" y="603"/>
                    </a:lnTo>
                    <a:lnTo>
                      <a:pt x="462" y="603"/>
                    </a:lnTo>
                    <a:lnTo>
                      <a:pt x="457" y="603"/>
                    </a:lnTo>
                    <a:lnTo>
                      <a:pt x="453" y="601"/>
                    </a:lnTo>
                    <a:lnTo>
                      <a:pt x="453" y="594"/>
                    </a:lnTo>
                    <a:lnTo>
                      <a:pt x="451" y="594"/>
                    </a:lnTo>
                    <a:lnTo>
                      <a:pt x="451" y="598"/>
                    </a:lnTo>
                    <a:lnTo>
                      <a:pt x="438" y="605"/>
                    </a:lnTo>
                    <a:lnTo>
                      <a:pt x="436" y="609"/>
                    </a:lnTo>
                    <a:lnTo>
                      <a:pt x="430" y="611"/>
                    </a:lnTo>
                    <a:lnTo>
                      <a:pt x="423" y="613"/>
                    </a:lnTo>
                    <a:lnTo>
                      <a:pt x="419" y="615"/>
                    </a:lnTo>
                    <a:lnTo>
                      <a:pt x="415" y="622"/>
                    </a:lnTo>
                    <a:lnTo>
                      <a:pt x="415" y="626"/>
                    </a:lnTo>
                    <a:lnTo>
                      <a:pt x="411" y="628"/>
                    </a:lnTo>
                    <a:lnTo>
                      <a:pt x="400" y="637"/>
                    </a:lnTo>
                    <a:lnTo>
                      <a:pt x="398" y="641"/>
                    </a:lnTo>
                    <a:lnTo>
                      <a:pt x="398" y="647"/>
                    </a:lnTo>
                    <a:lnTo>
                      <a:pt x="389" y="654"/>
                    </a:lnTo>
                    <a:lnTo>
                      <a:pt x="383" y="654"/>
                    </a:lnTo>
                    <a:lnTo>
                      <a:pt x="381" y="650"/>
                    </a:lnTo>
                    <a:lnTo>
                      <a:pt x="374" y="650"/>
                    </a:lnTo>
                    <a:lnTo>
                      <a:pt x="379" y="654"/>
                    </a:lnTo>
                    <a:lnTo>
                      <a:pt x="383" y="658"/>
                    </a:lnTo>
                    <a:lnTo>
                      <a:pt x="387" y="662"/>
                    </a:lnTo>
                    <a:lnTo>
                      <a:pt x="383" y="673"/>
                    </a:lnTo>
                    <a:lnTo>
                      <a:pt x="376" y="675"/>
                    </a:lnTo>
                    <a:lnTo>
                      <a:pt x="372" y="673"/>
                    </a:lnTo>
                    <a:lnTo>
                      <a:pt x="366" y="675"/>
                    </a:lnTo>
                    <a:lnTo>
                      <a:pt x="370" y="677"/>
                    </a:lnTo>
                    <a:lnTo>
                      <a:pt x="372" y="682"/>
                    </a:lnTo>
                    <a:lnTo>
                      <a:pt x="368" y="686"/>
                    </a:lnTo>
                    <a:lnTo>
                      <a:pt x="362" y="688"/>
                    </a:lnTo>
                    <a:lnTo>
                      <a:pt x="362" y="682"/>
                    </a:lnTo>
                    <a:lnTo>
                      <a:pt x="357" y="686"/>
                    </a:lnTo>
                    <a:lnTo>
                      <a:pt x="351" y="686"/>
                    </a:lnTo>
                    <a:lnTo>
                      <a:pt x="349" y="690"/>
                    </a:lnTo>
                    <a:lnTo>
                      <a:pt x="349" y="696"/>
                    </a:lnTo>
                    <a:lnTo>
                      <a:pt x="338" y="699"/>
                    </a:lnTo>
                    <a:lnTo>
                      <a:pt x="336" y="703"/>
                    </a:lnTo>
                    <a:lnTo>
                      <a:pt x="336" y="709"/>
                    </a:lnTo>
                    <a:lnTo>
                      <a:pt x="332" y="713"/>
                    </a:lnTo>
                    <a:lnTo>
                      <a:pt x="332" y="718"/>
                    </a:lnTo>
                    <a:lnTo>
                      <a:pt x="338" y="716"/>
                    </a:lnTo>
                    <a:lnTo>
                      <a:pt x="342" y="718"/>
                    </a:lnTo>
                    <a:lnTo>
                      <a:pt x="347" y="718"/>
                    </a:lnTo>
                    <a:lnTo>
                      <a:pt x="351" y="724"/>
                    </a:lnTo>
                    <a:lnTo>
                      <a:pt x="355" y="726"/>
                    </a:lnTo>
                    <a:lnTo>
                      <a:pt x="359" y="733"/>
                    </a:lnTo>
                    <a:lnTo>
                      <a:pt x="351" y="741"/>
                    </a:lnTo>
                    <a:lnTo>
                      <a:pt x="345" y="743"/>
                    </a:lnTo>
                    <a:lnTo>
                      <a:pt x="338" y="743"/>
                    </a:lnTo>
                    <a:lnTo>
                      <a:pt x="336" y="748"/>
                    </a:lnTo>
                    <a:lnTo>
                      <a:pt x="330" y="750"/>
                    </a:lnTo>
                    <a:lnTo>
                      <a:pt x="332" y="756"/>
                    </a:lnTo>
                    <a:lnTo>
                      <a:pt x="327" y="758"/>
                    </a:lnTo>
                    <a:lnTo>
                      <a:pt x="321" y="760"/>
                    </a:lnTo>
                    <a:lnTo>
                      <a:pt x="327" y="760"/>
                    </a:lnTo>
                    <a:lnTo>
                      <a:pt x="327" y="765"/>
                    </a:lnTo>
                    <a:lnTo>
                      <a:pt x="323" y="769"/>
                    </a:lnTo>
                    <a:lnTo>
                      <a:pt x="319" y="771"/>
                    </a:lnTo>
                    <a:lnTo>
                      <a:pt x="313" y="769"/>
                    </a:lnTo>
                    <a:lnTo>
                      <a:pt x="313" y="775"/>
                    </a:lnTo>
                    <a:lnTo>
                      <a:pt x="308" y="773"/>
                    </a:lnTo>
                    <a:lnTo>
                      <a:pt x="304" y="773"/>
                    </a:lnTo>
                    <a:lnTo>
                      <a:pt x="298" y="777"/>
                    </a:lnTo>
                    <a:lnTo>
                      <a:pt x="296" y="782"/>
                    </a:lnTo>
                    <a:lnTo>
                      <a:pt x="289" y="782"/>
                    </a:lnTo>
                    <a:lnTo>
                      <a:pt x="289" y="788"/>
                    </a:lnTo>
                    <a:lnTo>
                      <a:pt x="283" y="786"/>
                    </a:lnTo>
                    <a:lnTo>
                      <a:pt x="279" y="784"/>
                    </a:lnTo>
                    <a:lnTo>
                      <a:pt x="279" y="788"/>
                    </a:lnTo>
                    <a:lnTo>
                      <a:pt x="274" y="792"/>
                    </a:lnTo>
                    <a:lnTo>
                      <a:pt x="272" y="797"/>
                    </a:lnTo>
                    <a:lnTo>
                      <a:pt x="268" y="797"/>
                    </a:lnTo>
                    <a:lnTo>
                      <a:pt x="264" y="797"/>
                    </a:lnTo>
                    <a:lnTo>
                      <a:pt x="264" y="801"/>
                    </a:lnTo>
                    <a:lnTo>
                      <a:pt x="259" y="799"/>
                    </a:lnTo>
                    <a:lnTo>
                      <a:pt x="247" y="805"/>
                    </a:lnTo>
                    <a:lnTo>
                      <a:pt x="251" y="807"/>
                    </a:lnTo>
                    <a:lnTo>
                      <a:pt x="249" y="811"/>
                    </a:lnTo>
                    <a:lnTo>
                      <a:pt x="249" y="818"/>
                    </a:lnTo>
                    <a:lnTo>
                      <a:pt x="234" y="828"/>
                    </a:lnTo>
                    <a:lnTo>
                      <a:pt x="230" y="822"/>
                    </a:lnTo>
                    <a:lnTo>
                      <a:pt x="227" y="826"/>
                    </a:lnTo>
                    <a:lnTo>
                      <a:pt x="221" y="828"/>
                    </a:lnTo>
                    <a:lnTo>
                      <a:pt x="221" y="831"/>
                    </a:lnTo>
                    <a:lnTo>
                      <a:pt x="217" y="831"/>
                    </a:lnTo>
                    <a:lnTo>
                      <a:pt x="212" y="828"/>
                    </a:lnTo>
                    <a:lnTo>
                      <a:pt x="212" y="833"/>
                    </a:lnTo>
                    <a:lnTo>
                      <a:pt x="208" y="837"/>
                    </a:lnTo>
                    <a:lnTo>
                      <a:pt x="202" y="839"/>
                    </a:lnTo>
                    <a:lnTo>
                      <a:pt x="198" y="835"/>
                    </a:lnTo>
                    <a:lnTo>
                      <a:pt x="193" y="839"/>
                    </a:lnTo>
                    <a:lnTo>
                      <a:pt x="198" y="841"/>
                    </a:lnTo>
                    <a:lnTo>
                      <a:pt x="195" y="848"/>
                    </a:lnTo>
                    <a:lnTo>
                      <a:pt x="191" y="843"/>
                    </a:lnTo>
                    <a:lnTo>
                      <a:pt x="185" y="846"/>
                    </a:lnTo>
                    <a:lnTo>
                      <a:pt x="181" y="843"/>
                    </a:lnTo>
                    <a:lnTo>
                      <a:pt x="170" y="852"/>
                    </a:lnTo>
                    <a:lnTo>
                      <a:pt x="176" y="850"/>
                    </a:lnTo>
                    <a:lnTo>
                      <a:pt x="181" y="854"/>
                    </a:lnTo>
                    <a:lnTo>
                      <a:pt x="176" y="858"/>
                    </a:lnTo>
                    <a:lnTo>
                      <a:pt x="181" y="860"/>
                    </a:lnTo>
                    <a:lnTo>
                      <a:pt x="176" y="860"/>
                    </a:lnTo>
                    <a:lnTo>
                      <a:pt x="172" y="869"/>
                    </a:lnTo>
                    <a:lnTo>
                      <a:pt x="170" y="869"/>
                    </a:lnTo>
                    <a:lnTo>
                      <a:pt x="168" y="865"/>
                    </a:lnTo>
                    <a:lnTo>
                      <a:pt x="172" y="860"/>
                    </a:lnTo>
                    <a:lnTo>
                      <a:pt x="166" y="863"/>
                    </a:lnTo>
                    <a:lnTo>
                      <a:pt x="164" y="867"/>
                    </a:lnTo>
                    <a:lnTo>
                      <a:pt x="157" y="869"/>
                    </a:lnTo>
                    <a:lnTo>
                      <a:pt x="153" y="871"/>
                    </a:lnTo>
                    <a:lnTo>
                      <a:pt x="149" y="869"/>
                    </a:lnTo>
                    <a:lnTo>
                      <a:pt x="138" y="873"/>
                    </a:lnTo>
                    <a:lnTo>
                      <a:pt x="132" y="882"/>
                    </a:lnTo>
                    <a:lnTo>
                      <a:pt x="125" y="886"/>
                    </a:lnTo>
                    <a:lnTo>
                      <a:pt x="129" y="882"/>
                    </a:lnTo>
                    <a:lnTo>
                      <a:pt x="129" y="875"/>
                    </a:lnTo>
                    <a:lnTo>
                      <a:pt x="132" y="871"/>
                    </a:lnTo>
                    <a:lnTo>
                      <a:pt x="127" y="869"/>
                    </a:lnTo>
                    <a:lnTo>
                      <a:pt x="119" y="871"/>
                    </a:lnTo>
                    <a:lnTo>
                      <a:pt x="117" y="875"/>
                    </a:lnTo>
                    <a:lnTo>
                      <a:pt x="110" y="877"/>
                    </a:lnTo>
                    <a:lnTo>
                      <a:pt x="106" y="875"/>
                    </a:lnTo>
                    <a:lnTo>
                      <a:pt x="100" y="884"/>
                    </a:lnTo>
                    <a:lnTo>
                      <a:pt x="98" y="880"/>
                    </a:lnTo>
                    <a:lnTo>
                      <a:pt x="93" y="880"/>
                    </a:lnTo>
                    <a:lnTo>
                      <a:pt x="93" y="884"/>
                    </a:lnTo>
                    <a:lnTo>
                      <a:pt x="89" y="884"/>
                    </a:lnTo>
                    <a:lnTo>
                      <a:pt x="85" y="882"/>
                    </a:lnTo>
                    <a:lnTo>
                      <a:pt x="78" y="884"/>
                    </a:lnTo>
                    <a:lnTo>
                      <a:pt x="74" y="886"/>
                    </a:lnTo>
                    <a:lnTo>
                      <a:pt x="68" y="884"/>
                    </a:lnTo>
                    <a:lnTo>
                      <a:pt x="68" y="877"/>
                    </a:lnTo>
                    <a:lnTo>
                      <a:pt x="70" y="873"/>
                    </a:lnTo>
                    <a:lnTo>
                      <a:pt x="76" y="875"/>
                    </a:lnTo>
                    <a:lnTo>
                      <a:pt x="74" y="869"/>
                    </a:lnTo>
                    <a:lnTo>
                      <a:pt x="68" y="869"/>
                    </a:lnTo>
                    <a:lnTo>
                      <a:pt x="63" y="871"/>
                    </a:lnTo>
                    <a:lnTo>
                      <a:pt x="57" y="882"/>
                    </a:lnTo>
                    <a:lnTo>
                      <a:pt x="53" y="884"/>
                    </a:lnTo>
                    <a:lnTo>
                      <a:pt x="49" y="886"/>
                    </a:lnTo>
                    <a:lnTo>
                      <a:pt x="49" y="890"/>
                    </a:lnTo>
                    <a:lnTo>
                      <a:pt x="42" y="892"/>
                    </a:lnTo>
                    <a:lnTo>
                      <a:pt x="36" y="897"/>
                    </a:lnTo>
                    <a:lnTo>
                      <a:pt x="32" y="895"/>
                    </a:lnTo>
                    <a:lnTo>
                      <a:pt x="32" y="888"/>
                    </a:lnTo>
                    <a:lnTo>
                      <a:pt x="32" y="877"/>
                    </a:lnTo>
                    <a:lnTo>
                      <a:pt x="25" y="880"/>
                    </a:lnTo>
                    <a:lnTo>
                      <a:pt x="27" y="884"/>
                    </a:lnTo>
                    <a:lnTo>
                      <a:pt x="25" y="890"/>
                    </a:lnTo>
                    <a:lnTo>
                      <a:pt x="25" y="895"/>
                    </a:lnTo>
                    <a:lnTo>
                      <a:pt x="14" y="895"/>
                    </a:lnTo>
                    <a:lnTo>
                      <a:pt x="14" y="890"/>
                    </a:lnTo>
                    <a:lnTo>
                      <a:pt x="12" y="884"/>
                    </a:lnTo>
                    <a:lnTo>
                      <a:pt x="8" y="882"/>
                    </a:lnTo>
                    <a:lnTo>
                      <a:pt x="6" y="888"/>
                    </a:lnTo>
                    <a:lnTo>
                      <a:pt x="10" y="892"/>
                    </a:lnTo>
                    <a:lnTo>
                      <a:pt x="4" y="897"/>
                    </a:lnTo>
                    <a:lnTo>
                      <a:pt x="0" y="899"/>
                    </a:lnTo>
                    <a:lnTo>
                      <a:pt x="0" y="892"/>
                    </a:lnTo>
                    <a:lnTo>
                      <a:pt x="4" y="888"/>
                    </a:lnTo>
                    <a:lnTo>
                      <a:pt x="4" y="884"/>
                    </a:lnTo>
                    <a:lnTo>
                      <a:pt x="8" y="880"/>
                    </a:lnTo>
                    <a:lnTo>
                      <a:pt x="12" y="877"/>
                    </a:lnTo>
                    <a:lnTo>
                      <a:pt x="19" y="882"/>
                    </a:lnTo>
                    <a:lnTo>
                      <a:pt x="21" y="875"/>
                    </a:lnTo>
                    <a:lnTo>
                      <a:pt x="32" y="875"/>
                    </a:lnTo>
                    <a:lnTo>
                      <a:pt x="36" y="871"/>
                    </a:lnTo>
                    <a:lnTo>
                      <a:pt x="38" y="867"/>
                    </a:lnTo>
                    <a:lnTo>
                      <a:pt x="49" y="858"/>
                    </a:lnTo>
                    <a:lnTo>
                      <a:pt x="66" y="850"/>
                    </a:lnTo>
                    <a:lnTo>
                      <a:pt x="80" y="850"/>
                    </a:lnTo>
                    <a:lnTo>
                      <a:pt x="85" y="852"/>
                    </a:lnTo>
                    <a:lnTo>
                      <a:pt x="91" y="854"/>
                    </a:lnTo>
                    <a:lnTo>
                      <a:pt x="89" y="858"/>
                    </a:lnTo>
                    <a:lnTo>
                      <a:pt x="91" y="865"/>
                    </a:lnTo>
                    <a:lnTo>
                      <a:pt x="95" y="867"/>
                    </a:lnTo>
                    <a:lnTo>
                      <a:pt x="95" y="863"/>
                    </a:lnTo>
                    <a:lnTo>
                      <a:pt x="102" y="863"/>
                    </a:lnTo>
                    <a:lnTo>
                      <a:pt x="106" y="867"/>
                    </a:lnTo>
                    <a:lnTo>
                      <a:pt x="110" y="869"/>
                    </a:lnTo>
                    <a:lnTo>
                      <a:pt x="110" y="865"/>
                    </a:lnTo>
                    <a:lnTo>
                      <a:pt x="106" y="860"/>
                    </a:lnTo>
                    <a:lnTo>
                      <a:pt x="106" y="856"/>
                    </a:lnTo>
                    <a:lnTo>
                      <a:pt x="110" y="846"/>
                    </a:lnTo>
                    <a:lnTo>
                      <a:pt x="115" y="841"/>
                    </a:lnTo>
                    <a:lnTo>
                      <a:pt x="125" y="835"/>
                    </a:lnTo>
                    <a:lnTo>
                      <a:pt x="129" y="833"/>
                    </a:lnTo>
                    <a:lnTo>
                      <a:pt x="134" y="828"/>
                    </a:lnTo>
                    <a:lnTo>
                      <a:pt x="144" y="826"/>
                    </a:lnTo>
                    <a:lnTo>
                      <a:pt x="157" y="824"/>
                    </a:lnTo>
                    <a:lnTo>
                      <a:pt x="159" y="820"/>
                    </a:lnTo>
                    <a:lnTo>
                      <a:pt x="166" y="818"/>
                    </a:lnTo>
                    <a:lnTo>
                      <a:pt x="170" y="822"/>
                    </a:lnTo>
                    <a:lnTo>
                      <a:pt x="174" y="818"/>
                    </a:lnTo>
                    <a:lnTo>
                      <a:pt x="176" y="814"/>
                    </a:lnTo>
                    <a:lnTo>
                      <a:pt x="178" y="809"/>
                    </a:lnTo>
                    <a:lnTo>
                      <a:pt x="185" y="801"/>
                    </a:lnTo>
                    <a:lnTo>
                      <a:pt x="191" y="797"/>
                    </a:lnTo>
                    <a:lnTo>
                      <a:pt x="208" y="786"/>
                    </a:lnTo>
                    <a:lnTo>
                      <a:pt x="212" y="786"/>
                    </a:lnTo>
                    <a:lnTo>
                      <a:pt x="212" y="790"/>
                    </a:lnTo>
                    <a:lnTo>
                      <a:pt x="219" y="792"/>
                    </a:lnTo>
                    <a:lnTo>
                      <a:pt x="223" y="788"/>
                    </a:lnTo>
                    <a:lnTo>
                      <a:pt x="217" y="790"/>
                    </a:lnTo>
                    <a:lnTo>
                      <a:pt x="217" y="784"/>
                    </a:lnTo>
                    <a:lnTo>
                      <a:pt x="215" y="779"/>
                    </a:lnTo>
                    <a:lnTo>
                      <a:pt x="217" y="769"/>
                    </a:lnTo>
                    <a:lnTo>
                      <a:pt x="221" y="754"/>
                    </a:lnTo>
                    <a:lnTo>
                      <a:pt x="227" y="752"/>
                    </a:lnTo>
                    <a:lnTo>
                      <a:pt x="234" y="752"/>
                    </a:lnTo>
                    <a:lnTo>
                      <a:pt x="236" y="754"/>
                    </a:lnTo>
                    <a:lnTo>
                      <a:pt x="232" y="750"/>
                    </a:lnTo>
                    <a:lnTo>
                      <a:pt x="227" y="750"/>
                    </a:lnTo>
                    <a:lnTo>
                      <a:pt x="225" y="743"/>
                    </a:lnTo>
                    <a:lnTo>
                      <a:pt x="227" y="739"/>
                    </a:lnTo>
                    <a:lnTo>
                      <a:pt x="230" y="735"/>
                    </a:lnTo>
                    <a:lnTo>
                      <a:pt x="236" y="731"/>
                    </a:lnTo>
                    <a:lnTo>
                      <a:pt x="238" y="726"/>
                    </a:lnTo>
                    <a:lnTo>
                      <a:pt x="249" y="722"/>
                    </a:lnTo>
                    <a:lnTo>
                      <a:pt x="249" y="716"/>
                    </a:lnTo>
                    <a:lnTo>
                      <a:pt x="249" y="711"/>
                    </a:lnTo>
                    <a:lnTo>
                      <a:pt x="255" y="707"/>
                    </a:lnTo>
                    <a:lnTo>
                      <a:pt x="255" y="703"/>
                    </a:lnTo>
                    <a:lnTo>
                      <a:pt x="257" y="699"/>
                    </a:lnTo>
                    <a:lnTo>
                      <a:pt x="255" y="703"/>
                    </a:lnTo>
                    <a:lnTo>
                      <a:pt x="255" y="703"/>
                    </a:lnTo>
                    <a:lnTo>
                      <a:pt x="251" y="707"/>
                    </a:lnTo>
                    <a:lnTo>
                      <a:pt x="247" y="711"/>
                    </a:lnTo>
                    <a:lnTo>
                      <a:pt x="240" y="713"/>
                    </a:lnTo>
                    <a:lnTo>
                      <a:pt x="225" y="718"/>
                    </a:lnTo>
                    <a:lnTo>
                      <a:pt x="212" y="722"/>
                    </a:lnTo>
                    <a:lnTo>
                      <a:pt x="208" y="722"/>
                    </a:lnTo>
                    <a:lnTo>
                      <a:pt x="206" y="718"/>
                    </a:lnTo>
                    <a:lnTo>
                      <a:pt x="206" y="713"/>
                    </a:lnTo>
                    <a:lnTo>
                      <a:pt x="202" y="709"/>
                    </a:lnTo>
                    <a:lnTo>
                      <a:pt x="206" y="701"/>
                    </a:lnTo>
                    <a:lnTo>
                      <a:pt x="212" y="699"/>
                    </a:lnTo>
                    <a:lnTo>
                      <a:pt x="217" y="701"/>
                    </a:lnTo>
                    <a:lnTo>
                      <a:pt x="217" y="705"/>
                    </a:lnTo>
                    <a:lnTo>
                      <a:pt x="219" y="707"/>
                    </a:lnTo>
                    <a:lnTo>
                      <a:pt x="219" y="701"/>
                    </a:lnTo>
                    <a:lnTo>
                      <a:pt x="208" y="694"/>
                    </a:lnTo>
                    <a:lnTo>
                      <a:pt x="206" y="688"/>
                    </a:lnTo>
                    <a:lnTo>
                      <a:pt x="208" y="692"/>
                    </a:lnTo>
                    <a:lnTo>
                      <a:pt x="202" y="701"/>
                    </a:lnTo>
                    <a:lnTo>
                      <a:pt x="198" y="699"/>
                    </a:lnTo>
                    <a:lnTo>
                      <a:pt x="195" y="709"/>
                    </a:lnTo>
                    <a:lnTo>
                      <a:pt x="191" y="711"/>
                    </a:lnTo>
                    <a:lnTo>
                      <a:pt x="191" y="720"/>
                    </a:lnTo>
                    <a:lnTo>
                      <a:pt x="193" y="726"/>
                    </a:lnTo>
                    <a:lnTo>
                      <a:pt x="189" y="731"/>
                    </a:lnTo>
                    <a:lnTo>
                      <a:pt x="185" y="728"/>
                    </a:lnTo>
                    <a:lnTo>
                      <a:pt x="183" y="726"/>
                    </a:lnTo>
                    <a:lnTo>
                      <a:pt x="176" y="705"/>
                    </a:lnTo>
                    <a:lnTo>
                      <a:pt x="172" y="701"/>
                    </a:lnTo>
                    <a:lnTo>
                      <a:pt x="172" y="694"/>
                    </a:lnTo>
                    <a:lnTo>
                      <a:pt x="166" y="699"/>
                    </a:lnTo>
                    <a:lnTo>
                      <a:pt x="161" y="701"/>
                    </a:lnTo>
                    <a:lnTo>
                      <a:pt x="161" y="694"/>
                    </a:lnTo>
                    <a:lnTo>
                      <a:pt x="157" y="692"/>
                    </a:lnTo>
                    <a:lnTo>
                      <a:pt x="155" y="686"/>
                    </a:lnTo>
                    <a:lnTo>
                      <a:pt x="151" y="684"/>
                    </a:lnTo>
                    <a:lnTo>
                      <a:pt x="138" y="688"/>
                    </a:lnTo>
                    <a:lnTo>
                      <a:pt x="134" y="688"/>
                    </a:lnTo>
                    <a:lnTo>
                      <a:pt x="127" y="690"/>
                    </a:lnTo>
                    <a:lnTo>
                      <a:pt x="123" y="690"/>
                    </a:lnTo>
                    <a:lnTo>
                      <a:pt x="119" y="694"/>
                    </a:lnTo>
                    <a:lnTo>
                      <a:pt x="106" y="701"/>
                    </a:lnTo>
                    <a:lnTo>
                      <a:pt x="102" y="696"/>
                    </a:lnTo>
                    <a:lnTo>
                      <a:pt x="98" y="694"/>
                    </a:lnTo>
                    <a:lnTo>
                      <a:pt x="102" y="694"/>
                    </a:lnTo>
                    <a:lnTo>
                      <a:pt x="106" y="690"/>
                    </a:lnTo>
                    <a:lnTo>
                      <a:pt x="108" y="686"/>
                    </a:lnTo>
                    <a:lnTo>
                      <a:pt x="108" y="675"/>
                    </a:lnTo>
                    <a:lnTo>
                      <a:pt x="115" y="673"/>
                    </a:lnTo>
                    <a:lnTo>
                      <a:pt x="106" y="662"/>
                    </a:lnTo>
                    <a:lnTo>
                      <a:pt x="106" y="658"/>
                    </a:lnTo>
                    <a:lnTo>
                      <a:pt x="119" y="645"/>
                    </a:lnTo>
                    <a:lnTo>
                      <a:pt x="115" y="624"/>
                    </a:lnTo>
                    <a:lnTo>
                      <a:pt x="117" y="620"/>
                    </a:lnTo>
                    <a:lnTo>
                      <a:pt x="115" y="615"/>
                    </a:lnTo>
                    <a:lnTo>
                      <a:pt x="115" y="611"/>
                    </a:lnTo>
                    <a:lnTo>
                      <a:pt x="115" y="607"/>
                    </a:lnTo>
                    <a:lnTo>
                      <a:pt x="112" y="601"/>
                    </a:lnTo>
                    <a:lnTo>
                      <a:pt x="115" y="596"/>
                    </a:lnTo>
                    <a:lnTo>
                      <a:pt x="121" y="586"/>
                    </a:lnTo>
                    <a:lnTo>
                      <a:pt x="123" y="581"/>
                    </a:lnTo>
                    <a:lnTo>
                      <a:pt x="129" y="581"/>
                    </a:lnTo>
                    <a:lnTo>
                      <a:pt x="134" y="579"/>
                    </a:lnTo>
                    <a:lnTo>
                      <a:pt x="127" y="579"/>
                    </a:lnTo>
                    <a:lnTo>
                      <a:pt x="125" y="575"/>
                    </a:lnTo>
                    <a:lnTo>
                      <a:pt x="125" y="579"/>
                    </a:lnTo>
                    <a:lnTo>
                      <a:pt x="121" y="584"/>
                    </a:lnTo>
                    <a:lnTo>
                      <a:pt x="115" y="592"/>
                    </a:lnTo>
                    <a:lnTo>
                      <a:pt x="108" y="594"/>
                    </a:lnTo>
                    <a:lnTo>
                      <a:pt x="104" y="598"/>
                    </a:lnTo>
                    <a:lnTo>
                      <a:pt x="110" y="603"/>
                    </a:lnTo>
                    <a:lnTo>
                      <a:pt x="106" y="611"/>
                    </a:lnTo>
                    <a:lnTo>
                      <a:pt x="104" y="613"/>
                    </a:lnTo>
                    <a:lnTo>
                      <a:pt x="100" y="613"/>
                    </a:lnTo>
                    <a:lnTo>
                      <a:pt x="98" y="611"/>
                    </a:lnTo>
                    <a:lnTo>
                      <a:pt x="93" y="615"/>
                    </a:lnTo>
                    <a:lnTo>
                      <a:pt x="87" y="618"/>
                    </a:lnTo>
                    <a:lnTo>
                      <a:pt x="76" y="618"/>
                    </a:lnTo>
                    <a:lnTo>
                      <a:pt x="68" y="615"/>
                    </a:lnTo>
                    <a:lnTo>
                      <a:pt x="57" y="611"/>
                    </a:lnTo>
                    <a:lnTo>
                      <a:pt x="57" y="605"/>
                    </a:lnTo>
                    <a:lnTo>
                      <a:pt x="61" y="601"/>
                    </a:lnTo>
                    <a:lnTo>
                      <a:pt x="57" y="596"/>
                    </a:lnTo>
                    <a:lnTo>
                      <a:pt x="53" y="590"/>
                    </a:lnTo>
                    <a:lnTo>
                      <a:pt x="53" y="588"/>
                    </a:lnTo>
                    <a:lnTo>
                      <a:pt x="51" y="581"/>
                    </a:lnTo>
                    <a:lnTo>
                      <a:pt x="51" y="577"/>
                    </a:lnTo>
                    <a:lnTo>
                      <a:pt x="49" y="579"/>
                    </a:lnTo>
                    <a:lnTo>
                      <a:pt x="44" y="575"/>
                    </a:lnTo>
                    <a:lnTo>
                      <a:pt x="40" y="571"/>
                    </a:lnTo>
                    <a:lnTo>
                      <a:pt x="44" y="567"/>
                    </a:lnTo>
                    <a:lnTo>
                      <a:pt x="34" y="560"/>
                    </a:lnTo>
                    <a:lnTo>
                      <a:pt x="40" y="558"/>
                    </a:lnTo>
                    <a:lnTo>
                      <a:pt x="44" y="556"/>
                    </a:lnTo>
                    <a:lnTo>
                      <a:pt x="49" y="552"/>
                    </a:lnTo>
                    <a:lnTo>
                      <a:pt x="55" y="547"/>
                    </a:lnTo>
                    <a:lnTo>
                      <a:pt x="59" y="545"/>
                    </a:lnTo>
                    <a:lnTo>
                      <a:pt x="59" y="549"/>
                    </a:lnTo>
                    <a:lnTo>
                      <a:pt x="63" y="552"/>
                    </a:lnTo>
                    <a:lnTo>
                      <a:pt x="68" y="556"/>
                    </a:lnTo>
                    <a:lnTo>
                      <a:pt x="70" y="560"/>
                    </a:lnTo>
                    <a:lnTo>
                      <a:pt x="61" y="567"/>
                    </a:lnTo>
                    <a:lnTo>
                      <a:pt x="68" y="562"/>
                    </a:lnTo>
                    <a:lnTo>
                      <a:pt x="72" y="562"/>
                    </a:lnTo>
                    <a:lnTo>
                      <a:pt x="78" y="558"/>
                    </a:lnTo>
                    <a:lnTo>
                      <a:pt x="80" y="564"/>
                    </a:lnTo>
                    <a:lnTo>
                      <a:pt x="78" y="569"/>
                    </a:lnTo>
                    <a:lnTo>
                      <a:pt x="83" y="571"/>
                    </a:lnTo>
                    <a:lnTo>
                      <a:pt x="87" y="569"/>
                    </a:lnTo>
                    <a:lnTo>
                      <a:pt x="91" y="564"/>
                    </a:lnTo>
                    <a:lnTo>
                      <a:pt x="87" y="558"/>
                    </a:lnTo>
                    <a:lnTo>
                      <a:pt x="83" y="556"/>
                    </a:lnTo>
                    <a:lnTo>
                      <a:pt x="89" y="556"/>
                    </a:lnTo>
                    <a:lnTo>
                      <a:pt x="87" y="549"/>
                    </a:lnTo>
                    <a:lnTo>
                      <a:pt x="80" y="554"/>
                    </a:lnTo>
                    <a:lnTo>
                      <a:pt x="76" y="552"/>
                    </a:lnTo>
                    <a:lnTo>
                      <a:pt x="66" y="549"/>
                    </a:lnTo>
                    <a:lnTo>
                      <a:pt x="61" y="545"/>
                    </a:lnTo>
                    <a:lnTo>
                      <a:pt x="57" y="543"/>
                    </a:lnTo>
                    <a:lnTo>
                      <a:pt x="51" y="541"/>
                    </a:lnTo>
                    <a:lnTo>
                      <a:pt x="51" y="537"/>
                    </a:lnTo>
                    <a:lnTo>
                      <a:pt x="55" y="537"/>
                    </a:lnTo>
                    <a:lnTo>
                      <a:pt x="61" y="532"/>
                    </a:lnTo>
                    <a:lnTo>
                      <a:pt x="51" y="530"/>
                    </a:lnTo>
                    <a:lnTo>
                      <a:pt x="55" y="526"/>
                    </a:lnTo>
                    <a:lnTo>
                      <a:pt x="49" y="526"/>
                    </a:lnTo>
                    <a:lnTo>
                      <a:pt x="51" y="522"/>
                    </a:lnTo>
                    <a:lnTo>
                      <a:pt x="53" y="515"/>
                    </a:lnTo>
                    <a:lnTo>
                      <a:pt x="66" y="511"/>
                    </a:lnTo>
                    <a:lnTo>
                      <a:pt x="70" y="507"/>
                    </a:lnTo>
                    <a:lnTo>
                      <a:pt x="72" y="505"/>
                    </a:lnTo>
                    <a:lnTo>
                      <a:pt x="68" y="509"/>
                    </a:lnTo>
                    <a:lnTo>
                      <a:pt x="55" y="513"/>
                    </a:lnTo>
                    <a:lnTo>
                      <a:pt x="49" y="522"/>
                    </a:lnTo>
                    <a:lnTo>
                      <a:pt x="46" y="526"/>
                    </a:lnTo>
                    <a:lnTo>
                      <a:pt x="42" y="528"/>
                    </a:lnTo>
                    <a:lnTo>
                      <a:pt x="40" y="524"/>
                    </a:lnTo>
                    <a:lnTo>
                      <a:pt x="40" y="518"/>
                    </a:lnTo>
                    <a:lnTo>
                      <a:pt x="36" y="513"/>
                    </a:lnTo>
                    <a:lnTo>
                      <a:pt x="36" y="507"/>
                    </a:lnTo>
                    <a:lnTo>
                      <a:pt x="42" y="505"/>
                    </a:lnTo>
                    <a:lnTo>
                      <a:pt x="38" y="498"/>
                    </a:lnTo>
                    <a:lnTo>
                      <a:pt x="34" y="500"/>
                    </a:lnTo>
                    <a:lnTo>
                      <a:pt x="32" y="494"/>
                    </a:lnTo>
                    <a:lnTo>
                      <a:pt x="34" y="490"/>
                    </a:lnTo>
                    <a:lnTo>
                      <a:pt x="38" y="492"/>
                    </a:lnTo>
                    <a:lnTo>
                      <a:pt x="44" y="492"/>
                    </a:lnTo>
                    <a:lnTo>
                      <a:pt x="40" y="488"/>
                    </a:lnTo>
                    <a:lnTo>
                      <a:pt x="40" y="483"/>
                    </a:lnTo>
                    <a:lnTo>
                      <a:pt x="49" y="483"/>
                    </a:lnTo>
                    <a:lnTo>
                      <a:pt x="51" y="479"/>
                    </a:lnTo>
                    <a:lnTo>
                      <a:pt x="51" y="475"/>
                    </a:lnTo>
                    <a:lnTo>
                      <a:pt x="55" y="471"/>
                    </a:lnTo>
                    <a:lnTo>
                      <a:pt x="74" y="454"/>
                    </a:lnTo>
                    <a:lnTo>
                      <a:pt x="80" y="451"/>
                    </a:lnTo>
                    <a:lnTo>
                      <a:pt x="85" y="454"/>
                    </a:lnTo>
                    <a:lnTo>
                      <a:pt x="85" y="456"/>
                    </a:lnTo>
                    <a:lnTo>
                      <a:pt x="85" y="456"/>
                    </a:lnTo>
                    <a:lnTo>
                      <a:pt x="85" y="456"/>
                    </a:lnTo>
                    <a:lnTo>
                      <a:pt x="87" y="460"/>
                    </a:lnTo>
                    <a:lnTo>
                      <a:pt x="89" y="460"/>
                    </a:lnTo>
                    <a:lnTo>
                      <a:pt x="85" y="456"/>
                    </a:lnTo>
                    <a:lnTo>
                      <a:pt x="85" y="456"/>
                    </a:lnTo>
                    <a:lnTo>
                      <a:pt x="85" y="451"/>
                    </a:lnTo>
                    <a:lnTo>
                      <a:pt x="91" y="449"/>
                    </a:lnTo>
                    <a:lnTo>
                      <a:pt x="98" y="443"/>
                    </a:lnTo>
                    <a:lnTo>
                      <a:pt x="91" y="447"/>
                    </a:lnTo>
                    <a:lnTo>
                      <a:pt x="87" y="441"/>
                    </a:lnTo>
                    <a:lnTo>
                      <a:pt x="91" y="439"/>
                    </a:lnTo>
                    <a:lnTo>
                      <a:pt x="91" y="434"/>
                    </a:lnTo>
                    <a:lnTo>
                      <a:pt x="93" y="430"/>
                    </a:lnTo>
                    <a:lnTo>
                      <a:pt x="100" y="428"/>
                    </a:lnTo>
                    <a:lnTo>
                      <a:pt x="106" y="430"/>
                    </a:lnTo>
                    <a:lnTo>
                      <a:pt x="102" y="424"/>
                    </a:lnTo>
                    <a:lnTo>
                      <a:pt x="104" y="420"/>
                    </a:lnTo>
                    <a:lnTo>
                      <a:pt x="110" y="417"/>
                    </a:lnTo>
                    <a:lnTo>
                      <a:pt x="115" y="417"/>
                    </a:lnTo>
                    <a:lnTo>
                      <a:pt x="123" y="424"/>
                    </a:lnTo>
                    <a:lnTo>
                      <a:pt x="125" y="428"/>
                    </a:lnTo>
                    <a:lnTo>
                      <a:pt x="119" y="437"/>
                    </a:lnTo>
                    <a:lnTo>
                      <a:pt x="125" y="432"/>
                    </a:lnTo>
                    <a:lnTo>
                      <a:pt x="129" y="432"/>
                    </a:lnTo>
                    <a:lnTo>
                      <a:pt x="134" y="437"/>
                    </a:lnTo>
                    <a:lnTo>
                      <a:pt x="138" y="437"/>
                    </a:lnTo>
                    <a:lnTo>
                      <a:pt x="151" y="430"/>
                    </a:lnTo>
                    <a:lnTo>
                      <a:pt x="159" y="422"/>
                    </a:lnTo>
                    <a:lnTo>
                      <a:pt x="166" y="417"/>
                    </a:lnTo>
                    <a:lnTo>
                      <a:pt x="170" y="420"/>
                    </a:lnTo>
                    <a:lnTo>
                      <a:pt x="174" y="424"/>
                    </a:lnTo>
                    <a:lnTo>
                      <a:pt x="178" y="424"/>
                    </a:lnTo>
                    <a:lnTo>
                      <a:pt x="189" y="426"/>
                    </a:lnTo>
                    <a:lnTo>
                      <a:pt x="195" y="424"/>
                    </a:lnTo>
                    <a:lnTo>
                      <a:pt x="204" y="415"/>
                    </a:lnTo>
                    <a:lnTo>
                      <a:pt x="206" y="411"/>
                    </a:lnTo>
                    <a:lnTo>
                      <a:pt x="206" y="394"/>
                    </a:lnTo>
                    <a:lnTo>
                      <a:pt x="208" y="383"/>
                    </a:lnTo>
                    <a:lnTo>
                      <a:pt x="204" y="373"/>
                    </a:lnTo>
                    <a:lnTo>
                      <a:pt x="200" y="371"/>
                    </a:lnTo>
                    <a:lnTo>
                      <a:pt x="200" y="366"/>
                    </a:lnTo>
                    <a:lnTo>
                      <a:pt x="202" y="364"/>
                    </a:lnTo>
                    <a:lnTo>
                      <a:pt x="206" y="368"/>
                    </a:lnTo>
                    <a:lnTo>
                      <a:pt x="212" y="366"/>
                    </a:lnTo>
                    <a:lnTo>
                      <a:pt x="219" y="362"/>
                    </a:lnTo>
                    <a:lnTo>
                      <a:pt x="219" y="358"/>
                    </a:lnTo>
                    <a:lnTo>
                      <a:pt x="219" y="351"/>
                    </a:lnTo>
                    <a:lnTo>
                      <a:pt x="215" y="347"/>
                    </a:lnTo>
                    <a:lnTo>
                      <a:pt x="217" y="345"/>
                    </a:lnTo>
                    <a:lnTo>
                      <a:pt x="212" y="343"/>
                    </a:lnTo>
                    <a:lnTo>
                      <a:pt x="208" y="347"/>
                    </a:lnTo>
                    <a:lnTo>
                      <a:pt x="202" y="351"/>
                    </a:lnTo>
                    <a:lnTo>
                      <a:pt x="198" y="347"/>
                    </a:lnTo>
                    <a:lnTo>
                      <a:pt x="191" y="349"/>
                    </a:lnTo>
                    <a:lnTo>
                      <a:pt x="187" y="351"/>
                    </a:lnTo>
                    <a:lnTo>
                      <a:pt x="181" y="356"/>
                    </a:lnTo>
                    <a:lnTo>
                      <a:pt x="174" y="358"/>
                    </a:lnTo>
                    <a:lnTo>
                      <a:pt x="168" y="366"/>
                    </a:lnTo>
                    <a:lnTo>
                      <a:pt x="166" y="356"/>
                    </a:lnTo>
                    <a:lnTo>
                      <a:pt x="161" y="349"/>
                    </a:lnTo>
                    <a:lnTo>
                      <a:pt x="157" y="349"/>
                    </a:lnTo>
                    <a:lnTo>
                      <a:pt x="159" y="356"/>
                    </a:lnTo>
                    <a:lnTo>
                      <a:pt x="159" y="360"/>
                    </a:lnTo>
                    <a:lnTo>
                      <a:pt x="151" y="349"/>
                    </a:lnTo>
                    <a:lnTo>
                      <a:pt x="146" y="347"/>
                    </a:lnTo>
                    <a:lnTo>
                      <a:pt x="132" y="343"/>
                    </a:lnTo>
                    <a:lnTo>
                      <a:pt x="121" y="345"/>
                    </a:lnTo>
                    <a:lnTo>
                      <a:pt x="117" y="343"/>
                    </a:lnTo>
                    <a:lnTo>
                      <a:pt x="110" y="343"/>
                    </a:lnTo>
                    <a:lnTo>
                      <a:pt x="102" y="336"/>
                    </a:lnTo>
                    <a:lnTo>
                      <a:pt x="89" y="328"/>
                    </a:lnTo>
                    <a:lnTo>
                      <a:pt x="85" y="324"/>
                    </a:lnTo>
                    <a:lnTo>
                      <a:pt x="85" y="319"/>
                    </a:lnTo>
                    <a:lnTo>
                      <a:pt x="89" y="309"/>
                    </a:lnTo>
                    <a:lnTo>
                      <a:pt x="89" y="309"/>
                    </a:lnTo>
                    <a:lnTo>
                      <a:pt x="85" y="302"/>
                    </a:lnTo>
                    <a:lnTo>
                      <a:pt x="85" y="298"/>
                    </a:lnTo>
                    <a:lnTo>
                      <a:pt x="80" y="292"/>
                    </a:lnTo>
                    <a:lnTo>
                      <a:pt x="83" y="287"/>
                    </a:lnTo>
                    <a:lnTo>
                      <a:pt x="83" y="292"/>
                    </a:lnTo>
                    <a:lnTo>
                      <a:pt x="87" y="294"/>
                    </a:lnTo>
                    <a:lnTo>
                      <a:pt x="91" y="294"/>
                    </a:lnTo>
                    <a:lnTo>
                      <a:pt x="95" y="290"/>
                    </a:lnTo>
                    <a:lnTo>
                      <a:pt x="100" y="292"/>
                    </a:lnTo>
                    <a:lnTo>
                      <a:pt x="104" y="294"/>
                    </a:lnTo>
                    <a:lnTo>
                      <a:pt x="100" y="287"/>
                    </a:lnTo>
                    <a:lnTo>
                      <a:pt x="87" y="279"/>
                    </a:lnTo>
                    <a:lnTo>
                      <a:pt x="91" y="283"/>
                    </a:lnTo>
                    <a:lnTo>
                      <a:pt x="87" y="281"/>
                    </a:lnTo>
                    <a:lnTo>
                      <a:pt x="83" y="277"/>
                    </a:lnTo>
                    <a:lnTo>
                      <a:pt x="78" y="275"/>
                    </a:lnTo>
                    <a:lnTo>
                      <a:pt x="74" y="270"/>
                    </a:lnTo>
                    <a:lnTo>
                      <a:pt x="63" y="253"/>
                    </a:lnTo>
                    <a:lnTo>
                      <a:pt x="68"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1140"/>
              <p:cNvSpPr>
                <a:spLocks/>
              </p:cNvSpPr>
              <p:nvPr/>
            </p:nvSpPr>
            <p:spPr bwMode="auto">
              <a:xfrm>
                <a:off x="481" y="3054"/>
                <a:ext cx="1096" cy="937"/>
              </a:xfrm>
              <a:custGeom>
                <a:avLst/>
                <a:gdLst>
                  <a:gd name="T0" fmla="*/ 161 w 1096"/>
                  <a:gd name="T1" fmla="*/ 230 h 937"/>
                  <a:gd name="T2" fmla="*/ 210 w 1096"/>
                  <a:gd name="T3" fmla="*/ 279 h 937"/>
                  <a:gd name="T4" fmla="*/ 219 w 1096"/>
                  <a:gd name="T5" fmla="*/ 230 h 937"/>
                  <a:gd name="T6" fmla="*/ 223 w 1096"/>
                  <a:gd name="T7" fmla="*/ 241 h 937"/>
                  <a:gd name="T8" fmla="*/ 170 w 1096"/>
                  <a:gd name="T9" fmla="*/ 143 h 937"/>
                  <a:gd name="T10" fmla="*/ 242 w 1096"/>
                  <a:gd name="T11" fmla="*/ 68 h 937"/>
                  <a:gd name="T12" fmla="*/ 313 w 1096"/>
                  <a:gd name="T13" fmla="*/ 43 h 937"/>
                  <a:gd name="T14" fmla="*/ 393 w 1096"/>
                  <a:gd name="T15" fmla="*/ 0 h 937"/>
                  <a:gd name="T16" fmla="*/ 423 w 1096"/>
                  <a:gd name="T17" fmla="*/ 36 h 937"/>
                  <a:gd name="T18" fmla="*/ 489 w 1096"/>
                  <a:gd name="T19" fmla="*/ 66 h 937"/>
                  <a:gd name="T20" fmla="*/ 577 w 1096"/>
                  <a:gd name="T21" fmla="*/ 87 h 937"/>
                  <a:gd name="T22" fmla="*/ 668 w 1096"/>
                  <a:gd name="T23" fmla="*/ 109 h 937"/>
                  <a:gd name="T24" fmla="*/ 777 w 1096"/>
                  <a:gd name="T25" fmla="*/ 673 h 937"/>
                  <a:gd name="T26" fmla="*/ 894 w 1096"/>
                  <a:gd name="T27" fmla="*/ 684 h 937"/>
                  <a:gd name="T28" fmla="*/ 996 w 1096"/>
                  <a:gd name="T29" fmla="*/ 799 h 937"/>
                  <a:gd name="T30" fmla="*/ 1083 w 1096"/>
                  <a:gd name="T31" fmla="*/ 856 h 937"/>
                  <a:gd name="T32" fmla="*/ 1075 w 1096"/>
                  <a:gd name="T33" fmla="*/ 918 h 937"/>
                  <a:gd name="T34" fmla="*/ 1030 w 1096"/>
                  <a:gd name="T35" fmla="*/ 882 h 937"/>
                  <a:gd name="T36" fmla="*/ 1007 w 1096"/>
                  <a:gd name="T37" fmla="*/ 848 h 937"/>
                  <a:gd name="T38" fmla="*/ 966 w 1096"/>
                  <a:gd name="T39" fmla="*/ 801 h 937"/>
                  <a:gd name="T40" fmla="*/ 945 w 1096"/>
                  <a:gd name="T41" fmla="*/ 771 h 937"/>
                  <a:gd name="T42" fmla="*/ 902 w 1096"/>
                  <a:gd name="T43" fmla="*/ 731 h 937"/>
                  <a:gd name="T44" fmla="*/ 900 w 1096"/>
                  <a:gd name="T45" fmla="*/ 765 h 937"/>
                  <a:gd name="T46" fmla="*/ 847 w 1096"/>
                  <a:gd name="T47" fmla="*/ 731 h 937"/>
                  <a:gd name="T48" fmla="*/ 828 w 1096"/>
                  <a:gd name="T49" fmla="*/ 752 h 937"/>
                  <a:gd name="T50" fmla="*/ 762 w 1096"/>
                  <a:gd name="T51" fmla="*/ 686 h 937"/>
                  <a:gd name="T52" fmla="*/ 713 w 1096"/>
                  <a:gd name="T53" fmla="*/ 682 h 937"/>
                  <a:gd name="T54" fmla="*/ 613 w 1096"/>
                  <a:gd name="T55" fmla="*/ 643 h 937"/>
                  <a:gd name="T56" fmla="*/ 574 w 1096"/>
                  <a:gd name="T57" fmla="*/ 633 h 937"/>
                  <a:gd name="T58" fmla="*/ 530 w 1096"/>
                  <a:gd name="T59" fmla="*/ 624 h 937"/>
                  <a:gd name="T60" fmla="*/ 508 w 1096"/>
                  <a:gd name="T61" fmla="*/ 635 h 937"/>
                  <a:gd name="T62" fmla="*/ 504 w 1096"/>
                  <a:gd name="T63" fmla="*/ 679 h 937"/>
                  <a:gd name="T64" fmla="*/ 453 w 1096"/>
                  <a:gd name="T65" fmla="*/ 699 h 937"/>
                  <a:gd name="T66" fmla="*/ 413 w 1096"/>
                  <a:gd name="T67" fmla="*/ 703 h 937"/>
                  <a:gd name="T68" fmla="*/ 453 w 1096"/>
                  <a:gd name="T69" fmla="*/ 615 h 937"/>
                  <a:gd name="T70" fmla="*/ 453 w 1096"/>
                  <a:gd name="T71" fmla="*/ 601 h 937"/>
                  <a:gd name="T72" fmla="*/ 379 w 1096"/>
                  <a:gd name="T73" fmla="*/ 654 h 937"/>
                  <a:gd name="T74" fmla="*/ 332 w 1096"/>
                  <a:gd name="T75" fmla="*/ 713 h 937"/>
                  <a:gd name="T76" fmla="*/ 319 w 1096"/>
                  <a:gd name="T77" fmla="*/ 771 h 937"/>
                  <a:gd name="T78" fmla="*/ 251 w 1096"/>
                  <a:gd name="T79" fmla="*/ 807 h 937"/>
                  <a:gd name="T80" fmla="*/ 181 w 1096"/>
                  <a:gd name="T81" fmla="*/ 843 h 937"/>
                  <a:gd name="T82" fmla="*/ 129 w 1096"/>
                  <a:gd name="T83" fmla="*/ 882 h 937"/>
                  <a:gd name="T84" fmla="*/ 76 w 1096"/>
                  <a:gd name="T85" fmla="*/ 875 h 937"/>
                  <a:gd name="T86" fmla="*/ 12 w 1096"/>
                  <a:gd name="T87" fmla="*/ 884 h 937"/>
                  <a:gd name="T88" fmla="*/ 85 w 1096"/>
                  <a:gd name="T89" fmla="*/ 852 h 937"/>
                  <a:gd name="T90" fmla="*/ 159 w 1096"/>
                  <a:gd name="T91" fmla="*/ 820 h 937"/>
                  <a:gd name="T92" fmla="*/ 234 w 1096"/>
                  <a:gd name="T93" fmla="*/ 752 h 937"/>
                  <a:gd name="T94" fmla="*/ 240 w 1096"/>
                  <a:gd name="T95" fmla="*/ 713 h 937"/>
                  <a:gd name="T96" fmla="*/ 191 w 1096"/>
                  <a:gd name="T97" fmla="*/ 711 h 937"/>
                  <a:gd name="T98" fmla="*/ 119 w 1096"/>
                  <a:gd name="T99" fmla="*/ 694 h 937"/>
                  <a:gd name="T100" fmla="*/ 121 w 1096"/>
                  <a:gd name="T101" fmla="*/ 586 h 937"/>
                  <a:gd name="T102" fmla="*/ 68 w 1096"/>
                  <a:gd name="T103" fmla="*/ 615 h 937"/>
                  <a:gd name="T104" fmla="*/ 59 w 1096"/>
                  <a:gd name="T105" fmla="*/ 549 h 937"/>
                  <a:gd name="T106" fmla="*/ 66 w 1096"/>
                  <a:gd name="T107" fmla="*/ 549 h 937"/>
                  <a:gd name="T108" fmla="*/ 42 w 1096"/>
                  <a:gd name="T109" fmla="*/ 528 h 937"/>
                  <a:gd name="T110" fmla="*/ 80 w 1096"/>
                  <a:gd name="T111" fmla="*/ 451 h 937"/>
                  <a:gd name="T112" fmla="*/ 102 w 1096"/>
                  <a:gd name="T113" fmla="*/ 424 h 937"/>
                  <a:gd name="T114" fmla="*/ 204 w 1096"/>
                  <a:gd name="T115" fmla="*/ 415 h 937"/>
                  <a:gd name="T116" fmla="*/ 191 w 1096"/>
                  <a:gd name="T117" fmla="*/ 349 h 937"/>
                  <a:gd name="T118" fmla="*/ 85 w 1096"/>
                  <a:gd name="T119" fmla="*/ 319 h 937"/>
                  <a:gd name="T120" fmla="*/ 74 w 1096"/>
                  <a:gd name="T121" fmla="*/ 27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6" h="937">
                    <a:moveTo>
                      <a:pt x="68" y="253"/>
                    </a:moveTo>
                    <a:lnTo>
                      <a:pt x="72" y="253"/>
                    </a:lnTo>
                    <a:lnTo>
                      <a:pt x="76" y="253"/>
                    </a:lnTo>
                    <a:lnTo>
                      <a:pt x="80" y="249"/>
                    </a:lnTo>
                    <a:lnTo>
                      <a:pt x="85" y="247"/>
                    </a:lnTo>
                    <a:lnTo>
                      <a:pt x="91" y="251"/>
                    </a:lnTo>
                    <a:lnTo>
                      <a:pt x="95" y="249"/>
                    </a:lnTo>
                    <a:lnTo>
                      <a:pt x="98" y="245"/>
                    </a:lnTo>
                    <a:lnTo>
                      <a:pt x="115" y="241"/>
                    </a:lnTo>
                    <a:lnTo>
                      <a:pt x="123" y="247"/>
                    </a:lnTo>
                    <a:lnTo>
                      <a:pt x="129" y="247"/>
                    </a:lnTo>
                    <a:lnTo>
                      <a:pt x="129" y="243"/>
                    </a:lnTo>
                    <a:lnTo>
                      <a:pt x="127" y="236"/>
                    </a:lnTo>
                    <a:lnTo>
                      <a:pt x="134" y="234"/>
                    </a:lnTo>
                    <a:lnTo>
                      <a:pt x="138" y="232"/>
                    </a:lnTo>
                    <a:lnTo>
                      <a:pt x="149" y="234"/>
                    </a:lnTo>
                    <a:lnTo>
                      <a:pt x="151" y="234"/>
                    </a:lnTo>
                    <a:lnTo>
                      <a:pt x="157" y="232"/>
                    </a:lnTo>
                    <a:lnTo>
                      <a:pt x="161" y="230"/>
                    </a:lnTo>
                    <a:lnTo>
                      <a:pt x="166" y="230"/>
                    </a:lnTo>
                    <a:lnTo>
                      <a:pt x="176" y="232"/>
                    </a:lnTo>
                    <a:lnTo>
                      <a:pt x="181" y="236"/>
                    </a:lnTo>
                    <a:lnTo>
                      <a:pt x="176" y="234"/>
                    </a:lnTo>
                    <a:lnTo>
                      <a:pt x="178" y="239"/>
                    </a:lnTo>
                    <a:lnTo>
                      <a:pt x="174" y="243"/>
                    </a:lnTo>
                    <a:lnTo>
                      <a:pt x="170" y="253"/>
                    </a:lnTo>
                    <a:lnTo>
                      <a:pt x="164" y="253"/>
                    </a:lnTo>
                    <a:lnTo>
                      <a:pt x="168" y="253"/>
                    </a:lnTo>
                    <a:lnTo>
                      <a:pt x="170" y="260"/>
                    </a:lnTo>
                    <a:lnTo>
                      <a:pt x="174" y="264"/>
                    </a:lnTo>
                    <a:lnTo>
                      <a:pt x="178" y="264"/>
                    </a:lnTo>
                    <a:lnTo>
                      <a:pt x="183" y="266"/>
                    </a:lnTo>
                    <a:lnTo>
                      <a:pt x="193" y="268"/>
                    </a:lnTo>
                    <a:lnTo>
                      <a:pt x="193" y="273"/>
                    </a:lnTo>
                    <a:lnTo>
                      <a:pt x="200" y="273"/>
                    </a:lnTo>
                    <a:lnTo>
                      <a:pt x="204" y="275"/>
                    </a:lnTo>
                    <a:lnTo>
                      <a:pt x="208" y="275"/>
                    </a:lnTo>
                    <a:lnTo>
                      <a:pt x="210" y="279"/>
                    </a:lnTo>
                    <a:lnTo>
                      <a:pt x="217" y="277"/>
                    </a:lnTo>
                    <a:lnTo>
                      <a:pt x="215" y="275"/>
                    </a:lnTo>
                    <a:lnTo>
                      <a:pt x="221" y="270"/>
                    </a:lnTo>
                    <a:lnTo>
                      <a:pt x="223" y="266"/>
                    </a:lnTo>
                    <a:lnTo>
                      <a:pt x="227" y="266"/>
                    </a:lnTo>
                    <a:lnTo>
                      <a:pt x="232" y="270"/>
                    </a:lnTo>
                    <a:lnTo>
                      <a:pt x="232" y="275"/>
                    </a:lnTo>
                    <a:lnTo>
                      <a:pt x="236" y="270"/>
                    </a:lnTo>
                    <a:lnTo>
                      <a:pt x="234" y="266"/>
                    </a:lnTo>
                    <a:lnTo>
                      <a:pt x="225" y="258"/>
                    </a:lnTo>
                    <a:lnTo>
                      <a:pt x="221" y="258"/>
                    </a:lnTo>
                    <a:lnTo>
                      <a:pt x="217" y="262"/>
                    </a:lnTo>
                    <a:lnTo>
                      <a:pt x="219" y="251"/>
                    </a:lnTo>
                    <a:lnTo>
                      <a:pt x="219" y="247"/>
                    </a:lnTo>
                    <a:lnTo>
                      <a:pt x="217" y="241"/>
                    </a:lnTo>
                    <a:lnTo>
                      <a:pt x="208" y="230"/>
                    </a:lnTo>
                    <a:lnTo>
                      <a:pt x="208" y="224"/>
                    </a:lnTo>
                    <a:lnTo>
                      <a:pt x="215" y="224"/>
                    </a:lnTo>
                    <a:lnTo>
                      <a:pt x="219" y="230"/>
                    </a:lnTo>
                    <a:lnTo>
                      <a:pt x="221" y="236"/>
                    </a:lnTo>
                    <a:lnTo>
                      <a:pt x="217" y="241"/>
                    </a:lnTo>
                    <a:lnTo>
                      <a:pt x="219" y="245"/>
                    </a:lnTo>
                    <a:lnTo>
                      <a:pt x="221" y="251"/>
                    </a:lnTo>
                    <a:lnTo>
                      <a:pt x="225" y="256"/>
                    </a:lnTo>
                    <a:lnTo>
                      <a:pt x="232" y="256"/>
                    </a:lnTo>
                    <a:lnTo>
                      <a:pt x="236" y="256"/>
                    </a:lnTo>
                    <a:lnTo>
                      <a:pt x="240" y="262"/>
                    </a:lnTo>
                    <a:lnTo>
                      <a:pt x="244" y="264"/>
                    </a:lnTo>
                    <a:lnTo>
                      <a:pt x="255" y="266"/>
                    </a:lnTo>
                    <a:lnTo>
                      <a:pt x="257" y="262"/>
                    </a:lnTo>
                    <a:lnTo>
                      <a:pt x="257" y="256"/>
                    </a:lnTo>
                    <a:lnTo>
                      <a:pt x="253" y="251"/>
                    </a:lnTo>
                    <a:lnTo>
                      <a:pt x="247" y="251"/>
                    </a:lnTo>
                    <a:lnTo>
                      <a:pt x="242" y="247"/>
                    </a:lnTo>
                    <a:lnTo>
                      <a:pt x="238" y="247"/>
                    </a:lnTo>
                    <a:lnTo>
                      <a:pt x="232" y="253"/>
                    </a:lnTo>
                    <a:lnTo>
                      <a:pt x="227" y="249"/>
                    </a:lnTo>
                    <a:lnTo>
                      <a:pt x="223" y="241"/>
                    </a:lnTo>
                    <a:lnTo>
                      <a:pt x="225" y="234"/>
                    </a:lnTo>
                    <a:lnTo>
                      <a:pt x="230" y="226"/>
                    </a:lnTo>
                    <a:lnTo>
                      <a:pt x="230" y="221"/>
                    </a:lnTo>
                    <a:lnTo>
                      <a:pt x="225" y="219"/>
                    </a:lnTo>
                    <a:lnTo>
                      <a:pt x="219" y="219"/>
                    </a:lnTo>
                    <a:lnTo>
                      <a:pt x="219" y="217"/>
                    </a:lnTo>
                    <a:lnTo>
                      <a:pt x="217" y="211"/>
                    </a:lnTo>
                    <a:lnTo>
                      <a:pt x="215" y="215"/>
                    </a:lnTo>
                    <a:lnTo>
                      <a:pt x="210" y="215"/>
                    </a:lnTo>
                    <a:lnTo>
                      <a:pt x="200" y="213"/>
                    </a:lnTo>
                    <a:lnTo>
                      <a:pt x="191" y="207"/>
                    </a:lnTo>
                    <a:lnTo>
                      <a:pt x="189" y="200"/>
                    </a:lnTo>
                    <a:lnTo>
                      <a:pt x="191" y="192"/>
                    </a:lnTo>
                    <a:lnTo>
                      <a:pt x="189" y="181"/>
                    </a:lnTo>
                    <a:lnTo>
                      <a:pt x="187" y="175"/>
                    </a:lnTo>
                    <a:lnTo>
                      <a:pt x="183" y="170"/>
                    </a:lnTo>
                    <a:lnTo>
                      <a:pt x="181" y="164"/>
                    </a:lnTo>
                    <a:lnTo>
                      <a:pt x="178" y="162"/>
                    </a:lnTo>
                    <a:lnTo>
                      <a:pt x="170" y="143"/>
                    </a:lnTo>
                    <a:lnTo>
                      <a:pt x="166" y="138"/>
                    </a:lnTo>
                    <a:lnTo>
                      <a:pt x="161" y="136"/>
                    </a:lnTo>
                    <a:lnTo>
                      <a:pt x="155" y="126"/>
                    </a:lnTo>
                    <a:lnTo>
                      <a:pt x="151" y="119"/>
                    </a:lnTo>
                    <a:lnTo>
                      <a:pt x="146" y="117"/>
                    </a:lnTo>
                    <a:lnTo>
                      <a:pt x="149" y="117"/>
                    </a:lnTo>
                    <a:lnTo>
                      <a:pt x="151" y="117"/>
                    </a:lnTo>
                    <a:lnTo>
                      <a:pt x="157" y="113"/>
                    </a:lnTo>
                    <a:lnTo>
                      <a:pt x="159" y="109"/>
                    </a:lnTo>
                    <a:lnTo>
                      <a:pt x="166" y="96"/>
                    </a:lnTo>
                    <a:lnTo>
                      <a:pt x="172" y="94"/>
                    </a:lnTo>
                    <a:lnTo>
                      <a:pt x="181" y="98"/>
                    </a:lnTo>
                    <a:lnTo>
                      <a:pt x="204" y="100"/>
                    </a:lnTo>
                    <a:lnTo>
                      <a:pt x="210" y="100"/>
                    </a:lnTo>
                    <a:lnTo>
                      <a:pt x="217" y="98"/>
                    </a:lnTo>
                    <a:lnTo>
                      <a:pt x="221" y="96"/>
                    </a:lnTo>
                    <a:lnTo>
                      <a:pt x="232" y="87"/>
                    </a:lnTo>
                    <a:lnTo>
                      <a:pt x="238" y="79"/>
                    </a:lnTo>
                    <a:lnTo>
                      <a:pt x="242" y="68"/>
                    </a:lnTo>
                    <a:lnTo>
                      <a:pt x="242" y="68"/>
                    </a:lnTo>
                    <a:lnTo>
                      <a:pt x="249" y="60"/>
                    </a:lnTo>
                    <a:lnTo>
                      <a:pt x="259" y="53"/>
                    </a:lnTo>
                    <a:lnTo>
                      <a:pt x="259" y="51"/>
                    </a:lnTo>
                    <a:lnTo>
                      <a:pt x="272" y="38"/>
                    </a:lnTo>
                    <a:lnTo>
                      <a:pt x="276" y="40"/>
                    </a:lnTo>
                    <a:lnTo>
                      <a:pt x="276" y="43"/>
                    </a:lnTo>
                    <a:lnTo>
                      <a:pt x="272" y="43"/>
                    </a:lnTo>
                    <a:lnTo>
                      <a:pt x="276" y="45"/>
                    </a:lnTo>
                    <a:lnTo>
                      <a:pt x="281" y="43"/>
                    </a:lnTo>
                    <a:lnTo>
                      <a:pt x="287" y="43"/>
                    </a:lnTo>
                    <a:lnTo>
                      <a:pt x="287" y="43"/>
                    </a:lnTo>
                    <a:lnTo>
                      <a:pt x="298" y="40"/>
                    </a:lnTo>
                    <a:lnTo>
                      <a:pt x="310" y="32"/>
                    </a:lnTo>
                    <a:lnTo>
                      <a:pt x="315" y="32"/>
                    </a:lnTo>
                    <a:lnTo>
                      <a:pt x="315" y="32"/>
                    </a:lnTo>
                    <a:lnTo>
                      <a:pt x="315" y="40"/>
                    </a:lnTo>
                    <a:lnTo>
                      <a:pt x="310" y="45"/>
                    </a:lnTo>
                    <a:lnTo>
                      <a:pt x="313" y="43"/>
                    </a:lnTo>
                    <a:lnTo>
                      <a:pt x="315" y="49"/>
                    </a:lnTo>
                    <a:lnTo>
                      <a:pt x="317" y="40"/>
                    </a:lnTo>
                    <a:lnTo>
                      <a:pt x="327" y="38"/>
                    </a:lnTo>
                    <a:lnTo>
                      <a:pt x="323" y="38"/>
                    </a:lnTo>
                    <a:lnTo>
                      <a:pt x="319" y="34"/>
                    </a:lnTo>
                    <a:lnTo>
                      <a:pt x="317" y="28"/>
                    </a:lnTo>
                    <a:lnTo>
                      <a:pt x="317" y="26"/>
                    </a:lnTo>
                    <a:lnTo>
                      <a:pt x="327" y="19"/>
                    </a:lnTo>
                    <a:lnTo>
                      <a:pt x="334" y="19"/>
                    </a:lnTo>
                    <a:lnTo>
                      <a:pt x="330" y="23"/>
                    </a:lnTo>
                    <a:lnTo>
                      <a:pt x="332" y="28"/>
                    </a:lnTo>
                    <a:lnTo>
                      <a:pt x="338" y="23"/>
                    </a:lnTo>
                    <a:lnTo>
                      <a:pt x="342" y="26"/>
                    </a:lnTo>
                    <a:lnTo>
                      <a:pt x="357" y="26"/>
                    </a:lnTo>
                    <a:lnTo>
                      <a:pt x="370" y="19"/>
                    </a:lnTo>
                    <a:lnTo>
                      <a:pt x="374" y="15"/>
                    </a:lnTo>
                    <a:lnTo>
                      <a:pt x="379" y="11"/>
                    </a:lnTo>
                    <a:lnTo>
                      <a:pt x="387" y="2"/>
                    </a:lnTo>
                    <a:lnTo>
                      <a:pt x="393" y="0"/>
                    </a:lnTo>
                    <a:lnTo>
                      <a:pt x="389" y="4"/>
                    </a:lnTo>
                    <a:lnTo>
                      <a:pt x="393" y="6"/>
                    </a:lnTo>
                    <a:lnTo>
                      <a:pt x="396" y="13"/>
                    </a:lnTo>
                    <a:lnTo>
                      <a:pt x="402" y="13"/>
                    </a:lnTo>
                    <a:lnTo>
                      <a:pt x="406" y="17"/>
                    </a:lnTo>
                    <a:lnTo>
                      <a:pt x="404" y="21"/>
                    </a:lnTo>
                    <a:lnTo>
                      <a:pt x="400" y="26"/>
                    </a:lnTo>
                    <a:lnTo>
                      <a:pt x="393" y="26"/>
                    </a:lnTo>
                    <a:lnTo>
                      <a:pt x="393" y="28"/>
                    </a:lnTo>
                    <a:lnTo>
                      <a:pt x="396" y="32"/>
                    </a:lnTo>
                    <a:lnTo>
                      <a:pt x="400" y="34"/>
                    </a:lnTo>
                    <a:lnTo>
                      <a:pt x="408" y="26"/>
                    </a:lnTo>
                    <a:lnTo>
                      <a:pt x="411" y="19"/>
                    </a:lnTo>
                    <a:lnTo>
                      <a:pt x="415" y="26"/>
                    </a:lnTo>
                    <a:lnTo>
                      <a:pt x="417" y="21"/>
                    </a:lnTo>
                    <a:lnTo>
                      <a:pt x="421" y="23"/>
                    </a:lnTo>
                    <a:lnTo>
                      <a:pt x="423" y="28"/>
                    </a:lnTo>
                    <a:lnTo>
                      <a:pt x="419" y="32"/>
                    </a:lnTo>
                    <a:lnTo>
                      <a:pt x="423" y="36"/>
                    </a:lnTo>
                    <a:lnTo>
                      <a:pt x="428" y="40"/>
                    </a:lnTo>
                    <a:lnTo>
                      <a:pt x="440" y="36"/>
                    </a:lnTo>
                    <a:lnTo>
                      <a:pt x="445" y="36"/>
                    </a:lnTo>
                    <a:lnTo>
                      <a:pt x="451" y="36"/>
                    </a:lnTo>
                    <a:lnTo>
                      <a:pt x="455" y="40"/>
                    </a:lnTo>
                    <a:lnTo>
                      <a:pt x="459" y="40"/>
                    </a:lnTo>
                    <a:lnTo>
                      <a:pt x="464" y="40"/>
                    </a:lnTo>
                    <a:lnTo>
                      <a:pt x="464" y="47"/>
                    </a:lnTo>
                    <a:lnTo>
                      <a:pt x="462" y="49"/>
                    </a:lnTo>
                    <a:lnTo>
                      <a:pt x="466" y="55"/>
                    </a:lnTo>
                    <a:lnTo>
                      <a:pt x="459" y="55"/>
                    </a:lnTo>
                    <a:lnTo>
                      <a:pt x="464" y="60"/>
                    </a:lnTo>
                    <a:lnTo>
                      <a:pt x="468" y="57"/>
                    </a:lnTo>
                    <a:lnTo>
                      <a:pt x="474" y="60"/>
                    </a:lnTo>
                    <a:lnTo>
                      <a:pt x="470" y="64"/>
                    </a:lnTo>
                    <a:lnTo>
                      <a:pt x="481" y="68"/>
                    </a:lnTo>
                    <a:lnTo>
                      <a:pt x="485" y="70"/>
                    </a:lnTo>
                    <a:lnTo>
                      <a:pt x="487" y="68"/>
                    </a:lnTo>
                    <a:lnTo>
                      <a:pt x="489" y="66"/>
                    </a:lnTo>
                    <a:lnTo>
                      <a:pt x="494" y="66"/>
                    </a:lnTo>
                    <a:lnTo>
                      <a:pt x="500" y="66"/>
                    </a:lnTo>
                    <a:lnTo>
                      <a:pt x="500" y="68"/>
                    </a:lnTo>
                    <a:lnTo>
                      <a:pt x="506" y="70"/>
                    </a:lnTo>
                    <a:lnTo>
                      <a:pt x="511" y="66"/>
                    </a:lnTo>
                    <a:lnTo>
                      <a:pt x="517" y="66"/>
                    </a:lnTo>
                    <a:lnTo>
                      <a:pt x="521" y="68"/>
                    </a:lnTo>
                    <a:lnTo>
                      <a:pt x="526" y="68"/>
                    </a:lnTo>
                    <a:lnTo>
                      <a:pt x="530" y="70"/>
                    </a:lnTo>
                    <a:lnTo>
                      <a:pt x="534" y="72"/>
                    </a:lnTo>
                    <a:lnTo>
                      <a:pt x="538" y="79"/>
                    </a:lnTo>
                    <a:lnTo>
                      <a:pt x="543" y="77"/>
                    </a:lnTo>
                    <a:lnTo>
                      <a:pt x="547" y="79"/>
                    </a:lnTo>
                    <a:lnTo>
                      <a:pt x="551" y="79"/>
                    </a:lnTo>
                    <a:lnTo>
                      <a:pt x="551" y="83"/>
                    </a:lnTo>
                    <a:lnTo>
                      <a:pt x="555" y="85"/>
                    </a:lnTo>
                    <a:lnTo>
                      <a:pt x="566" y="89"/>
                    </a:lnTo>
                    <a:lnTo>
                      <a:pt x="570" y="87"/>
                    </a:lnTo>
                    <a:lnTo>
                      <a:pt x="577" y="87"/>
                    </a:lnTo>
                    <a:lnTo>
                      <a:pt x="581" y="87"/>
                    </a:lnTo>
                    <a:lnTo>
                      <a:pt x="587" y="89"/>
                    </a:lnTo>
                    <a:lnTo>
                      <a:pt x="592" y="89"/>
                    </a:lnTo>
                    <a:lnTo>
                      <a:pt x="596" y="96"/>
                    </a:lnTo>
                    <a:lnTo>
                      <a:pt x="600" y="98"/>
                    </a:lnTo>
                    <a:lnTo>
                      <a:pt x="600" y="98"/>
                    </a:lnTo>
                    <a:lnTo>
                      <a:pt x="609" y="100"/>
                    </a:lnTo>
                    <a:lnTo>
                      <a:pt x="613" y="100"/>
                    </a:lnTo>
                    <a:lnTo>
                      <a:pt x="621" y="96"/>
                    </a:lnTo>
                    <a:lnTo>
                      <a:pt x="626" y="98"/>
                    </a:lnTo>
                    <a:lnTo>
                      <a:pt x="628" y="94"/>
                    </a:lnTo>
                    <a:lnTo>
                      <a:pt x="632" y="92"/>
                    </a:lnTo>
                    <a:lnTo>
                      <a:pt x="636" y="94"/>
                    </a:lnTo>
                    <a:lnTo>
                      <a:pt x="643" y="96"/>
                    </a:lnTo>
                    <a:lnTo>
                      <a:pt x="647" y="94"/>
                    </a:lnTo>
                    <a:lnTo>
                      <a:pt x="651" y="96"/>
                    </a:lnTo>
                    <a:lnTo>
                      <a:pt x="655" y="98"/>
                    </a:lnTo>
                    <a:lnTo>
                      <a:pt x="660" y="102"/>
                    </a:lnTo>
                    <a:lnTo>
                      <a:pt x="668" y="109"/>
                    </a:lnTo>
                    <a:lnTo>
                      <a:pt x="670" y="109"/>
                    </a:lnTo>
                    <a:lnTo>
                      <a:pt x="675" y="111"/>
                    </a:lnTo>
                    <a:lnTo>
                      <a:pt x="679" y="115"/>
                    </a:lnTo>
                    <a:lnTo>
                      <a:pt x="681" y="115"/>
                    </a:lnTo>
                    <a:lnTo>
                      <a:pt x="689" y="117"/>
                    </a:lnTo>
                    <a:lnTo>
                      <a:pt x="689" y="119"/>
                    </a:lnTo>
                    <a:lnTo>
                      <a:pt x="692" y="160"/>
                    </a:lnTo>
                    <a:lnTo>
                      <a:pt x="719" y="656"/>
                    </a:lnTo>
                    <a:lnTo>
                      <a:pt x="721" y="660"/>
                    </a:lnTo>
                    <a:lnTo>
                      <a:pt x="734" y="664"/>
                    </a:lnTo>
                    <a:lnTo>
                      <a:pt x="738" y="660"/>
                    </a:lnTo>
                    <a:lnTo>
                      <a:pt x="749" y="664"/>
                    </a:lnTo>
                    <a:lnTo>
                      <a:pt x="751" y="664"/>
                    </a:lnTo>
                    <a:lnTo>
                      <a:pt x="760" y="656"/>
                    </a:lnTo>
                    <a:lnTo>
                      <a:pt x="770" y="654"/>
                    </a:lnTo>
                    <a:lnTo>
                      <a:pt x="775" y="658"/>
                    </a:lnTo>
                    <a:lnTo>
                      <a:pt x="775" y="664"/>
                    </a:lnTo>
                    <a:lnTo>
                      <a:pt x="773" y="669"/>
                    </a:lnTo>
                    <a:lnTo>
                      <a:pt x="777" y="673"/>
                    </a:lnTo>
                    <a:lnTo>
                      <a:pt x="783" y="677"/>
                    </a:lnTo>
                    <a:lnTo>
                      <a:pt x="790" y="682"/>
                    </a:lnTo>
                    <a:lnTo>
                      <a:pt x="792" y="688"/>
                    </a:lnTo>
                    <a:lnTo>
                      <a:pt x="824" y="716"/>
                    </a:lnTo>
                    <a:lnTo>
                      <a:pt x="832" y="733"/>
                    </a:lnTo>
                    <a:lnTo>
                      <a:pt x="834" y="728"/>
                    </a:lnTo>
                    <a:lnTo>
                      <a:pt x="839" y="724"/>
                    </a:lnTo>
                    <a:lnTo>
                      <a:pt x="849" y="716"/>
                    </a:lnTo>
                    <a:lnTo>
                      <a:pt x="856" y="711"/>
                    </a:lnTo>
                    <a:lnTo>
                      <a:pt x="858" y="707"/>
                    </a:lnTo>
                    <a:lnTo>
                      <a:pt x="856" y="703"/>
                    </a:lnTo>
                    <a:lnTo>
                      <a:pt x="862" y="692"/>
                    </a:lnTo>
                    <a:lnTo>
                      <a:pt x="862" y="686"/>
                    </a:lnTo>
                    <a:lnTo>
                      <a:pt x="868" y="684"/>
                    </a:lnTo>
                    <a:lnTo>
                      <a:pt x="873" y="679"/>
                    </a:lnTo>
                    <a:lnTo>
                      <a:pt x="879" y="675"/>
                    </a:lnTo>
                    <a:lnTo>
                      <a:pt x="885" y="677"/>
                    </a:lnTo>
                    <a:lnTo>
                      <a:pt x="890" y="679"/>
                    </a:lnTo>
                    <a:lnTo>
                      <a:pt x="894" y="684"/>
                    </a:lnTo>
                    <a:lnTo>
                      <a:pt x="896" y="684"/>
                    </a:lnTo>
                    <a:lnTo>
                      <a:pt x="898" y="690"/>
                    </a:lnTo>
                    <a:lnTo>
                      <a:pt x="902" y="703"/>
                    </a:lnTo>
                    <a:lnTo>
                      <a:pt x="907" y="703"/>
                    </a:lnTo>
                    <a:lnTo>
                      <a:pt x="911" y="707"/>
                    </a:lnTo>
                    <a:lnTo>
                      <a:pt x="917" y="709"/>
                    </a:lnTo>
                    <a:lnTo>
                      <a:pt x="924" y="720"/>
                    </a:lnTo>
                    <a:lnTo>
                      <a:pt x="928" y="724"/>
                    </a:lnTo>
                    <a:lnTo>
                      <a:pt x="936" y="728"/>
                    </a:lnTo>
                    <a:lnTo>
                      <a:pt x="941" y="731"/>
                    </a:lnTo>
                    <a:lnTo>
                      <a:pt x="947" y="737"/>
                    </a:lnTo>
                    <a:lnTo>
                      <a:pt x="956" y="745"/>
                    </a:lnTo>
                    <a:lnTo>
                      <a:pt x="956" y="745"/>
                    </a:lnTo>
                    <a:lnTo>
                      <a:pt x="958" y="752"/>
                    </a:lnTo>
                    <a:lnTo>
                      <a:pt x="966" y="760"/>
                    </a:lnTo>
                    <a:lnTo>
                      <a:pt x="968" y="765"/>
                    </a:lnTo>
                    <a:lnTo>
                      <a:pt x="977" y="773"/>
                    </a:lnTo>
                    <a:lnTo>
                      <a:pt x="990" y="790"/>
                    </a:lnTo>
                    <a:lnTo>
                      <a:pt x="996" y="799"/>
                    </a:lnTo>
                    <a:lnTo>
                      <a:pt x="1000" y="803"/>
                    </a:lnTo>
                    <a:lnTo>
                      <a:pt x="1002" y="809"/>
                    </a:lnTo>
                    <a:lnTo>
                      <a:pt x="1002" y="814"/>
                    </a:lnTo>
                    <a:lnTo>
                      <a:pt x="1007" y="816"/>
                    </a:lnTo>
                    <a:lnTo>
                      <a:pt x="1011" y="820"/>
                    </a:lnTo>
                    <a:lnTo>
                      <a:pt x="1015" y="826"/>
                    </a:lnTo>
                    <a:lnTo>
                      <a:pt x="1020" y="831"/>
                    </a:lnTo>
                    <a:lnTo>
                      <a:pt x="1022" y="837"/>
                    </a:lnTo>
                    <a:lnTo>
                      <a:pt x="1024" y="839"/>
                    </a:lnTo>
                    <a:lnTo>
                      <a:pt x="1028" y="839"/>
                    </a:lnTo>
                    <a:lnTo>
                      <a:pt x="1034" y="839"/>
                    </a:lnTo>
                    <a:lnTo>
                      <a:pt x="1043" y="843"/>
                    </a:lnTo>
                    <a:lnTo>
                      <a:pt x="1047" y="846"/>
                    </a:lnTo>
                    <a:lnTo>
                      <a:pt x="1058" y="846"/>
                    </a:lnTo>
                    <a:lnTo>
                      <a:pt x="1062" y="850"/>
                    </a:lnTo>
                    <a:lnTo>
                      <a:pt x="1068" y="852"/>
                    </a:lnTo>
                    <a:lnTo>
                      <a:pt x="1073" y="856"/>
                    </a:lnTo>
                    <a:lnTo>
                      <a:pt x="1077" y="858"/>
                    </a:lnTo>
                    <a:lnTo>
                      <a:pt x="1083" y="856"/>
                    </a:lnTo>
                    <a:lnTo>
                      <a:pt x="1088" y="860"/>
                    </a:lnTo>
                    <a:lnTo>
                      <a:pt x="1088" y="867"/>
                    </a:lnTo>
                    <a:lnTo>
                      <a:pt x="1088" y="871"/>
                    </a:lnTo>
                    <a:lnTo>
                      <a:pt x="1086" y="875"/>
                    </a:lnTo>
                    <a:lnTo>
                      <a:pt x="1088" y="882"/>
                    </a:lnTo>
                    <a:lnTo>
                      <a:pt x="1088" y="888"/>
                    </a:lnTo>
                    <a:lnTo>
                      <a:pt x="1096" y="903"/>
                    </a:lnTo>
                    <a:lnTo>
                      <a:pt x="1094" y="907"/>
                    </a:lnTo>
                    <a:lnTo>
                      <a:pt x="1092" y="922"/>
                    </a:lnTo>
                    <a:lnTo>
                      <a:pt x="1090" y="926"/>
                    </a:lnTo>
                    <a:lnTo>
                      <a:pt x="1086" y="931"/>
                    </a:lnTo>
                    <a:lnTo>
                      <a:pt x="1081" y="935"/>
                    </a:lnTo>
                    <a:lnTo>
                      <a:pt x="1081" y="937"/>
                    </a:lnTo>
                    <a:lnTo>
                      <a:pt x="1077" y="926"/>
                    </a:lnTo>
                    <a:lnTo>
                      <a:pt x="1077" y="935"/>
                    </a:lnTo>
                    <a:lnTo>
                      <a:pt x="1073" y="935"/>
                    </a:lnTo>
                    <a:lnTo>
                      <a:pt x="1068" y="924"/>
                    </a:lnTo>
                    <a:lnTo>
                      <a:pt x="1071" y="920"/>
                    </a:lnTo>
                    <a:lnTo>
                      <a:pt x="1075" y="918"/>
                    </a:lnTo>
                    <a:lnTo>
                      <a:pt x="1077" y="914"/>
                    </a:lnTo>
                    <a:lnTo>
                      <a:pt x="1081" y="905"/>
                    </a:lnTo>
                    <a:lnTo>
                      <a:pt x="1077" y="914"/>
                    </a:lnTo>
                    <a:lnTo>
                      <a:pt x="1075" y="918"/>
                    </a:lnTo>
                    <a:lnTo>
                      <a:pt x="1068" y="920"/>
                    </a:lnTo>
                    <a:lnTo>
                      <a:pt x="1064" y="918"/>
                    </a:lnTo>
                    <a:lnTo>
                      <a:pt x="1064" y="914"/>
                    </a:lnTo>
                    <a:lnTo>
                      <a:pt x="1066" y="907"/>
                    </a:lnTo>
                    <a:lnTo>
                      <a:pt x="1073" y="907"/>
                    </a:lnTo>
                    <a:lnTo>
                      <a:pt x="1068" y="905"/>
                    </a:lnTo>
                    <a:lnTo>
                      <a:pt x="1066" y="899"/>
                    </a:lnTo>
                    <a:lnTo>
                      <a:pt x="1064" y="888"/>
                    </a:lnTo>
                    <a:lnTo>
                      <a:pt x="1060" y="882"/>
                    </a:lnTo>
                    <a:lnTo>
                      <a:pt x="1054" y="873"/>
                    </a:lnTo>
                    <a:lnTo>
                      <a:pt x="1051" y="869"/>
                    </a:lnTo>
                    <a:lnTo>
                      <a:pt x="1054" y="865"/>
                    </a:lnTo>
                    <a:lnTo>
                      <a:pt x="1045" y="873"/>
                    </a:lnTo>
                    <a:lnTo>
                      <a:pt x="1041" y="873"/>
                    </a:lnTo>
                    <a:lnTo>
                      <a:pt x="1030" y="882"/>
                    </a:lnTo>
                    <a:lnTo>
                      <a:pt x="1034" y="886"/>
                    </a:lnTo>
                    <a:lnTo>
                      <a:pt x="1032" y="897"/>
                    </a:lnTo>
                    <a:lnTo>
                      <a:pt x="1028" y="895"/>
                    </a:lnTo>
                    <a:lnTo>
                      <a:pt x="1032" y="901"/>
                    </a:lnTo>
                    <a:lnTo>
                      <a:pt x="1026" y="901"/>
                    </a:lnTo>
                    <a:lnTo>
                      <a:pt x="1022" y="897"/>
                    </a:lnTo>
                    <a:lnTo>
                      <a:pt x="1017" y="892"/>
                    </a:lnTo>
                    <a:lnTo>
                      <a:pt x="1022" y="886"/>
                    </a:lnTo>
                    <a:lnTo>
                      <a:pt x="1024" y="882"/>
                    </a:lnTo>
                    <a:lnTo>
                      <a:pt x="1026" y="873"/>
                    </a:lnTo>
                    <a:lnTo>
                      <a:pt x="1024" y="867"/>
                    </a:lnTo>
                    <a:lnTo>
                      <a:pt x="1028" y="863"/>
                    </a:lnTo>
                    <a:lnTo>
                      <a:pt x="1032" y="863"/>
                    </a:lnTo>
                    <a:lnTo>
                      <a:pt x="1030" y="860"/>
                    </a:lnTo>
                    <a:lnTo>
                      <a:pt x="1026" y="860"/>
                    </a:lnTo>
                    <a:lnTo>
                      <a:pt x="1022" y="856"/>
                    </a:lnTo>
                    <a:lnTo>
                      <a:pt x="1017" y="854"/>
                    </a:lnTo>
                    <a:lnTo>
                      <a:pt x="1011" y="850"/>
                    </a:lnTo>
                    <a:lnTo>
                      <a:pt x="1007" y="848"/>
                    </a:lnTo>
                    <a:lnTo>
                      <a:pt x="1007" y="841"/>
                    </a:lnTo>
                    <a:lnTo>
                      <a:pt x="1000" y="843"/>
                    </a:lnTo>
                    <a:lnTo>
                      <a:pt x="1000" y="837"/>
                    </a:lnTo>
                    <a:lnTo>
                      <a:pt x="1002" y="833"/>
                    </a:lnTo>
                    <a:lnTo>
                      <a:pt x="996" y="835"/>
                    </a:lnTo>
                    <a:lnTo>
                      <a:pt x="992" y="833"/>
                    </a:lnTo>
                    <a:lnTo>
                      <a:pt x="988" y="828"/>
                    </a:lnTo>
                    <a:lnTo>
                      <a:pt x="990" y="822"/>
                    </a:lnTo>
                    <a:lnTo>
                      <a:pt x="988" y="818"/>
                    </a:lnTo>
                    <a:lnTo>
                      <a:pt x="983" y="822"/>
                    </a:lnTo>
                    <a:lnTo>
                      <a:pt x="977" y="820"/>
                    </a:lnTo>
                    <a:lnTo>
                      <a:pt x="973" y="816"/>
                    </a:lnTo>
                    <a:lnTo>
                      <a:pt x="968" y="818"/>
                    </a:lnTo>
                    <a:lnTo>
                      <a:pt x="962" y="816"/>
                    </a:lnTo>
                    <a:lnTo>
                      <a:pt x="964" y="811"/>
                    </a:lnTo>
                    <a:lnTo>
                      <a:pt x="971" y="809"/>
                    </a:lnTo>
                    <a:lnTo>
                      <a:pt x="975" y="805"/>
                    </a:lnTo>
                    <a:lnTo>
                      <a:pt x="964" y="805"/>
                    </a:lnTo>
                    <a:lnTo>
                      <a:pt x="966" y="801"/>
                    </a:lnTo>
                    <a:lnTo>
                      <a:pt x="962" y="801"/>
                    </a:lnTo>
                    <a:lnTo>
                      <a:pt x="962" y="794"/>
                    </a:lnTo>
                    <a:lnTo>
                      <a:pt x="958" y="792"/>
                    </a:lnTo>
                    <a:lnTo>
                      <a:pt x="956" y="788"/>
                    </a:lnTo>
                    <a:lnTo>
                      <a:pt x="964" y="790"/>
                    </a:lnTo>
                    <a:lnTo>
                      <a:pt x="973" y="794"/>
                    </a:lnTo>
                    <a:lnTo>
                      <a:pt x="971" y="788"/>
                    </a:lnTo>
                    <a:lnTo>
                      <a:pt x="964" y="788"/>
                    </a:lnTo>
                    <a:lnTo>
                      <a:pt x="960" y="784"/>
                    </a:lnTo>
                    <a:lnTo>
                      <a:pt x="956" y="779"/>
                    </a:lnTo>
                    <a:lnTo>
                      <a:pt x="956" y="775"/>
                    </a:lnTo>
                    <a:lnTo>
                      <a:pt x="966" y="775"/>
                    </a:lnTo>
                    <a:lnTo>
                      <a:pt x="956" y="773"/>
                    </a:lnTo>
                    <a:lnTo>
                      <a:pt x="954" y="777"/>
                    </a:lnTo>
                    <a:lnTo>
                      <a:pt x="949" y="777"/>
                    </a:lnTo>
                    <a:lnTo>
                      <a:pt x="947" y="771"/>
                    </a:lnTo>
                    <a:lnTo>
                      <a:pt x="949" y="762"/>
                    </a:lnTo>
                    <a:lnTo>
                      <a:pt x="947" y="767"/>
                    </a:lnTo>
                    <a:lnTo>
                      <a:pt x="945" y="771"/>
                    </a:lnTo>
                    <a:lnTo>
                      <a:pt x="941" y="769"/>
                    </a:lnTo>
                    <a:lnTo>
                      <a:pt x="939" y="762"/>
                    </a:lnTo>
                    <a:lnTo>
                      <a:pt x="936" y="758"/>
                    </a:lnTo>
                    <a:lnTo>
                      <a:pt x="939" y="754"/>
                    </a:lnTo>
                    <a:lnTo>
                      <a:pt x="939" y="748"/>
                    </a:lnTo>
                    <a:lnTo>
                      <a:pt x="939" y="743"/>
                    </a:lnTo>
                    <a:lnTo>
                      <a:pt x="943" y="741"/>
                    </a:lnTo>
                    <a:lnTo>
                      <a:pt x="936" y="741"/>
                    </a:lnTo>
                    <a:lnTo>
                      <a:pt x="936" y="756"/>
                    </a:lnTo>
                    <a:lnTo>
                      <a:pt x="930" y="758"/>
                    </a:lnTo>
                    <a:lnTo>
                      <a:pt x="926" y="756"/>
                    </a:lnTo>
                    <a:lnTo>
                      <a:pt x="922" y="754"/>
                    </a:lnTo>
                    <a:lnTo>
                      <a:pt x="922" y="754"/>
                    </a:lnTo>
                    <a:lnTo>
                      <a:pt x="922" y="754"/>
                    </a:lnTo>
                    <a:lnTo>
                      <a:pt x="915" y="754"/>
                    </a:lnTo>
                    <a:lnTo>
                      <a:pt x="913" y="748"/>
                    </a:lnTo>
                    <a:lnTo>
                      <a:pt x="905" y="737"/>
                    </a:lnTo>
                    <a:lnTo>
                      <a:pt x="907" y="733"/>
                    </a:lnTo>
                    <a:lnTo>
                      <a:pt x="902" y="731"/>
                    </a:lnTo>
                    <a:lnTo>
                      <a:pt x="898" y="724"/>
                    </a:lnTo>
                    <a:lnTo>
                      <a:pt x="898" y="720"/>
                    </a:lnTo>
                    <a:lnTo>
                      <a:pt x="892" y="709"/>
                    </a:lnTo>
                    <a:lnTo>
                      <a:pt x="890" y="703"/>
                    </a:lnTo>
                    <a:lnTo>
                      <a:pt x="887" y="692"/>
                    </a:lnTo>
                    <a:lnTo>
                      <a:pt x="885" y="703"/>
                    </a:lnTo>
                    <a:lnTo>
                      <a:pt x="885" y="703"/>
                    </a:lnTo>
                    <a:lnTo>
                      <a:pt x="890" y="707"/>
                    </a:lnTo>
                    <a:lnTo>
                      <a:pt x="892" y="713"/>
                    </a:lnTo>
                    <a:lnTo>
                      <a:pt x="887" y="709"/>
                    </a:lnTo>
                    <a:lnTo>
                      <a:pt x="890" y="713"/>
                    </a:lnTo>
                    <a:lnTo>
                      <a:pt x="892" y="720"/>
                    </a:lnTo>
                    <a:lnTo>
                      <a:pt x="898" y="737"/>
                    </a:lnTo>
                    <a:lnTo>
                      <a:pt x="902" y="743"/>
                    </a:lnTo>
                    <a:lnTo>
                      <a:pt x="900" y="741"/>
                    </a:lnTo>
                    <a:lnTo>
                      <a:pt x="902" y="748"/>
                    </a:lnTo>
                    <a:lnTo>
                      <a:pt x="907" y="758"/>
                    </a:lnTo>
                    <a:lnTo>
                      <a:pt x="907" y="762"/>
                    </a:lnTo>
                    <a:lnTo>
                      <a:pt x="900" y="765"/>
                    </a:lnTo>
                    <a:lnTo>
                      <a:pt x="896" y="760"/>
                    </a:lnTo>
                    <a:lnTo>
                      <a:pt x="894" y="754"/>
                    </a:lnTo>
                    <a:lnTo>
                      <a:pt x="887" y="754"/>
                    </a:lnTo>
                    <a:lnTo>
                      <a:pt x="883" y="756"/>
                    </a:lnTo>
                    <a:lnTo>
                      <a:pt x="879" y="754"/>
                    </a:lnTo>
                    <a:lnTo>
                      <a:pt x="881" y="750"/>
                    </a:lnTo>
                    <a:lnTo>
                      <a:pt x="875" y="737"/>
                    </a:lnTo>
                    <a:lnTo>
                      <a:pt x="875" y="733"/>
                    </a:lnTo>
                    <a:lnTo>
                      <a:pt x="879" y="728"/>
                    </a:lnTo>
                    <a:lnTo>
                      <a:pt x="870" y="726"/>
                    </a:lnTo>
                    <a:lnTo>
                      <a:pt x="870" y="731"/>
                    </a:lnTo>
                    <a:lnTo>
                      <a:pt x="870" y="737"/>
                    </a:lnTo>
                    <a:lnTo>
                      <a:pt x="866" y="737"/>
                    </a:lnTo>
                    <a:lnTo>
                      <a:pt x="860" y="735"/>
                    </a:lnTo>
                    <a:lnTo>
                      <a:pt x="858" y="728"/>
                    </a:lnTo>
                    <a:lnTo>
                      <a:pt x="853" y="726"/>
                    </a:lnTo>
                    <a:lnTo>
                      <a:pt x="847" y="728"/>
                    </a:lnTo>
                    <a:lnTo>
                      <a:pt x="845" y="724"/>
                    </a:lnTo>
                    <a:lnTo>
                      <a:pt x="847" y="731"/>
                    </a:lnTo>
                    <a:lnTo>
                      <a:pt x="843" y="735"/>
                    </a:lnTo>
                    <a:lnTo>
                      <a:pt x="847" y="733"/>
                    </a:lnTo>
                    <a:lnTo>
                      <a:pt x="858" y="735"/>
                    </a:lnTo>
                    <a:lnTo>
                      <a:pt x="860" y="739"/>
                    </a:lnTo>
                    <a:lnTo>
                      <a:pt x="864" y="741"/>
                    </a:lnTo>
                    <a:lnTo>
                      <a:pt x="862" y="745"/>
                    </a:lnTo>
                    <a:lnTo>
                      <a:pt x="868" y="743"/>
                    </a:lnTo>
                    <a:lnTo>
                      <a:pt x="873" y="748"/>
                    </a:lnTo>
                    <a:lnTo>
                      <a:pt x="875" y="754"/>
                    </a:lnTo>
                    <a:lnTo>
                      <a:pt x="877" y="758"/>
                    </a:lnTo>
                    <a:lnTo>
                      <a:pt x="870" y="762"/>
                    </a:lnTo>
                    <a:lnTo>
                      <a:pt x="862" y="758"/>
                    </a:lnTo>
                    <a:lnTo>
                      <a:pt x="862" y="762"/>
                    </a:lnTo>
                    <a:lnTo>
                      <a:pt x="862" y="767"/>
                    </a:lnTo>
                    <a:lnTo>
                      <a:pt x="860" y="771"/>
                    </a:lnTo>
                    <a:lnTo>
                      <a:pt x="856" y="767"/>
                    </a:lnTo>
                    <a:lnTo>
                      <a:pt x="849" y="762"/>
                    </a:lnTo>
                    <a:lnTo>
                      <a:pt x="841" y="760"/>
                    </a:lnTo>
                    <a:lnTo>
                      <a:pt x="828" y="752"/>
                    </a:lnTo>
                    <a:lnTo>
                      <a:pt x="832" y="748"/>
                    </a:lnTo>
                    <a:lnTo>
                      <a:pt x="828" y="750"/>
                    </a:lnTo>
                    <a:lnTo>
                      <a:pt x="817" y="743"/>
                    </a:lnTo>
                    <a:lnTo>
                      <a:pt x="815" y="737"/>
                    </a:lnTo>
                    <a:lnTo>
                      <a:pt x="809" y="728"/>
                    </a:lnTo>
                    <a:lnTo>
                      <a:pt x="802" y="726"/>
                    </a:lnTo>
                    <a:lnTo>
                      <a:pt x="798" y="724"/>
                    </a:lnTo>
                    <a:lnTo>
                      <a:pt x="800" y="720"/>
                    </a:lnTo>
                    <a:lnTo>
                      <a:pt x="794" y="722"/>
                    </a:lnTo>
                    <a:lnTo>
                      <a:pt x="785" y="718"/>
                    </a:lnTo>
                    <a:lnTo>
                      <a:pt x="779" y="716"/>
                    </a:lnTo>
                    <a:lnTo>
                      <a:pt x="775" y="711"/>
                    </a:lnTo>
                    <a:lnTo>
                      <a:pt x="770" y="711"/>
                    </a:lnTo>
                    <a:lnTo>
                      <a:pt x="766" y="707"/>
                    </a:lnTo>
                    <a:lnTo>
                      <a:pt x="755" y="703"/>
                    </a:lnTo>
                    <a:lnTo>
                      <a:pt x="762" y="701"/>
                    </a:lnTo>
                    <a:lnTo>
                      <a:pt x="764" y="696"/>
                    </a:lnTo>
                    <a:lnTo>
                      <a:pt x="766" y="690"/>
                    </a:lnTo>
                    <a:lnTo>
                      <a:pt x="762" y="686"/>
                    </a:lnTo>
                    <a:lnTo>
                      <a:pt x="762" y="679"/>
                    </a:lnTo>
                    <a:lnTo>
                      <a:pt x="768" y="679"/>
                    </a:lnTo>
                    <a:lnTo>
                      <a:pt x="770" y="684"/>
                    </a:lnTo>
                    <a:lnTo>
                      <a:pt x="770" y="690"/>
                    </a:lnTo>
                    <a:lnTo>
                      <a:pt x="773" y="696"/>
                    </a:lnTo>
                    <a:lnTo>
                      <a:pt x="770" y="690"/>
                    </a:lnTo>
                    <a:lnTo>
                      <a:pt x="770" y="684"/>
                    </a:lnTo>
                    <a:lnTo>
                      <a:pt x="777" y="684"/>
                    </a:lnTo>
                    <a:lnTo>
                      <a:pt x="781" y="686"/>
                    </a:lnTo>
                    <a:lnTo>
                      <a:pt x="777" y="684"/>
                    </a:lnTo>
                    <a:lnTo>
                      <a:pt x="773" y="682"/>
                    </a:lnTo>
                    <a:lnTo>
                      <a:pt x="766" y="675"/>
                    </a:lnTo>
                    <a:lnTo>
                      <a:pt x="762" y="675"/>
                    </a:lnTo>
                    <a:lnTo>
                      <a:pt x="758" y="684"/>
                    </a:lnTo>
                    <a:lnTo>
                      <a:pt x="745" y="692"/>
                    </a:lnTo>
                    <a:lnTo>
                      <a:pt x="741" y="694"/>
                    </a:lnTo>
                    <a:lnTo>
                      <a:pt x="724" y="692"/>
                    </a:lnTo>
                    <a:lnTo>
                      <a:pt x="711" y="686"/>
                    </a:lnTo>
                    <a:lnTo>
                      <a:pt x="713" y="682"/>
                    </a:lnTo>
                    <a:lnTo>
                      <a:pt x="713" y="679"/>
                    </a:lnTo>
                    <a:lnTo>
                      <a:pt x="711" y="673"/>
                    </a:lnTo>
                    <a:lnTo>
                      <a:pt x="709" y="677"/>
                    </a:lnTo>
                    <a:lnTo>
                      <a:pt x="702" y="682"/>
                    </a:lnTo>
                    <a:lnTo>
                      <a:pt x="696" y="679"/>
                    </a:lnTo>
                    <a:lnTo>
                      <a:pt x="672" y="675"/>
                    </a:lnTo>
                    <a:lnTo>
                      <a:pt x="662" y="677"/>
                    </a:lnTo>
                    <a:lnTo>
                      <a:pt x="645" y="679"/>
                    </a:lnTo>
                    <a:lnTo>
                      <a:pt x="638" y="682"/>
                    </a:lnTo>
                    <a:lnTo>
                      <a:pt x="636" y="682"/>
                    </a:lnTo>
                    <a:lnTo>
                      <a:pt x="632" y="679"/>
                    </a:lnTo>
                    <a:lnTo>
                      <a:pt x="630" y="673"/>
                    </a:lnTo>
                    <a:lnTo>
                      <a:pt x="626" y="669"/>
                    </a:lnTo>
                    <a:lnTo>
                      <a:pt x="615" y="669"/>
                    </a:lnTo>
                    <a:lnTo>
                      <a:pt x="611" y="664"/>
                    </a:lnTo>
                    <a:lnTo>
                      <a:pt x="609" y="658"/>
                    </a:lnTo>
                    <a:lnTo>
                      <a:pt x="611" y="654"/>
                    </a:lnTo>
                    <a:lnTo>
                      <a:pt x="611" y="650"/>
                    </a:lnTo>
                    <a:lnTo>
                      <a:pt x="613" y="643"/>
                    </a:lnTo>
                    <a:lnTo>
                      <a:pt x="617" y="639"/>
                    </a:lnTo>
                    <a:lnTo>
                      <a:pt x="611" y="643"/>
                    </a:lnTo>
                    <a:lnTo>
                      <a:pt x="609" y="647"/>
                    </a:lnTo>
                    <a:lnTo>
                      <a:pt x="604" y="652"/>
                    </a:lnTo>
                    <a:lnTo>
                      <a:pt x="602" y="658"/>
                    </a:lnTo>
                    <a:lnTo>
                      <a:pt x="596" y="660"/>
                    </a:lnTo>
                    <a:lnTo>
                      <a:pt x="592" y="658"/>
                    </a:lnTo>
                    <a:lnTo>
                      <a:pt x="587" y="654"/>
                    </a:lnTo>
                    <a:lnTo>
                      <a:pt x="583" y="654"/>
                    </a:lnTo>
                    <a:lnTo>
                      <a:pt x="583" y="650"/>
                    </a:lnTo>
                    <a:lnTo>
                      <a:pt x="587" y="645"/>
                    </a:lnTo>
                    <a:lnTo>
                      <a:pt x="581" y="645"/>
                    </a:lnTo>
                    <a:lnTo>
                      <a:pt x="577" y="641"/>
                    </a:lnTo>
                    <a:lnTo>
                      <a:pt x="570" y="643"/>
                    </a:lnTo>
                    <a:lnTo>
                      <a:pt x="577" y="635"/>
                    </a:lnTo>
                    <a:lnTo>
                      <a:pt x="564" y="641"/>
                    </a:lnTo>
                    <a:lnTo>
                      <a:pt x="560" y="641"/>
                    </a:lnTo>
                    <a:lnTo>
                      <a:pt x="564" y="637"/>
                    </a:lnTo>
                    <a:lnTo>
                      <a:pt x="574" y="633"/>
                    </a:lnTo>
                    <a:lnTo>
                      <a:pt x="570" y="628"/>
                    </a:lnTo>
                    <a:lnTo>
                      <a:pt x="566" y="633"/>
                    </a:lnTo>
                    <a:lnTo>
                      <a:pt x="562" y="630"/>
                    </a:lnTo>
                    <a:lnTo>
                      <a:pt x="557" y="628"/>
                    </a:lnTo>
                    <a:lnTo>
                      <a:pt x="557" y="622"/>
                    </a:lnTo>
                    <a:lnTo>
                      <a:pt x="560" y="618"/>
                    </a:lnTo>
                    <a:lnTo>
                      <a:pt x="570" y="618"/>
                    </a:lnTo>
                    <a:lnTo>
                      <a:pt x="566" y="615"/>
                    </a:lnTo>
                    <a:lnTo>
                      <a:pt x="562" y="615"/>
                    </a:lnTo>
                    <a:lnTo>
                      <a:pt x="553" y="624"/>
                    </a:lnTo>
                    <a:lnTo>
                      <a:pt x="549" y="624"/>
                    </a:lnTo>
                    <a:lnTo>
                      <a:pt x="543" y="622"/>
                    </a:lnTo>
                    <a:lnTo>
                      <a:pt x="540" y="626"/>
                    </a:lnTo>
                    <a:lnTo>
                      <a:pt x="536" y="622"/>
                    </a:lnTo>
                    <a:lnTo>
                      <a:pt x="536" y="626"/>
                    </a:lnTo>
                    <a:lnTo>
                      <a:pt x="536" y="615"/>
                    </a:lnTo>
                    <a:lnTo>
                      <a:pt x="532" y="620"/>
                    </a:lnTo>
                    <a:lnTo>
                      <a:pt x="532" y="630"/>
                    </a:lnTo>
                    <a:lnTo>
                      <a:pt x="530" y="624"/>
                    </a:lnTo>
                    <a:lnTo>
                      <a:pt x="528" y="628"/>
                    </a:lnTo>
                    <a:lnTo>
                      <a:pt x="521" y="626"/>
                    </a:lnTo>
                    <a:lnTo>
                      <a:pt x="523" y="620"/>
                    </a:lnTo>
                    <a:lnTo>
                      <a:pt x="523" y="615"/>
                    </a:lnTo>
                    <a:lnTo>
                      <a:pt x="528" y="611"/>
                    </a:lnTo>
                    <a:lnTo>
                      <a:pt x="530" y="605"/>
                    </a:lnTo>
                    <a:lnTo>
                      <a:pt x="528" y="609"/>
                    </a:lnTo>
                    <a:lnTo>
                      <a:pt x="523" y="613"/>
                    </a:lnTo>
                    <a:lnTo>
                      <a:pt x="521" y="618"/>
                    </a:lnTo>
                    <a:lnTo>
                      <a:pt x="517" y="613"/>
                    </a:lnTo>
                    <a:lnTo>
                      <a:pt x="511" y="615"/>
                    </a:lnTo>
                    <a:lnTo>
                      <a:pt x="508" y="622"/>
                    </a:lnTo>
                    <a:lnTo>
                      <a:pt x="515" y="618"/>
                    </a:lnTo>
                    <a:lnTo>
                      <a:pt x="515" y="622"/>
                    </a:lnTo>
                    <a:lnTo>
                      <a:pt x="513" y="628"/>
                    </a:lnTo>
                    <a:lnTo>
                      <a:pt x="502" y="633"/>
                    </a:lnTo>
                    <a:lnTo>
                      <a:pt x="506" y="630"/>
                    </a:lnTo>
                    <a:lnTo>
                      <a:pt x="502" y="635"/>
                    </a:lnTo>
                    <a:lnTo>
                      <a:pt x="508" y="635"/>
                    </a:lnTo>
                    <a:lnTo>
                      <a:pt x="508" y="639"/>
                    </a:lnTo>
                    <a:lnTo>
                      <a:pt x="513" y="635"/>
                    </a:lnTo>
                    <a:lnTo>
                      <a:pt x="515" y="641"/>
                    </a:lnTo>
                    <a:lnTo>
                      <a:pt x="513" y="645"/>
                    </a:lnTo>
                    <a:lnTo>
                      <a:pt x="506" y="645"/>
                    </a:lnTo>
                    <a:lnTo>
                      <a:pt x="502" y="650"/>
                    </a:lnTo>
                    <a:lnTo>
                      <a:pt x="508" y="647"/>
                    </a:lnTo>
                    <a:lnTo>
                      <a:pt x="513" y="650"/>
                    </a:lnTo>
                    <a:lnTo>
                      <a:pt x="517" y="645"/>
                    </a:lnTo>
                    <a:lnTo>
                      <a:pt x="521" y="650"/>
                    </a:lnTo>
                    <a:lnTo>
                      <a:pt x="521" y="654"/>
                    </a:lnTo>
                    <a:lnTo>
                      <a:pt x="515" y="656"/>
                    </a:lnTo>
                    <a:lnTo>
                      <a:pt x="513" y="660"/>
                    </a:lnTo>
                    <a:lnTo>
                      <a:pt x="508" y="664"/>
                    </a:lnTo>
                    <a:lnTo>
                      <a:pt x="513" y="664"/>
                    </a:lnTo>
                    <a:lnTo>
                      <a:pt x="513" y="669"/>
                    </a:lnTo>
                    <a:lnTo>
                      <a:pt x="508" y="673"/>
                    </a:lnTo>
                    <a:lnTo>
                      <a:pt x="506" y="679"/>
                    </a:lnTo>
                    <a:lnTo>
                      <a:pt x="504" y="679"/>
                    </a:lnTo>
                    <a:lnTo>
                      <a:pt x="500" y="684"/>
                    </a:lnTo>
                    <a:lnTo>
                      <a:pt x="487" y="677"/>
                    </a:lnTo>
                    <a:lnTo>
                      <a:pt x="485" y="677"/>
                    </a:lnTo>
                    <a:lnTo>
                      <a:pt x="483" y="682"/>
                    </a:lnTo>
                    <a:lnTo>
                      <a:pt x="481" y="671"/>
                    </a:lnTo>
                    <a:lnTo>
                      <a:pt x="479" y="677"/>
                    </a:lnTo>
                    <a:lnTo>
                      <a:pt x="474" y="682"/>
                    </a:lnTo>
                    <a:lnTo>
                      <a:pt x="472" y="686"/>
                    </a:lnTo>
                    <a:lnTo>
                      <a:pt x="472" y="690"/>
                    </a:lnTo>
                    <a:lnTo>
                      <a:pt x="470" y="686"/>
                    </a:lnTo>
                    <a:lnTo>
                      <a:pt x="470" y="679"/>
                    </a:lnTo>
                    <a:lnTo>
                      <a:pt x="468" y="686"/>
                    </a:lnTo>
                    <a:lnTo>
                      <a:pt x="466" y="690"/>
                    </a:lnTo>
                    <a:lnTo>
                      <a:pt x="466" y="694"/>
                    </a:lnTo>
                    <a:lnTo>
                      <a:pt x="464" y="690"/>
                    </a:lnTo>
                    <a:lnTo>
                      <a:pt x="459" y="688"/>
                    </a:lnTo>
                    <a:lnTo>
                      <a:pt x="462" y="694"/>
                    </a:lnTo>
                    <a:lnTo>
                      <a:pt x="459" y="696"/>
                    </a:lnTo>
                    <a:lnTo>
                      <a:pt x="453" y="699"/>
                    </a:lnTo>
                    <a:lnTo>
                      <a:pt x="451" y="703"/>
                    </a:lnTo>
                    <a:lnTo>
                      <a:pt x="451" y="699"/>
                    </a:lnTo>
                    <a:lnTo>
                      <a:pt x="453" y="694"/>
                    </a:lnTo>
                    <a:lnTo>
                      <a:pt x="447" y="703"/>
                    </a:lnTo>
                    <a:lnTo>
                      <a:pt x="442" y="699"/>
                    </a:lnTo>
                    <a:lnTo>
                      <a:pt x="442" y="705"/>
                    </a:lnTo>
                    <a:lnTo>
                      <a:pt x="432" y="711"/>
                    </a:lnTo>
                    <a:lnTo>
                      <a:pt x="432" y="718"/>
                    </a:lnTo>
                    <a:lnTo>
                      <a:pt x="421" y="713"/>
                    </a:lnTo>
                    <a:lnTo>
                      <a:pt x="425" y="718"/>
                    </a:lnTo>
                    <a:lnTo>
                      <a:pt x="419" y="718"/>
                    </a:lnTo>
                    <a:lnTo>
                      <a:pt x="415" y="716"/>
                    </a:lnTo>
                    <a:lnTo>
                      <a:pt x="411" y="720"/>
                    </a:lnTo>
                    <a:lnTo>
                      <a:pt x="406" y="720"/>
                    </a:lnTo>
                    <a:lnTo>
                      <a:pt x="402" y="716"/>
                    </a:lnTo>
                    <a:lnTo>
                      <a:pt x="400" y="709"/>
                    </a:lnTo>
                    <a:lnTo>
                      <a:pt x="402" y="705"/>
                    </a:lnTo>
                    <a:lnTo>
                      <a:pt x="408" y="703"/>
                    </a:lnTo>
                    <a:lnTo>
                      <a:pt x="413" y="703"/>
                    </a:lnTo>
                    <a:lnTo>
                      <a:pt x="419" y="705"/>
                    </a:lnTo>
                    <a:lnTo>
                      <a:pt x="417" y="699"/>
                    </a:lnTo>
                    <a:lnTo>
                      <a:pt x="423" y="696"/>
                    </a:lnTo>
                    <a:lnTo>
                      <a:pt x="430" y="688"/>
                    </a:lnTo>
                    <a:lnTo>
                      <a:pt x="425" y="688"/>
                    </a:lnTo>
                    <a:lnTo>
                      <a:pt x="419" y="692"/>
                    </a:lnTo>
                    <a:lnTo>
                      <a:pt x="413" y="692"/>
                    </a:lnTo>
                    <a:lnTo>
                      <a:pt x="408" y="690"/>
                    </a:lnTo>
                    <a:lnTo>
                      <a:pt x="406" y="684"/>
                    </a:lnTo>
                    <a:lnTo>
                      <a:pt x="411" y="671"/>
                    </a:lnTo>
                    <a:lnTo>
                      <a:pt x="415" y="667"/>
                    </a:lnTo>
                    <a:lnTo>
                      <a:pt x="421" y="658"/>
                    </a:lnTo>
                    <a:lnTo>
                      <a:pt x="423" y="652"/>
                    </a:lnTo>
                    <a:lnTo>
                      <a:pt x="425" y="650"/>
                    </a:lnTo>
                    <a:lnTo>
                      <a:pt x="428" y="641"/>
                    </a:lnTo>
                    <a:lnTo>
                      <a:pt x="425" y="630"/>
                    </a:lnTo>
                    <a:lnTo>
                      <a:pt x="436" y="626"/>
                    </a:lnTo>
                    <a:lnTo>
                      <a:pt x="447" y="618"/>
                    </a:lnTo>
                    <a:lnTo>
                      <a:pt x="453" y="615"/>
                    </a:lnTo>
                    <a:lnTo>
                      <a:pt x="462" y="622"/>
                    </a:lnTo>
                    <a:lnTo>
                      <a:pt x="466" y="622"/>
                    </a:lnTo>
                    <a:lnTo>
                      <a:pt x="470" y="620"/>
                    </a:lnTo>
                    <a:lnTo>
                      <a:pt x="474" y="622"/>
                    </a:lnTo>
                    <a:lnTo>
                      <a:pt x="489" y="626"/>
                    </a:lnTo>
                    <a:lnTo>
                      <a:pt x="485" y="622"/>
                    </a:lnTo>
                    <a:lnTo>
                      <a:pt x="477" y="618"/>
                    </a:lnTo>
                    <a:lnTo>
                      <a:pt x="466" y="609"/>
                    </a:lnTo>
                    <a:lnTo>
                      <a:pt x="466" y="605"/>
                    </a:lnTo>
                    <a:lnTo>
                      <a:pt x="470" y="601"/>
                    </a:lnTo>
                    <a:lnTo>
                      <a:pt x="481" y="594"/>
                    </a:lnTo>
                    <a:lnTo>
                      <a:pt x="485" y="590"/>
                    </a:lnTo>
                    <a:lnTo>
                      <a:pt x="481" y="590"/>
                    </a:lnTo>
                    <a:lnTo>
                      <a:pt x="477" y="590"/>
                    </a:lnTo>
                    <a:lnTo>
                      <a:pt x="472" y="594"/>
                    </a:lnTo>
                    <a:lnTo>
                      <a:pt x="466" y="603"/>
                    </a:lnTo>
                    <a:lnTo>
                      <a:pt x="462" y="603"/>
                    </a:lnTo>
                    <a:lnTo>
                      <a:pt x="457" y="603"/>
                    </a:lnTo>
                    <a:lnTo>
                      <a:pt x="453" y="601"/>
                    </a:lnTo>
                    <a:lnTo>
                      <a:pt x="453" y="594"/>
                    </a:lnTo>
                    <a:lnTo>
                      <a:pt x="451" y="594"/>
                    </a:lnTo>
                    <a:lnTo>
                      <a:pt x="451" y="598"/>
                    </a:lnTo>
                    <a:lnTo>
                      <a:pt x="438" y="605"/>
                    </a:lnTo>
                    <a:lnTo>
                      <a:pt x="436" y="609"/>
                    </a:lnTo>
                    <a:lnTo>
                      <a:pt x="430" y="611"/>
                    </a:lnTo>
                    <a:lnTo>
                      <a:pt x="423" y="613"/>
                    </a:lnTo>
                    <a:lnTo>
                      <a:pt x="419" y="615"/>
                    </a:lnTo>
                    <a:lnTo>
                      <a:pt x="415" y="622"/>
                    </a:lnTo>
                    <a:lnTo>
                      <a:pt x="415" y="626"/>
                    </a:lnTo>
                    <a:lnTo>
                      <a:pt x="411" y="628"/>
                    </a:lnTo>
                    <a:lnTo>
                      <a:pt x="400" y="637"/>
                    </a:lnTo>
                    <a:lnTo>
                      <a:pt x="398" y="641"/>
                    </a:lnTo>
                    <a:lnTo>
                      <a:pt x="398" y="647"/>
                    </a:lnTo>
                    <a:lnTo>
                      <a:pt x="389" y="654"/>
                    </a:lnTo>
                    <a:lnTo>
                      <a:pt x="383" y="654"/>
                    </a:lnTo>
                    <a:lnTo>
                      <a:pt x="381" y="650"/>
                    </a:lnTo>
                    <a:lnTo>
                      <a:pt x="374" y="650"/>
                    </a:lnTo>
                    <a:lnTo>
                      <a:pt x="379" y="654"/>
                    </a:lnTo>
                    <a:lnTo>
                      <a:pt x="383" y="658"/>
                    </a:lnTo>
                    <a:lnTo>
                      <a:pt x="387" y="662"/>
                    </a:lnTo>
                    <a:lnTo>
                      <a:pt x="383" y="673"/>
                    </a:lnTo>
                    <a:lnTo>
                      <a:pt x="376" y="675"/>
                    </a:lnTo>
                    <a:lnTo>
                      <a:pt x="372" y="673"/>
                    </a:lnTo>
                    <a:lnTo>
                      <a:pt x="366" y="675"/>
                    </a:lnTo>
                    <a:lnTo>
                      <a:pt x="370" y="677"/>
                    </a:lnTo>
                    <a:lnTo>
                      <a:pt x="372" y="682"/>
                    </a:lnTo>
                    <a:lnTo>
                      <a:pt x="368" y="686"/>
                    </a:lnTo>
                    <a:lnTo>
                      <a:pt x="362" y="688"/>
                    </a:lnTo>
                    <a:lnTo>
                      <a:pt x="362" y="682"/>
                    </a:lnTo>
                    <a:lnTo>
                      <a:pt x="357" y="686"/>
                    </a:lnTo>
                    <a:lnTo>
                      <a:pt x="351" y="686"/>
                    </a:lnTo>
                    <a:lnTo>
                      <a:pt x="349" y="690"/>
                    </a:lnTo>
                    <a:lnTo>
                      <a:pt x="349" y="696"/>
                    </a:lnTo>
                    <a:lnTo>
                      <a:pt x="338" y="699"/>
                    </a:lnTo>
                    <a:lnTo>
                      <a:pt x="336" y="703"/>
                    </a:lnTo>
                    <a:lnTo>
                      <a:pt x="336" y="709"/>
                    </a:lnTo>
                    <a:lnTo>
                      <a:pt x="332" y="713"/>
                    </a:lnTo>
                    <a:lnTo>
                      <a:pt x="332" y="718"/>
                    </a:lnTo>
                    <a:lnTo>
                      <a:pt x="338" y="716"/>
                    </a:lnTo>
                    <a:lnTo>
                      <a:pt x="342" y="718"/>
                    </a:lnTo>
                    <a:lnTo>
                      <a:pt x="347" y="718"/>
                    </a:lnTo>
                    <a:lnTo>
                      <a:pt x="351" y="724"/>
                    </a:lnTo>
                    <a:lnTo>
                      <a:pt x="355" y="726"/>
                    </a:lnTo>
                    <a:lnTo>
                      <a:pt x="359" y="733"/>
                    </a:lnTo>
                    <a:lnTo>
                      <a:pt x="351" y="741"/>
                    </a:lnTo>
                    <a:lnTo>
                      <a:pt x="345" y="743"/>
                    </a:lnTo>
                    <a:lnTo>
                      <a:pt x="338" y="743"/>
                    </a:lnTo>
                    <a:lnTo>
                      <a:pt x="336" y="748"/>
                    </a:lnTo>
                    <a:lnTo>
                      <a:pt x="330" y="750"/>
                    </a:lnTo>
                    <a:lnTo>
                      <a:pt x="332" y="756"/>
                    </a:lnTo>
                    <a:lnTo>
                      <a:pt x="327" y="758"/>
                    </a:lnTo>
                    <a:lnTo>
                      <a:pt x="321" y="760"/>
                    </a:lnTo>
                    <a:lnTo>
                      <a:pt x="327" y="760"/>
                    </a:lnTo>
                    <a:lnTo>
                      <a:pt x="327" y="765"/>
                    </a:lnTo>
                    <a:lnTo>
                      <a:pt x="323" y="769"/>
                    </a:lnTo>
                    <a:lnTo>
                      <a:pt x="319" y="771"/>
                    </a:lnTo>
                    <a:lnTo>
                      <a:pt x="313" y="769"/>
                    </a:lnTo>
                    <a:lnTo>
                      <a:pt x="313" y="775"/>
                    </a:lnTo>
                    <a:lnTo>
                      <a:pt x="308" y="773"/>
                    </a:lnTo>
                    <a:lnTo>
                      <a:pt x="304" y="773"/>
                    </a:lnTo>
                    <a:lnTo>
                      <a:pt x="298" y="777"/>
                    </a:lnTo>
                    <a:lnTo>
                      <a:pt x="296" y="782"/>
                    </a:lnTo>
                    <a:lnTo>
                      <a:pt x="289" y="782"/>
                    </a:lnTo>
                    <a:lnTo>
                      <a:pt x="289" y="788"/>
                    </a:lnTo>
                    <a:lnTo>
                      <a:pt x="283" y="786"/>
                    </a:lnTo>
                    <a:lnTo>
                      <a:pt x="279" y="784"/>
                    </a:lnTo>
                    <a:lnTo>
                      <a:pt x="279" y="788"/>
                    </a:lnTo>
                    <a:lnTo>
                      <a:pt x="274" y="792"/>
                    </a:lnTo>
                    <a:lnTo>
                      <a:pt x="272" y="797"/>
                    </a:lnTo>
                    <a:lnTo>
                      <a:pt x="268" y="797"/>
                    </a:lnTo>
                    <a:lnTo>
                      <a:pt x="264" y="797"/>
                    </a:lnTo>
                    <a:lnTo>
                      <a:pt x="264" y="801"/>
                    </a:lnTo>
                    <a:lnTo>
                      <a:pt x="259" y="799"/>
                    </a:lnTo>
                    <a:lnTo>
                      <a:pt x="247" y="805"/>
                    </a:lnTo>
                    <a:lnTo>
                      <a:pt x="251" y="807"/>
                    </a:lnTo>
                    <a:lnTo>
                      <a:pt x="249" y="811"/>
                    </a:lnTo>
                    <a:lnTo>
                      <a:pt x="249" y="818"/>
                    </a:lnTo>
                    <a:lnTo>
                      <a:pt x="234" y="828"/>
                    </a:lnTo>
                    <a:lnTo>
                      <a:pt x="230" y="822"/>
                    </a:lnTo>
                    <a:lnTo>
                      <a:pt x="227" y="826"/>
                    </a:lnTo>
                    <a:lnTo>
                      <a:pt x="221" y="828"/>
                    </a:lnTo>
                    <a:lnTo>
                      <a:pt x="221" y="831"/>
                    </a:lnTo>
                    <a:lnTo>
                      <a:pt x="217" y="831"/>
                    </a:lnTo>
                    <a:lnTo>
                      <a:pt x="212" y="828"/>
                    </a:lnTo>
                    <a:lnTo>
                      <a:pt x="212" y="833"/>
                    </a:lnTo>
                    <a:lnTo>
                      <a:pt x="208" y="837"/>
                    </a:lnTo>
                    <a:lnTo>
                      <a:pt x="202" y="839"/>
                    </a:lnTo>
                    <a:lnTo>
                      <a:pt x="198" y="835"/>
                    </a:lnTo>
                    <a:lnTo>
                      <a:pt x="193" y="839"/>
                    </a:lnTo>
                    <a:lnTo>
                      <a:pt x="198" y="841"/>
                    </a:lnTo>
                    <a:lnTo>
                      <a:pt x="195" y="848"/>
                    </a:lnTo>
                    <a:lnTo>
                      <a:pt x="191" y="843"/>
                    </a:lnTo>
                    <a:lnTo>
                      <a:pt x="185" y="846"/>
                    </a:lnTo>
                    <a:lnTo>
                      <a:pt x="181" y="843"/>
                    </a:lnTo>
                    <a:lnTo>
                      <a:pt x="170" y="852"/>
                    </a:lnTo>
                    <a:lnTo>
                      <a:pt x="176" y="850"/>
                    </a:lnTo>
                    <a:lnTo>
                      <a:pt x="181" y="854"/>
                    </a:lnTo>
                    <a:lnTo>
                      <a:pt x="176" y="858"/>
                    </a:lnTo>
                    <a:lnTo>
                      <a:pt x="181" y="860"/>
                    </a:lnTo>
                    <a:lnTo>
                      <a:pt x="176" y="860"/>
                    </a:lnTo>
                    <a:lnTo>
                      <a:pt x="172" y="869"/>
                    </a:lnTo>
                    <a:lnTo>
                      <a:pt x="170" y="869"/>
                    </a:lnTo>
                    <a:lnTo>
                      <a:pt x="168" y="865"/>
                    </a:lnTo>
                    <a:lnTo>
                      <a:pt x="172" y="860"/>
                    </a:lnTo>
                    <a:lnTo>
                      <a:pt x="166" y="863"/>
                    </a:lnTo>
                    <a:lnTo>
                      <a:pt x="164" y="867"/>
                    </a:lnTo>
                    <a:lnTo>
                      <a:pt x="157" y="869"/>
                    </a:lnTo>
                    <a:lnTo>
                      <a:pt x="153" y="871"/>
                    </a:lnTo>
                    <a:lnTo>
                      <a:pt x="149" y="869"/>
                    </a:lnTo>
                    <a:lnTo>
                      <a:pt x="138" y="873"/>
                    </a:lnTo>
                    <a:lnTo>
                      <a:pt x="132" y="882"/>
                    </a:lnTo>
                    <a:lnTo>
                      <a:pt x="125" y="886"/>
                    </a:lnTo>
                    <a:lnTo>
                      <a:pt x="129" y="882"/>
                    </a:lnTo>
                    <a:lnTo>
                      <a:pt x="129" y="875"/>
                    </a:lnTo>
                    <a:lnTo>
                      <a:pt x="132" y="871"/>
                    </a:lnTo>
                    <a:lnTo>
                      <a:pt x="127" y="869"/>
                    </a:lnTo>
                    <a:lnTo>
                      <a:pt x="119" y="871"/>
                    </a:lnTo>
                    <a:lnTo>
                      <a:pt x="117" y="875"/>
                    </a:lnTo>
                    <a:lnTo>
                      <a:pt x="110" y="877"/>
                    </a:lnTo>
                    <a:lnTo>
                      <a:pt x="106" y="875"/>
                    </a:lnTo>
                    <a:lnTo>
                      <a:pt x="100" y="884"/>
                    </a:lnTo>
                    <a:lnTo>
                      <a:pt x="98" y="880"/>
                    </a:lnTo>
                    <a:lnTo>
                      <a:pt x="93" y="880"/>
                    </a:lnTo>
                    <a:lnTo>
                      <a:pt x="93" y="884"/>
                    </a:lnTo>
                    <a:lnTo>
                      <a:pt x="89" y="884"/>
                    </a:lnTo>
                    <a:lnTo>
                      <a:pt x="85" y="882"/>
                    </a:lnTo>
                    <a:lnTo>
                      <a:pt x="78" y="884"/>
                    </a:lnTo>
                    <a:lnTo>
                      <a:pt x="74" y="886"/>
                    </a:lnTo>
                    <a:lnTo>
                      <a:pt x="68" y="884"/>
                    </a:lnTo>
                    <a:lnTo>
                      <a:pt x="68" y="877"/>
                    </a:lnTo>
                    <a:lnTo>
                      <a:pt x="70" y="873"/>
                    </a:lnTo>
                    <a:lnTo>
                      <a:pt x="76" y="875"/>
                    </a:lnTo>
                    <a:lnTo>
                      <a:pt x="74" y="869"/>
                    </a:lnTo>
                    <a:lnTo>
                      <a:pt x="68" y="869"/>
                    </a:lnTo>
                    <a:lnTo>
                      <a:pt x="63" y="871"/>
                    </a:lnTo>
                    <a:lnTo>
                      <a:pt x="57" y="882"/>
                    </a:lnTo>
                    <a:lnTo>
                      <a:pt x="53" y="884"/>
                    </a:lnTo>
                    <a:lnTo>
                      <a:pt x="49" y="886"/>
                    </a:lnTo>
                    <a:lnTo>
                      <a:pt x="49" y="890"/>
                    </a:lnTo>
                    <a:lnTo>
                      <a:pt x="42" y="892"/>
                    </a:lnTo>
                    <a:lnTo>
                      <a:pt x="36" y="897"/>
                    </a:lnTo>
                    <a:lnTo>
                      <a:pt x="32" y="895"/>
                    </a:lnTo>
                    <a:lnTo>
                      <a:pt x="32" y="888"/>
                    </a:lnTo>
                    <a:lnTo>
                      <a:pt x="32" y="877"/>
                    </a:lnTo>
                    <a:lnTo>
                      <a:pt x="25" y="880"/>
                    </a:lnTo>
                    <a:lnTo>
                      <a:pt x="27" y="884"/>
                    </a:lnTo>
                    <a:lnTo>
                      <a:pt x="25" y="890"/>
                    </a:lnTo>
                    <a:lnTo>
                      <a:pt x="25" y="895"/>
                    </a:lnTo>
                    <a:lnTo>
                      <a:pt x="14" y="895"/>
                    </a:lnTo>
                    <a:lnTo>
                      <a:pt x="14" y="890"/>
                    </a:lnTo>
                    <a:lnTo>
                      <a:pt x="12" y="884"/>
                    </a:lnTo>
                    <a:lnTo>
                      <a:pt x="8" y="882"/>
                    </a:lnTo>
                    <a:lnTo>
                      <a:pt x="6" y="888"/>
                    </a:lnTo>
                    <a:lnTo>
                      <a:pt x="10" y="892"/>
                    </a:lnTo>
                    <a:lnTo>
                      <a:pt x="4" y="897"/>
                    </a:lnTo>
                    <a:lnTo>
                      <a:pt x="0" y="899"/>
                    </a:lnTo>
                    <a:lnTo>
                      <a:pt x="0" y="892"/>
                    </a:lnTo>
                    <a:lnTo>
                      <a:pt x="4" y="888"/>
                    </a:lnTo>
                    <a:lnTo>
                      <a:pt x="4" y="884"/>
                    </a:lnTo>
                    <a:lnTo>
                      <a:pt x="8" y="880"/>
                    </a:lnTo>
                    <a:lnTo>
                      <a:pt x="12" y="877"/>
                    </a:lnTo>
                    <a:lnTo>
                      <a:pt x="19" y="882"/>
                    </a:lnTo>
                    <a:lnTo>
                      <a:pt x="21" y="875"/>
                    </a:lnTo>
                    <a:lnTo>
                      <a:pt x="32" y="875"/>
                    </a:lnTo>
                    <a:lnTo>
                      <a:pt x="36" y="871"/>
                    </a:lnTo>
                    <a:lnTo>
                      <a:pt x="38" y="867"/>
                    </a:lnTo>
                    <a:lnTo>
                      <a:pt x="49" y="858"/>
                    </a:lnTo>
                    <a:lnTo>
                      <a:pt x="66" y="850"/>
                    </a:lnTo>
                    <a:lnTo>
                      <a:pt x="80" y="850"/>
                    </a:lnTo>
                    <a:lnTo>
                      <a:pt x="85" y="852"/>
                    </a:lnTo>
                    <a:lnTo>
                      <a:pt x="91" y="854"/>
                    </a:lnTo>
                    <a:lnTo>
                      <a:pt x="89" y="858"/>
                    </a:lnTo>
                    <a:lnTo>
                      <a:pt x="91" y="865"/>
                    </a:lnTo>
                    <a:lnTo>
                      <a:pt x="95" y="867"/>
                    </a:lnTo>
                    <a:lnTo>
                      <a:pt x="95" y="863"/>
                    </a:lnTo>
                    <a:lnTo>
                      <a:pt x="102" y="863"/>
                    </a:lnTo>
                    <a:lnTo>
                      <a:pt x="106" y="867"/>
                    </a:lnTo>
                    <a:lnTo>
                      <a:pt x="110" y="869"/>
                    </a:lnTo>
                    <a:lnTo>
                      <a:pt x="110" y="865"/>
                    </a:lnTo>
                    <a:lnTo>
                      <a:pt x="106" y="860"/>
                    </a:lnTo>
                    <a:lnTo>
                      <a:pt x="106" y="856"/>
                    </a:lnTo>
                    <a:lnTo>
                      <a:pt x="110" y="846"/>
                    </a:lnTo>
                    <a:lnTo>
                      <a:pt x="115" y="841"/>
                    </a:lnTo>
                    <a:lnTo>
                      <a:pt x="125" y="835"/>
                    </a:lnTo>
                    <a:lnTo>
                      <a:pt x="129" y="833"/>
                    </a:lnTo>
                    <a:lnTo>
                      <a:pt x="134" y="828"/>
                    </a:lnTo>
                    <a:lnTo>
                      <a:pt x="144" y="826"/>
                    </a:lnTo>
                    <a:lnTo>
                      <a:pt x="157" y="824"/>
                    </a:lnTo>
                    <a:lnTo>
                      <a:pt x="159" y="820"/>
                    </a:lnTo>
                    <a:lnTo>
                      <a:pt x="166" y="818"/>
                    </a:lnTo>
                    <a:lnTo>
                      <a:pt x="170" y="822"/>
                    </a:lnTo>
                    <a:lnTo>
                      <a:pt x="174" y="818"/>
                    </a:lnTo>
                    <a:lnTo>
                      <a:pt x="176" y="814"/>
                    </a:lnTo>
                    <a:lnTo>
                      <a:pt x="178" y="809"/>
                    </a:lnTo>
                    <a:lnTo>
                      <a:pt x="185" y="801"/>
                    </a:lnTo>
                    <a:lnTo>
                      <a:pt x="191" y="797"/>
                    </a:lnTo>
                    <a:lnTo>
                      <a:pt x="208" y="786"/>
                    </a:lnTo>
                    <a:lnTo>
                      <a:pt x="212" y="786"/>
                    </a:lnTo>
                    <a:lnTo>
                      <a:pt x="212" y="790"/>
                    </a:lnTo>
                    <a:lnTo>
                      <a:pt x="219" y="792"/>
                    </a:lnTo>
                    <a:lnTo>
                      <a:pt x="223" y="788"/>
                    </a:lnTo>
                    <a:lnTo>
                      <a:pt x="217" y="790"/>
                    </a:lnTo>
                    <a:lnTo>
                      <a:pt x="217" y="784"/>
                    </a:lnTo>
                    <a:lnTo>
                      <a:pt x="215" y="779"/>
                    </a:lnTo>
                    <a:lnTo>
                      <a:pt x="217" y="769"/>
                    </a:lnTo>
                    <a:lnTo>
                      <a:pt x="221" y="754"/>
                    </a:lnTo>
                    <a:lnTo>
                      <a:pt x="227" y="752"/>
                    </a:lnTo>
                    <a:lnTo>
                      <a:pt x="234" y="752"/>
                    </a:lnTo>
                    <a:lnTo>
                      <a:pt x="236" y="754"/>
                    </a:lnTo>
                    <a:lnTo>
                      <a:pt x="232" y="750"/>
                    </a:lnTo>
                    <a:lnTo>
                      <a:pt x="227" y="750"/>
                    </a:lnTo>
                    <a:lnTo>
                      <a:pt x="225" y="743"/>
                    </a:lnTo>
                    <a:lnTo>
                      <a:pt x="227" y="739"/>
                    </a:lnTo>
                    <a:lnTo>
                      <a:pt x="230" y="735"/>
                    </a:lnTo>
                    <a:lnTo>
                      <a:pt x="236" y="731"/>
                    </a:lnTo>
                    <a:lnTo>
                      <a:pt x="238" y="726"/>
                    </a:lnTo>
                    <a:lnTo>
                      <a:pt x="249" y="722"/>
                    </a:lnTo>
                    <a:lnTo>
                      <a:pt x="249" y="716"/>
                    </a:lnTo>
                    <a:lnTo>
                      <a:pt x="249" y="711"/>
                    </a:lnTo>
                    <a:lnTo>
                      <a:pt x="255" y="707"/>
                    </a:lnTo>
                    <a:lnTo>
                      <a:pt x="255" y="703"/>
                    </a:lnTo>
                    <a:lnTo>
                      <a:pt x="257" y="699"/>
                    </a:lnTo>
                    <a:lnTo>
                      <a:pt x="255" y="703"/>
                    </a:lnTo>
                    <a:lnTo>
                      <a:pt x="255" y="703"/>
                    </a:lnTo>
                    <a:lnTo>
                      <a:pt x="251" y="707"/>
                    </a:lnTo>
                    <a:lnTo>
                      <a:pt x="247" y="711"/>
                    </a:lnTo>
                    <a:lnTo>
                      <a:pt x="240" y="713"/>
                    </a:lnTo>
                    <a:lnTo>
                      <a:pt x="225" y="718"/>
                    </a:lnTo>
                    <a:lnTo>
                      <a:pt x="212" y="722"/>
                    </a:lnTo>
                    <a:lnTo>
                      <a:pt x="208" y="722"/>
                    </a:lnTo>
                    <a:lnTo>
                      <a:pt x="206" y="718"/>
                    </a:lnTo>
                    <a:lnTo>
                      <a:pt x="206" y="713"/>
                    </a:lnTo>
                    <a:lnTo>
                      <a:pt x="202" y="709"/>
                    </a:lnTo>
                    <a:lnTo>
                      <a:pt x="206" y="701"/>
                    </a:lnTo>
                    <a:lnTo>
                      <a:pt x="212" y="699"/>
                    </a:lnTo>
                    <a:lnTo>
                      <a:pt x="217" y="701"/>
                    </a:lnTo>
                    <a:lnTo>
                      <a:pt x="217" y="705"/>
                    </a:lnTo>
                    <a:lnTo>
                      <a:pt x="219" y="707"/>
                    </a:lnTo>
                    <a:lnTo>
                      <a:pt x="219" y="701"/>
                    </a:lnTo>
                    <a:lnTo>
                      <a:pt x="208" y="694"/>
                    </a:lnTo>
                    <a:lnTo>
                      <a:pt x="206" y="688"/>
                    </a:lnTo>
                    <a:lnTo>
                      <a:pt x="208" y="692"/>
                    </a:lnTo>
                    <a:lnTo>
                      <a:pt x="202" y="701"/>
                    </a:lnTo>
                    <a:lnTo>
                      <a:pt x="198" y="699"/>
                    </a:lnTo>
                    <a:lnTo>
                      <a:pt x="195" y="709"/>
                    </a:lnTo>
                    <a:lnTo>
                      <a:pt x="191" y="711"/>
                    </a:lnTo>
                    <a:lnTo>
                      <a:pt x="191" y="720"/>
                    </a:lnTo>
                    <a:lnTo>
                      <a:pt x="193" y="726"/>
                    </a:lnTo>
                    <a:lnTo>
                      <a:pt x="189" y="731"/>
                    </a:lnTo>
                    <a:lnTo>
                      <a:pt x="185" y="728"/>
                    </a:lnTo>
                    <a:lnTo>
                      <a:pt x="183" y="726"/>
                    </a:lnTo>
                    <a:lnTo>
                      <a:pt x="176" y="705"/>
                    </a:lnTo>
                    <a:lnTo>
                      <a:pt x="172" y="701"/>
                    </a:lnTo>
                    <a:lnTo>
                      <a:pt x="172" y="694"/>
                    </a:lnTo>
                    <a:lnTo>
                      <a:pt x="166" y="699"/>
                    </a:lnTo>
                    <a:lnTo>
                      <a:pt x="161" y="701"/>
                    </a:lnTo>
                    <a:lnTo>
                      <a:pt x="161" y="694"/>
                    </a:lnTo>
                    <a:lnTo>
                      <a:pt x="157" y="692"/>
                    </a:lnTo>
                    <a:lnTo>
                      <a:pt x="155" y="686"/>
                    </a:lnTo>
                    <a:lnTo>
                      <a:pt x="151" y="684"/>
                    </a:lnTo>
                    <a:lnTo>
                      <a:pt x="138" y="688"/>
                    </a:lnTo>
                    <a:lnTo>
                      <a:pt x="134" y="688"/>
                    </a:lnTo>
                    <a:lnTo>
                      <a:pt x="127" y="690"/>
                    </a:lnTo>
                    <a:lnTo>
                      <a:pt x="123" y="690"/>
                    </a:lnTo>
                    <a:lnTo>
                      <a:pt x="119" y="694"/>
                    </a:lnTo>
                    <a:lnTo>
                      <a:pt x="106" y="701"/>
                    </a:lnTo>
                    <a:lnTo>
                      <a:pt x="102" y="696"/>
                    </a:lnTo>
                    <a:lnTo>
                      <a:pt x="98" y="694"/>
                    </a:lnTo>
                    <a:lnTo>
                      <a:pt x="102" y="694"/>
                    </a:lnTo>
                    <a:lnTo>
                      <a:pt x="106" y="690"/>
                    </a:lnTo>
                    <a:lnTo>
                      <a:pt x="108" y="686"/>
                    </a:lnTo>
                    <a:lnTo>
                      <a:pt x="108" y="675"/>
                    </a:lnTo>
                    <a:lnTo>
                      <a:pt x="115" y="673"/>
                    </a:lnTo>
                    <a:lnTo>
                      <a:pt x="106" y="662"/>
                    </a:lnTo>
                    <a:lnTo>
                      <a:pt x="106" y="658"/>
                    </a:lnTo>
                    <a:lnTo>
                      <a:pt x="119" y="645"/>
                    </a:lnTo>
                    <a:lnTo>
                      <a:pt x="115" y="624"/>
                    </a:lnTo>
                    <a:lnTo>
                      <a:pt x="117" y="620"/>
                    </a:lnTo>
                    <a:lnTo>
                      <a:pt x="115" y="615"/>
                    </a:lnTo>
                    <a:lnTo>
                      <a:pt x="115" y="611"/>
                    </a:lnTo>
                    <a:lnTo>
                      <a:pt x="115" y="607"/>
                    </a:lnTo>
                    <a:lnTo>
                      <a:pt x="112" y="601"/>
                    </a:lnTo>
                    <a:lnTo>
                      <a:pt x="115" y="596"/>
                    </a:lnTo>
                    <a:lnTo>
                      <a:pt x="121" y="586"/>
                    </a:lnTo>
                    <a:lnTo>
                      <a:pt x="123" y="581"/>
                    </a:lnTo>
                    <a:lnTo>
                      <a:pt x="129" y="581"/>
                    </a:lnTo>
                    <a:lnTo>
                      <a:pt x="134" y="579"/>
                    </a:lnTo>
                    <a:lnTo>
                      <a:pt x="127" y="579"/>
                    </a:lnTo>
                    <a:lnTo>
                      <a:pt x="125" y="575"/>
                    </a:lnTo>
                    <a:lnTo>
                      <a:pt x="125" y="579"/>
                    </a:lnTo>
                    <a:lnTo>
                      <a:pt x="121" y="584"/>
                    </a:lnTo>
                    <a:lnTo>
                      <a:pt x="115" y="592"/>
                    </a:lnTo>
                    <a:lnTo>
                      <a:pt x="108" y="594"/>
                    </a:lnTo>
                    <a:lnTo>
                      <a:pt x="104" y="598"/>
                    </a:lnTo>
                    <a:lnTo>
                      <a:pt x="110" y="603"/>
                    </a:lnTo>
                    <a:lnTo>
                      <a:pt x="106" y="611"/>
                    </a:lnTo>
                    <a:lnTo>
                      <a:pt x="104" y="613"/>
                    </a:lnTo>
                    <a:lnTo>
                      <a:pt x="100" y="613"/>
                    </a:lnTo>
                    <a:lnTo>
                      <a:pt x="98" y="611"/>
                    </a:lnTo>
                    <a:lnTo>
                      <a:pt x="93" y="615"/>
                    </a:lnTo>
                    <a:lnTo>
                      <a:pt x="87" y="618"/>
                    </a:lnTo>
                    <a:lnTo>
                      <a:pt x="76" y="618"/>
                    </a:lnTo>
                    <a:lnTo>
                      <a:pt x="68" y="615"/>
                    </a:lnTo>
                    <a:lnTo>
                      <a:pt x="57" y="611"/>
                    </a:lnTo>
                    <a:lnTo>
                      <a:pt x="57" y="605"/>
                    </a:lnTo>
                    <a:lnTo>
                      <a:pt x="61" y="601"/>
                    </a:lnTo>
                    <a:lnTo>
                      <a:pt x="57" y="596"/>
                    </a:lnTo>
                    <a:lnTo>
                      <a:pt x="53" y="590"/>
                    </a:lnTo>
                    <a:lnTo>
                      <a:pt x="53" y="588"/>
                    </a:lnTo>
                    <a:lnTo>
                      <a:pt x="51" y="581"/>
                    </a:lnTo>
                    <a:lnTo>
                      <a:pt x="51" y="577"/>
                    </a:lnTo>
                    <a:lnTo>
                      <a:pt x="49" y="579"/>
                    </a:lnTo>
                    <a:lnTo>
                      <a:pt x="44" y="575"/>
                    </a:lnTo>
                    <a:lnTo>
                      <a:pt x="40" y="571"/>
                    </a:lnTo>
                    <a:lnTo>
                      <a:pt x="44" y="567"/>
                    </a:lnTo>
                    <a:lnTo>
                      <a:pt x="34" y="560"/>
                    </a:lnTo>
                    <a:lnTo>
                      <a:pt x="40" y="558"/>
                    </a:lnTo>
                    <a:lnTo>
                      <a:pt x="44" y="556"/>
                    </a:lnTo>
                    <a:lnTo>
                      <a:pt x="49" y="552"/>
                    </a:lnTo>
                    <a:lnTo>
                      <a:pt x="55" y="547"/>
                    </a:lnTo>
                    <a:lnTo>
                      <a:pt x="59" y="545"/>
                    </a:lnTo>
                    <a:lnTo>
                      <a:pt x="59" y="549"/>
                    </a:lnTo>
                    <a:lnTo>
                      <a:pt x="63" y="552"/>
                    </a:lnTo>
                    <a:lnTo>
                      <a:pt x="68" y="556"/>
                    </a:lnTo>
                    <a:lnTo>
                      <a:pt x="70" y="560"/>
                    </a:lnTo>
                    <a:lnTo>
                      <a:pt x="61" y="567"/>
                    </a:lnTo>
                    <a:lnTo>
                      <a:pt x="68" y="562"/>
                    </a:lnTo>
                    <a:lnTo>
                      <a:pt x="72" y="562"/>
                    </a:lnTo>
                    <a:lnTo>
                      <a:pt x="78" y="558"/>
                    </a:lnTo>
                    <a:lnTo>
                      <a:pt x="80" y="564"/>
                    </a:lnTo>
                    <a:lnTo>
                      <a:pt x="78" y="569"/>
                    </a:lnTo>
                    <a:lnTo>
                      <a:pt x="83" y="571"/>
                    </a:lnTo>
                    <a:lnTo>
                      <a:pt x="87" y="569"/>
                    </a:lnTo>
                    <a:lnTo>
                      <a:pt x="91" y="564"/>
                    </a:lnTo>
                    <a:lnTo>
                      <a:pt x="87" y="558"/>
                    </a:lnTo>
                    <a:lnTo>
                      <a:pt x="83" y="556"/>
                    </a:lnTo>
                    <a:lnTo>
                      <a:pt x="89" y="556"/>
                    </a:lnTo>
                    <a:lnTo>
                      <a:pt x="87" y="549"/>
                    </a:lnTo>
                    <a:lnTo>
                      <a:pt x="80" y="554"/>
                    </a:lnTo>
                    <a:lnTo>
                      <a:pt x="76" y="552"/>
                    </a:lnTo>
                    <a:lnTo>
                      <a:pt x="66" y="549"/>
                    </a:lnTo>
                    <a:lnTo>
                      <a:pt x="61" y="545"/>
                    </a:lnTo>
                    <a:lnTo>
                      <a:pt x="57" y="543"/>
                    </a:lnTo>
                    <a:lnTo>
                      <a:pt x="51" y="541"/>
                    </a:lnTo>
                    <a:lnTo>
                      <a:pt x="51" y="537"/>
                    </a:lnTo>
                    <a:lnTo>
                      <a:pt x="55" y="537"/>
                    </a:lnTo>
                    <a:lnTo>
                      <a:pt x="61" y="532"/>
                    </a:lnTo>
                    <a:lnTo>
                      <a:pt x="51" y="530"/>
                    </a:lnTo>
                    <a:lnTo>
                      <a:pt x="55" y="526"/>
                    </a:lnTo>
                    <a:lnTo>
                      <a:pt x="49" y="526"/>
                    </a:lnTo>
                    <a:lnTo>
                      <a:pt x="51" y="522"/>
                    </a:lnTo>
                    <a:lnTo>
                      <a:pt x="53" y="515"/>
                    </a:lnTo>
                    <a:lnTo>
                      <a:pt x="66" y="511"/>
                    </a:lnTo>
                    <a:lnTo>
                      <a:pt x="70" y="507"/>
                    </a:lnTo>
                    <a:lnTo>
                      <a:pt x="72" y="505"/>
                    </a:lnTo>
                    <a:lnTo>
                      <a:pt x="68" y="509"/>
                    </a:lnTo>
                    <a:lnTo>
                      <a:pt x="55" y="513"/>
                    </a:lnTo>
                    <a:lnTo>
                      <a:pt x="49" y="522"/>
                    </a:lnTo>
                    <a:lnTo>
                      <a:pt x="46" y="526"/>
                    </a:lnTo>
                    <a:lnTo>
                      <a:pt x="42" y="528"/>
                    </a:lnTo>
                    <a:lnTo>
                      <a:pt x="40" y="524"/>
                    </a:lnTo>
                    <a:lnTo>
                      <a:pt x="40" y="518"/>
                    </a:lnTo>
                    <a:lnTo>
                      <a:pt x="36" y="513"/>
                    </a:lnTo>
                    <a:lnTo>
                      <a:pt x="36" y="507"/>
                    </a:lnTo>
                    <a:lnTo>
                      <a:pt x="42" y="505"/>
                    </a:lnTo>
                    <a:lnTo>
                      <a:pt x="38" y="498"/>
                    </a:lnTo>
                    <a:lnTo>
                      <a:pt x="34" y="500"/>
                    </a:lnTo>
                    <a:lnTo>
                      <a:pt x="32" y="494"/>
                    </a:lnTo>
                    <a:lnTo>
                      <a:pt x="34" y="490"/>
                    </a:lnTo>
                    <a:lnTo>
                      <a:pt x="38" y="492"/>
                    </a:lnTo>
                    <a:lnTo>
                      <a:pt x="44" y="492"/>
                    </a:lnTo>
                    <a:lnTo>
                      <a:pt x="40" y="488"/>
                    </a:lnTo>
                    <a:lnTo>
                      <a:pt x="40" y="483"/>
                    </a:lnTo>
                    <a:lnTo>
                      <a:pt x="49" y="483"/>
                    </a:lnTo>
                    <a:lnTo>
                      <a:pt x="51" y="479"/>
                    </a:lnTo>
                    <a:lnTo>
                      <a:pt x="51" y="475"/>
                    </a:lnTo>
                    <a:lnTo>
                      <a:pt x="55" y="471"/>
                    </a:lnTo>
                    <a:lnTo>
                      <a:pt x="74" y="454"/>
                    </a:lnTo>
                    <a:lnTo>
                      <a:pt x="80" y="451"/>
                    </a:lnTo>
                    <a:lnTo>
                      <a:pt x="85" y="454"/>
                    </a:lnTo>
                    <a:lnTo>
                      <a:pt x="85" y="456"/>
                    </a:lnTo>
                    <a:lnTo>
                      <a:pt x="85" y="456"/>
                    </a:lnTo>
                    <a:lnTo>
                      <a:pt x="85" y="456"/>
                    </a:lnTo>
                    <a:lnTo>
                      <a:pt x="87" y="460"/>
                    </a:lnTo>
                    <a:lnTo>
                      <a:pt x="89" y="460"/>
                    </a:lnTo>
                    <a:lnTo>
                      <a:pt x="85" y="456"/>
                    </a:lnTo>
                    <a:lnTo>
                      <a:pt x="85" y="456"/>
                    </a:lnTo>
                    <a:lnTo>
                      <a:pt x="85" y="451"/>
                    </a:lnTo>
                    <a:lnTo>
                      <a:pt x="91" y="449"/>
                    </a:lnTo>
                    <a:lnTo>
                      <a:pt x="98" y="443"/>
                    </a:lnTo>
                    <a:lnTo>
                      <a:pt x="91" y="447"/>
                    </a:lnTo>
                    <a:lnTo>
                      <a:pt x="87" y="441"/>
                    </a:lnTo>
                    <a:lnTo>
                      <a:pt x="91" y="439"/>
                    </a:lnTo>
                    <a:lnTo>
                      <a:pt x="91" y="434"/>
                    </a:lnTo>
                    <a:lnTo>
                      <a:pt x="93" y="430"/>
                    </a:lnTo>
                    <a:lnTo>
                      <a:pt x="100" y="428"/>
                    </a:lnTo>
                    <a:lnTo>
                      <a:pt x="106" y="430"/>
                    </a:lnTo>
                    <a:lnTo>
                      <a:pt x="102" y="424"/>
                    </a:lnTo>
                    <a:lnTo>
                      <a:pt x="104" y="420"/>
                    </a:lnTo>
                    <a:lnTo>
                      <a:pt x="110" y="417"/>
                    </a:lnTo>
                    <a:lnTo>
                      <a:pt x="115" y="417"/>
                    </a:lnTo>
                    <a:lnTo>
                      <a:pt x="123" y="424"/>
                    </a:lnTo>
                    <a:lnTo>
                      <a:pt x="125" y="428"/>
                    </a:lnTo>
                    <a:lnTo>
                      <a:pt x="119" y="437"/>
                    </a:lnTo>
                    <a:lnTo>
                      <a:pt x="125" y="432"/>
                    </a:lnTo>
                    <a:lnTo>
                      <a:pt x="129" y="432"/>
                    </a:lnTo>
                    <a:lnTo>
                      <a:pt x="134" y="437"/>
                    </a:lnTo>
                    <a:lnTo>
                      <a:pt x="138" y="437"/>
                    </a:lnTo>
                    <a:lnTo>
                      <a:pt x="151" y="430"/>
                    </a:lnTo>
                    <a:lnTo>
                      <a:pt x="159" y="422"/>
                    </a:lnTo>
                    <a:lnTo>
                      <a:pt x="166" y="417"/>
                    </a:lnTo>
                    <a:lnTo>
                      <a:pt x="170" y="420"/>
                    </a:lnTo>
                    <a:lnTo>
                      <a:pt x="174" y="424"/>
                    </a:lnTo>
                    <a:lnTo>
                      <a:pt x="178" y="424"/>
                    </a:lnTo>
                    <a:lnTo>
                      <a:pt x="189" y="426"/>
                    </a:lnTo>
                    <a:lnTo>
                      <a:pt x="195" y="424"/>
                    </a:lnTo>
                    <a:lnTo>
                      <a:pt x="204" y="415"/>
                    </a:lnTo>
                    <a:lnTo>
                      <a:pt x="206" y="411"/>
                    </a:lnTo>
                    <a:lnTo>
                      <a:pt x="206" y="394"/>
                    </a:lnTo>
                    <a:lnTo>
                      <a:pt x="208" y="383"/>
                    </a:lnTo>
                    <a:lnTo>
                      <a:pt x="204" y="373"/>
                    </a:lnTo>
                    <a:lnTo>
                      <a:pt x="200" y="371"/>
                    </a:lnTo>
                    <a:lnTo>
                      <a:pt x="200" y="366"/>
                    </a:lnTo>
                    <a:lnTo>
                      <a:pt x="202" y="364"/>
                    </a:lnTo>
                    <a:lnTo>
                      <a:pt x="206" y="368"/>
                    </a:lnTo>
                    <a:lnTo>
                      <a:pt x="212" y="366"/>
                    </a:lnTo>
                    <a:lnTo>
                      <a:pt x="219" y="362"/>
                    </a:lnTo>
                    <a:lnTo>
                      <a:pt x="219" y="358"/>
                    </a:lnTo>
                    <a:lnTo>
                      <a:pt x="219" y="351"/>
                    </a:lnTo>
                    <a:lnTo>
                      <a:pt x="215" y="347"/>
                    </a:lnTo>
                    <a:lnTo>
                      <a:pt x="217" y="345"/>
                    </a:lnTo>
                    <a:lnTo>
                      <a:pt x="212" y="343"/>
                    </a:lnTo>
                    <a:lnTo>
                      <a:pt x="208" y="347"/>
                    </a:lnTo>
                    <a:lnTo>
                      <a:pt x="202" y="351"/>
                    </a:lnTo>
                    <a:lnTo>
                      <a:pt x="198" y="347"/>
                    </a:lnTo>
                    <a:lnTo>
                      <a:pt x="191" y="349"/>
                    </a:lnTo>
                    <a:lnTo>
                      <a:pt x="187" y="351"/>
                    </a:lnTo>
                    <a:lnTo>
                      <a:pt x="181" y="356"/>
                    </a:lnTo>
                    <a:lnTo>
                      <a:pt x="174" y="358"/>
                    </a:lnTo>
                    <a:lnTo>
                      <a:pt x="168" y="366"/>
                    </a:lnTo>
                    <a:lnTo>
                      <a:pt x="166" y="356"/>
                    </a:lnTo>
                    <a:lnTo>
                      <a:pt x="161" y="349"/>
                    </a:lnTo>
                    <a:lnTo>
                      <a:pt x="157" y="349"/>
                    </a:lnTo>
                    <a:lnTo>
                      <a:pt x="159" y="356"/>
                    </a:lnTo>
                    <a:lnTo>
                      <a:pt x="159" y="360"/>
                    </a:lnTo>
                    <a:lnTo>
                      <a:pt x="151" y="349"/>
                    </a:lnTo>
                    <a:lnTo>
                      <a:pt x="146" y="347"/>
                    </a:lnTo>
                    <a:lnTo>
                      <a:pt x="132" y="343"/>
                    </a:lnTo>
                    <a:lnTo>
                      <a:pt x="121" y="345"/>
                    </a:lnTo>
                    <a:lnTo>
                      <a:pt x="117" y="343"/>
                    </a:lnTo>
                    <a:lnTo>
                      <a:pt x="110" y="343"/>
                    </a:lnTo>
                    <a:lnTo>
                      <a:pt x="102" y="336"/>
                    </a:lnTo>
                    <a:lnTo>
                      <a:pt x="89" y="328"/>
                    </a:lnTo>
                    <a:lnTo>
                      <a:pt x="85" y="324"/>
                    </a:lnTo>
                    <a:lnTo>
                      <a:pt x="85" y="319"/>
                    </a:lnTo>
                    <a:lnTo>
                      <a:pt x="89" y="309"/>
                    </a:lnTo>
                    <a:lnTo>
                      <a:pt x="89" y="309"/>
                    </a:lnTo>
                    <a:lnTo>
                      <a:pt x="85" y="302"/>
                    </a:lnTo>
                    <a:lnTo>
                      <a:pt x="85" y="298"/>
                    </a:lnTo>
                    <a:lnTo>
                      <a:pt x="80" y="292"/>
                    </a:lnTo>
                    <a:lnTo>
                      <a:pt x="83" y="287"/>
                    </a:lnTo>
                    <a:lnTo>
                      <a:pt x="83" y="292"/>
                    </a:lnTo>
                    <a:lnTo>
                      <a:pt x="87" y="294"/>
                    </a:lnTo>
                    <a:lnTo>
                      <a:pt x="91" y="294"/>
                    </a:lnTo>
                    <a:lnTo>
                      <a:pt x="95" y="290"/>
                    </a:lnTo>
                    <a:lnTo>
                      <a:pt x="100" y="292"/>
                    </a:lnTo>
                    <a:lnTo>
                      <a:pt x="104" y="294"/>
                    </a:lnTo>
                    <a:lnTo>
                      <a:pt x="100" y="287"/>
                    </a:lnTo>
                    <a:lnTo>
                      <a:pt x="87" y="279"/>
                    </a:lnTo>
                    <a:lnTo>
                      <a:pt x="91" y="283"/>
                    </a:lnTo>
                    <a:lnTo>
                      <a:pt x="87" y="281"/>
                    </a:lnTo>
                    <a:lnTo>
                      <a:pt x="83" y="277"/>
                    </a:lnTo>
                    <a:lnTo>
                      <a:pt x="78" y="275"/>
                    </a:lnTo>
                    <a:lnTo>
                      <a:pt x="74" y="270"/>
                    </a:lnTo>
                    <a:lnTo>
                      <a:pt x="63" y="253"/>
                    </a:lnTo>
                    <a:lnTo>
                      <a:pt x="68" y="253"/>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3" name="Rectangle 1141"/>
              <p:cNvSpPr>
                <a:spLocks noChangeArrowheads="1"/>
              </p:cNvSpPr>
              <p:nvPr/>
            </p:nvSpPr>
            <p:spPr bwMode="auto">
              <a:xfrm>
                <a:off x="566" y="351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1142"/>
              <p:cNvSpPr>
                <a:spLocks/>
              </p:cNvSpPr>
              <p:nvPr/>
            </p:nvSpPr>
            <p:spPr bwMode="auto">
              <a:xfrm>
                <a:off x="566" y="35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5" name="Freeform 1143"/>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1144"/>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7" name="Freeform 1145"/>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1146"/>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9" name="Freeform 1147"/>
              <p:cNvSpPr>
                <a:spLocks/>
              </p:cNvSpPr>
              <p:nvPr/>
            </p:nvSpPr>
            <p:spPr bwMode="auto">
              <a:xfrm>
                <a:off x="834" y="3827"/>
                <a:ext cx="9" cy="9"/>
              </a:xfrm>
              <a:custGeom>
                <a:avLst/>
                <a:gdLst>
                  <a:gd name="T0" fmla="*/ 0 w 9"/>
                  <a:gd name="T1" fmla="*/ 0 h 9"/>
                  <a:gd name="T2" fmla="*/ 2 w 9"/>
                  <a:gd name="T3" fmla="*/ 2 h 9"/>
                  <a:gd name="T4" fmla="*/ 6 w 9"/>
                  <a:gd name="T5" fmla="*/ 6 h 9"/>
                  <a:gd name="T6" fmla="*/ 9 w 9"/>
                  <a:gd name="T7" fmla="*/ 9 h 9"/>
                  <a:gd name="T8" fmla="*/ 4 w 9"/>
                  <a:gd name="T9" fmla="*/ 9 h 9"/>
                  <a:gd name="T10" fmla="*/ 0 w 9"/>
                  <a:gd name="T11" fmla="*/ 4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2" y="2"/>
                    </a:lnTo>
                    <a:lnTo>
                      <a:pt x="6" y="6"/>
                    </a:lnTo>
                    <a:lnTo>
                      <a:pt x="9" y="9"/>
                    </a:lnTo>
                    <a:lnTo>
                      <a:pt x="4" y="9"/>
                    </a:lnTo>
                    <a:lnTo>
                      <a:pt x="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1148"/>
              <p:cNvSpPr>
                <a:spLocks/>
              </p:cNvSpPr>
              <p:nvPr/>
            </p:nvSpPr>
            <p:spPr bwMode="auto">
              <a:xfrm>
                <a:off x="834" y="3827"/>
                <a:ext cx="9" cy="9"/>
              </a:xfrm>
              <a:custGeom>
                <a:avLst/>
                <a:gdLst>
                  <a:gd name="T0" fmla="*/ 0 w 9"/>
                  <a:gd name="T1" fmla="*/ 0 h 9"/>
                  <a:gd name="T2" fmla="*/ 2 w 9"/>
                  <a:gd name="T3" fmla="*/ 2 h 9"/>
                  <a:gd name="T4" fmla="*/ 6 w 9"/>
                  <a:gd name="T5" fmla="*/ 6 h 9"/>
                  <a:gd name="T6" fmla="*/ 9 w 9"/>
                  <a:gd name="T7" fmla="*/ 9 h 9"/>
                  <a:gd name="T8" fmla="*/ 4 w 9"/>
                  <a:gd name="T9" fmla="*/ 9 h 9"/>
                  <a:gd name="T10" fmla="*/ 0 w 9"/>
                  <a:gd name="T11" fmla="*/ 4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2" y="2"/>
                    </a:lnTo>
                    <a:lnTo>
                      <a:pt x="6" y="6"/>
                    </a:lnTo>
                    <a:lnTo>
                      <a:pt x="9" y="9"/>
                    </a:lnTo>
                    <a:lnTo>
                      <a:pt x="4" y="9"/>
                    </a:lnTo>
                    <a:lnTo>
                      <a:pt x="0"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1" name="Freeform 1149"/>
              <p:cNvSpPr>
                <a:spLocks/>
              </p:cNvSpPr>
              <p:nvPr/>
            </p:nvSpPr>
            <p:spPr bwMode="auto">
              <a:xfrm>
                <a:off x="836" y="3812"/>
                <a:ext cx="38" cy="26"/>
              </a:xfrm>
              <a:custGeom>
                <a:avLst/>
                <a:gdLst>
                  <a:gd name="T0" fmla="*/ 0 w 38"/>
                  <a:gd name="T1" fmla="*/ 17 h 26"/>
                  <a:gd name="T2" fmla="*/ 4 w 38"/>
                  <a:gd name="T3" fmla="*/ 13 h 26"/>
                  <a:gd name="T4" fmla="*/ 9 w 38"/>
                  <a:gd name="T5" fmla="*/ 13 h 26"/>
                  <a:gd name="T6" fmla="*/ 4 w 38"/>
                  <a:gd name="T7" fmla="*/ 9 h 26"/>
                  <a:gd name="T8" fmla="*/ 9 w 38"/>
                  <a:gd name="T9" fmla="*/ 9 h 26"/>
                  <a:gd name="T10" fmla="*/ 15 w 38"/>
                  <a:gd name="T11" fmla="*/ 11 h 26"/>
                  <a:gd name="T12" fmla="*/ 15 w 38"/>
                  <a:gd name="T13" fmla="*/ 0 h 26"/>
                  <a:gd name="T14" fmla="*/ 21 w 38"/>
                  <a:gd name="T15" fmla="*/ 0 h 26"/>
                  <a:gd name="T16" fmla="*/ 26 w 38"/>
                  <a:gd name="T17" fmla="*/ 4 h 26"/>
                  <a:gd name="T18" fmla="*/ 30 w 38"/>
                  <a:gd name="T19" fmla="*/ 7 h 26"/>
                  <a:gd name="T20" fmla="*/ 34 w 38"/>
                  <a:gd name="T21" fmla="*/ 9 h 26"/>
                  <a:gd name="T22" fmla="*/ 34 w 38"/>
                  <a:gd name="T23" fmla="*/ 13 h 26"/>
                  <a:gd name="T24" fmla="*/ 38 w 38"/>
                  <a:gd name="T25" fmla="*/ 9 h 26"/>
                  <a:gd name="T26" fmla="*/ 38 w 38"/>
                  <a:gd name="T27" fmla="*/ 15 h 26"/>
                  <a:gd name="T28" fmla="*/ 32 w 38"/>
                  <a:gd name="T29" fmla="*/ 19 h 26"/>
                  <a:gd name="T30" fmla="*/ 28 w 38"/>
                  <a:gd name="T31" fmla="*/ 15 h 26"/>
                  <a:gd name="T32" fmla="*/ 24 w 38"/>
                  <a:gd name="T33" fmla="*/ 19 h 26"/>
                  <a:gd name="T34" fmla="*/ 19 w 38"/>
                  <a:gd name="T35" fmla="*/ 19 h 26"/>
                  <a:gd name="T36" fmla="*/ 19 w 38"/>
                  <a:gd name="T37" fmla="*/ 15 h 26"/>
                  <a:gd name="T38" fmla="*/ 17 w 38"/>
                  <a:gd name="T39" fmla="*/ 19 h 26"/>
                  <a:gd name="T40" fmla="*/ 13 w 38"/>
                  <a:gd name="T41" fmla="*/ 21 h 26"/>
                  <a:gd name="T42" fmla="*/ 11 w 38"/>
                  <a:gd name="T43" fmla="*/ 26 h 26"/>
                  <a:gd name="T44" fmla="*/ 4 w 38"/>
                  <a:gd name="T45" fmla="*/ 21 h 26"/>
                  <a:gd name="T46" fmla="*/ 2 w 38"/>
                  <a:gd name="T47" fmla="*/ 19 h 26"/>
                  <a:gd name="T48" fmla="*/ 0 w 38"/>
                  <a:gd name="T4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0" y="17"/>
                    </a:moveTo>
                    <a:lnTo>
                      <a:pt x="4" y="13"/>
                    </a:lnTo>
                    <a:lnTo>
                      <a:pt x="9" y="13"/>
                    </a:lnTo>
                    <a:lnTo>
                      <a:pt x="4" y="9"/>
                    </a:lnTo>
                    <a:lnTo>
                      <a:pt x="9" y="9"/>
                    </a:lnTo>
                    <a:lnTo>
                      <a:pt x="15" y="11"/>
                    </a:lnTo>
                    <a:lnTo>
                      <a:pt x="15" y="0"/>
                    </a:lnTo>
                    <a:lnTo>
                      <a:pt x="21" y="0"/>
                    </a:lnTo>
                    <a:lnTo>
                      <a:pt x="26" y="4"/>
                    </a:lnTo>
                    <a:lnTo>
                      <a:pt x="30" y="7"/>
                    </a:lnTo>
                    <a:lnTo>
                      <a:pt x="34" y="9"/>
                    </a:lnTo>
                    <a:lnTo>
                      <a:pt x="34" y="13"/>
                    </a:lnTo>
                    <a:lnTo>
                      <a:pt x="38" y="9"/>
                    </a:lnTo>
                    <a:lnTo>
                      <a:pt x="38" y="15"/>
                    </a:lnTo>
                    <a:lnTo>
                      <a:pt x="32" y="19"/>
                    </a:lnTo>
                    <a:lnTo>
                      <a:pt x="28" y="15"/>
                    </a:lnTo>
                    <a:lnTo>
                      <a:pt x="24" y="19"/>
                    </a:lnTo>
                    <a:lnTo>
                      <a:pt x="19" y="19"/>
                    </a:lnTo>
                    <a:lnTo>
                      <a:pt x="19" y="15"/>
                    </a:lnTo>
                    <a:lnTo>
                      <a:pt x="17" y="19"/>
                    </a:lnTo>
                    <a:lnTo>
                      <a:pt x="13" y="21"/>
                    </a:lnTo>
                    <a:lnTo>
                      <a:pt x="11" y="26"/>
                    </a:lnTo>
                    <a:lnTo>
                      <a:pt x="4" y="21"/>
                    </a:lnTo>
                    <a:lnTo>
                      <a:pt x="2" y="19"/>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1150"/>
              <p:cNvSpPr>
                <a:spLocks/>
              </p:cNvSpPr>
              <p:nvPr/>
            </p:nvSpPr>
            <p:spPr bwMode="auto">
              <a:xfrm>
                <a:off x="836" y="3812"/>
                <a:ext cx="38" cy="26"/>
              </a:xfrm>
              <a:custGeom>
                <a:avLst/>
                <a:gdLst>
                  <a:gd name="T0" fmla="*/ 0 w 38"/>
                  <a:gd name="T1" fmla="*/ 17 h 26"/>
                  <a:gd name="T2" fmla="*/ 4 w 38"/>
                  <a:gd name="T3" fmla="*/ 13 h 26"/>
                  <a:gd name="T4" fmla="*/ 9 w 38"/>
                  <a:gd name="T5" fmla="*/ 13 h 26"/>
                  <a:gd name="T6" fmla="*/ 4 w 38"/>
                  <a:gd name="T7" fmla="*/ 9 h 26"/>
                  <a:gd name="T8" fmla="*/ 9 w 38"/>
                  <a:gd name="T9" fmla="*/ 9 h 26"/>
                  <a:gd name="T10" fmla="*/ 15 w 38"/>
                  <a:gd name="T11" fmla="*/ 11 h 26"/>
                  <a:gd name="T12" fmla="*/ 15 w 38"/>
                  <a:gd name="T13" fmla="*/ 0 h 26"/>
                  <a:gd name="T14" fmla="*/ 21 w 38"/>
                  <a:gd name="T15" fmla="*/ 0 h 26"/>
                  <a:gd name="T16" fmla="*/ 26 w 38"/>
                  <a:gd name="T17" fmla="*/ 4 h 26"/>
                  <a:gd name="T18" fmla="*/ 30 w 38"/>
                  <a:gd name="T19" fmla="*/ 7 h 26"/>
                  <a:gd name="T20" fmla="*/ 34 w 38"/>
                  <a:gd name="T21" fmla="*/ 9 h 26"/>
                  <a:gd name="T22" fmla="*/ 34 w 38"/>
                  <a:gd name="T23" fmla="*/ 13 h 26"/>
                  <a:gd name="T24" fmla="*/ 38 w 38"/>
                  <a:gd name="T25" fmla="*/ 9 h 26"/>
                  <a:gd name="T26" fmla="*/ 38 w 38"/>
                  <a:gd name="T27" fmla="*/ 15 h 26"/>
                  <a:gd name="T28" fmla="*/ 32 w 38"/>
                  <a:gd name="T29" fmla="*/ 19 h 26"/>
                  <a:gd name="T30" fmla="*/ 28 w 38"/>
                  <a:gd name="T31" fmla="*/ 15 h 26"/>
                  <a:gd name="T32" fmla="*/ 24 w 38"/>
                  <a:gd name="T33" fmla="*/ 19 h 26"/>
                  <a:gd name="T34" fmla="*/ 19 w 38"/>
                  <a:gd name="T35" fmla="*/ 19 h 26"/>
                  <a:gd name="T36" fmla="*/ 19 w 38"/>
                  <a:gd name="T37" fmla="*/ 15 h 26"/>
                  <a:gd name="T38" fmla="*/ 17 w 38"/>
                  <a:gd name="T39" fmla="*/ 19 h 26"/>
                  <a:gd name="T40" fmla="*/ 13 w 38"/>
                  <a:gd name="T41" fmla="*/ 21 h 26"/>
                  <a:gd name="T42" fmla="*/ 11 w 38"/>
                  <a:gd name="T43" fmla="*/ 26 h 26"/>
                  <a:gd name="T44" fmla="*/ 4 w 38"/>
                  <a:gd name="T45" fmla="*/ 21 h 26"/>
                  <a:gd name="T46" fmla="*/ 2 w 38"/>
                  <a:gd name="T47" fmla="*/ 19 h 26"/>
                  <a:gd name="T48" fmla="*/ 0 w 38"/>
                  <a:gd name="T4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0" y="17"/>
                    </a:moveTo>
                    <a:lnTo>
                      <a:pt x="4" y="13"/>
                    </a:lnTo>
                    <a:lnTo>
                      <a:pt x="9" y="13"/>
                    </a:lnTo>
                    <a:lnTo>
                      <a:pt x="4" y="9"/>
                    </a:lnTo>
                    <a:lnTo>
                      <a:pt x="9" y="9"/>
                    </a:lnTo>
                    <a:lnTo>
                      <a:pt x="15" y="11"/>
                    </a:lnTo>
                    <a:lnTo>
                      <a:pt x="15" y="0"/>
                    </a:lnTo>
                    <a:lnTo>
                      <a:pt x="21" y="0"/>
                    </a:lnTo>
                    <a:lnTo>
                      <a:pt x="26" y="4"/>
                    </a:lnTo>
                    <a:lnTo>
                      <a:pt x="30" y="7"/>
                    </a:lnTo>
                    <a:lnTo>
                      <a:pt x="34" y="9"/>
                    </a:lnTo>
                    <a:lnTo>
                      <a:pt x="34" y="13"/>
                    </a:lnTo>
                    <a:lnTo>
                      <a:pt x="38" y="9"/>
                    </a:lnTo>
                    <a:lnTo>
                      <a:pt x="38" y="15"/>
                    </a:lnTo>
                    <a:lnTo>
                      <a:pt x="32" y="19"/>
                    </a:lnTo>
                    <a:lnTo>
                      <a:pt x="28" y="15"/>
                    </a:lnTo>
                    <a:lnTo>
                      <a:pt x="24" y="19"/>
                    </a:lnTo>
                    <a:lnTo>
                      <a:pt x="19" y="19"/>
                    </a:lnTo>
                    <a:lnTo>
                      <a:pt x="19" y="15"/>
                    </a:lnTo>
                    <a:lnTo>
                      <a:pt x="17" y="19"/>
                    </a:lnTo>
                    <a:lnTo>
                      <a:pt x="13" y="21"/>
                    </a:lnTo>
                    <a:lnTo>
                      <a:pt x="11" y="26"/>
                    </a:lnTo>
                    <a:lnTo>
                      <a:pt x="4" y="21"/>
                    </a:lnTo>
                    <a:lnTo>
                      <a:pt x="2" y="19"/>
                    </a:lnTo>
                    <a:lnTo>
                      <a:pt x="0" y="1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 name="Freeform 1151"/>
              <p:cNvSpPr>
                <a:spLocks/>
              </p:cNvSpPr>
              <p:nvPr/>
            </p:nvSpPr>
            <p:spPr bwMode="auto">
              <a:xfrm>
                <a:off x="836" y="3829"/>
                <a:ext cx="4" cy="4"/>
              </a:xfrm>
              <a:custGeom>
                <a:avLst/>
                <a:gdLst>
                  <a:gd name="T0" fmla="*/ 0 w 4"/>
                  <a:gd name="T1" fmla="*/ 0 h 4"/>
                  <a:gd name="T2" fmla="*/ 2 w 4"/>
                  <a:gd name="T3" fmla="*/ 2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2" y="2"/>
                    </a:lnTo>
                    <a:lnTo>
                      <a:pt x="4"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152"/>
              <p:cNvSpPr>
                <a:spLocks/>
              </p:cNvSpPr>
              <p:nvPr/>
            </p:nvSpPr>
            <p:spPr bwMode="auto">
              <a:xfrm>
                <a:off x="836" y="3829"/>
                <a:ext cx="4" cy="4"/>
              </a:xfrm>
              <a:custGeom>
                <a:avLst/>
                <a:gdLst>
                  <a:gd name="T0" fmla="*/ 0 w 4"/>
                  <a:gd name="T1" fmla="*/ 0 h 4"/>
                  <a:gd name="T2" fmla="*/ 2 w 4"/>
                  <a:gd name="T3" fmla="*/ 2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2" y="2"/>
                    </a:lnTo>
                    <a:lnTo>
                      <a:pt x="4"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5" name="Freeform 1153"/>
              <p:cNvSpPr>
                <a:spLocks/>
              </p:cNvSpPr>
              <p:nvPr/>
            </p:nvSpPr>
            <p:spPr bwMode="auto">
              <a:xfrm>
                <a:off x="1403" y="3808"/>
                <a:ext cx="4" cy="2"/>
              </a:xfrm>
              <a:custGeom>
                <a:avLst/>
                <a:gdLst>
                  <a:gd name="T0" fmla="*/ 0 w 4"/>
                  <a:gd name="T1" fmla="*/ 0 h 2"/>
                  <a:gd name="T2" fmla="*/ 0 w 4"/>
                  <a:gd name="T3" fmla="*/ 0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0"/>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1154"/>
              <p:cNvSpPr>
                <a:spLocks/>
              </p:cNvSpPr>
              <p:nvPr/>
            </p:nvSpPr>
            <p:spPr bwMode="auto">
              <a:xfrm>
                <a:off x="1403" y="3808"/>
                <a:ext cx="4" cy="2"/>
              </a:xfrm>
              <a:custGeom>
                <a:avLst/>
                <a:gdLst>
                  <a:gd name="T0" fmla="*/ 0 w 4"/>
                  <a:gd name="T1" fmla="*/ 0 h 2"/>
                  <a:gd name="T2" fmla="*/ 0 w 4"/>
                  <a:gd name="T3" fmla="*/ 0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0"/>
                    </a:lnTo>
                    <a:lnTo>
                      <a:pt x="4" y="2"/>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7" name="Freeform 1155"/>
              <p:cNvSpPr>
                <a:spLocks/>
              </p:cNvSpPr>
              <p:nvPr/>
            </p:nvSpPr>
            <p:spPr bwMode="auto">
              <a:xfrm>
                <a:off x="1400" y="3808"/>
                <a:ext cx="13" cy="6"/>
              </a:xfrm>
              <a:custGeom>
                <a:avLst/>
                <a:gdLst>
                  <a:gd name="T0" fmla="*/ 3 w 13"/>
                  <a:gd name="T1" fmla="*/ 0 h 6"/>
                  <a:gd name="T2" fmla="*/ 7 w 13"/>
                  <a:gd name="T3" fmla="*/ 2 h 6"/>
                  <a:gd name="T4" fmla="*/ 13 w 13"/>
                  <a:gd name="T5" fmla="*/ 6 h 6"/>
                  <a:gd name="T6" fmla="*/ 3 w 13"/>
                  <a:gd name="T7" fmla="*/ 6 h 6"/>
                  <a:gd name="T8" fmla="*/ 0 w 13"/>
                  <a:gd name="T9" fmla="*/ 2 h 6"/>
                  <a:gd name="T10" fmla="*/ 3 w 13"/>
                  <a:gd name="T11" fmla="*/ 0 h 6"/>
                </a:gdLst>
                <a:ahLst/>
                <a:cxnLst>
                  <a:cxn ang="0">
                    <a:pos x="T0" y="T1"/>
                  </a:cxn>
                  <a:cxn ang="0">
                    <a:pos x="T2" y="T3"/>
                  </a:cxn>
                  <a:cxn ang="0">
                    <a:pos x="T4" y="T5"/>
                  </a:cxn>
                  <a:cxn ang="0">
                    <a:pos x="T6" y="T7"/>
                  </a:cxn>
                  <a:cxn ang="0">
                    <a:pos x="T8" y="T9"/>
                  </a:cxn>
                  <a:cxn ang="0">
                    <a:pos x="T10" y="T11"/>
                  </a:cxn>
                </a:cxnLst>
                <a:rect l="0" t="0" r="r" b="b"/>
                <a:pathLst>
                  <a:path w="13" h="6">
                    <a:moveTo>
                      <a:pt x="3" y="0"/>
                    </a:moveTo>
                    <a:lnTo>
                      <a:pt x="7" y="2"/>
                    </a:lnTo>
                    <a:lnTo>
                      <a:pt x="13" y="6"/>
                    </a:lnTo>
                    <a:lnTo>
                      <a:pt x="3" y="6"/>
                    </a:lnTo>
                    <a:lnTo>
                      <a:pt x="0"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Freeform 1156"/>
              <p:cNvSpPr>
                <a:spLocks/>
              </p:cNvSpPr>
              <p:nvPr/>
            </p:nvSpPr>
            <p:spPr bwMode="auto">
              <a:xfrm>
                <a:off x="1400" y="3808"/>
                <a:ext cx="13" cy="6"/>
              </a:xfrm>
              <a:custGeom>
                <a:avLst/>
                <a:gdLst>
                  <a:gd name="T0" fmla="*/ 3 w 13"/>
                  <a:gd name="T1" fmla="*/ 0 h 6"/>
                  <a:gd name="T2" fmla="*/ 7 w 13"/>
                  <a:gd name="T3" fmla="*/ 2 h 6"/>
                  <a:gd name="T4" fmla="*/ 13 w 13"/>
                  <a:gd name="T5" fmla="*/ 6 h 6"/>
                  <a:gd name="T6" fmla="*/ 3 w 13"/>
                  <a:gd name="T7" fmla="*/ 6 h 6"/>
                  <a:gd name="T8" fmla="*/ 0 w 13"/>
                  <a:gd name="T9" fmla="*/ 2 h 6"/>
                  <a:gd name="T10" fmla="*/ 3 w 13"/>
                  <a:gd name="T11" fmla="*/ 0 h 6"/>
                </a:gdLst>
                <a:ahLst/>
                <a:cxnLst>
                  <a:cxn ang="0">
                    <a:pos x="T0" y="T1"/>
                  </a:cxn>
                  <a:cxn ang="0">
                    <a:pos x="T2" y="T3"/>
                  </a:cxn>
                  <a:cxn ang="0">
                    <a:pos x="T4" y="T5"/>
                  </a:cxn>
                  <a:cxn ang="0">
                    <a:pos x="T6" y="T7"/>
                  </a:cxn>
                  <a:cxn ang="0">
                    <a:pos x="T8" y="T9"/>
                  </a:cxn>
                  <a:cxn ang="0">
                    <a:pos x="T10" y="T11"/>
                  </a:cxn>
                </a:cxnLst>
                <a:rect l="0" t="0" r="r" b="b"/>
                <a:pathLst>
                  <a:path w="13" h="6">
                    <a:moveTo>
                      <a:pt x="3" y="0"/>
                    </a:moveTo>
                    <a:lnTo>
                      <a:pt x="7" y="2"/>
                    </a:lnTo>
                    <a:lnTo>
                      <a:pt x="13" y="6"/>
                    </a:lnTo>
                    <a:lnTo>
                      <a:pt x="3" y="6"/>
                    </a:lnTo>
                    <a:lnTo>
                      <a:pt x="0" y="2"/>
                    </a:lnTo>
                    <a:lnTo>
                      <a:pt x="3"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9" name="Freeform 1157"/>
              <p:cNvSpPr>
                <a:spLocks/>
              </p:cNvSpPr>
              <p:nvPr/>
            </p:nvSpPr>
            <p:spPr bwMode="auto">
              <a:xfrm>
                <a:off x="1460" y="3927"/>
                <a:ext cx="2" cy="4"/>
              </a:xfrm>
              <a:custGeom>
                <a:avLst/>
                <a:gdLst>
                  <a:gd name="T0" fmla="*/ 0 w 2"/>
                  <a:gd name="T1" fmla="*/ 2 h 4"/>
                  <a:gd name="T2" fmla="*/ 2 w 2"/>
                  <a:gd name="T3" fmla="*/ 0 h 4"/>
                  <a:gd name="T4" fmla="*/ 2 w 2"/>
                  <a:gd name="T5" fmla="*/ 2 h 4"/>
                  <a:gd name="T6" fmla="*/ 2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1158"/>
              <p:cNvSpPr>
                <a:spLocks/>
              </p:cNvSpPr>
              <p:nvPr/>
            </p:nvSpPr>
            <p:spPr bwMode="auto">
              <a:xfrm>
                <a:off x="1460" y="3927"/>
                <a:ext cx="2" cy="4"/>
              </a:xfrm>
              <a:custGeom>
                <a:avLst/>
                <a:gdLst>
                  <a:gd name="T0" fmla="*/ 0 w 2"/>
                  <a:gd name="T1" fmla="*/ 2 h 4"/>
                  <a:gd name="T2" fmla="*/ 2 w 2"/>
                  <a:gd name="T3" fmla="*/ 0 h 4"/>
                  <a:gd name="T4" fmla="*/ 2 w 2"/>
                  <a:gd name="T5" fmla="*/ 2 h 4"/>
                  <a:gd name="T6" fmla="*/ 2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2"/>
                    </a:lnTo>
                    <a:lnTo>
                      <a:pt x="2" y="4"/>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1" name="Freeform 1159"/>
              <p:cNvSpPr>
                <a:spLocks/>
              </p:cNvSpPr>
              <p:nvPr/>
            </p:nvSpPr>
            <p:spPr bwMode="auto">
              <a:xfrm>
                <a:off x="1449" y="3929"/>
                <a:ext cx="15" cy="15"/>
              </a:xfrm>
              <a:custGeom>
                <a:avLst/>
                <a:gdLst>
                  <a:gd name="T0" fmla="*/ 11 w 15"/>
                  <a:gd name="T1" fmla="*/ 0 h 15"/>
                  <a:gd name="T2" fmla="*/ 13 w 15"/>
                  <a:gd name="T3" fmla="*/ 2 h 15"/>
                  <a:gd name="T4" fmla="*/ 15 w 15"/>
                  <a:gd name="T5" fmla="*/ 5 h 15"/>
                  <a:gd name="T6" fmla="*/ 9 w 15"/>
                  <a:gd name="T7" fmla="*/ 7 h 15"/>
                  <a:gd name="T8" fmla="*/ 7 w 15"/>
                  <a:gd name="T9" fmla="*/ 11 h 15"/>
                  <a:gd name="T10" fmla="*/ 0 w 15"/>
                  <a:gd name="T11" fmla="*/ 15 h 15"/>
                  <a:gd name="T12" fmla="*/ 0 w 15"/>
                  <a:gd name="T13" fmla="*/ 11 h 15"/>
                  <a:gd name="T14" fmla="*/ 3 w 15"/>
                  <a:gd name="T15" fmla="*/ 5 h 15"/>
                  <a:gd name="T16" fmla="*/ 7 w 15"/>
                  <a:gd name="T17" fmla="*/ 2 h 15"/>
                  <a:gd name="T18" fmla="*/ 11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1" y="0"/>
                    </a:moveTo>
                    <a:lnTo>
                      <a:pt x="13" y="2"/>
                    </a:lnTo>
                    <a:lnTo>
                      <a:pt x="15" y="5"/>
                    </a:lnTo>
                    <a:lnTo>
                      <a:pt x="9" y="7"/>
                    </a:lnTo>
                    <a:lnTo>
                      <a:pt x="7" y="11"/>
                    </a:lnTo>
                    <a:lnTo>
                      <a:pt x="0" y="15"/>
                    </a:lnTo>
                    <a:lnTo>
                      <a:pt x="0" y="11"/>
                    </a:lnTo>
                    <a:lnTo>
                      <a:pt x="3" y="5"/>
                    </a:lnTo>
                    <a:lnTo>
                      <a:pt x="7" y="2"/>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1160"/>
              <p:cNvSpPr>
                <a:spLocks/>
              </p:cNvSpPr>
              <p:nvPr/>
            </p:nvSpPr>
            <p:spPr bwMode="auto">
              <a:xfrm>
                <a:off x="1449" y="3929"/>
                <a:ext cx="15" cy="15"/>
              </a:xfrm>
              <a:custGeom>
                <a:avLst/>
                <a:gdLst>
                  <a:gd name="T0" fmla="*/ 11 w 15"/>
                  <a:gd name="T1" fmla="*/ 0 h 15"/>
                  <a:gd name="T2" fmla="*/ 13 w 15"/>
                  <a:gd name="T3" fmla="*/ 2 h 15"/>
                  <a:gd name="T4" fmla="*/ 15 w 15"/>
                  <a:gd name="T5" fmla="*/ 5 h 15"/>
                  <a:gd name="T6" fmla="*/ 9 w 15"/>
                  <a:gd name="T7" fmla="*/ 7 h 15"/>
                  <a:gd name="T8" fmla="*/ 7 w 15"/>
                  <a:gd name="T9" fmla="*/ 11 h 15"/>
                  <a:gd name="T10" fmla="*/ 0 w 15"/>
                  <a:gd name="T11" fmla="*/ 15 h 15"/>
                  <a:gd name="T12" fmla="*/ 0 w 15"/>
                  <a:gd name="T13" fmla="*/ 11 h 15"/>
                  <a:gd name="T14" fmla="*/ 3 w 15"/>
                  <a:gd name="T15" fmla="*/ 5 h 15"/>
                  <a:gd name="T16" fmla="*/ 7 w 15"/>
                  <a:gd name="T17" fmla="*/ 2 h 15"/>
                  <a:gd name="T18" fmla="*/ 11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1" y="0"/>
                    </a:moveTo>
                    <a:lnTo>
                      <a:pt x="13" y="2"/>
                    </a:lnTo>
                    <a:lnTo>
                      <a:pt x="15" y="5"/>
                    </a:lnTo>
                    <a:lnTo>
                      <a:pt x="9" y="7"/>
                    </a:lnTo>
                    <a:lnTo>
                      <a:pt x="7" y="11"/>
                    </a:lnTo>
                    <a:lnTo>
                      <a:pt x="0" y="15"/>
                    </a:lnTo>
                    <a:lnTo>
                      <a:pt x="0" y="11"/>
                    </a:lnTo>
                    <a:lnTo>
                      <a:pt x="3" y="5"/>
                    </a:lnTo>
                    <a:lnTo>
                      <a:pt x="7" y="2"/>
                    </a:lnTo>
                    <a:lnTo>
                      <a:pt x="11"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3" name="Freeform 1161"/>
              <p:cNvSpPr>
                <a:spLocks/>
              </p:cNvSpPr>
              <p:nvPr/>
            </p:nvSpPr>
            <p:spPr bwMode="auto">
              <a:xfrm>
                <a:off x="1564" y="3989"/>
                <a:ext cx="3" cy="2"/>
              </a:xfrm>
              <a:custGeom>
                <a:avLst/>
                <a:gdLst>
                  <a:gd name="T0" fmla="*/ 0 w 3"/>
                  <a:gd name="T1" fmla="*/ 2 h 2"/>
                  <a:gd name="T2" fmla="*/ 3 w 3"/>
                  <a:gd name="T3" fmla="*/ 0 h 2"/>
                  <a:gd name="T4" fmla="*/ 3 w 3"/>
                  <a:gd name="T5" fmla="*/ 2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1162"/>
              <p:cNvSpPr>
                <a:spLocks/>
              </p:cNvSpPr>
              <p:nvPr/>
            </p:nvSpPr>
            <p:spPr bwMode="auto">
              <a:xfrm>
                <a:off x="1564" y="3989"/>
                <a:ext cx="3" cy="2"/>
              </a:xfrm>
              <a:custGeom>
                <a:avLst/>
                <a:gdLst>
                  <a:gd name="T0" fmla="*/ 0 w 3"/>
                  <a:gd name="T1" fmla="*/ 2 h 2"/>
                  <a:gd name="T2" fmla="*/ 3 w 3"/>
                  <a:gd name="T3" fmla="*/ 0 h 2"/>
                  <a:gd name="T4" fmla="*/ 3 w 3"/>
                  <a:gd name="T5" fmla="*/ 2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3" y="2"/>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5" name="Freeform 1163"/>
              <p:cNvSpPr>
                <a:spLocks/>
              </p:cNvSpPr>
              <p:nvPr/>
            </p:nvSpPr>
            <p:spPr bwMode="auto">
              <a:xfrm>
                <a:off x="1567" y="3987"/>
                <a:ext cx="2" cy="4"/>
              </a:xfrm>
              <a:custGeom>
                <a:avLst/>
                <a:gdLst>
                  <a:gd name="T0" fmla="*/ 0 w 2"/>
                  <a:gd name="T1" fmla="*/ 2 h 4"/>
                  <a:gd name="T2" fmla="*/ 2 w 2"/>
                  <a:gd name="T3" fmla="*/ 0 h 4"/>
                  <a:gd name="T4" fmla="*/ 2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0"/>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1164"/>
              <p:cNvSpPr>
                <a:spLocks/>
              </p:cNvSpPr>
              <p:nvPr/>
            </p:nvSpPr>
            <p:spPr bwMode="auto">
              <a:xfrm>
                <a:off x="1567" y="3987"/>
                <a:ext cx="2" cy="4"/>
              </a:xfrm>
              <a:custGeom>
                <a:avLst/>
                <a:gdLst>
                  <a:gd name="T0" fmla="*/ 0 w 2"/>
                  <a:gd name="T1" fmla="*/ 2 h 4"/>
                  <a:gd name="T2" fmla="*/ 2 w 2"/>
                  <a:gd name="T3" fmla="*/ 0 h 4"/>
                  <a:gd name="T4" fmla="*/ 2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0"/>
                    </a:lnTo>
                    <a:lnTo>
                      <a:pt x="0" y="4"/>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7" name="Rectangle 1165"/>
              <p:cNvSpPr>
                <a:spLocks noChangeArrowheads="1"/>
              </p:cNvSpPr>
              <p:nvPr/>
            </p:nvSpPr>
            <p:spPr bwMode="auto">
              <a:xfrm>
                <a:off x="566" y="351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1166"/>
              <p:cNvSpPr>
                <a:spLocks/>
              </p:cNvSpPr>
              <p:nvPr/>
            </p:nvSpPr>
            <p:spPr bwMode="auto">
              <a:xfrm>
                <a:off x="566" y="35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9" name="Freeform 1167"/>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1168"/>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1" name="Freeform 1169"/>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1170"/>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3" name="Freeform 1171"/>
              <p:cNvSpPr>
                <a:spLocks/>
              </p:cNvSpPr>
              <p:nvPr/>
            </p:nvSpPr>
            <p:spPr bwMode="auto">
              <a:xfrm>
                <a:off x="306" y="3961"/>
                <a:ext cx="64" cy="32"/>
              </a:xfrm>
              <a:custGeom>
                <a:avLst/>
                <a:gdLst>
                  <a:gd name="T0" fmla="*/ 4 w 64"/>
                  <a:gd name="T1" fmla="*/ 32 h 32"/>
                  <a:gd name="T2" fmla="*/ 0 w 64"/>
                  <a:gd name="T3" fmla="*/ 28 h 32"/>
                  <a:gd name="T4" fmla="*/ 6 w 64"/>
                  <a:gd name="T5" fmla="*/ 24 h 32"/>
                  <a:gd name="T6" fmla="*/ 11 w 64"/>
                  <a:gd name="T7" fmla="*/ 26 h 32"/>
                  <a:gd name="T8" fmla="*/ 17 w 64"/>
                  <a:gd name="T9" fmla="*/ 26 h 32"/>
                  <a:gd name="T10" fmla="*/ 28 w 64"/>
                  <a:gd name="T11" fmla="*/ 24 h 32"/>
                  <a:gd name="T12" fmla="*/ 32 w 64"/>
                  <a:gd name="T13" fmla="*/ 24 h 32"/>
                  <a:gd name="T14" fmla="*/ 28 w 64"/>
                  <a:gd name="T15" fmla="*/ 22 h 32"/>
                  <a:gd name="T16" fmla="*/ 34 w 64"/>
                  <a:gd name="T17" fmla="*/ 19 h 32"/>
                  <a:gd name="T18" fmla="*/ 34 w 64"/>
                  <a:gd name="T19" fmla="*/ 15 h 32"/>
                  <a:gd name="T20" fmla="*/ 45 w 64"/>
                  <a:gd name="T21" fmla="*/ 17 h 32"/>
                  <a:gd name="T22" fmla="*/ 40 w 64"/>
                  <a:gd name="T23" fmla="*/ 13 h 32"/>
                  <a:gd name="T24" fmla="*/ 36 w 64"/>
                  <a:gd name="T25" fmla="*/ 11 h 32"/>
                  <a:gd name="T26" fmla="*/ 32 w 64"/>
                  <a:gd name="T27" fmla="*/ 5 h 32"/>
                  <a:gd name="T28" fmla="*/ 38 w 64"/>
                  <a:gd name="T29" fmla="*/ 0 h 32"/>
                  <a:gd name="T30" fmla="*/ 45 w 64"/>
                  <a:gd name="T31" fmla="*/ 0 h 32"/>
                  <a:gd name="T32" fmla="*/ 49 w 64"/>
                  <a:gd name="T33" fmla="*/ 0 h 32"/>
                  <a:gd name="T34" fmla="*/ 53 w 64"/>
                  <a:gd name="T35" fmla="*/ 2 h 32"/>
                  <a:gd name="T36" fmla="*/ 51 w 64"/>
                  <a:gd name="T37" fmla="*/ 9 h 32"/>
                  <a:gd name="T38" fmla="*/ 55 w 64"/>
                  <a:gd name="T39" fmla="*/ 9 h 32"/>
                  <a:gd name="T40" fmla="*/ 62 w 64"/>
                  <a:gd name="T41" fmla="*/ 5 h 32"/>
                  <a:gd name="T42" fmla="*/ 64 w 64"/>
                  <a:gd name="T43" fmla="*/ 11 h 32"/>
                  <a:gd name="T44" fmla="*/ 57 w 64"/>
                  <a:gd name="T45" fmla="*/ 15 h 32"/>
                  <a:gd name="T46" fmla="*/ 53 w 64"/>
                  <a:gd name="T47" fmla="*/ 15 h 32"/>
                  <a:gd name="T48" fmla="*/ 51 w 64"/>
                  <a:gd name="T49" fmla="*/ 22 h 32"/>
                  <a:gd name="T50" fmla="*/ 55 w 64"/>
                  <a:gd name="T51" fmla="*/ 17 h 32"/>
                  <a:gd name="T52" fmla="*/ 60 w 64"/>
                  <a:gd name="T53" fmla="*/ 24 h 32"/>
                  <a:gd name="T54" fmla="*/ 53 w 64"/>
                  <a:gd name="T55" fmla="*/ 24 h 32"/>
                  <a:gd name="T56" fmla="*/ 49 w 64"/>
                  <a:gd name="T57" fmla="*/ 24 h 32"/>
                  <a:gd name="T58" fmla="*/ 45 w 64"/>
                  <a:gd name="T59" fmla="*/ 28 h 32"/>
                  <a:gd name="T60" fmla="*/ 40 w 64"/>
                  <a:gd name="T61" fmla="*/ 24 h 32"/>
                  <a:gd name="T62" fmla="*/ 40 w 64"/>
                  <a:gd name="T63" fmla="*/ 30 h 32"/>
                  <a:gd name="T64" fmla="*/ 34 w 64"/>
                  <a:gd name="T65" fmla="*/ 28 h 32"/>
                  <a:gd name="T66" fmla="*/ 30 w 64"/>
                  <a:gd name="T67" fmla="*/ 28 h 32"/>
                  <a:gd name="T68" fmla="*/ 19 w 64"/>
                  <a:gd name="T69" fmla="*/ 30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0" y="28"/>
                    </a:lnTo>
                    <a:lnTo>
                      <a:pt x="6" y="24"/>
                    </a:lnTo>
                    <a:lnTo>
                      <a:pt x="11" y="26"/>
                    </a:lnTo>
                    <a:lnTo>
                      <a:pt x="17" y="26"/>
                    </a:lnTo>
                    <a:lnTo>
                      <a:pt x="28" y="24"/>
                    </a:lnTo>
                    <a:lnTo>
                      <a:pt x="32" y="24"/>
                    </a:lnTo>
                    <a:lnTo>
                      <a:pt x="28" y="22"/>
                    </a:lnTo>
                    <a:lnTo>
                      <a:pt x="34" y="19"/>
                    </a:lnTo>
                    <a:lnTo>
                      <a:pt x="34" y="15"/>
                    </a:lnTo>
                    <a:lnTo>
                      <a:pt x="45" y="17"/>
                    </a:lnTo>
                    <a:lnTo>
                      <a:pt x="40" y="13"/>
                    </a:lnTo>
                    <a:lnTo>
                      <a:pt x="36" y="11"/>
                    </a:lnTo>
                    <a:lnTo>
                      <a:pt x="32" y="5"/>
                    </a:lnTo>
                    <a:lnTo>
                      <a:pt x="38" y="0"/>
                    </a:lnTo>
                    <a:lnTo>
                      <a:pt x="45" y="0"/>
                    </a:lnTo>
                    <a:lnTo>
                      <a:pt x="49" y="0"/>
                    </a:lnTo>
                    <a:lnTo>
                      <a:pt x="53" y="2"/>
                    </a:lnTo>
                    <a:lnTo>
                      <a:pt x="51" y="9"/>
                    </a:lnTo>
                    <a:lnTo>
                      <a:pt x="55" y="9"/>
                    </a:lnTo>
                    <a:lnTo>
                      <a:pt x="62" y="5"/>
                    </a:lnTo>
                    <a:lnTo>
                      <a:pt x="64" y="11"/>
                    </a:lnTo>
                    <a:lnTo>
                      <a:pt x="57" y="15"/>
                    </a:lnTo>
                    <a:lnTo>
                      <a:pt x="53" y="15"/>
                    </a:lnTo>
                    <a:lnTo>
                      <a:pt x="51" y="22"/>
                    </a:lnTo>
                    <a:lnTo>
                      <a:pt x="55" y="17"/>
                    </a:lnTo>
                    <a:lnTo>
                      <a:pt x="60" y="24"/>
                    </a:lnTo>
                    <a:lnTo>
                      <a:pt x="53" y="24"/>
                    </a:lnTo>
                    <a:lnTo>
                      <a:pt x="49" y="24"/>
                    </a:lnTo>
                    <a:lnTo>
                      <a:pt x="45" y="28"/>
                    </a:lnTo>
                    <a:lnTo>
                      <a:pt x="40" y="24"/>
                    </a:lnTo>
                    <a:lnTo>
                      <a:pt x="40" y="30"/>
                    </a:lnTo>
                    <a:lnTo>
                      <a:pt x="34" y="28"/>
                    </a:lnTo>
                    <a:lnTo>
                      <a:pt x="30" y="28"/>
                    </a:lnTo>
                    <a:lnTo>
                      <a:pt x="19" y="30"/>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1172"/>
              <p:cNvSpPr>
                <a:spLocks/>
              </p:cNvSpPr>
              <p:nvPr/>
            </p:nvSpPr>
            <p:spPr bwMode="auto">
              <a:xfrm>
                <a:off x="306" y="3961"/>
                <a:ext cx="64" cy="32"/>
              </a:xfrm>
              <a:custGeom>
                <a:avLst/>
                <a:gdLst>
                  <a:gd name="T0" fmla="*/ 4 w 64"/>
                  <a:gd name="T1" fmla="*/ 32 h 32"/>
                  <a:gd name="T2" fmla="*/ 0 w 64"/>
                  <a:gd name="T3" fmla="*/ 28 h 32"/>
                  <a:gd name="T4" fmla="*/ 6 w 64"/>
                  <a:gd name="T5" fmla="*/ 24 h 32"/>
                  <a:gd name="T6" fmla="*/ 11 w 64"/>
                  <a:gd name="T7" fmla="*/ 26 h 32"/>
                  <a:gd name="T8" fmla="*/ 17 w 64"/>
                  <a:gd name="T9" fmla="*/ 26 h 32"/>
                  <a:gd name="T10" fmla="*/ 28 w 64"/>
                  <a:gd name="T11" fmla="*/ 24 h 32"/>
                  <a:gd name="T12" fmla="*/ 32 w 64"/>
                  <a:gd name="T13" fmla="*/ 24 h 32"/>
                  <a:gd name="T14" fmla="*/ 28 w 64"/>
                  <a:gd name="T15" fmla="*/ 22 h 32"/>
                  <a:gd name="T16" fmla="*/ 34 w 64"/>
                  <a:gd name="T17" fmla="*/ 19 h 32"/>
                  <a:gd name="T18" fmla="*/ 34 w 64"/>
                  <a:gd name="T19" fmla="*/ 15 h 32"/>
                  <a:gd name="T20" fmla="*/ 45 w 64"/>
                  <a:gd name="T21" fmla="*/ 17 h 32"/>
                  <a:gd name="T22" fmla="*/ 40 w 64"/>
                  <a:gd name="T23" fmla="*/ 13 h 32"/>
                  <a:gd name="T24" fmla="*/ 36 w 64"/>
                  <a:gd name="T25" fmla="*/ 11 h 32"/>
                  <a:gd name="T26" fmla="*/ 32 w 64"/>
                  <a:gd name="T27" fmla="*/ 5 h 32"/>
                  <a:gd name="T28" fmla="*/ 38 w 64"/>
                  <a:gd name="T29" fmla="*/ 0 h 32"/>
                  <a:gd name="T30" fmla="*/ 45 w 64"/>
                  <a:gd name="T31" fmla="*/ 0 h 32"/>
                  <a:gd name="T32" fmla="*/ 49 w 64"/>
                  <a:gd name="T33" fmla="*/ 0 h 32"/>
                  <a:gd name="T34" fmla="*/ 53 w 64"/>
                  <a:gd name="T35" fmla="*/ 2 h 32"/>
                  <a:gd name="T36" fmla="*/ 51 w 64"/>
                  <a:gd name="T37" fmla="*/ 9 h 32"/>
                  <a:gd name="T38" fmla="*/ 55 w 64"/>
                  <a:gd name="T39" fmla="*/ 9 h 32"/>
                  <a:gd name="T40" fmla="*/ 62 w 64"/>
                  <a:gd name="T41" fmla="*/ 5 h 32"/>
                  <a:gd name="T42" fmla="*/ 64 w 64"/>
                  <a:gd name="T43" fmla="*/ 11 h 32"/>
                  <a:gd name="T44" fmla="*/ 57 w 64"/>
                  <a:gd name="T45" fmla="*/ 15 h 32"/>
                  <a:gd name="T46" fmla="*/ 53 w 64"/>
                  <a:gd name="T47" fmla="*/ 15 h 32"/>
                  <a:gd name="T48" fmla="*/ 51 w 64"/>
                  <a:gd name="T49" fmla="*/ 22 h 32"/>
                  <a:gd name="T50" fmla="*/ 55 w 64"/>
                  <a:gd name="T51" fmla="*/ 17 h 32"/>
                  <a:gd name="T52" fmla="*/ 60 w 64"/>
                  <a:gd name="T53" fmla="*/ 24 h 32"/>
                  <a:gd name="T54" fmla="*/ 53 w 64"/>
                  <a:gd name="T55" fmla="*/ 24 h 32"/>
                  <a:gd name="T56" fmla="*/ 49 w 64"/>
                  <a:gd name="T57" fmla="*/ 24 h 32"/>
                  <a:gd name="T58" fmla="*/ 45 w 64"/>
                  <a:gd name="T59" fmla="*/ 28 h 32"/>
                  <a:gd name="T60" fmla="*/ 40 w 64"/>
                  <a:gd name="T61" fmla="*/ 24 h 32"/>
                  <a:gd name="T62" fmla="*/ 40 w 64"/>
                  <a:gd name="T63" fmla="*/ 30 h 32"/>
                  <a:gd name="T64" fmla="*/ 34 w 64"/>
                  <a:gd name="T65" fmla="*/ 28 h 32"/>
                  <a:gd name="T66" fmla="*/ 30 w 64"/>
                  <a:gd name="T67" fmla="*/ 28 h 32"/>
                  <a:gd name="T68" fmla="*/ 19 w 64"/>
                  <a:gd name="T69" fmla="*/ 30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0" y="28"/>
                    </a:lnTo>
                    <a:lnTo>
                      <a:pt x="6" y="24"/>
                    </a:lnTo>
                    <a:lnTo>
                      <a:pt x="11" y="26"/>
                    </a:lnTo>
                    <a:lnTo>
                      <a:pt x="17" y="26"/>
                    </a:lnTo>
                    <a:lnTo>
                      <a:pt x="28" y="24"/>
                    </a:lnTo>
                    <a:lnTo>
                      <a:pt x="32" y="24"/>
                    </a:lnTo>
                    <a:lnTo>
                      <a:pt x="28" y="22"/>
                    </a:lnTo>
                    <a:lnTo>
                      <a:pt x="34" y="19"/>
                    </a:lnTo>
                    <a:lnTo>
                      <a:pt x="34" y="15"/>
                    </a:lnTo>
                    <a:lnTo>
                      <a:pt x="45" y="17"/>
                    </a:lnTo>
                    <a:lnTo>
                      <a:pt x="40" y="13"/>
                    </a:lnTo>
                    <a:lnTo>
                      <a:pt x="36" y="11"/>
                    </a:lnTo>
                    <a:lnTo>
                      <a:pt x="32" y="5"/>
                    </a:lnTo>
                    <a:lnTo>
                      <a:pt x="38" y="0"/>
                    </a:lnTo>
                    <a:lnTo>
                      <a:pt x="45" y="0"/>
                    </a:lnTo>
                    <a:lnTo>
                      <a:pt x="49" y="0"/>
                    </a:lnTo>
                    <a:lnTo>
                      <a:pt x="53" y="2"/>
                    </a:lnTo>
                    <a:lnTo>
                      <a:pt x="51" y="9"/>
                    </a:lnTo>
                    <a:lnTo>
                      <a:pt x="55" y="9"/>
                    </a:lnTo>
                    <a:lnTo>
                      <a:pt x="62" y="5"/>
                    </a:lnTo>
                    <a:lnTo>
                      <a:pt x="64" y="11"/>
                    </a:lnTo>
                    <a:lnTo>
                      <a:pt x="57" y="15"/>
                    </a:lnTo>
                    <a:lnTo>
                      <a:pt x="53" y="15"/>
                    </a:lnTo>
                    <a:lnTo>
                      <a:pt x="51" y="22"/>
                    </a:lnTo>
                    <a:lnTo>
                      <a:pt x="55" y="17"/>
                    </a:lnTo>
                    <a:lnTo>
                      <a:pt x="60" y="24"/>
                    </a:lnTo>
                    <a:lnTo>
                      <a:pt x="53" y="24"/>
                    </a:lnTo>
                    <a:lnTo>
                      <a:pt x="49" y="24"/>
                    </a:lnTo>
                    <a:lnTo>
                      <a:pt x="45" y="28"/>
                    </a:lnTo>
                    <a:lnTo>
                      <a:pt x="40" y="24"/>
                    </a:lnTo>
                    <a:lnTo>
                      <a:pt x="40" y="30"/>
                    </a:lnTo>
                    <a:lnTo>
                      <a:pt x="34" y="28"/>
                    </a:lnTo>
                    <a:lnTo>
                      <a:pt x="30" y="28"/>
                    </a:lnTo>
                    <a:lnTo>
                      <a:pt x="19" y="30"/>
                    </a:lnTo>
                    <a:lnTo>
                      <a:pt x="4" y="3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5" name="Freeform 1173"/>
              <p:cNvSpPr>
                <a:spLocks/>
              </p:cNvSpPr>
              <p:nvPr/>
            </p:nvSpPr>
            <p:spPr bwMode="auto">
              <a:xfrm>
                <a:off x="366" y="3978"/>
                <a:ext cx="6" cy="7"/>
              </a:xfrm>
              <a:custGeom>
                <a:avLst/>
                <a:gdLst>
                  <a:gd name="T0" fmla="*/ 2 w 6"/>
                  <a:gd name="T1" fmla="*/ 7 h 7"/>
                  <a:gd name="T2" fmla="*/ 0 w 6"/>
                  <a:gd name="T3" fmla="*/ 0 h 7"/>
                  <a:gd name="T4" fmla="*/ 6 w 6"/>
                  <a:gd name="T5" fmla="*/ 0 h 7"/>
                  <a:gd name="T6" fmla="*/ 4 w 6"/>
                  <a:gd name="T7" fmla="*/ 5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0" y="0"/>
                    </a:lnTo>
                    <a:lnTo>
                      <a:pt x="6" y="0"/>
                    </a:lnTo>
                    <a:lnTo>
                      <a:pt x="4" y="5"/>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1174"/>
              <p:cNvSpPr>
                <a:spLocks/>
              </p:cNvSpPr>
              <p:nvPr/>
            </p:nvSpPr>
            <p:spPr bwMode="auto">
              <a:xfrm>
                <a:off x="366" y="3978"/>
                <a:ext cx="6" cy="7"/>
              </a:xfrm>
              <a:custGeom>
                <a:avLst/>
                <a:gdLst>
                  <a:gd name="T0" fmla="*/ 2 w 6"/>
                  <a:gd name="T1" fmla="*/ 7 h 7"/>
                  <a:gd name="T2" fmla="*/ 0 w 6"/>
                  <a:gd name="T3" fmla="*/ 0 h 7"/>
                  <a:gd name="T4" fmla="*/ 6 w 6"/>
                  <a:gd name="T5" fmla="*/ 0 h 7"/>
                  <a:gd name="T6" fmla="*/ 4 w 6"/>
                  <a:gd name="T7" fmla="*/ 5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0" y="0"/>
                    </a:lnTo>
                    <a:lnTo>
                      <a:pt x="6" y="0"/>
                    </a:lnTo>
                    <a:lnTo>
                      <a:pt x="4" y="5"/>
                    </a:lnTo>
                    <a:lnTo>
                      <a:pt x="2"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7" name="Freeform 1175"/>
              <p:cNvSpPr>
                <a:spLocks/>
              </p:cNvSpPr>
              <p:nvPr/>
            </p:nvSpPr>
            <p:spPr bwMode="auto">
              <a:xfrm>
                <a:off x="455" y="3614"/>
                <a:ext cx="49" cy="36"/>
              </a:xfrm>
              <a:custGeom>
                <a:avLst/>
                <a:gdLst>
                  <a:gd name="T0" fmla="*/ 6 w 49"/>
                  <a:gd name="T1" fmla="*/ 15 h 36"/>
                  <a:gd name="T2" fmla="*/ 2 w 49"/>
                  <a:gd name="T3" fmla="*/ 13 h 36"/>
                  <a:gd name="T4" fmla="*/ 0 w 49"/>
                  <a:gd name="T5" fmla="*/ 2 h 36"/>
                  <a:gd name="T6" fmla="*/ 6 w 49"/>
                  <a:gd name="T7" fmla="*/ 0 h 36"/>
                  <a:gd name="T8" fmla="*/ 15 w 49"/>
                  <a:gd name="T9" fmla="*/ 4 h 36"/>
                  <a:gd name="T10" fmla="*/ 19 w 49"/>
                  <a:gd name="T11" fmla="*/ 0 h 36"/>
                  <a:gd name="T12" fmla="*/ 23 w 49"/>
                  <a:gd name="T13" fmla="*/ 2 h 36"/>
                  <a:gd name="T14" fmla="*/ 30 w 49"/>
                  <a:gd name="T15" fmla="*/ 0 h 36"/>
                  <a:gd name="T16" fmla="*/ 34 w 49"/>
                  <a:gd name="T17" fmla="*/ 0 h 36"/>
                  <a:gd name="T18" fmla="*/ 38 w 49"/>
                  <a:gd name="T19" fmla="*/ 7 h 36"/>
                  <a:gd name="T20" fmla="*/ 45 w 49"/>
                  <a:gd name="T21" fmla="*/ 7 h 36"/>
                  <a:gd name="T22" fmla="*/ 49 w 49"/>
                  <a:gd name="T23" fmla="*/ 11 h 36"/>
                  <a:gd name="T24" fmla="*/ 45 w 49"/>
                  <a:gd name="T25" fmla="*/ 26 h 36"/>
                  <a:gd name="T26" fmla="*/ 45 w 49"/>
                  <a:gd name="T27" fmla="*/ 32 h 36"/>
                  <a:gd name="T28" fmla="*/ 40 w 49"/>
                  <a:gd name="T29" fmla="*/ 32 h 36"/>
                  <a:gd name="T30" fmla="*/ 30 w 49"/>
                  <a:gd name="T31" fmla="*/ 32 h 36"/>
                  <a:gd name="T32" fmla="*/ 23 w 49"/>
                  <a:gd name="T33" fmla="*/ 30 h 36"/>
                  <a:gd name="T34" fmla="*/ 28 w 49"/>
                  <a:gd name="T35" fmla="*/ 36 h 36"/>
                  <a:gd name="T36" fmla="*/ 19 w 49"/>
                  <a:gd name="T37" fmla="*/ 28 h 36"/>
                  <a:gd name="T38" fmla="*/ 15 w 49"/>
                  <a:gd name="T39" fmla="*/ 26 h 36"/>
                  <a:gd name="T40" fmla="*/ 6 w 49"/>
                  <a:gd name="T41" fmla="*/ 15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2" y="13"/>
                    </a:lnTo>
                    <a:lnTo>
                      <a:pt x="0" y="2"/>
                    </a:lnTo>
                    <a:lnTo>
                      <a:pt x="6" y="0"/>
                    </a:lnTo>
                    <a:lnTo>
                      <a:pt x="15" y="4"/>
                    </a:lnTo>
                    <a:lnTo>
                      <a:pt x="19" y="0"/>
                    </a:lnTo>
                    <a:lnTo>
                      <a:pt x="23" y="2"/>
                    </a:lnTo>
                    <a:lnTo>
                      <a:pt x="30" y="0"/>
                    </a:lnTo>
                    <a:lnTo>
                      <a:pt x="34" y="0"/>
                    </a:lnTo>
                    <a:lnTo>
                      <a:pt x="38" y="7"/>
                    </a:lnTo>
                    <a:lnTo>
                      <a:pt x="45" y="7"/>
                    </a:lnTo>
                    <a:lnTo>
                      <a:pt x="49" y="11"/>
                    </a:lnTo>
                    <a:lnTo>
                      <a:pt x="45" y="26"/>
                    </a:lnTo>
                    <a:lnTo>
                      <a:pt x="45" y="32"/>
                    </a:lnTo>
                    <a:lnTo>
                      <a:pt x="40" y="32"/>
                    </a:lnTo>
                    <a:lnTo>
                      <a:pt x="30" y="32"/>
                    </a:lnTo>
                    <a:lnTo>
                      <a:pt x="23" y="30"/>
                    </a:lnTo>
                    <a:lnTo>
                      <a:pt x="28" y="36"/>
                    </a:lnTo>
                    <a:lnTo>
                      <a:pt x="19" y="28"/>
                    </a:lnTo>
                    <a:lnTo>
                      <a:pt x="15" y="26"/>
                    </a:lnTo>
                    <a:lnTo>
                      <a:pt x="6" y="15"/>
                    </a:lnTo>
                    <a:lnTo>
                      <a:pt x="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176"/>
              <p:cNvSpPr>
                <a:spLocks/>
              </p:cNvSpPr>
              <p:nvPr/>
            </p:nvSpPr>
            <p:spPr bwMode="auto">
              <a:xfrm>
                <a:off x="455" y="3614"/>
                <a:ext cx="49" cy="36"/>
              </a:xfrm>
              <a:custGeom>
                <a:avLst/>
                <a:gdLst>
                  <a:gd name="T0" fmla="*/ 6 w 49"/>
                  <a:gd name="T1" fmla="*/ 15 h 36"/>
                  <a:gd name="T2" fmla="*/ 2 w 49"/>
                  <a:gd name="T3" fmla="*/ 13 h 36"/>
                  <a:gd name="T4" fmla="*/ 0 w 49"/>
                  <a:gd name="T5" fmla="*/ 2 h 36"/>
                  <a:gd name="T6" fmla="*/ 6 w 49"/>
                  <a:gd name="T7" fmla="*/ 0 h 36"/>
                  <a:gd name="T8" fmla="*/ 15 w 49"/>
                  <a:gd name="T9" fmla="*/ 4 h 36"/>
                  <a:gd name="T10" fmla="*/ 19 w 49"/>
                  <a:gd name="T11" fmla="*/ 0 h 36"/>
                  <a:gd name="T12" fmla="*/ 23 w 49"/>
                  <a:gd name="T13" fmla="*/ 2 h 36"/>
                  <a:gd name="T14" fmla="*/ 30 w 49"/>
                  <a:gd name="T15" fmla="*/ 0 h 36"/>
                  <a:gd name="T16" fmla="*/ 34 w 49"/>
                  <a:gd name="T17" fmla="*/ 0 h 36"/>
                  <a:gd name="T18" fmla="*/ 38 w 49"/>
                  <a:gd name="T19" fmla="*/ 7 h 36"/>
                  <a:gd name="T20" fmla="*/ 45 w 49"/>
                  <a:gd name="T21" fmla="*/ 7 h 36"/>
                  <a:gd name="T22" fmla="*/ 49 w 49"/>
                  <a:gd name="T23" fmla="*/ 11 h 36"/>
                  <a:gd name="T24" fmla="*/ 45 w 49"/>
                  <a:gd name="T25" fmla="*/ 26 h 36"/>
                  <a:gd name="T26" fmla="*/ 45 w 49"/>
                  <a:gd name="T27" fmla="*/ 32 h 36"/>
                  <a:gd name="T28" fmla="*/ 40 w 49"/>
                  <a:gd name="T29" fmla="*/ 32 h 36"/>
                  <a:gd name="T30" fmla="*/ 30 w 49"/>
                  <a:gd name="T31" fmla="*/ 32 h 36"/>
                  <a:gd name="T32" fmla="*/ 23 w 49"/>
                  <a:gd name="T33" fmla="*/ 30 h 36"/>
                  <a:gd name="T34" fmla="*/ 28 w 49"/>
                  <a:gd name="T35" fmla="*/ 36 h 36"/>
                  <a:gd name="T36" fmla="*/ 19 w 49"/>
                  <a:gd name="T37" fmla="*/ 28 h 36"/>
                  <a:gd name="T38" fmla="*/ 15 w 49"/>
                  <a:gd name="T39" fmla="*/ 26 h 36"/>
                  <a:gd name="T40" fmla="*/ 6 w 49"/>
                  <a:gd name="T41" fmla="*/ 15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2" y="13"/>
                    </a:lnTo>
                    <a:lnTo>
                      <a:pt x="0" y="2"/>
                    </a:lnTo>
                    <a:lnTo>
                      <a:pt x="6" y="0"/>
                    </a:lnTo>
                    <a:lnTo>
                      <a:pt x="15" y="4"/>
                    </a:lnTo>
                    <a:lnTo>
                      <a:pt x="19" y="0"/>
                    </a:lnTo>
                    <a:lnTo>
                      <a:pt x="23" y="2"/>
                    </a:lnTo>
                    <a:lnTo>
                      <a:pt x="30" y="0"/>
                    </a:lnTo>
                    <a:lnTo>
                      <a:pt x="34" y="0"/>
                    </a:lnTo>
                    <a:lnTo>
                      <a:pt x="38" y="7"/>
                    </a:lnTo>
                    <a:lnTo>
                      <a:pt x="45" y="7"/>
                    </a:lnTo>
                    <a:lnTo>
                      <a:pt x="49" y="11"/>
                    </a:lnTo>
                    <a:lnTo>
                      <a:pt x="45" y="26"/>
                    </a:lnTo>
                    <a:lnTo>
                      <a:pt x="45" y="32"/>
                    </a:lnTo>
                    <a:lnTo>
                      <a:pt x="40" y="32"/>
                    </a:lnTo>
                    <a:lnTo>
                      <a:pt x="30" y="32"/>
                    </a:lnTo>
                    <a:lnTo>
                      <a:pt x="23" y="30"/>
                    </a:lnTo>
                    <a:lnTo>
                      <a:pt x="28" y="36"/>
                    </a:lnTo>
                    <a:lnTo>
                      <a:pt x="19" y="28"/>
                    </a:lnTo>
                    <a:lnTo>
                      <a:pt x="15" y="26"/>
                    </a:lnTo>
                    <a:lnTo>
                      <a:pt x="6" y="15"/>
                    </a:lnTo>
                    <a:lnTo>
                      <a:pt x="6"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9" name="Freeform 1177"/>
              <p:cNvSpPr>
                <a:spLocks/>
              </p:cNvSpPr>
              <p:nvPr/>
            </p:nvSpPr>
            <p:spPr bwMode="auto">
              <a:xfrm>
                <a:off x="378" y="3959"/>
                <a:ext cx="15" cy="11"/>
              </a:xfrm>
              <a:custGeom>
                <a:avLst/>
                <a:gdLst>
                  <a:gd name="T0" fmla="*/ 5 w 15"/>
                  <a:gd name="T1" fmla="*/ 11 h 11"/>
                  <a:gd name="T2" fmla="*/ 0 w 15"/>
                  <a:gd name="T3" fmla="*/ 9 h 11"/>
                  <a:gd name="T4" fmla="*/ 0 w 15"/>
                  <a:gd name="T5" fmla="*/ 4 h 11"/>
                  <a:gd name="T6" fmla="*/ 5 w 15"/>
                  <a:gd name="T7" fmla="*/ 0 h 11"/>
                  <a:gd name="T8" fmla="*/ 9 w 15"/>
                  <a:gd name="T9" fmla="*/ 4 h 11"/>
                  <a:gd name="T10" fmla="*/ 15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0" y="9"/>
                    </a:lnTo>
                    <a:lnTo>
                      <a:pt x="0" y="4"/>
                    </a:lnTo>
                    <a:lnTo>
                      <a:pt x="5" y="0"/>
                    </a:lnTo>
                    <a:lnTo>
                      <a:pt x="9" y="4"/>
                    </a:lnTo>
                    <a:lnTo>
                      <a:pt x="15" y="9"/>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1178"/>
              <p:cNvSpPr>
                <a:spLocks/>
              </p:cNvSpPr>
              <p:nvPr/>
            </p:nvSpPr>
            <p:spPr bwMode="auto">
              <a:xfrm>
                <a:off x="378" y="3959"/>
                <a:ext cx="15" cy="11"/>
              </a:xfrm>
              <a:custGeom>
                <a:avLst/>
                <a:gdLst>
                  <a:gd name="T0" fmla="*/ 5 w 15"/>
                  <a:gd name="T1" fmla="*/ 11 h 11"/>
                  <a:gd name="T2" fmla="*/ 0 w 15"/>
                  <a:gd name="T3" fmla="*/ 9 h 11"/>
                  <a:gd name="T4" fmla="*/ 0 w 15"/>
                  <a:gd name="T5" fmla="*/ 4 h 11"/>
                  <a:gd name="T6" fmla="*/ 5 w 15"/>
                  <a:gd name="T7" fmla="*/ 0 h 11"/>
                  <a:gd name="T8" fmla="*/ 9 w 15"/>
                  <a:gd name="T9" fmla="*/ 4 h 11"/>
                  <a:gd name="T10" fmla="*/ 15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0" y="9"/>
                    </a:lnTo>
                    <a:lnTo>
                      <a:pt x="0" y="4"/>
                    </a:lnTo>
                    <a:lnTo>
                      <a:pt x="5" y="0"/>
                    </a:lnTo>
                    <a:lnTo>
                      <a:pt x="9" y="4"/>
                    </a:lnTo>
                    <a:lnTo>
                      <a:pt x="15" y="9"/>
                    </a:lnTo>
                    <a:lnTo>
                      <a:pt x="5"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1" name="Freeform 1179"/>
              <p:cNvSpPr>
                <a:spLocks/>
              </p:cNvSpPr>
              <p:nvPr/>
            </p:nvSpPr>
            <p:spPr bwMode="auto">
              <a:xfrm>
                <a:off x="395" y="3959"/>
                <a:ext cx="5" cy="11"/>
              </a:xfrm>
              <a:custGeom>
                <a:avLst/>
                <a:gdLst>
                  <a:gd name="T0" fmla="*/ 0 w 5"/>
                  <a:gd name="T1" fmla="*/ 11 h 11"/>
                  <a:gd name="T2" fmla="*/ 0 w 5"/>
                  <a:gd name="T3" fmla="*/ 4 h 11"/>
                  <a:gd name="T4" fmla="*/ 3 w 5"/>
                  <a:gd name="T5" fmla="*/ 0 h 11"/>
                  <a:gd name="T6" fmla="*/ 5 w 5"/>
                  <a:gd name="T7" fmla="*/ 7 h 11"/>
                  <a:gd name="T8" fmla="*/ 0 w 5"/>
                  <a:gd name="T9" fmla="*/ 11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4"/>
                    </a:lnTo>
                    <a:lnTo>
                      <a:pt x="3" y="0"/>
                    </a:lnTo>
                    <a:lnTo>
                      <a:pt x="5" y="7"/>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1180"/>
              <p:cNvSpPr>
                <a:spLocks/>
              </p:cNvSpPr>
              <p:nvPr/>
            </p:nvSpPr>
            <p:spPr bwMode="auto">
              <a:xfrm>
                <a:off x="395" y="3959"/>
                <a:ext cx="5" cy="11"/>
              </a:xfrm>
              <a:custGeom>
                <a:avLst/>
                <a:gdLst>
                  <a:gd name="T0" fmla="*/ 0 w 5"/>
                  <a:gd name="T1" fmla="*/ 11 h 11"/>
                  <a:gd name="T2" fmla="*/ 0 w 5"/>
                  <a:gd name="T3" fmla="*/ 4 h 11"/>
                  <a:gd name="T4" fmla="*/ 3 w 5"/>
                  <a:gd name="T5" fmla="*/ 0 h 11"/>
                  <a:gd name="T6" fmla="*/ 5 w 5"/>
                  <a:gd name="T7" fmla="*/ 7 h 11"/>
                  <a:gd name="T8" fmla="*/ 0 w 5"/>
                  <a:gd name="T9" fmla="*/ 11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4"/>
                    </a:lnTo>
                    <a:lnTo>
                      <a:pt x="3" y="0"/>
                    </a:lnTo>
                    <a:lnTo>
                      <a:pt x="5" y="7"/>
                    </a:lnTo>
                    <a:lnTo>
                      <a:pt x="0" y="11"/>
                    </a:lnTo>
                    <a:lnTo>
                      <a:pt x="0"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3" name="Freeform 1181"/>
              <p:cNvSpPr>
                <a:spLocks/>
              </p:cNvSpPr>
              <p:nvPr/>
            </p:nvSpPr>
            <p:spPr bwMode="auto">
              <a:xfrm>
                <a:off x="400" y="3972"/>
                <a:ext cx="4" cy="4"/>
              </a:xfrm>
              <a:custGeom>
                <a:avLst/>
                <a:gdLst>
                  <a:gd name="T0" fmla="*/ 4 w 4"/>
                  <a:gd name="T1" fmla="*/ 4 h 4"/>
                  <a:gd name="T2" fmla="*/ 0 w 4"/>
                  <a:gd name="T3" fmla="*/ 0 h 4"/>
                  <a:gd name="T4" fmla="*/ 4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0" y="0"/>
                    </a:lnTo>
                    <a:lnTo>
                      <a:pt x="4" y="2"/>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1182"/>
              <p:cNvSpPr>
                <a:spLocks/>
              </p:cNvSpPr>
              <p:nvPr/>
            </p:nvSpPr>
            <p:spPr bwMode="auto">
              <a:xfrm>
                <a:off x="400" y="3972"/>
                <a:ext cx="4" cy="4"/>
              </a:xfrm>
              <a:custGeom>
                <a:avLst/>
                <a:gdLst>
                  <a:gd name="T0" fmla="*/ 4 w 4"/>
                  <a:gd name="T1" fmla="*/ 4 h 4"/>
                  <a:gd name="T2" fmla="*/ 0 w 4"/>
                  <a:gd name="T3" fmla="*/ 0 h 4"/>
                  <a:gd name="T4" fmla="*/ 4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0" y="0"/>
                    </a:lnTo>
                    <a:lnTo>
                      <a:pt x="4" y="2"/>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5" name="Freeform 1183"/>
              <p:cNvSpPr>
                <a:spLocks/>
              </p:cNvSpPr>
              <p:nvPr/>
            </p:nvSpPr>
            <p:spPr bwMode="auto">
              <a:xfrm>
                <a:off x="423" y="3934"/>
                <a:ext cx="62" cy="29"/>
              </a:xfrm>
              <a:custGeom>
                <a:avLst/>
                <a:gdLst>
                  <a:gd name="T0" fmla="*/ 2 w 62"/>
                  <a:gd name="T1" fmla="*/ 15 h 29"/>
                  <a:gd name="T2" fmla="*/ 11 w 62"/>
                  <a:gd name="T3" fmla="*/ 12 h 29"/>
                  <a:gd name="T4" fmla="*/ 19 w 62"/>
                  <a:gd name="T5" fmla="*/ 4 h 29"/>
                  <a:gd name="T6" fmla="*/ 23 w 62"/>
                  <a:gd name="T7" fmla="*/ 2 h 29"/>
                  <a:gd name="T8" fmla="*/ 28 w 62"/>
                  <a:gd name="T9" fmla="*/ 4 h 29"/>
                  <a:gd name="T10" fmla="*/ 34 w 62"/>
                  <a:gd name="T11" fmla="*/ 2 h 29"/>
                  <a:gd name="T12" fmla="*/ 45 w 62"/>
                  <a:gd name="T13" fmla="*/ 0 h 29"/>
                  <a:gd name="T14" fmla="*/ 49 w 62"/>
                  <a:gd name="T15" fmla="*/ 2 h 29"/>
                  <a:gd name="T16" fmla="*/ 53 w 62"/>
                  <a:gd name="T17" fmla="*/ 6 h 29"/>
                  <a:gd name="T18" fmla="*/ 55 w 62"/>
                  <a:gd name="T19" fmla="*/ 10 h 29"/>
                  <a:gd name="T20" fmla="*/ 55 w 62"/>
                  <a:gd name="T21" fmla="*/ 17 h 29"/>
                  <a:gd name="T22" fmla="*/ 58 w 62"/>
                  <a:gd name="T23" fmla="*/ 21 h 29"/>
                  <a:gd name="T24" fmla="*/ 62 w 62"/>
                  <a:gd name="T25" fmla="*/ 23 h 29"/>
                  <a:gd name="T26" fmla="*/ 62 w 62"/>
                  <a:gd name="T27" fmla="*/ 29 h 29"/>
                  <a:gd name="T28" fmla="*/ 58 w 62"/>
                  <a:gd name="T29" fmla="*/ 25 h 29"/>
                  <a:gd name="T30" fmla="*/ 53 w 62"/>
                  <a:gd name="T31" fmla="*/ 21 h 29"/>
                  <a:gd name="T32" fmla="*/ 51 w 62"/>
                  <a:gd name="T33" fmla="*/ 25 h 29"/>
                  <a:gd name="T34" fmla="*/ 45 w 62"/>
                  <a:gd name="T35" fmla="*/ 27 h 29"/>
                  <a:gd name="T36" fmla="*/ 36 w 62"/>
                  <a:gd name="T37" fmla="*/ 23 h 29"/>
                  <a:gd name="T38" fmla="*/ 30 w 62"/>
                  <a:gd name="T39" fmla="*/ 21 h 29"/>
                  <a:gd name="T40" fmla="*/ 26 w 62"/>
                  <a:gd name="T41" fmla="*/ 21 h 29"/>
                  <a:gd name="T42" fmla="*/ 19 w 62"/>
                  <a:gd name="T43" fmla="*/ 25 h 29"/>
                  <a:gd name="T44" fmla="*/ 15 w 62"/>
                  <a:gd name="T45" fmla="*/ 29 h 29"/>
                  <a:gd name="T46" fmla="*/ 11 w 62"/>
                  <a:gd name="T47" fmla="*/ 29 h 29"/>
                  <a:gd name="T48" fmla="*/ 6 w 62"/>
                  <a:gd name="T49" fmla="*/ 27 h 29"/>
                  <a:gd name="T50" fmla="*/ 0 w 62"/>
                  <a:gd name="T51" fmla="*/ 25 h 29"/>
                  <a:gd name="T52" fmla="*/ 0 w 62"/>
                  <a:gd name="T53" fmla="*/ 19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11" y="12"/>
                    </a:lnTo>
                    <a:lnTo>
                      <a:pt x="19" y="4"/>
                    </a:lnTo>
                    <a:lnTo>
                      <a:pt x="23" y="2"/>
                    </a:lnTo>
                    <a:lnTo>
                      <a:pt x="28" y="4"/>
                    </a:lnTo>
                    <a:lnTo>
                      <a:pt x="34" y="2"/>
                    </a:lnTo>
                    <a:lnTo>
                      <a:pt x="45" y="0"/>
                    </a:lnTo>
                    <a:lnTo>
                      <a:pt x="49" y="2"/>
                    </a:lnTo>
                    <a:lnTo>
                      <a:pt x="53" y="6"/>
                    </a:lnTo>
                    <a:lnTo>
                      <a:pt x="55" y="10"/>
                    </a:lnTo>
                    <a:lnTo>
                      <a:pt x="55" y="17"/>
                    </a:lnTo>
                    <a:lnTo>
                      <a:pt x="58" y="21"/>
                    </a:lnTo>
                    <a:lnTo>
                      <a:pt x="62" y="23"/>
                    </a:lnTo>
                    <a:lnTo>
                      <a:pt x="62" y="29"/>
                    </a:lnTo>
                    <a:lnTo>
                      <a:pt x="58" y="25"/>
                    </a:lnTo>
                    <a:lnTo>
                      <a:pt x="53" y="21"/>
                    </a:lnTo>
                    <a:lnTo>
                      <a:pt x="51" y="25"/>
                    </a:lnTo>
                    <a:lnTo>
                      <a:pt x="45" y="27"/>
                    </a:lnTo>
                    <a:lnTo>
                      <a:pt x="36" y="23"/>
                    </a:lnTo>
                    <a:lnTo>
                      <a:pt x="30" y="21"/>
                    </a:lnTo>
                    <a:lnTo>
                      <a:pt x="26" y="21"/>
                    </a:lnTo>
                    <a:lnTo>
                      <a:pt x="19" y="25"/>
                    </a:lnTo>
                    <a:lnTo>
                      <a:pt x="15" y="29"/>
                    </a:lnTo>
                    <a:lnTo>
                      <a:pt x="11" y="29"/>
                    </a:lnTo>
                    <a:lnTo>
                      <a:pt x="6" y="27"/>
                    </a:lnTo>
                    <a:lnTo>
                      <a:pt x="0" y="25"/>
                    </a:lnTo>
                    <a:lnTo>
                      <a:pt x="0" y="19"/>
                    </a:ln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1184"/>
              <p:cNvSpPr>
                <a:spLocks/>
              </p:cNvSpPr>
              <p:nvPr/>
            </p:nvSpPr>
            <p:spPr bwMode="auto">
              <a:xfrm>
                <a:off x="423" y="3934"/>
                <a:ext cx="62" cy="29"/>
              </a:xfrm>
              <a:custGeom>
                <a:avLst/>
                <a:gdLst>
                  <a:gd name="T0" fmla="*/ 2 w 62"/>
                  <a:gd name="T1" fmla="*/ 15 h 29"/>
                  <a:gd name="T2" fmla="*/ 11 w 62"/>
                  <a:gd name="T3" fmla="*/ 12 h 29"/>
                  <a:gd name="T4" fmla="*/ 19 w 62"/>
                  <a:gd name="T5" fmla="*/ 4 h 29"/>
                  <a:gd name="T6" fmla="*/ 23 w 62"/>
                  <a:gd name="T7" fmla="*/ 2 h 29"/>
                  <a:gd name="T8" fmla="*/ 28 w 62"/>
                  <a:gd name="T9" fmla="*/ 4 h 29"/>
                  <a:gd name="T10" fmla="*/ 34 w 62"/>
                  <a:gd name="T11" fmla="*/ 2 h 29"/>
                  <a:gd name="T12" fmla="*/ 45 w 62"/>
                  <a:gd name="T13" fmla="*/ 0 h 29"/>
                  <a:gd name="T14" fmla="*/ 49 w 62"/>
                  <a:gd name="T15" fmla="*/ 2 h 29"/>
                  <a:gd name="T16" fmla="*/ 53 w 62"/>
                  <a:gd name="T17" fmla="*/ 6 h 29"/>
                  <a:gd name="T18" fmla="*/ 55 w 62"/>
                  <a:gd name="T19" fmla="*/ 10 h 29"/>
                  <a:gd name="T20" fmla="*/ 55 w 62"/>
                  <a:gd name="T21" fmla="*/ 17 h 29"/>
                  <a:gd name="T22" fmla="*/ 58 w 62"/>
                  <a:gd name="T23" fmla="*/ 21 h 29"/>
                  <a:gd name="T24" fmla="*/ 62 w 62"/>
                  <a:gd name="T25" fmla="*/ 23 h 29"/>
                  <a:gd name="T26" fmla="*/ 62 w 62"/>
                  <a:gd name="T27" fmla="*/ 29 h 29"/>
                  <a:gd name="T28" fmla="*/ 58 w 62"/>
                  <a:gd name="T29" fmla="*/ 25 h 29"/>
                  <a:gd name="T30" fmla="*/ 53 w 62"/>
                  <a:gd name="T31" fmla="*/ 21 h 29"/>
                  <a:gd name="T32" fmla="*/ 51 w 62"/>
                  <a:gd name="T33" fmla="*/ 25 h 29"/>
                  <a:gd name="T34" fmla="*/ 45 w 62"/>
                  <a:gd name="T35" fmla="*/ 27 h 29"/>
                  <a:gd name="T36" fmla="*/ 36 w 62"/>
                  <a:gd name="T37" fmla="*/ 23 h 29"/>
                  <a:gd name="T38" fmla="*/ 30 w 62"/>
                  <a:gd name="T39" fmla="*/ 21 h 29"/>
                  <a:gd name="T40" fmla="*/ 26 w 62"/>
                  <a:gd name="T41" fmla="*/ 21 h 29"/>
                  <a:gd name="T42" fmla="*/ 19 w 62"/>
                  <a:gd name="T43" fmla="*/ 25 h 29"/>
                  <a:gd name="T44" fmla="*/ 15 w 62"/>
                  <a:gd name="T45" fmla="*/ 29 h 29"/>
                  <a:gd name="T46" fmla="*/ 11 w 62"/>
                  <a:gd name="T47" fmla="*/ 29 h 29"/>
                  <a:gd name="T48" fmla="*/ 6 w 62"/>
                  <a:gd name="T49" fmla="*/ 27 h 29"/>
                  <a:gd name="T50" fmla="*/ 0 w 62"/>
                  <a:gd name="T51" fmla="*/ 25 h 29"/>
                  <a:gd name="T52" fmla="*/ 0 w 62"/>
                  <a:gd name="T53" fmla="*/ 19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11" y="12"/>
                    </a:lnTo>
                    <a:lnTo>
                      <a:pt x="19" y="4"/>
                    </a:lnTo>
                    <a:lnTo>
                      <a:pt x="23" y="2"/>
                    </a:lnTo>
                    <a:lnTo>
                      <a:pt x="28" y="4"/>
                    </a:lnTo>
                    <a:lnTo>
                      <a:pt x="34" y="2"/>
                    </a:lnTo>
                    <a:lnTo>
                      <a:pt x="45" y="0"/>
                    </a:lnTo>
                    <a:lnTo>
                      <a:pt x="49" y="2"/>
                    </a:lnTo>
                    <a:lnTo>
                      <a:pt x="53" y="6"/>
                    </a:lnTo>
                    <a:lnTo>
                      <a:pt x="55" y="10"/>
                    </a:lnTo>
                    <a:lnTo>
                      <a:pt x="55" y="17"/>
                    </a:lnTo>
                    <a:lnTo>
                      <a:pt x="58" y="21"/>
                    </a:lnTo>
                    <a:lnTo>
                      <a:pt x="62" y="23"/>
                    </a:lnTo>
                    <a:lnTo>
                      <a:pt x="62" y="29"/>
                    </a:lnTo>
                    <a:lnTo>
                      <a:pt x="58" y="25"/>
                    </a:lnTo>
                    <a:lnTo>
                      <a:pt x="53" y="21"/>
                    </a:lnTo>
                    <a:lnTo>
                      <a:pt x="51" y="25"/>
                    </a:lnTo>
                    <a:lnTo>
                      <a:pt x="45" y="27"/>
                    </a:lnTo>
                    <a:lnTo>
                      <a:pt x="36" y="23"/>
                    </a:lnTo>
                    <a:lnTo>
                      <a:pt x="30" y="21"/>
                    </a:lnTo>
                    <a:lnTo>
                      <a:pt x="26" y="21"/>
                    </a:lnTo>
                    <a:lnTo>
                      <a:pt x="19" y="25"/>
                    </a:lnTo>
                    <a:lnTo>
                      <a:pt x="15" y="29"/>
                    </a:lnTo>
                    <a:lnTo>
                      <a:pt x="11" y="29"/>
                    </a:lnTo>
                    <a:lnTo>
                      <a:pt x="6" y="27"/>
                    </a:lnTo>
                    <a:lnTo>
                      <a:pt x="0" y="25"/>
                    </a:lnTo>
                    <a:lnTo>
                      <a:pt x="0" y="19"/>
                    </a:lnTo>
                    <a:lnTo>
                      <a:pt x="2"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7" name="Freeform 1185"/>
              <p:cNvSpPr>
                <a:spLocks/>
              </p:cNvSpPr>
              <p:nvPr/>
            </p:nvSpPr>
            <p:spPr bwMode="auto">
              <a:xfrm>
                <a:off x="491" y="3974"/>
                <a:ext cx="7" cy="9"/>
              </a:xfrm>
              <a:custGeom>
                <a:avLst/>
                <a:gdLst>
                  <a:gd name="T0" fmla="*/ 2 w 7"/>
                  <a:gd name="T1" fmla="*/ 2 h 9"/>
                  <a:gd name="T2" fmla="*/ 7 w 7"/>
                  <a:gd name="T3" fmla="*/ 4 h 9"/>
                  <a:gd name="T4" fmla="*/ 4 w 7"/>
                  <a:gd name="T5" fmla="*/ 9 h 9"/>
                  <a:gd name="T6" fmla="*/ 0 w 7"/>
                  <a:gd name="T7" fmla="*/ 6 h 9"/>
                  <a:gd name="T8" fmla="*/ 0 w 7"/>
                  <a:gd name="T9" fmla="*/ 0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7" y="4"/>
                    </a:lnTo>
                    <a:lnTo>
                      <a:pt x="4" y="9"/>
                    </a:lnTo>
                    <a:lnTo>
                      <a:pt x="0" y="6"/>
                    </a:lnTo>
                    <a:lnTo>
                      <a:pt x="0"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1186"/>
              <p:cNvSpPr>
                <a:spLocks/>
              </p:cNvSpPr>
              <p:nvPr/>
            </p:nvSpPr>
            <p:spPr bwMode="auto">
              <a:xfrm>
                <a:off x="491" y="3974"/>
                <a:ext cx="7" cy="9"/>
              </a:xfrm>
              <a:custGeom>
                <a:avLst/>
                <a:gdLst>
                  <a:gd name="T0" fmla="*/ 2 w 7"/>
                  <a:gd name="T1" fmla="*/ 2 h 9"/>
                  <a:gd name="T2" fmla="*/ 7 w 7"/>
                  <a:gd name="T3" fmla="*/ 4 h 9"/>
                  <a:gd name="T4" fmla="*/ 4 w 7"/>
                  <a:gd name="T5" fmla="*/ 9 h 9"/>
                  <a:gd name="T6" fmla="*/ 0 w 7"/>
                  <a:gd name="T7" fmla="*/ 6 h 9"/>
                  <a:gd name="T8" fmla="*/ 0 w 7"/>
                  <a:gd name="T9" fmla="*/ 0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7" y="4"/>
                    </a:lnTo>
                    <a:lnTo>
                      <a:pt x="4" y="9"/>
                    </a:lnTo>
                    <a:lnTo>
                      <a:pt x="0" y="6"/>
                    </a:lnTo>
                    <a:lnTo>
                      <a:pt x="0" y="0"/>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9" name="Freeform 1187"/>
              <p:cNvSpPr>
                <a:spLocks/>
              </p:cNvSpPr>
              <p:nvPr/>
            </p:nvSpPr>
            <p:spPr bwMode="auto">
              <a:xfrm>
                <a:off x="510" y="3953"/>
                <a:ext cx="7" cy="4"/>
              </a:xfrm>
              <a:custGeom>
                <a:avLst/>
                <a:gdLst>
                  <a:gd name="T0" fmla="*/ 7 w 7"/>
                  <a:gd name="T1" fmla="*/ 0 h 4"/>
                  <a:gd name="T2" fmla="*/ 5 w 7"/>
                  <a:gd name="T3" fmla="*/ 4 h 4"/>
                  <a:gd name="T4" fmla="*/ 0 w 7"/>
                  <a:gd name="T5" fmla="*/ 4 h 4"/>
                  <a:gd name="T6" fmla="*/ 3 w 7"/>
                  <a:gd name="T7" fmla="*/ 0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5" y="4"/>
                    </a:lnTo>
                    <a:lnTo>
                      <a:pt x="0" y="4"/>
                    </a:lnTo>
                    <a:lnTo>
                      <a:pt x="3"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1188"/>
              <p:cNvSpPr>
                <a:spLocks/>
              </p:cNvSpPr>
              <p:nvPr/>
            </p:nvSpPr>
            <p:spPr bwMode="auto">
              <a:xfrm>
                <a:off x="510" y="3953"/>
                <a:ext cx="7" cy="4"/>
              </a:xfrm>
              <a:custGeom>
                <a:avLst/>
                <a:gdLst>
                  <a:gd name="T0" fmla="*/ 7 w 7"/>
                  <a:gd name="T1" fmla="*/ 0 h 4"/>
                  <a:gd name="T2" fmla="*/ 5 w 7"/>
                  <a:gd name="T3" fmla="*/ 4 h 4"/>
                  <a:gd name="T4" fmla="*/ 0 w 7"/>
                  <a:gd name="T5" fmla="*/ 4 h 4"/>
                  <a:gd name="T6" fmla="*/ 3 w 7"/>
                  <a:gd name="T7" fmla="*/ 0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5" y="4"/>
                    </a:lnTo>
                    <a:lnTo>
                      <a:pt x="0" y="4"/>
                    </a:lnTo>
                    <a:lnTo>
                      <a:pt x="3" y="0"/>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1" name="Rectangle 1189"/>
              <p:cNvSpPr>
                <a:spLocks noChangeArrowheads="1"/>
              </p:cNvSpPr>
              <p:nvPr/>
            </p:nvSpPr>
            <p:spPr bwMode="auto">
              <a:xfrm>
                <a:off x="640" y="3463"/>
                <a:ext cx="5" cy="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Rectangle 1190"/>
              <p:cNvSpPr>
                <a:spLocks noChangeArrowheads="1"/>
              </p:cNvSpPr>
              <p:nvPr/>
            </p:nvSpPr>
            <p:spPr bwMode="auto">
              <a:xfrm>
                <a:off x="640" y="3463"/>
                <a:ext cx="5" cy="4"/>
              </a:xfrm>
              <a:prstGeom prst="rect">
                <a:avLst/>
              </a:pr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3" name="Freeform 1191"/>
              <p:cNvSpPr>
                <a:spLocks/>
              </p:cNvSpPr>
              <p:nvPr/>
            </p:nvSpPr>
            <p:spPr bwMode="auto">
              <a:xfrm>
                <a:off x="534" y="3946"/>
                <a:ext cx="2" cy="7"/>
              </a:xfrm>
              <a:custGeom>
                <a:avLst/>
                <a:gdLst>
                  <a:gd name="T0" fmla="*/ 2 w 2"/>
                  <a:gd name="T1" fmla="*/ 0 h 7"/>
                  <a:gd name="T2" fmla="*/ 2 w 2"/>
                  <a:gd name="T3" fmla="*/ 7 h 7"/>
                  <a:gd name="T4" fmla="*/ 0 w 2"/>
                  <a:gd name="T5" fmla="*/ 0 h 7"/>
                  <a:gd name="T6" fmla="*/ 2 w 2"/>
                  <a:gd name="T7" fmla="*/ 0 h 7"/>
                </a:gdLst>
                <a:ahLst/>
                <a:cxnLst>
                  <a:cxn ang="0">
                    <a:pos x="T0" y="T1"/>
                  </a:cxn>
                  <a:cxn ang="0">
                    <a:pos x="T2" y="T3"/>
                  </a:cxn>
                  <a:cxn ang="0">
                    <a:pos x="T4" y="T5"/>
                  </a:cxn>
                  <a:cxn ang="0">
                    <a:pos x="T6" y="T7"/>
                  </a:cxn>
                </a:cxnLst>
                <a:rect l="0" t="0" r="r" b="b"/>
                <a:pathLst>
                  <a:path w="2" h="7">
                    <a:moveTo>
                      <a:pt x="2" y="0"/>
                    </a:moveTo>
                    <a:lnTo>
                      <a:pt x="2" y="7"/>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1192"/>
              <p:cNvSpPr>
                <a:spLocks/>
              </p:cNvSpPr>
              <p:nvPr/>
            </p:nvSpPr>
            <p:spPr bwMode="auto">
              <a:xfrm>
                <a:off x="534" y="3946"/>
                <a:ext cx="2" cy="7"/>
              </a:xfrm>
              <a:custGeom>
                <a:avLst/>
                <a:gdLst>
                  <a:gd name="T0" fmla="*/ 2 w 2"/>
                  <a:gd name="T1" fmla="*/ 0 h 7"/>
                  <a:gd name="T2" fmla="*/ 2 w 2"/>
                  <a:gd name="T3" fmla="*/ 7 h 7"/>
                  <a:gd name="T4" fmla="*/ 0 w 2"/>
                  <a:gd name="T5" fmla="*/ 0 h 7"/>
                  <a:gd name="T6" fmla="*/ 2 w 2"/>
                  <a:gd name="T7" fmla="*/ 0 h 7"/>
                </a:gdLst>
                <a:ahLst/>
                <a:cxnLst>
                  <a:cxn ang="0">
                    <a:pos x="T0" y="T1"/>
                  </a:cxn>
                  <a:cxn ang="0">
                    <a:pos x="T2" y="T3"/>
                  </a:cxn>
                  <a:cxn ang="0">
                    <a:pos x="T4" y="T5"/>
                  </a:cxn>
                  <a:cxn ang="0">
                    <a:pos x="T6" y="T7"/>
                  </a:cxn>
                </a:cxnLst>
                <a:rect l="0" t="0" r="r" b="b"/>
                <a:pathLst>
                  <a:path w="2" h="7">
                    <a:moveTo>
                      <a:pt x="2" y="0"/>
                    </a:moveTo>
                    <a:lnTo>
                      <a:pt x="2" y="7"/>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5" name="Freeform 1193"/>
              <p:cNvSpPr>
                <a:spLocks/>
              </p:cNvSpPr>
              <p:nvPr/>
            </p:nvSpPr>
            <p:spPr bwMode="auto">
              <a:xfrm>
                <a:off x="606" y="3748"/>
                <a:ext cx="11" cy="11"/>
              </a:xfrm>
              <a:custGeom>
                <a:avLst/>
                <a:gdLst>
                  <a:gd name="T0" fmla="*/ 0 w 11"/>
                  <a:gd name="T1" fmla="*/ 7 h 11"/>
                  <a:gd name="T2" fmla="*/ 7 w 11"/>
                  <a:gd name="T3" fmla="*/ 2 h 11"/>
                  <a:gd name="T4" fmla="*/ 11 w 11"/>
                  <a:gd name="T5" fmla="*/ 0 h 11"/>
                  <a:gd name="T6" fmla="*/ 9 w 11"/>
                  <a:gd name="T7" fmla="*/ 7 h 11"/>
                  <a:gd name="T8" fmla="*/ 7 w 11"/>
                  <a:gd name="T9" fmla="*/ 11 h 11"/>
                  <a:gd name="T10" fmla="*/ 0 w 11"/>
                  <a:gd name="T11" fmla="*/ 11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7" y="2"/>
                    </a:lnTo>
                    <a:lnTo>
                      <a:pt x="11" y="0"/>
                    </a:lnTo>
                    <a:lnTo>
                      <a:pt x="9" y="7"/>
                    </a:lnTo>
                    <a:lnTo>
                      <a:pt x="7" y="11"/>
                    </a:lnTo>
                    <a:lnTo>
                      <a:pt x="0" y="11"/>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1194"/>
              <p:cNvSpPr>
                <a:spLocks/>
              </p:cNvSpPr>
              <p:nvPr/>
            </p:nvSpPr>
            <p:spPr bwMode="auto">
              <a:xfrm>
                <a:off x="606" y="3748"/>
                <a:ext cx="11" cy="11"/>
              </a:xfrm>
              <a:custGeom>
                <a:avLst/>
                <a:gdLst>
                  <a:gd name="T0" fmla="*/ 0 w 11"/>
                  <a:gd name="T1" fmla="*/ 7 h 11"/>
                  <a:gd name="T2" fmla="*/ 7 w 11"/>
                  <a:gd name="T3" fmla="*/ 2 h 11"/>
                  <a:gd name="T4" fmla="*/ 11 w 11"/>
                  <a:gd name="T5" fmla="*/ 0 h 11"/>
                  <a:gd name="T6" fmla="*/ 9 w 11"/>
                  <a:gd name="T7" fmla="*/ 7 h 11"/>
                  <a:gd name="T8" fmla="*/ 7 w 11"/>
                  <a:gd name="T9" fmla="*/ 11 h 11"/>
                  <a:gd name="T10" fmla="*/ 0 w 11"/>
                  <a:gd name="T11" fmla="*/ 11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7" y="2"/>
                    </a:lnTo>
                    <a:lnTo>
                      <a:pt x="11" y="0"/>
                    </a:lnTo>
                    <a:lnTo>
                      <a:pt x="9" y="7"/>
                    </a:lnTo>
                    <a:lnTo>
                      <a:pt x="7" y="11"/>
                    </a:lnTo>
                    <a:lnTo>
                      <a:pt x="0" y="11"/>
                    </a:lnTo>
                    <a:lnTo>
                      <a:pt x="0"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7" name="Freeform 1195"/>
              <p:cNvSpPr>
                <a:spLocks/>
              </p:cNvSpPr>
              <p:nvPr/>
            </p:nvSpPr>
            <p:spPr bwMode="auto">
              <a:xfrm>
                <a:off x="566" y="3942"/>
                <a:ext cx="13" cy="15"/>
              </a:xfrm>
              <a:custGeom>
                <a:avLst/>
                <a:gdLst>
                  <a:gd name="T0" fmla="*/ 8 w 13"/>
                  <a:gd name="T1" fmla="*/ 0 h 15"/>
                  <a:gd name="T2" fmla="*/ 6 w 13"/>
                  <a:gd name="T3" fmla="*/ 4 h 15"/>
                  <a:gd name="T4" fmla="*/ 13 w 13"/>
                  <a:gd name="T5" fmla="*/ 2 h 15"/>
                  <a:gd name="T6" fmla="*/ 8 w 13"/>
                  <a:gd name="T7" fmla="*/ 7 h 15"/>
                  <a:gd name="T8" fmla="*/ 10 w 13"/>
                  <a:gd name="T9" fmla="*/ 11 h 15"/>
                  <a:gd name="T10" fmla="*/ 0 w 13"/>
                  <a:gd name="T11" fmla="*/ 15 h 15"/>
                  <a:gd name="T12" fmla="*/ 0 w 13"/>
                  <a:gd name="T13" fmla="*/ 9 h 15"/>
                  <a:gd name="T14" fmla="*/ 0 w 13"/>
                  <a:gd name="T15" fmla="*/ 4 h 15"/>
                  <a:gd name="T16" fmla="*/ 4 w 13"/>
                  <a:gd name="T17" fmla="*/ 0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6" y="4"/>
                    </a:lnTo>
                    <a:lnTo>
                      <a:pt x="13" y="2"/>
                    </a:lnTo>
                    <a:lnTo>
                      <a:pt x="8" y="7"/>
                    </a:lnTo>
                    <a:lnTo>
                      <a:pt x="10" y="11"/>
                    </a:lnTo>
                    <a:lnTo>
                      <a:pt x="0" y="15"/>
                    </a:lnTo>
                    <a:lnTo>
                      <a:pt x="0" y="9"/>
                    </a:lnTo>
                    <a:lnTo>
                      <a:pt x="0" y="4"/>
                    </a:lnTo>
                    <a:lnTo>
                      <a:pt x="4"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1196"/>
              <p:cNvSpPr>
                <a:spLocks/>
              </p:cNvSpPr>
              <p:nvPr/>
            </p:nvSpPr>
            <p:spPr bwMode="auto">
              <a:xfrm>
                <a:off x="566" y="3942"/>
                <a:ext cx="13" cy="15"/>
              </a:xfrm>
              <a:custGeom>
                <a:avLst/>
                <a:gdLst>
                  <a:gd name="T0" fmla="*/ 8 w 13"/>
                  <a:gd name="T1" fmla="*/ 0 h 15"/>
                  <a:gd name="T2" fmla="*/ 6 w 13"/>
                  <a:gd name="T3" fmla="*/ 4 h 15"/>
                  <a:gd name="T4" fmla="*/ 13 w 13"/>
                  <a:gd name="T5" fmla="*/ 2 h 15"/>
                  <a:gd name="T6" fmla="*/ 8 w 13"/>
                  <a:gd name="T7" fmla="*/ 7 h 15"/>
                  <a:gd name="T8" fmla="*/ 10 w 13"/>
                  <a:gd name="T9" fmla="*/ 11 h 15"/>
                  <a:gd name="T10" fmla="*/ 0 w 13"/>
                  <a:gd name="T11" fmla="*/ 15 h 15"/>
                  <a:gd name="T12" fmla="*/ 0 w 13"/>
                  <a:gd name="T13" fmla="*/ 9 h 15"/>
                  <a:gd name="T14" fmla="*/ 0 w 13"/>
                  <a:gd name="T15" fmla="*/ 4 h 15"/>
                  <a:gd name="T16" fmla="*/ 4 w 13"/>
                  <a:gd name="T17" fmla="*/ 0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6" y="4"/>
                    </a:lnTo>
                    <a:lnTo>
                      <a:pt x="13" y="2"/>
                    </a:lnTo>
                    <a:lnTo>
                      <a:pt x="8" y="7"/>
                    </a:lnTo>
                    <a:lnTo>
                      <a:pt x="10" y="11"/>
                    </a:lnTo>
                    <a:lnTo>
                      <a:pt x="0" y="15"/>
                    </a:lnTo>
                    <a:lnTo>
                      <a:pt x="0" y="9"/>
                    </a:lnTo>
                    <a:lnTo>
                      <a:pt x="0" y="4"/>
                    </a:lnTo>
                    <a:lnTo>
                      <a:pt x="4" y="0"/>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9" name="Freeform 1197"/>
              <p:cNvSpPr>
                <a:spLocks/>
              </p:cNvSpPr>
              <p:nvPr/>
            </p:nvSpPr>
            <p:spPr bwMode="auto">
              <a:xfrm>
                <a:off x="579" y="3946"/>
                <a:ext cx="6" cy="7"/>
              </a:xfrm>
              <a:custGeom>
                <a:avLst/>
                <a:gdLst>
                  <a:gd name="T0" fmla="*/ 6 w 6"/>
                  <a:gd name="T1" fmla="*/ 0 h 7"/>
                  <a:gd name="T2" fmla="*/ 4 w 6"/>
                  <a:gd name="T3" fmla="*/ 7 h 7"/>
                  <a:gd name="T4" fmla="*/ 0 w 6"/>
                  <a:gd name="T5" fmla="*/ 3 h 7"/>
                  <a:gd name="T6" fmla="*/ 6 w 6"/>
                  <a:gd name="T7" fmla="*/ 0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4" y="7"/>
                    </a:lnTo>
                    <a:lnTo>
                      <a:pt x="0" y="3"/>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1198"/>
              <p:cNvSpPr>
                <a:spLocks/>
              </p:cNvSpPr>
              <p:nvPr/>
            </p:nvSpPr>
            <p:spPr bwMode="auto">
              <a:xfrm>
                <a:off x="579" y="3946"/>
                <a:ext cx="6" cy="7"/>
              </a:xfrm>
              <a:custGeom>
                <a:avLst/>
                <a:gdLst>
                  <a:gd name="T0" fmla="*/ 6 w 6"/>
                  <a:gd name="T1" fmla="*/ 0 h 7"/>
                  <a:gd name="T2" fmla="*/ 4 w 6"/>
                  <a:gd name="T3" fmla="*/ 7 h 7"/>
                  <a:gd name="T4" fmla="*/ 0 w 6"/>
                  <a:gd name="T5" fmla="*/ 3 h 7"/>
                  <a:gd name="T6" fmla="*/ 6 w 6"/>
                  <a:gd name="T7" fmla="*/ 0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4" y="7"/>
                    </a:lnTo>
                    <a:lnTo>
                      <a:pt x="0" y="3"/>
                    </a:lnTo>
                    <a:lnTo>
                      <a:pt x="6" y="0"/>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1" name="Freeform 1199"/>
              <p:cNvSpPr>
                <a:spLocks/>
              </p:cNvSpPr>
              <p:nvPr/>
            </p:nvSpPr>
            <p:spPr bwMode="auto">
              <a:xfrm>
                <a:off x="583" y="3955"/>
                <a:ext cx="15" cy="19"/>
              </a:xfrm>
              <a:custGeom>
                <a:avLst/>
                <a:gdLst>
                  <a:gd name="T0" fmla="*/ 8 w 15"/>
                  <a:gd name="T1" fmla="*/ 11 h 19"/>
                  <a:gd name="T2" fmla="*/ 0 w 15"/>
                  <a:gd name="T3" fmla="*/ 19 h 19"/>
                  <a:gd name="T4" fmla="*/ 2 w 15"/>
                  <a:gd name="T5" fmla="*/ 15 h 19"/>
                  <a:gd name="T6" fmla="*/ 4 w 15"/>
                  <a:gd name="T7" fmla="*/ 8 h 19"/>
                  <a:gd name="T8" fmla="*/ 6 w 15"/>
                  <a:gd name="T9" fmla="*/ 4 h 19"/>
                  <a:gd name="T10" fmla="*/ 10 w 15"/>
                  <a:gd name="T11" fmla="*/ 4 h 19"/>
                  <a:gd name="T12" fmla="*/ 15 w 15"/>
                  <a:gd name="T13" fmla="*/ 0 h 19"/>
                  <a:gd name="T14" fmla="*/ 13 w 15"/>
                  <a:gd name="T15" fmla="*/ 4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0" y="19"/>
                    </a:lnTo>
                    <a:lnTo>
                      <a:pt x="2" y="15"/>
                    </a:lnTo>
                    <a:lnTo>
                      <a:pt x="4" y="8"/>
                    </a:lnTo>
                    <a:lnTo>
                      <a:pt x="6" y="4"/>
                    </a:lnTo>
                    <a:lnTo>
                      <a:pt x="10" y="4"/>
                    </a:lnTo>
                    <a:lnTo>
                      <a:pt x="15" y="0"/>
                    </a:lnTo>
                    <a:lnTo>
                      <a:pt x="13" y="4"/>
                    </a:lnTo>
                    <a:lnTo>
                      <a:pt x="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1200"/>
              <p:cNvSpPr>
                <a:spLocks/>
              </p:cNvSpPr>
              <p:nvPr/>
            </p:nvSpPr>
            <p:spPr bwMode="auto">
              <a:xfrm>
                <a:off x="583" y="3955"/>
                <a:ext cx="15" cy="19"/>
              </a:xfrm>
              <a:custGeom>
                <a:avLst/>
                <a:gdLst>
                  <a:gd name="T0" fmla="*/ 8 w 15"/>
                  <a:gd name="T1" fmla="*/ 11 h 19"/>
                  <a:gd name="T2" fmla="*/ 0 w 15"/>
                  <a:gd name="T3" fmla="*/ 19 h 19"/>
                  <a:gd name="T4" fmla="*/ 2 w 15"/>
                  <a:gd name="T5" fmla="*/ 15 h 19"/>
                  <a:gd name="T6" fmla="*/ 4 w 15"/>
                  <a:gd name="T7" fmla="*/ 8 h 19"/>
                  <a:gd name="T8" fmla="*/ 6 w 15"/>
                  <a:gd name="T9" fmla="*/ 4 h 19"/>
                  <a:gd name="T10" fmla="*/ 10 w 15"/>
                  <a:gd name="T11" fmla="*/ 4 h 19"/>
                  <a:gd name="T12" fmla="*/ 15 w 15"/>
                  <a:gd name="T13" fmla="*/ 0 h 19"/>
                  <a:gd name="T14" fmla="*/ 13 w 15"/>
                  <a:gd name="T15" fmla="*/ 4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0" y="19"/>
                    </a:lnTo>
                    <a:lnTo>
                      <a:pt x="2" y="15"/>
                    </a:lnTo>
                    <a:lnTo>
                      <a:pt x="4" y="8"/>
                    </a:lnTo>
                    <a:lnTo>
                      <a:pt x="6" y="4"/>
                    </a:lnTo>
                    <a:lnTo>
                      <a:pt x="10" y="4"/>
                    </a:lnTo>
                    <a:lnTo>
                      <a:pt x="15" y="0"/>
                    </a:lnTo>
                    <a:lnTo>
                      <a:pt x="13" y="4"/>
                    </a:lnTo>
                    <a:lnTo>
                      <a:pt x="8"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3" name="Freeform 1201"/>
              <p:cNvSpPr>
                <a:spLocks/>
              </p:cNvSpPr>
              <p:nvPr/>
            </p:nvSpPr>
            <p:spPr bwMode="auto">
              <a:xfrm>
                <a:off x="606" y="3959"/>
                <a:ext cx="2" cy="11"/>
              </a:xfrm>
              <a:custGeom>
                <a:avLst/>
                <a:gdLst>
                  <a:gd name="T0" fmla="*/ 2 w 2"/>
                  <a:gd name="T1" fmla="*/ 0 h 11"/>
                  <a:gd name="T2" fmla="*/ 0 w 2"/>
                  <a:gd name="T3" fmla="*/ 11 h 11"/>
                  <a:gd name="T4" fmla="*/ 0 w 2"/>
                  <a:gd name="T5" fmla="*/ 4 h 11"/>
                  <a:gd name="T6" fmla="*/ 2 w 2"/>
                  <a:gd name="T7" fmla="*/ 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0" y="11"/>
                    </a:lnTo>
                    <a:lnTo>
                      <a:pt x="0" y="4"/>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1202"/>
              <p:cNvSpPr>
                <a:spLocks/>
              </p:cNvSpPr>
              <p:nvPr/>
            </p:nvSpPr>
            <p:spPr bwMode="auto">
              <a:xfrm>
                <a:off x="606" y="3959"/>
                <a:ext cx="2" cy="11"/>
              </a:xfrm>
              <a:custGeom>
                <a:avLst/>
                <a:gdLst>
                  <a:gd name="T0" fmla="*/ 2 w 2"/>
                  <a:gd name="T1" fmla="*/ 0 h 11"/>
                  <a:gd name="T2" fmla="*/ 0 w 2"/>
                  <a:gd name="T3" fmla="*/ 11 h 11"/>
                  <a:gd name="T4" fmla="*/ 0 w 2"/>
                  <a:gd name="T5" fmla="*/ 4 h 11"/>
                  <a:gd name="T6" fmla="*/ 2 w 2"/>
                  <a:gd name="T7" fmla="*/ 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0" y="11"/>
                    </a:lnTo>
                    <a:lnTo>
                      <a:pt x="0" y="4"/>
                    </a:lnTo>
                    <a:lnTo>
                      <a:pt x="2"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5" name="Freeform 1203"/>
              <p:cNvSpPr>
                <a:spLocks/>
              </p:cNvSpPr>
              <p:nvPr/>
            </p:nvSpPr>
            <p:spPr bwMode="auto">
              <a:xfrm>
                <a:off x="608" y="3970"/>
                <a:ext cx="2" cy="6"/>
              </a:xfrm>
              <a:custGeom>
                <a:avLst/>
                <a:gdLst>
                  <a:gd name="T0" fmla="*/ 2 w 2"/>
                  <a:gd name="T1" fmla="*/ 0 h 6"/>
                  <a:gd name="T2" fmla="*/ 2 w 2"/>
                  <a:gd name="T3" fmla="*/ 6 h 6"/>
                  <a:gd name="T4" fmla="*/ 0 w 2"/>
                  <a:gd name="T5" fmla="*/ 0 h 6"/>
                  <a:gd name="T6" fmla="*/ 2 w 2"/>
                  <a:gd name="T7" fmla="*/ 0 h 6"/>
                </a:gdLst>
                <a:ahLst/>
                <a:cxnLst>
                  <a:cxn ang="0">
                    <a:pos x="T0" y="T1"/>
                  </a:cxn>
                  <a:cxn ang="0">
                    <a:pos x="T2" y="T3"/>
                  </a:cxn>
                  <a:cxn ang="0">
                    <a:pos x="T4" y="T5"/>
                  </a:cxn>
                  <a:cxn ang="0">
                    <a:pos x="T6" y="T7"/>
                  </a:cxn>
                </a:cxnLst>
                <a:rect l="0" t="0" r="r" b="b"/>
                <a:pathLst>
                  <a:path w="2" h="6">
                    <a:moveTo>
                      <a:pt x="2" y="0"/>
                    </a:moveTo>
                    <a:lnTo>
                      <a:pt x="2" y="6"/>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1204"/>
              <p:cNvSpPr>
                <a:spLocks/>
              </p:cNvSpPr>
              <p:nvPr/>
            </p:nvSpPr>
            <p:spPr bwMode="auto">
              <a:xfrm>
                <a:off x="608" y="3970"/>
                <a:ext cx="2" cy="6"/>
              </a:xfrm>
              <a:custGeom>
                <a:avLst/>
                <a:gdLst>
                  <a:gd name="T0" fmla="*/ 2 w 2"/>
                  <a:gd name="T1" fmla="*/ 0 h 6"/>
                  <a:gd name="T2" fmla="*/ 2 w 2"/>
                  <a:gd name="T3" fmla="*/ 6 h 6"/>
                  <a:gd name="T4" fmla="*/ 0 w 2"/>
                  <a:gd name="T5" fmla="*/ 0 h 6"/>
                  <a:gd name="T6" fmla="*/ 2 w 2"/>
                  <a:gd name="T7" fmla="*/ 0 h 6"/>
                </a:gdLst>
                <a:ahLst/>
                <a:cxnLst>
                  <a:cxn ang="0">
                    <a:pos x="T0" y="T1"/>
                  </a:cxn>
                  <a:cxn ang="0">
                    <a:pos x="T2" y="T3"/>
                  </a:cxn>
                  <a:cxn ang="0">
                    <a:pos x="T4" y="T5"/>
                  </a:cxn>
                  <a:cxn ang="0">
                    <a:pos x="T6" y="T7"/>
                  </a:cxn>
                </a:cxnLst>
                <a:rect l="0" t="0" r="r" b="b"/>
                <a:pathLst>
                  <a:path w="2" h="6">
                    <a:moveTo>
                      <a:pt x="2" y="0"/>
                    </a:moveTo>
                    <a:lnTo>
                      <a:pt x="2" y="6"/>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7" name="Freeform 1205"/>
              <p:cNvSpPr>
                <a:spLocks/>
              </p:cNvSpPr>
              <p:nvPr/>
            </p:nvSpPr>
            <p:spPr bwMode="auto">
              <a:xfrm>
                <a:off x="638" y="3927"/>
                <a:ext cx="2" cy="4"/>
              </a:xfrm>
              <a:custGeom>
                <a:avLst/>
                <a:gdLst>
                  <a:gd name="T0" fmla="*/ 2 w 2"/>
                  <a:gd name="T1" fmla="*/ 0 h 4"/>
                  <a:gd name="T2" fmla="*/ 0 w 2"/>
                  <a:gd name="T3" fmla="*/ 4 h 4"/>
                  <a:gd name="T4" fmla="*/ 0 w 2"/>
                  <a:gd name="T5" fmla="*/ 0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1206"/>
              <p:cNvSpPr>
                <a:spLocks/>
              </p:cNvSpPr>
              <p:nvPr/>
            </p:nvSpPr>
            <p:spPr bwMode="auto">
              <a:xfrm>
                <a:off x="638" y="3927"/>
                <a:ext cx="2" cy="4"/>
              </a:xfrm>
              <a:custGeom>
                <a:avLst/>
                <a:gdLst>
                  <a:gd name="T0" fmla="*/ 2 w 2"/>
                  <a:gd name="T1" fmla="*/ 0 h 4"/>
                  <a:gd name="T2" fmla="*/ 0 w 2"/>
                  <a:gd name="T3" fmla="*/ 4 h 4"/>
                  <a:gd name="T4" fmla="*/ 0 w 2"/>
                  <a:gd name="T5" fmla="*/ 0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9" name="Freeform 1207"/>
              <p:cNvSpPr>
                <a:spLocks/>
              </p:cNvSpPr>
              <p:nvPr/>
            </p:nvSpPr>
            <p:spPr bwMode="auto">
              <a:xfrm>
                <a:off x="696" y="3897"/>
                <a:ext cx="6" cy="5"/>
              </a:xfrm>
              <a:custGeom>
                <a:avLst/>
                <a:gdLst>
                  <a:gd name="T0" fmla="*/ 2 w 6"/>
                  <a:gd name="T1" fmla="*/ 0 h 5"/>
                  <a:gd name="T2" fmla="*/ 6 w 6"/>
                  <a:gd name="T3" fmla="*/ 3 h 5"/>
                  <a:gd name="T4" fmla="*/ 0 w 6"/>
                  <a:gd name="T5" fmla="*/ 5 h 5"/>
                  <a:gd name="T6" fmla="*/ 2 w 6"/>
                  <a:gd name="T7" fmla="*/ 0 h 5"/>
                </a:gdLst>
                <a:ahLst/>
                <a:cxnLst>
                  <a:cxn ang="0">
                    <a:pos x="T0" y="T1"/>
                  </a:cxn>
                  <a:cxn ang="0">
                    <a:pos x="T2" y="T3"/>
                  </a:cxn>
                  <a:cxn ang="0">
                    <a:pos x="T4" y="T5"/>
                  </a:cxn>
                  <a:cxn ang="0">
                    <a:pos x="T6" y="T7"/>
                  </a:cxn>
                </a:cxnLst>
                <a:rect l="0" t="0" r="r" b="b"/>
                <a:pathLst>
                  <a:path w="6" h="5">
                    <a:moveTo>
                      <a:pt x="2" y="0"/>
                    </a:moveTo>
                    <a:lnTo>
                      <a:pt x="6" y="3"/>
                    </a:lnTo>
                    <a:lnTo>
                      <a:pt x="0"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1208"/>
              <p:cNvSpPr>
                <a:spLocks/>
              </p:cNvSpPr>
              <p:nvPr/>
            </p:nvSpPr>
            <p:spPr bwMode="auto">
              <a:xfrm>
                <a:off x="696" y="3897"/>
                <a:ext cx="6" cy="5"/>
              </a:xfrm>
              <a:custGeom>
                <a:avLst/>
                <a:gdLst>
                  <a:gd name="T0" fmla="*/ 2 w 6"/>
                  <a:gd name="T1" fmla="*/ 0 h 5"/>
                  <a:gd name="T2" fmla="*/ 6 w 6"/>
                  <a:gd name="T3" fmla="*/ 3 h 5"/>
                  <a:gd name="T4" fmla="*/ 0 w 6"/>
                  <a:gd name="T5" fmla="*/ 5 h 5"/>
                  <a:gd name="T6" fmla="*/ 2 w 6"/>
                  <a:gd name="T7" fmla="*/ 0 h 5"/>
                </a:gdLst>
                <a:ahLst/>
                <a:cxnLst>
                  <a:cxn ang="0">
                    <a:pos x="T0" y="T1"/>
                  </a:cxn>
                  <a:cxn ang="0">
                    <a:pos x="T2" y="T3"/>
                  </a:cxn>
                  <a:cxn ang="0">
                    <a:pos x="T4" y="T5"/>
                  </a:cxn>
                  <a:cxn ang="0">
                    <a:pos x="T6" y="T7"/>
                  </a:cxn>
                </a:cxnLst>
                <a:rect l="0" t="0" r="r" b="b"/>
                <a:pathLst>
                  <a:path w="6" h="5">
                    <a:moveTo>
                      <a:pt x="2" y="0"/>
                    </a:moveTo>
                    <a:lnTo>
                      <a:pt x="6" y="3"/>
                    </a:lnTo>
                    <a:lnTo>
                      <a:pt x="0"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1" name="Freeform 1209"/>
              <p:cNvSpPr>
                <a:spLocks/>
              </p:cNvSpPr>
              <p:nvPr/>
            </p:nvSpPr>
            <p:spPr bwMode="auto">
              <a:xfrm>
                <a:off x="738" y="3946"/>
                <a:ext cx="7" cy="7"/>
              </a:xfrm>
              <a:custGeom>
                <a:avLst/>
                <a:gdLst>
                  <a:gd name="T0" fmla="*/ 7 w 7"/>
                  <a:gd name="T1" fmla="*/ 0 h 7"/>
                  <a:gd name="T2" fmla="*/ 4 w 7"/>
                  <a:gd name="T3" fmla="*/ 5 h 7"/>
                  <a:gd name="T4" fmla="*/ 0 w 7"/>
                  <a:gd name="T5" fmla="*/ 7 h 7"/>
                  <a:gd name="T6" fmla="*/ 2 w 7"/>
                  <a:gd name="T7" fmla="*/ 3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4" y="5"/>
                    </a:lnTo>
                    <a:lnTo>
                      <a:pt x="0" y="7"/>
                    </a:lnTo>
                    <a:lnTo>
                      <a:pt x="2" y="3"/>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1210"/>
              <p:cNvSpPr>
                <a:spLocks/>
              </p:cNvSpPr>
              <p:nvPr/>
            </p:nvSpPr>
            <p:spPr bwMode="auto">
              <a:xfrm>
                <a:off x="738" y="3946"/>
                <a:ext cx="7" cy="7"/>
              </a:xfrm>
              <a:custGeom>
                <a:avLst/>
                <a:gdLst>
                  <a:gd name="T0" fmla="*/ 7 w 7"/>
                  <a:gd name="T1" fmla="*/ 0 h 7"/>
                  <a:gd name="T2" fmla="*/ 4 w 7"/>
                  <a:gd name="T3" fmla="*/ 5 h 7"/>
                  <a:gd name="T4" fmla="*/ 0 w 7"/>
                  <a:gd name="T5" fmla="*/ 7 h 7"/>
                  <a:gd name="T6" fmla="*/ 2 w 7"/>
                  <a:gd name="T7" fmla="*/ 3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4" y="5"/>
                    </a:lnTo>
                    <a:lnTo>
                      <a:pt x="0" y="7"/>
                    </a:lnTo>
                    <a:lnTo>
                      <a:pt x="2" y="3"/>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211"/>
              <p:cNvSpPr>
                <a:spLocks/>
              </p:cNvSpPr>
              <p:nvPr/>
            </p:nvSpPr>
            <p:spPr bwMode="auto">
              <a:xfrm>
                <a:off x="777" y="3910"/>
                <a:ext cx="8" cy="9"/>
              </a:xfrm>
              <a:custGeom>
                <a:avLst/>
                <a:gdLst>
                  <a:gd name="T0" fmla="*/ 8 w 8"/>
                  <a:gd name="T1" fmla="*/ 2 h 9"/>
                  <a:gd name="T2" fmla="*/ 6 w 8"/>
                  <a:gd name="T3" fmla="*/ 7 h 9"/>
                  <a:gd name="T4" fmla="*/ 0 w 8"/>
                  <a:gd name="T5" fmla="*/ 9 h 9"/>
                  <a:gd name="T6" fmla="*/ 2 w 8"/>
                  <a:gd name="T7" fmla="*/ 4 h 9"/>
                  <a:gd name="T8" fmla="*/ 6 w 8"/>
                  <a:gd name="T9" fmla="*/ 0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7"/>
                    </a:lnTo>
                    <a:lnTo>
                      <a:pt x="0" y="9"/>
                    </a:lnTo>
                    <a:lnTo>
                      <a:pt x="2" y="4"/>
                    </a:lnTo>
                    <a:lnTo>
                      <a:pt x="6" y="0"/>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212"/>
              <p:cNvSpPr>
                <a:spLocks/>
              </p:cNvSpPr>
              <p:nvPr/>
            </p:nvSpPr>
            <p:spPr bwMode="auto">
              <a:xfrm>
                <a:off x="777" y="3910"/>
                <a:ext cx="8" cy="9"/>
              </a:xfrm>
              <a:custGeom>
                <a:avLst/>
                <a:gdLst>
                  <a:gd name="T0" fmla="*/ 8 w 8"/>
                  <a:gd name="T1" fmla="*/ 2 h 9"/>
                  <a:gd name="T2" fmla="*/ 6 w 8"/>
                  <a:gd name="T3" fmla="*/ 7 h 9"/>
                  <a:gd name="T4" fmla="*/ 0 w 8"/>
                  <a:gd name="T5" fmla="*/ 9 h 9"/>
                  <a:gd name="T6" fmla="*/ 2 w 8"/>
                  <a:gd name="T7" fmla="*/ 4 h 9"/>
                  <a:gd name="T8" fmla="*/ 6 w 8"/>
                  <a:gd name="T9" fmla="*/ 0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7"/>
                    </a:lnTo>
                    <a:lnTo>
                      <a:pt x="0" y="9"/>
                    </a:lnTo>
                    <a:lnTo>
                      <a:pt x="2" y="4"/>
                    </a:lnTo>
                    <a:lnTo>
                      <a:pt x="6" y="0"/>
                    </a:lnTo>
                    <a:lnTo>
                      <a:pt x="8"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213"/>
              <p:cNvSpPr>
                <a:spLocks/>
              </p:cNvSpPr>
              <p:nvPr/>
            </p:nvSpPr>
            <p:spPr bwMode="auto">
              <a:xfrm>
                <a:off x="789" y="3912"/>
                <a:ext cx="7" cy="7"/>
              </a:xfrm>
              <a:custGeom>
                <a:avLst/>
                <a:gdLst>
                  <a:gd name="T0" fmla="*/ 7 w 7"/>
                  <a:gd name="T1" fmla="*/ 0 h 7"/>
                  <a:gd name="T2" fmla="*/ 5 w 7"/>
                  <a:gd name="T3" fmla="*/ 7 h 7"/>
                  <a:gd name="T4" fmla="*/ 0 w 7"/>
                  <a:gd name="T5" fmla="*/ 5 h 7"/>
                  <a:gd name="T6" fmla="*/ 0 w 7"/>
                  <a:gd name="T7" fmla="*/ 0 h 7"/>
                  <a:gd name="T8" fmla="*/ 7 w 7"/>
                  <a:gd name="T9" fmla="*/ 0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5" y="7"/>
                    </a:lnTo>
                    <a:lnTo>
                      <a:pt x="0" y="5"/>
                    </a:lnTo>
                    <a:lnTo>
                      <a:pt x="0"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1214"/>
              <p:cNvSpPr>
                <a:spLocks/>
              </p:cNvSpPr>
              <p:nvPr/>
            </p:nvSpPr>
            <p:spPr bwMode="auto">
              <a:xfrm>
                <a:off x="789" y="3912"/>
                <a:ext cx="7" cy="7"/>
              </a:xfrm>
              <a:custGeom>
                <a:avLst/>
                <a:gdLst>
                  <a:gd name="T0" fmla="*/ 7 w 7"/>
                  <a:gd name="T1" fmla="*/ 0 h 7"/>
                  <a:gd name="T2" fmla="*/ 5 w 7"/>
                  <a:gd name="T3" fmla="*/ 7 h 7"/>
                  <a:gd name="T4" fmla="*/ 0 w 7"/>
                  <a:gd name="T5" fmla="*/ 5 h 7"/>
                  <a:gd name="T6" fmla="*/ 0 w 7"/>
                  <a:gd name="T7" fmla="*/ 0 h 7"/>
                  <a:gd name="T8" fmla="*/ 7 w 7"/>
                  <a:gd name="T9" fmla="*/ 0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5" y="7"/>
                    </a:lnTo>
                    <a:lnTo>
                      <a:pt x="0" y="5"/>
                    </a:lnTo>
                    <a:lnTo>
                      <a:pt x="0" y="0"/>
                    </a:lnTo>
                    <a:lnTo>
                      <a:pt x="7" y="0"/>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215"/>
              <p:cNvSpPr>
                <a:spLocks/>
              </p:cNvSpPr>
              <p:nvPr/>
            </p:nvSpPr>
            <p:spPr bwMode="auto">
              <a:xfrm>
                <a:off x="826" y="3838"/>
                <a:ext cx="8" cy="8"/>
              </a:xfrm>
              <a:custGeom>
                <a:avLst/>
                <a:gdLst>
                  <a:gd name="T0" fmla="*/ 2 w 8"/>
                  <a:gd name="T1" fmla="*/ 0 h 8"/>
                  <a:gd name="T2" fmla="*/ 6 w 8"/>
                  <a:gd name="T3" fmla="*/ 2 h 8"/>
                  <a:gd name="T4" fmla="*/ 8 w 8"/>
                  <a:gd name="T5" fmla="*/ 8 h 8"/>
                  <a:gd name="T6" fmla="*/ 2 w 8"/>
                  <a:gd name="T7" fmla="*/ 6 h 8"/>
                  <a:gd name="T8" fmla="*/ 0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6" y="2"/>
                    </a:lnTo>
                    <a:lnTo>
                      <a:pt x="8" y="8"/>
                    </a:lnTo>
                    <a:lnTo>
                      <a:pt x="2" y="6"/>
                    </a:lnTo>
                    <a:lnTo>
                      <a:pt x="0"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1216"/>
              <p:cNvSpPr>
                <a:spLocks/>
              </p:cNvSpPr>
              <p:nvPr/>
            </p:nvSpPr>
            <p:spPr bwMode="auto">
              <a:xfrm>
                <a:off x="826" y="3838"/>
                <a:ext cx="8" cy="8"/>
              </a:xfrm>
              <a:custGeom>
                <a:avLst/>
                <a:gdLst>
                  <a:gd name="T0" fmla="*/ 2 w 8"/>
                  <a:gd name="T1" fmla="*/ 0 h 8"/>
                  <a:gd name="T2" fmla="*/ 6 w 8"/>
                  <a:gd name="T3" fmla="*/ 2 h 8"/>
                  <a:gd name="T4" fmla="*/ 8 w 8"/>
                  <a:gd name="T5" fmla="*/ 8 h 8"/>
                  <a:gd name="T6" fmla="*/ 2 w 8"/>
                  <a:gd name="T7" fmla="*/ 6 h 8"/>
                  <a:gd name="T8" fmla="*/ 0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6" y="2"/>
                    </a:lnTo>
                    <a:lnTo>
                      <a:pt x="8" y="8"/>
                    </a:lnTo>
                    <a:lnTo>
                      <a:pt x="2" y="6"/>
                    </a:lnTo>
                    <a:lnTo>
                      <a:pt x="0" y="2"/>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9" name="Freeform 1217"/>
              <p:cNvSpPr>
                <a:spLocks/>
              </p:cNvSpPr>
              <p:nvPr/>
            </p:nvSpPr>
            <p:spPr bwMode="auto">
              <a:xfrm>
                <a:off x="781" y="3836"/>
                <a:ext cx="83" cy="70"/>
              </a:xfrm>
              <a:custGeom>
                <a:avLst/>
                <a:gdLst>
                  <a:gd name="T0" fmla="*/ 38 w 83"/>
                  <a:gd name="T1" fmla="*/ 46 h 70"/>
                  <a:gd name="T2" fmla="*/ 32 w 83"/>
                  <a:gd name="T3" fmla="*/ 53 h 70"/>
                  <a:gd name="T4" fmla="*/ 30 w 83"/>
                  <a:gd name="T5" fmla="*/ 61 h 70"/>
                  <a:gd name="T6" fmla="*/ 15 w 83"/>
                  <a:gd name="T7" fmla="*/ 68 h 70"/>
                  <a:gd name="T8" fmla="*/ 27 w 83"/>
                  <a:gd name="T9" fmla="*/ 55 h 70"/>
                  <a:gd name="T10" fmla="*/ 30 w 83"/>
                  <a:gd name="T11" fmla="*/ 46 h 70"/>
                  <a:gd name="T12" fmla="*/ 19 w 83"/>
                  <a:gd name="T13" fmla="*/ 53 h 70"/>
                  <a:gd name="T14" fmla="*/ 17 w 83"/>
                  <a:gd name="T15" fmla="*/ 44 h 70"/>
                  <a:gd name="T16" fmla="*/ 8 w 83"/>
                  <a:gd name="T17" fmla="*/ 49 h 70"/>
                  <a:gd name="T18" fmla="*/ 19 w 83"/>
                  <a:gd name="T19" fmla="*/ 46 h 70"/>
                  <a:gd name="T20" fmla="*/ 10 w 83"/>
                  <a:gd name="T21" fmla="*/ 61 h 70"/>
                  <a:gd name="T22" fmla="*/ 4 w 83"/>
                  <a:gd name="T23" fmla="*/ 53 h 70"/>
                  <a:gd name="T24" fmla="*/ 6 w 83"/>
                  <a:gd name="T25" fmla="*/ 42 h 70"/>
                  <a:gd name="T26" fmla="*/ 0 w 83"/>
                  <a:gd name="T27" fmla="*/ 32 h 70"/>
                  <a:gd name="T28" fmla="*/ 17 w 83"/>
                  <a:gd name="T29" fmla="*/ 17 h 70"/>
                  <a:gd name="T30" fmla="*/ 27 w 83"/>
                  <a:gd name="T31" fmla="*/ 19 h 70"/>
                  <a:gd name="T32" fmla="*/ 27 w 83"/>
                  <a:gd name="T33" fmla="*/ 27 h 70"/>
                  <a:gd name="T34" fmla="*/ 32 w 83"/>
                  <a:gd name="T35" fmla="*/ 38 h 70"/>
                  <a:gd name="T36" fmla="*/ 32 w 83"/>
                  <a:gd name="T37" fmla="*/ 21 h 70"/>
                  <a:gd name="T38" fmla="*/ 32 w 83"/>
                  <a:gd name="T39" fmla="*/ 21 h 70"/>
                  <a:gd name="T40" fmla="*/ 32 w 83"/>
                  <a:gd name="T41" fmla="*/ 15 h 70"/>
                  <a:gd name="T42" fmla="*/ 34 w 83"/>
                  <a:gd name="T43" fmla="*/ 6 h 70"/>
                  <a:gd name="T44" fmla="*/ 42 w 83"/>
                  <a:gd name="T45" fmla="*/ 12 h 70"/>
                  <a:gd name="T46" fmla="*/ 45 w 83"/>
                  <a:gd name="T47" fmla="*/ 12 h 70"/>
                  <a:gd name="T48" fmla="*/ 49 w 83"/>
                  <a:gd name="T49" fmla="*/ 10 h 70"/>
                  <a:gd name="T50" fmla="*/ 53 w 83"/>
                  <a:gd name="T51" fmla="*/ 10 h 70"/>
                  <a:gd name="T52" fmla="*/ 53 w 83"/>
                  <a:gd name="T53" fmla="*/ 0 h 70"/>
                  <a:gd name="T54" fmla="*/ 62 w 83"/>
                  <a:gd name="T55" fmla="*/ 4 h 70"/>
                  <a:gd name="T56" fmla="*/ 68 w 83"/>
                  <a:gd name="T57" fmla="*/ 10 h 70"/>
                  <a:gd name="T58" fmla="*/ 76 w 83"/>
                  <a:gd name="T59" fmla="*/ 8 h 70"/>
                  <a:gd name="T60" fmla="*/ 74 w 83"/>
                  <a:gd name="T61" fmla="*/ 19 h 70"/>
                  <a:gd name="T62" fmla="*/ 83 w 83"/>
                  <a:gd name="T63" fmla="*/ 27 h 70"/>
                  <a:gd name="T64" fmla="*/ 70 w 83"/>
                  <a:gd name="T65" fmla="*/ 34 h 70"/>
                  <a:gd name="T66" fmla="*/ 59 w 83"/>
                  <a:gd name="T67" fmla="*/ 32 h 70"/>
                  <a:gd name="T68" fmla="*/ 68 w 83"/>
                  <a:gd name="T69" fmla="*/ 40 h 70"/>
                  <a:gd name="T70" fmla="*/ 59 w 83"/>
                  <a:gd name="T71" fmla="*/ 42 h 70"/>
                  <a:gd name="T72" fmla="*/ 49 w 83"/>
                  <a:gd name="T73" fmla="*/ 40 h 70"/>
                  <a:gd name="T74" fmla="*/ 49 w 83"/>
                  <a:gd name="T7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38" y="46"/>
                    </a:lnTo>
                    <a:lnTo>
                      <a:pt x="36" y="53"/>
                    </a:lnTo>
                    <a:lnTo>
                      <a:pt x="32" y="53"/>
                    </a:lnTo>
                    <a:lnTo>
                      <a:pt x="36" y="57"/>
                    </a:lnTo>
                    <a:lnTo>
                      <a:pt x="30" y="61"/>
                    </a:lnTo>
                    <a:lnTo>
                      <a:pt x="21" y="70"/>
                    </a:lnTo>
                    <a:lnTo>
                      <a:pt x="15" y="68"/>
                    </a:lnTo>
                    <a:lnTo>
                      <a:pt x="17" y="64"/>
                    </a:lnTo>
                    <a:lnTo>
                      <a:pt x="27" y="55"/>
                    </a:lnTo>
                    <a:lnTo>
                      <a:pt x="23" y="55"/>
                    </a:lnTo>
                    <a:lnTo>
                      <a:pt x="30" y="46"/>
                    </a:lnTo>
                    <a:lnTo>
                      <a:pt x="23" y="51"/>
                    </a:lnTo>
                    <a:lnTo>
                      <a:pt x="19" y="53"/>
                    </a:lnTo>
                    <a:lnTo>
                      <a:pt x="21" y="46"/>
                    </a:lnTo>
                    <a:lnTo>
                      <a:pt x="17" y="44"/>
                    </a:lnTo>
                    <a:lnTo>
                      <a:pt x="10" y="44"/>
                    </a:lnTo>
                    <a:lnTo>
                      <a:pt x="8" y="49"/>
                    </a:lnTo>
                    <a:lnTo>
                      <a:pt x="15" y="46"/>
                    </a:lnTo>
                    <a:lnTo>
                      <a:pt x="19" y="46"/>
                    </a:lnTo>
                    <a:lnTo>
                      <a:pt x="17" y="57"/>
                    </a:lnTo>
                    <a:lnTo>
                      <a:pt x="10" y="61"/>
                    </a:lnTo>
                    <a:lnTo>
                      <a:pt x="10" y="55"/>
                    </a:lnTo>
                    <a:lnTo>
                      <a:pt x="4" y="53"/>
                    </a:lnTo>
                    <a:lnTo>
                      <a:pt x="6" y="46"/>
                    </a:lnTo>
                    <a:lnTo>
                      <a:pt x="6" y="42"/>
                    </a:lnTo>
                    <a:lnTo>
                      <a:pt x="4" y="36"/>
                    </a:lnTo>
                    <a:lnTo>
                      <a:pt x="0" y="32"/>
                    </a:lnTo>
                    <a:lnTo>
                      <a:pt x="6" y="23"/>
                    </a:lnTo>
                    <a:lnTo>
                      <a:pt x="17" y="17"/>
                    </a:lnTo>
                    <a:lnTo>
                      <a:pt x="23" y="17"/>
                    </a:lnTo>
                    <a:lnTo>
                      <a:pt x="27" y="19"/>
                    </a:lnTo>
                    <a:lnTo>
                      <a:pt x="23" y="23"/>
                    </a:lnTo>
                    <a:lnTo>
                      <a:pt x="27" y="27"/>
                    </a:lnTo>
                    <a:lnTo>
                      <a:pt x="30" y="32"/>
                    </a:lnTo>
                    <a:lnTo>
                      <a:pt x="32" y="38"/>
                    </a:lnTo>
                    <a:lnTo>
                      <a:pt x="32" y="32"/>
                    </a:lnTo>
                    <a:lnTo>
                      <a:pt x="32" y="21"/>
                    </a:lnTo>
                    <a:lnTo>
                      <a:pt x="36" y="25"/>
                    </a:lnTo>
                    <a:lnTo>
                      <a:pt x="32" y="21"/>
                    </a:lnTo>
                    <a:lnTo>
                      <a:pt x="36" y="17"/>
                    </a:lnTo>
                    <a:lnTo>
                      <a:pt x="32" y="15"/>
                    </a:lnTo>
                    <a:lnTo>
                      <a:pt x="30" y="8"/>
                    </a:lnTo>
                    <a:lnTo>
                      <a:pt x="34" y="6"/>
                    </a:lnTo>
                    <a:lnTo>
                      <a:pt x="40" y="6"/>
                    </a:lnTo>
                    <a:lnTo>
                      <a:pt x="42" y="12"/>
                    </a:lnTo>
                    <a:lnTo>
                      <a:pt x="42" y="17"/>
                    </a:lnTo>
                    <a:lnTo>
                      <a:pt x="45" y="12"/>
                    </a:lnTo>
                    <a:lnTo>
                      <a:pt x="49" y="17"/>
                    </a:lnTo>
                    <a:lnTo>
                      <a:pt x="49" y="10"/>
                    </a:lnTo>
                    <a:lnTo>
                      <a:pt x="53" y="17"/>
                    </a:lnTo>
                    <a:lnTo>
                      <a:pt x="53" y="10"/>
                    </a:lnTo>
                    <a:lnTo>
                      <a:pt x="55" y="6"/>
                    </a:lnTo>
                    <a:lnTo>
                      <a:pt x="53" y="0"/>
                    </a:lnTo>
                    <a:lnTo>
                      <a:pt x="57" y="4"/>
                    </a:lnTo>
                    <a:lnTo>
                      <a:pt x="62" y="4"/>
                    </a:lnTo>
                    <a:lnTo>
                      <a:pt x="64" y="15"/>
                    </a:lnTo>
                    <a:lnTo>
                      <a:pt x="68" y="10"/>
                    </a:lnTo>
                    <a:lnTo>
                      <a:pt x="72" y="6"/>
                    </a:lnTo>
                    <a:lnTo>
                      <a:pt x="76" y="8"/>
                    </a:lnTo>
                    <a:lnTo>
                      <a:pt x="79" y="15"/>
                    </a:lnTo>
                    <a:lnTo>
                      <a:pt x="74" y="19"/>
                    </a:lnTo>
                    <a:lnTo>
                      <a:pt x="79" y="25"/>
                    </a:lnTo>
                    <a:lnTo>
                      <a:pt x="83" y="27"/>
                    </a:lnTo>
                    <a:lnTo>
                      <a:pt x="74" y="36"/>
                    </a:lnTo>
                    <a:lnTo>
                      <a:pt x="70" y="34"/>
                    </a:lnTo>
                    <a:lnTo>
                      <a:pt x="66" y="29"/>
                    </a:lnTo>
                    <a:lnTo>
                      <a:pt x="59" y="32"/>
                    </a:lnTo>
                    <a:lnTo>
                      <a:pt x="64" y="34"/>
                    </a:lnTo>
                    <a:lnTo>
                      <a:pt x="68" y="40"/>
                    </a:lnTo>
                    <a:lnTo>
                      <a:pt x="64" y="44"/>
                    </a:lnTo>
                    <a:lnTo>
                      <a:pt x="59" y="42"/>
                    </a:lnTo>
                    <a:lnTo>
                      <a:pt x="55" y="40"/>
                    </a:lnTo>
                    <a:lnTo>
                      <a:pt x="49" y="40"/>
                    </a:lnTo>
                    <a:lnTo>
                      <a:pt x="53" y="46"/>
                    </a:lnTo>
                    <a:lnTo>
                      <a:pt x="49" y="44"/>
                    </a:ln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1218"/>
              <p:cNvSpPr>
                <a:spLocks/>
              </p:cNvSpPr>
              <p:nvPr/>
            </p:nvSpPr>
            <p:spPr bwMode="auto">
              <a:xfrm>
                <a:off x="781" y="3836"/>
                <a:ext cx="83" cy="70"/>
              </a:xfrm>
              <a:custGeom>
                <a:avLst/>
                <a:gdLst>
                  <a:gd name="T0" fmla="*/ 38 w 83"/>
                  <a:gd name="T1" fmla="*/ 46 h 70"/>
                  <a:gd name="T2" fmla="*/ 32 w 83"/>
                  <a:gd name="T3" fmla="*/ 53 h 70"/>
                  <a:gd name="T4" fmla="*/ 30 w 83"/>
                  <a:gd name="T5" fmla="*/ 61 h 70"/>
                  <a:gd name="T6" fmla="*/ 15 w 83"/>
                  <a:gd name="T7" fmla="*/ 68 h 70"/>
                  <a:gd name="T8" fmla="*/ 27 w 83"/>
                  <a:gd name="T9" fmla="*/ 55 h 70"/>
                  <a:gd name="T10" fmla="*/ 30 w 83"/>
                  <a:gd name="T11" fmla="*/ 46 h 70"/>
                  <a:gd name="T12" fmla="*/ 19 w 83"/>
                  <a:gd name="T13" fmla="*/ 53 h 70"/>
                  <a:gd name="T14" fmla="*/ 17 w 83"/>
                  <a:gd name="T15" fmla="*/ 44 h 70"/>
                  <a:gd name="T16" fmla="*/ 8 w 83"/>
                  <a:gd name="T17" fmla="*/ 49 h 70"/>
                  <a:gd name="T18" fmla="*/ 19 w 83"/>
                  <a:gd name="T19" fmla="*/ 46 h 70"/>
                  <a:gd name="T20" fmla="*/ 10 w 83"/>
                  <a:gd name="T21" fmla="*/ 61 h 70"/>
                  <a:gd name="T22" fmla="*/ 4 w 83"/>
                  <a:gd name="T23" fmla="*/ 53 h 70"/>
                  <a:gd name="T24" fmla="*/ 6 w 83"/>
                  <a:gd name="T25" fmla="*/ 42 h 70"/>
                  <a:gd name="T26" fmla="*/ 0 w 83"/>
                  <a:gd name="T27" fmla="*/ 32 h 70"/>
                  <a:gd name="T28" fmla="*/ 17 w 83"/>
                  <a:gd name="T29" fmla="*/ 17 h 70"/>
                  <a:gd name="T30" fmla="*/ 27 w 83"/>
                  <a:gd name="T31" fmla="*/ 19 h 70"/>
                  <a:gd name="T32" fmla="*/ 27 w 83"/>
                  <a:gd name="T33" fmla="*/ 27 h 70"/>
                  <a:gd name="T34" fmla="*/ 32 w 83"/>
                  <a:gd name="T35" fmla="*/ 38 h 70"/>
                  <a:gd name="T36" fmla="*/ 32 w 83"/>
                  <a:gd name="T37" fmla="*/ 21 h 70"/>
                  <a:gd name="T38" fmla="*/ 32 w 83"/>
                  <a:gd name="T39" fmla="*/ 21 h 70"/>
                  <a:gd name="T40" fmla="*/ 32 w 83"/>
                  <a:gd name="T41" fmla="*/ 15 h 70"/>
                  <a:gd name="T42" fmla="*/ 34 w 83"/>
                  <a:gd name="T43" fmla="*/ 6 h 70"/>
                  <a:gd name="T44" fmla="*/ 42 w 83"/>
                  <a:gd name="T45" fmla="*/ 12 h 70"/>
                  <a:gd name="T46" fmla="*/ 45 w 83"/>
                  <a:gd name="T47" fmla="*/ 12 h 70"/>
                  <a:gd name="T48" fmla="*/ 49 w 83"/>
                  <a:gd name="T49" fmla="*/ 10 h 70"/>
                  <a:gd name="T50" fmla="*/ 53 w 83"/>
                  <a:gd name="T51" fmla="*/ 10 h 70"/>
                  <a:gd name="T52" fmla="*/ 53 w 83"/>
                  <a:gd name="T53" fmla="*/ 0 h 70"/>
                  <a:gd name="T54" fmla="*/ 62 w 83"/>
                  <a:gd name="T55" fmla="*/ 4 h 70"/>
                  <a:gd name="T56" fmla="*/ 68 w 83"/>
                  <a:gd name="T57" fmla="*/ 10 h 70"/>
                  <a:gd name="T58" fmla="*/ 76 w 83"/>
                  <a:gd name="T59" fmla="*/ 8 h 70"/>
                  <a:gd name="T60" fmla="*/ 74 w 83"/>
                  <a:gd name="T61" fmla="*/ 19 h 70"/>
                  <a:gd name="T62" fmla="*/ 83 w 83"/>
                  <a:gd name="T63" fmla="*/ 27 h 70"/>
                  <a:gd name="T64" fmla="*/ 70 w 83"/>
                  <a:gd name="T65" fmla="*/ 34 h 70"/>
                  <a:gd name="T66" fmla="*/ 59 w 83"/>
                  <a:gd name="T67" fmla="*/ 32 h 70"/>
                  <a:gd name="T68" fmla="*/ 68 w 83"/>
                  <a:gd name="T69" fmla="*/ 40 h 70"/>
                  <a:gd name="T70" fmla="*/ 59 w 83"/>
                  <a:gd name="T71" fmla="*/ 42 h 70"/>
                  <a:gd name="T72" fmla="*/ 49 w 83"/>
                  <a:gd name="T73" fmla="*/ 40 h 70"/>
                  <a:gd name="T74" fmla="*/ 49 w 83"/>
                  <a:gd name="T7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38" y="46"/>
                    </a:lnTo>
                    <a:lnTo>
                      <a:pt x="36" y="53"/>
                    </a:lnTo>
                    <a:lnTo>
                      <a:pt x="32" y="53"/>
                    </a:lnTo>
                    <a:lnTo>
                      <a:pt x="36" y="57"/>
                    </a:lnTo>
                    <a:lnTo>
                      <a:pt x="30" y="61"/>
                    </a:lnTo>
                    <a:lnTo>
                      <a:pt x="21" y="70"/>
                    </a:lnTo>
                    <a:lnTo>
                      <a:pt x="15" y="68"/>
                    </a:lnTo>
                    <a:lnTo>
                      <a:pt x="17" y="64"/>
                    </a:lnTo>
                    <a:lnTo>
                      <a:pt x="27" y="55"/>
                    </a:lnTo>
                    <a:lnTo>
                      <a:pt x="23" y="55"/>
                    </a:lnTo>
                    <a:lnTo>
                      <a:pt x="30" y="46"/>
                    </a:lnTo>
                    <a:lnTo>
                      <a:pt x="23" y="51"/>
                    </a:lnTo>
                    <a:lnTo>
                      <a:pt x="19" y="53"/>
                    </a:lnTo>
                    <a:lnTo>
                      <a:pt x="21" y="46"/>
                    </a:lnTo>
                    <a:lnTo>
                      <a:pt x="17" y="44"/>
                    </a:lnTo>
                    <a:lnTo>
                      <a:pt x="10" y="44"/>
                    </a:lnTo>
                    <a:lnTo>
                      <a:pt x="8" y="49"/>
                    </a:lnTo>
                    <a:lnTo>
                      <a:pt x="15" y="46"/>
                    </a:lnTo>
                    <a:lnTo>
                      <a:pt x="19" y="46"/>
                    </a:lnTo>
                    <a:lnTo>
                      <a:pt x="17" y="57"/>
                    </a:lnTo>
                    <a:lnTo>
                      <a:pt x="10" y="61"/>
                    </a:lnTo>
                    <a:lnTo>
                      <a:pt x="10" y="55"/>
                    </a:lnTo>
                    <a:lnTo>
                      <a:pt x="4" y="53"/>
                    </a:lnTo>
                    <a:lnTo>
                      <a:pt x="6" y="46"/>
                    </a:lnTo>
                    <a:lnTo>
                      <a:pt x="6" y="42"/>
                    </a:lnTo>
                    <a:lnTo>
                      <a:pt x="4" y="36"/>
                    </a:lnTo>
                    <a:lnTo>
                      <a:pt x="0" y="32"/>
                    </a:lnTo>
                    <a:lnTo>
                      <a:pt x="6" y="23"/>
                    </a:lnTo>
                    <a:lnTo>
                      <a:pt x="17" y="17"/>
                    </a:lnTo>
                    <a:lnTo>
                      <a:pt x="23" y="17"/>
                    </a:lnTo>
                    <a:lnTo>
                      <a:pt x="27" y="19"/>
                    </a:lnTo>
                    <a:lnTo>
                      <a:pt x="23" y="23"/>
                    </a:lnTo>
                    <a:lnTo>
                      <a:pt x="27" y="27"/>
                    </a:lnTo>
                    <a:lnTo>
                      <a:pt x="30" y="32"/>
                    </a:lnTo>
                    <a:lnTo>
                      <a:pt x="32" y="38"/>
                    </a:lnTo>
                    <a:lnTo>
                      <a:pt x="32" y="32"/>
                    </a:lnTo>
                    <a:lnTo>
                      <a:pt x="32" y="21"/>
                    </a:lnTo>
                    <a:lnTo>
                      <a:pt x="36" y="25"/>
                    </a:lnTo>
                    <a:lnTo>
                      <a:pt x="32" y="21"/>
                    </a:lnTo>
                    <a:lnTo>
                      <a:pt x="36" y="17"/>
                    </a:lnTo>
                    <a:lnTo>
                      <a:pt x="32" y="15"/>
                    </a:lnTo>
                    <a:lnTo>
                      <a:pt x="30" y="8"/>
                    </a:lnTo>
                    <a:lnTo>
                      <a:pt x="34" y="6"/>
                    </a:lnTo>
                    <a:lnTo>
                      <a:pt x="40" y="6"/>
                    </a:lnTo>
                    <a:lnTo>
                      <a:pt x="42" y="12"/>
                    </a:lnTo>
                    <a:lnTo>
                      <a:pt x="42" y="17"/>
                    </a:lnTo>
                    <a:lnTo>
                      <a:pt x="45" y="12"/>
                    </a:lnTo>
                    <a:lnTo>
                      <a:pt x="49" y="17"/>
                    </a:lnTo>
                    <a:lnTo>
                      <a:pt x="49" y="10"/>
                    </a:lnTo>
                    <a:lnTo>
                      <a:pt x="53" y="17"/>
                    </a:lnTo>
                    <a:lnTo>
                      <a:pt x="53" y="10"/>
                    </a:lnTo>
                    <a:lnTo>
                      <a:pt x="55" y="6"/>
                    </a:lnTo>
                    <a:lnTo>
                      <a:pt x="53" y="0"/>
                    </a:lnTo>
                    <a:lnTo>
                      <a:pt x="57" y="4"/>
                    </a:lnTo>
                    <a:lnTo>
                      <a:pt x="62" y="4"/>
                    </a:lnTo>
                    <a:lnTo>
                      <a:pt x="64" y="15"/>
                    </a:lnTo>
                    <a:lnTo>
                      <a:pt x="68" y="10"/>
                    </a:lnTo>
                    <a:lnTo>
                      <a:pt x="72" y="6"/>
                    </a:lnTo>
                    <a:lnTo>
                      <a:pt x="76" y="8"/>
                    </a:lnTo>
                    <a:lnTo>
                      <a:pt x="79" y="15"/>
                    </a:lnTo>
                    <a:lnTo>
                      <a:pt x="74" y="19"/>
                    </a:lnTo>
                    <a:lnTo>
                      <a:pt x="79" y="25"/>
                    </a:lnTo>
                    <a:lnTo>
                      <a:pt x="83" y="27"/>
                    </a:lnTo>
                    <a:lnTo>
                      <a:pt x="74" y="36"/>
                    </a:lnTo>
                    <a:lnTo>
                      <a:pt x="70" y="34"/>
                    </a:lnTo>
                    <a:lnTo>
                      <a:pt x="66" y="29"/>
                    </a:lnTo>
                    <a:lnTo>
                      <a:pt x="59" y="32"/>
                    </a:lnTo>
                    <a:lnTo>
                      <a:pt x="64" y="34"/>
                    </a:lnTo>
                    <a:lnTo>
                      <a:pt x="68" y="40"/>
                    </a:lnTo>
                    <a:lnTo>
                      <a:pt x="64" y="44"/>
                    </a:lnTo>
                    <a:lnTo>
                      <a:pt x="59" y="42"/>
                    </a:lnTo>
                    <a:lnTo>
                      <a:pt x="55" y="40"/>
                    </a:lnTo>
                    <a:lnTo>
                      <a:pt x="49" y="40"/>
                    </a:lnTo>
                    <a:lnTo>
                      <a:pt x="53" y="46"/>
                    </a:lnTo>
                    <a:lnTo>
                      <a:pt x="49" y="44"/>
                    </a:lnTo>
                    <a:lnTo>
                      <a:pt x="42"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219"/>
              <p:cNvSpPr>
                <a:spLocks/>
              </p:cNvSpPr>
              <p:nvPr/>
            </p:nvSpPr>
            <p:spPr bwMode="auto">
              <a:xfrm>
                <a:off x="823" y="3885"/>
                <a:ext cx="15" cy="8"/>
              </a:xfrm>
              <a:custGeom>
                <a:avLst/>
                <a:gdLst>
                  <a:gd name="T0" fmla="*/ 15 w 15"/>
                  <a:gd name="T1" fmla="*/ 2 h 8"/>
                  <a:gd name="T2" fmla="*/ 9 w 15"/>
                  <a:gd name="T3" fmla="*/ 4 h 8"/>
                  <a:gd name="T4" fmla="*/ 5 w 15"/>
                  <a:gd name="T5" fmla="*/ 8 h 8"/>
                  <a:gd name="T6" fmla="*/ 0 w 15"/>
                  <a:gd name="T7" fmla="*/ 4 h 8"/>
                  <a:gd name="T8" fmla="*/ 3 w 15"/>
                  <a:gd name="T9" fmla="*/ 0 h 8"/>
                  <a:gd name="T10" fmla="*/ 7 w 15"/>
                  <a:gd name="T11" fmla="*/ 0 h 8"/>
                  <a:gd name="T12" fmla="*/ 11 w 15"/>
                  <a:gd name="T13" fmla="*/ 0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9" y="4"/>
                    </a:lnTo>
                    <a:lnTo>
                      <a:pt x="5" y="8"/>
                    </a:lnTo>
                    <a:lnTo>
                      <a:pt x="0" y="4"/>
                    </a:lnTo>
                    <a:lnTo>
                      <a:pt x="3" y="0"/>
                    </a:lnTo>
                    <a:lnTo>
                      <a:pt x="7" y="0"/>
                    </a:lnTo>
                    <a:lnTo>
                      <a:pt x="11" y="0"/>
                    </a:ln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220"/>
              <p:cNvSpPr>
                <a:spLocks/>
              </p:cNvSpPr>
              <p:nvPr/>
            </p:nvSpPr>
            <p:spPr bwMode="auto">
              <a:xfrm>
                <a:off x="823" y="3885"/>
                <a:ext cx="15" cy="8"/>
              </a:xfrm>
              <a:custGeom>
                <a:avLst/>
                <a:gdLst>
                  <a:gd name="T0" fmla="*/ 15 w 15"/>
                  <a:gd name="T1" fmla="*/ 2 h 8"/>
                  <a:gd name="T2" fmla="*/ 9 w 15"/>
                  <a:gd name="T3" fmla="*/ 4 h 8"/>
                  <a:gd name="T4" fmla="*/ 5 w 15"/>
                  <a:gd name="T5" fmla="*/ 8 h 8"/>
                  <a:gd name="T6" fmla="*/ 0 w 15"/>
                  <a:gd name="T7" fmla="*/ 4 h 8"/>
                  <a:gd name="T8" fmla="*/ 3 w 15"/>
                  <a:gd name="T9" fmla="*/ 0 h 8"/>
                  <a:gd name="T10" fmla="*/ 7 w 15"/>
                  <a:gd name="T11" fmla="*/ 0 h 8"/>
                  <a:gd name="T12" fmla="*/ 11 w 15"/>
                  <a:gd name="T13" fmla="*/ 0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9" y="4"/>
                    </a:lnTo>
                    <a:lnTo>
                      <a:pt x="5" y="8"/>
                    </a:lnTo>
                    <a:lnTo>
                      <a:pt x="0" y="4"/>
                    </a:lnTo>
                    <a:lnTo>
                      <a:pt x="3" y="0"/>
                    </a:lnTo>
                    <a:lnTo>
                      <a:pt x="7" y="0"/>
                    </a:lnTo>
                    <a:lnTo>
                      <a:pt x="11" y="0"/>
                    </a:lnTo>
                    <a:lnTo>
                      <a:pt x="1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221"/>
              <p:cNvSpPr>
                <a:spLocks/>
              </p:cNvSpPr>
              <p:nvPr/>
            </p:nvSpPr>
            <p:spPr bwMode="auto">
              <a:xfrm>
                <a:off x="857" y="3802"/>
                <a:ext cx="9" cy="8"/>
              </a:xfrm>
              <a:custGeom>
                <a:avLst/>
                <a:gdLst>
                  <a:gd name="T0" fmla="*/ 9 w 9"/>
                  <a:gd name="T1" fmla="*/ 4 h 8"/>
                  <a:gd name="T2" fmla="*/ 5 w 9"/>
                  <a:gd name="T3" fmla="*/ 8 h 8"/>
                  <a:gd name="T4" fmla="*/ 0 w 9"/>
                  <a:gd name="T5" fmla="*/ 8 h 8"/>
                  <a:gd name="T6" fmla="*/ 3 w 9"/>
                  <a:gd name="T7" fmla="*/ 4 h 8"/>
                  <a:gd name="T8" fmla="*/ 7 w 9"/>
                  <a:gd name="T9" fmla="*/ 0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5" y="8"/>
                    </a:lnTo>
                    <a:lnTo>
                      <a:pt x="0" y="8"/>
                    </a:lnTo>
                    <a:lnTo>
                      <a:pt x="3" y="4"/>
                    </a:lnTo>
                    <a:lnTo>
                      <a:pt x="7" y="0"/>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222"/>
              <p:cNvSpPr>
                <a:spLocks/>
              </p:cNvSpPr>
              <p:nvPr/>
            </p:nvSpPr>
            <p:spPr bwMode="auto">
              <a:xfrm>
                <a:off x="857" y="3802"/>
                <a:ext cx="9" cy="8"/>
              </a:xfrm>
              <a:custGeom>
                <a:avLst/>
                <a:gdLst>
                  <a:gd name="T0" fmla="*/ 9 w 9"/>
                  <a:gd name="T1" fmla="*/ 4 h 8"/>
                  <a:gd name="T2" fmla="*/ 5 w 9"/>
                  <a:gd name="T3" fmla="*/ 8 h 8"/>
                  <a:gd name="T4" fmla="*/ 0 w 9"/>
                  <a:gd name="T5" fmla="*/ 8 h 8"/>
                  <a:gd name="T6" fmla="*/ 3 w 9"/>
                  <a:gd name="T7" fmla="*/ 4 h 8"/>
                  <a:gd name="T8" fmla="*/ 7 w 9"/>
                  <a:gd name="T9" fmla="*/ 0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5" y="8"/>
                    </a:lnTo>
                    <a:lnTo>
                      <a:pt x="0" y="8"/>
                    </a:lnTo>
                    <a:lnTo>
                      <a:pt x="3" y="4"/>
                    </a:lnTo>
                    <a:lnTo>
                      <a:pt x="7" y="0"/>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223"/>
              <p:cNvSpPr>
                <a:spLocks/>
              </p:cNvSpPr>
              <p:nvPr/>
            </p:nvSpPr>
            <p:spPr bwMode="auto">
              <a:xfrm>
                <a:off x="887" y="3695"/>
                <a:ext cx="5" cy="6"/>
              </a:xfrm>
              <a:custGeom>
                <a:avLst/>
                <a:gdLst>
                  <a:gd name="T0" fmla="*/ 5 w 5"/>
                  <a:gd name="T1" fmla="*/ 2 h 6"/>
                  <a:gd name="T2" fmla="*/ 0 w 5"/>
                  <a:gd name="T3" fmla="*/ 6 h 6"/>
                  <a:gd name="T4" fmla="*/ 0 w 5"/>
                  <a:gd name="T5" fmla="*/ 0 h 6"/>
                  <a:gd name="T6" fmla="*/ 5 w 5"/>
                  <a:gd name="T7" fmla="*/ 2 h 6"/>
                </a:gdLst>
                <a:ahLst/>
                <a:cxnLst>
                  <a:cxn ang="0">
                    <a:pos x="T0" y="T1"/>
                  </a:cxn>
                  <a:cxn ang="0">
                    <a:pos x="T2" y="T3"/>
                  </a:cxn>
                  <a:cxn ang="0">
                    <a:pos x="T4" y="T5"/>
                  </a:cxn>
                  <a:cxn ang="0">
                    <a:pos x="T6" y="T7"/>
                  </a:cxn>
                </a:cxnLst>
                <a:rect l="0" t="0" r="r" b="b"/>
                <a:pathLst>
                  <a:path w="5" h="6">
                    <a:moveTo>
                      <a:pt x="5" y="2"/>
                    </a:moveTo>
                    <a:lnTo>
                      <a:pt x="0" y="6"/>
                    </a:lnTo>
                    <a:lnTo>
                      <a:pt x="0" y="0"/>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1224"/>
              <p:cNvSpPr>
                <a:spLocks/>
              </p:cNvSpPr>
              <p:nvPr/>
            </p:nvSpPr>
            <p:spPr bwMode="auto">
              <a:xfrm>
                <a:off x="887" y="3695"/>
                <a:ext cx="5" cy="6"/>
              </a:xfrm>
              <a:custGeom>
                <a:avLst/>
                <a:gdLst>
                  <a:gd name="T0" fmla="*/ 5 w 5"/>
                  <a:gd name="T1" fmla="*/ 2 h 6"/>
                  <a:gd name="T2" fmla="*/ 0 w 5"/>
                  <a:gd name="T3" fmla="*/ 6 h 6"/>
                  <a:gd name="T4" fmla="*/ 0 w 5"/>
                  <a:gd name="T5" fmla="*/ 0 h 6"/>
                  <a:gd name="T6" fmla="*/ 5 w 5"/>
                  <a:gd name="T7" fmla="*/ 2 h 6"/>
                </a:gdLst>
                <a:ahLst/>
                <a:cxnLst>
                  <a:cxn ang="0">
                    <a:pos x="T0" y="T1"/>
                  </a:cxn>
                  <a:cxn ang="0">
                    <a:pos x="T2" y="T3"/>
                  </a:cxn>
                  <a:cxn ang="0">
                    <a:pos x="T4" y="T5"/>
                  </a:cxn>
                  <a:cxn ang="0">
                    <a:pos x="T6" y="T7"/>
                  </a:cxn>
                </a:cxnLst>
                <a:rect l="0" t="0" r="r" b="b"/>
                <a:pathLst>
                  <a:path w="5" h="6">
                    <a:moveTo>
                      <a:pt x="5" y="2"/>
                    </a:moveTo>
                    <a:lnTo>
                      <a:pt x="0" y="6"/>
                    </a:lnTo>
                    <a:lnTo>
                      <a:pt x="0" y="0"/>
                    </a:lnTo>
                    <a:lnTo>
                      <a:pt x="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225"/>
              <p:cNvSpPr>
                <a:spLocks/>
              </p:cNvSpPr>
              <p:nvPr/>
            </p:nvSpPr>
            <p:spPr bwMode="auto">
              <a:xfrm>
                <a:off x="1002" y="3706"/>
                <a:ext cx="9" cy="17"/>
              </a:xfrm>
              <a:custGeom>
                <a:avLst/>
                <a:gdLst>
                  <a:gd name="T0" fmla="*/ 9 w 9"/>
                  <a:gd name="T1" fmla="*/ 4 h 17"/>
                  <a:gd name="T2" fmla="*/ 9 w 9"/>
                  <a:gd name="T3" fmla="*/ 8 h 17"/>
                  <a:gd name="T4" fmla="*/ 7 w 9"/>
                  <a:gd name="T5" fmla="*/ 12 h 17"/>
                  <a:gd name="T6" fmla="*/ 5 w 9"/>
                  <a:gd name="T7" fmla="*/ 17 h 17"/>
                  <a:gd name="T8" fmla="*/ 0 w 9"/>
                  <a:gd name="T9" fmla="*/ 15 h 17"/>
                  <a:gd name="T10" fmla="*/ 5 w 9"/>
                  <a:gd name="T11" fmla="*/ 8 h 17"/>
                  <a:gd name="T12" fmla="*/ 7 w 9"/>
                  <a:gd name="T13" fmla="*/ 0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9" y="8"/>
                    </a:lnTo>
                    <a:lnTo>
                      <a:pt x="7" y="12"/>
                    </a:lnTo>
                    <a:lnTo>
                      <a:pt x="5" y="17"/>
                    </a:lnTo>
                    <a:lnTo>
                      <a:pt x="0" y="15"/>
                    </a:lnTo>
                    <a:lnTo>
                      <a:pt x="5" y="8"/>
                    </a:lnTo>
                    <a:lnTo>
                      <a:pt x="7" y="0"/>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1226"/>
              <p:cNvSpPr>
                <a:spLocks/>
              </p:cNvSpPr>
              <p:nvPr/>
            </p:nvSpPr>
            <p:spPr bwMode="auto">
              <a:xfrm>
                <a:off x="1002" y="3706"/>
                <a:ext cx="9" cy="17"/>
              </a:xfrm>
              <a:custGeom>
                <a:avLst/>
                <a:gdLst>
                  <a:gd name="T0" fmla="*/ 9 w 9"/>
                  <a:gd name="T1" fmla="*/ 4 h 17"/>
                  <a:gd name="T2" fmla="*/ 9 w 9"/>
                  <a:gd name="T3" fmla="*/ 8 h 17"/>
                  <a:gd name="T4" fmla="*/ 7 w 9"/>
                  <a:gd name="T5" fmla="*/ 12 h 17"/>
                  <a:gd name="T6" fmla="*/ 5 w 9"/>
                  <a:gd name="T7" fmla="*/ 17 h 17"/>
                  <a:gd name="T8" fmla="*/ 0 w 9"/>
                  <a:gd name="T9" fmla="*/ 15 h 17"/>
                  <a:gd name="T10" fmla="*/ 5 w 9"/>
                  <a:gd name="T11" fmla="*/ 8 h 17"/>
                  <a:gd name="T12" fmla="*/ 7 w 9"/>
                  <a:gd name="T13" fmla="*/ 0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9" y="8"/>
                    </a:lnTo>
                    <a:lnTo>
                      <a:pt x="7" y="12"/>
                    </a:lnTo>
                    <a:lnTo>
                      <a:pt x="5" y="17"/>
                    </a:lnTo>
                    <a:lnTo>
                      <a:pt x="0" y="15"/>
                    </a:lnTo>
                    <a:lnTo>
                      <a:pt x="5" y="8"/>
                    </a:lnTo>
                    <a:lnTo>
                      <a:pt x="7" y="0"/>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9" name="Freeform 1227"/>
              <p:cNvSpPr>
                <a:spLocks/>
              </p:cNvSpPr>
              <p:nvPr/>
            </p:nvSpPr>
            <p:spPr bwMode="auto">
              <a:xfrm>
                <a:off x="1004" y="3712"/>
                <a:ext cx="24" cy="34"/>
              </a:xfrm>
              <a:custGeom>
                <a:avLst/>
                <a:gdLst>
                  <a:gd name="T0" fmla="*/ 5 w 24"/>
                  <a:gd name="T1" fmla="*/ 21 h 34"/>
                  <a:gd name="T2" fmla="*/ 11 w 24"/>
                  <a:gd name="T3" fmla="*/ 17 h 34"/>
                  <a:gd name="T4" fmla="*/ 15 w 24"/>
                  <a:gd name="T5" fmla="*/ 13 h 34"/>
                  <a:gd name="T6" fmla="*/ 22 w 24"/>
                  <a:gd name="T7" fmla="*/ 0 h 34"/>
                  <a:gd name="T8" fmla="*/ 24 w 24"/>
                  <a:gd name="T9" fmla="*/ 11 h 34"/>
                  <a:gd name="T10" fmla="*/ 17 w 24"/>
                  <a:gd name="T11" fmla="*/ 15 h 34"/>
                  <a:gd name="T12" fmla="*/ 13 w 24"/>
                  <a:gd name="T13" fmla="*/ 21 h 34"/>
                  <a:gd name="T14" fmla="*/ 11 w 24"/>
                  <a:gd name="T15" fmla="*/ 26 h 34"/>
                  <a:gd name="T16" fmla="*/ 7 w 24"/>
                  <a:gd name="T17" fmla="*/ 30 h 34"/>
                  <a:gd name="T18" fmla="*/ 0 w 24"/>
                  <a:gd name="T19" fmla="*/ 34 h 34"/>
                  <a:gd name="T20" fmla="*/ 0 w 24"/>
                  <a:gd name="T21" fmla="*/ 30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11" y="17"/>
                    </a:lnTo>
                    <a:lnTo>
                      <a:pt x="15" y="13"/>
                    </a:lnTo>
                    <a:lnTo>
                      <a:pt x="22" y="0"/>
                    </a:lnTo>
                    <a:lnTo>
                      <a:pt x="24" y="11"/>
                    </a:lnTo>
                    <a:lnTo>
                      <a:pt x="17" y="15"/>
                    </a:lnTo>
                    <a:lnTo>
                      <a:pt x="13" y="21"/>
                    </a:lnTo>
                    <a:lnTo>
                      <a:pt x="11" y="26"/>
                    </a:lnTo>
                    <a:lnTo>
                      <a:pt x="7" y="30"/>
                    </a:lnTo>
                    <a:lnTo>
                      <a:pt x="0" y="34"/>
                    </a:lnTo>
                    <a:lnTo>
                      <a:pt x="0" y="30"/>
                    </a:lnTo>
                    <a:lnTo>
                      <a:pt x="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1228"/>
              <p:cNvSpPr>
                <a:spLocks/>
              </p:cNvSpPr>
              <p:nvPr/>
            </p:nvSpPr>
            <p:spPr bwMode="auto">
              <a:xfrm>
                <a:off x="1004" y="3712"/>
                <a:ext cx="24" cy="34"/>
              </a:xfrm>
              <a:custGeom>
                <a:avLst/>
                <a:gdLst>
                  <a:gd name="T0" fmla="*/ 5 w 24"/>
                  <a:gd name="T1" fmla="*/ 21 h 34"/>
                  <a:gd name="T2" fmla="*/ 11 w 24"/>
                  <a:gd name="T3" fmla="*/ 17 h 34"/>
                  <a:gd name="T4" fmla="*/ 15 w 24"/>
                  <a:gd name="T5" fmla="*/ 13 h 34"/>
                  <a:gd name="T6" fmla="*/ 22 w 24"/>
                  <a:gd name="T7" fmla="*/ 0 h 34"/>
                  <a:gd name="T8" fmla="*/ 24 w 24"/>
                  <a:gd name="T9" fmla="*/ 11 h 34"/>
                  <a:gd name="T10" fmla="*/ 17 w 24"/>
                  <a:gd name="T11" fmla="*/ 15 h 34"/>
                  <a:gd name="T12" fmla="*/ 13 w 24"/>
                  <a:gd name="T13" fmla="*/ 21 h 34"/>
                  <a:gd name="T14" fmla="*/ 11 w 24"/>
                  <a:gd name="T15" fmla="*/ 26 h 34"/>
                  <a:gd name="T16" fmla="*/ 7 w 24"/>
                  <a:gd name="T17" fmla="*/ 30 h 34"/>
                  <a:gd name="T18" fmla="*/ 0 w 24"/>
                  <a:gd name="T19" fmla="*/ 34 h 34"/>
                  <a:gd name="T20" fmla="*/ 0 w 24"/>
                  <a:gd name="T21" fmla="*/ 30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11" y="17"/>
                    </a:lnTo>
                    <a:lnTo>
                      <a:pt x="15" y="13"/>
                    </a:lnTo>
                    <a:lnTo>
                      <a:pt x="22" y="0"/>
                    </a:lnTo>
                    <a:lnTo>
                      <a:pt x="24" y="11"/>
                    </a:lnTo>
                    <a:lnTo>
                      <a:pt x="17" y="15"/>
                    </a:lnTo>
                    <a:lnTo>
                      <a:pt x="13" y="21"/>
                    </a:lnTo>
                    <a:lnTo>
                      <a:pt x="11" y="26"/>
                    </a:lnTo>
                    <a:lnTo>
                      <a:pt x="7" y="30"/>
                    </a:lnTo>
                    <a:lnTo>
                      <a:pt x="0" y="34"/>
                    </a:lnTo>
                    <a:lnTo>
                      <a:pt x="0" y="30"/>
                    </a:lnTo>
                    <a:lnTo>
                      <a:pt x="5" y="2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1" name="Freeform 1229"/>
              <p:cNvSpPr>
                <a:spLocks/>
              </p:cNvSpPr>
              <p:nvPr/>
            </p:nvSpPr>
            <p:spPr bwMode="auto">
              <a:xfrm>
                <a:off x="1038" y="3708"/>
                <a:ext cx="17" cy="10"/>
              </a:xfrm>
              <a:custGeom>
                <a:avLst/>
                <a:gdLst>
                  <a:gd name="T0" fmla="*/ 17 w 17"/>
                  <a:gd name="T1" fmla="*/ 4 h 10"/>
                  <a:gd name="T2" fmla="*/ 11 w 17"/>
                  <a:gd name="T3" fmla="*/ 6 h 10"/>
                  <a:gd name="T4" fmla="*/ 5 w 17"/>
                  <a:gd name="T5" fmla="*/ 10 h 10"/>
                  <a:gd name="T6" fmla="*/ 0 w 17"/>
                  <a:gd name="T7" fmla="*/ 10 h 10"/>
                  <a:gd name="T8" fmla="*/ 5 w 17"/>
                  <a:gd name="T9" fmla="*/ 6 h 10"/>
                  <a:gd name="T10" fmla="*/ 0 w 17"/>
                  <a:gd name="T11" fmla="*/ 6 h 10"/>
                  <a:gd name="T12" fmla="*/ 0 w 17"/>
                  <a:gd name="T13" fmla="*/ 2 h 10"/>
                  <a:gd name="T14" fmla="*/ 7 w 17"/>
                  <a:gd name="T15" fmla="*/ 0 h 10"/>
                  <a:gd name="T16" fmla="*/ 11 w 17"/>
                  <a:gd name="T17" fmla="*/ 2 h 10"/>
                  <a:gd name="T18" fmla="*/ 17 w 17"/>
                  <a:gd name="T19" fmla="*/ 2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1" y="6"/>
                    </a:lnTo>
                    <a:lnTo>
                      <a:pt x="5" y="10"/>
                    </a:lnTo>
                    <a:lnTo>
                      <a:pt x="0" y="10"/>
                    </a:lnTo>
                    <a:lnTo>
                      <a:pt x="5" y="6"/>
                    </a:lnTo>
                    <a:lnTo>
                      <a:pt x="0" y="6"/>
                    </a:lnTo>
                    <a:lnTo>
                      <a:pt x="0" y="2"/>
                    </a:lnTo>
                    <a:lnTo>
                      <a:pt x="7" y="0"/>
                    </a:lnTo>
                    <a:lnTo>
                      <a:pt x="11" y="2"/>
                    </a:lnTo>
                    <a:lnTo>
                      <a:pt x="17" y="2"/>
                    </a:lnTo>
                    <a:lnTo>
                      <a:pt x="1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1230"/>
              <p:cNvSpPr>
                <a:spLocks/>
              </p:cNvSpPr>
              <p:nvPr/>
            </p:nvSpPr>
            <p:spPr bwMode="auto">
              <a:xfrm>
                <a:off x="1038" y="3708"/>
                <a:ext cx="17" cy="10"/>
              </a:xfrm>
              <a:custGeom>
                <a:avLst/>
                <a:gdLst>
                  <a:gd name="T0" fmla="*/ 17 w 17"/>
                  <a:gd name="T1" fmla="*/ 4 h 10"/>
                  <a:gd name="T2" fmla="*/ 11 w 17"/>
                  <a:gd name="T3" fmla="*/ 6 h 10"/>
                  <a:gd name="T4" fmla="*/ 5 w 17"/>
                  <a:gd name="T5" fmla="*/ 10 h 10"/>
                  <a:gd name="T6" fmla="*/ 0 w 17"/>
                  <a:gd name="T7" fmla="*/ 10 h 10"/>
                  <a:gd name="T8" fmla="*/ 5 w 17"/>
                  <a:gd name="T9" fmla="*/ 6 h 10"/>
                  <a:gd name="T10" fmla="*/ 0 w 17"/>
                  <a:gd name="T11" fmla="*/ 6 h 10"/>
                  <a:gd name="T12" fmla="*/ 0 w 17"/>
                  <a:gd name="T13" fmla="*/ 2 h 10"/>
                  <a:gd name="T14" fmla="*/ 7 w 17"/>
                  <a:gd name="T15" fmla="*/ 0 h 10"/>
                  <a:gd name="T16" fmla="*/ 11 w 17"/>
                  <a:gd name="T17" fmla="*/ 2 h 10"/>
                  <a:gd name="T18" fmla="*/ 17 w 17"/>
                  <a:gd name="T19" fmla="*/ 2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1" y="6"/>
                    </a:lnTo>
                    <a:lnTo>
                      <a:pt x="5" y="10"/>
                    </a:lnTo>
                    <a:lnTo>
                      <a:pt x="0" y="10"/>
                    </a:lnTo>
                    <a:lnTo>
                      <a:pt x="5" y="6"/>
                    </a:lnTo>
                    <a:lnTo>
                      <a:pt x="0" y="6"/>
                    </a:lnTo>
                    <a:lnTo>
                      <a:pt x="0" y="2"/>
                    </a:lnTo>
                    <a:lnTo>
                      <a:pt x="7" y="0"/>
                    </a:lnTo>
                    <a:lnTo>
                      <a:pt x="11" y="2"/>
                    </a:lnTo>
                    <a:lnTo>
                      <a:pt x="17" y="2"/>
                    </a:lnTo>
                    <a:lnTo>
                      <a:pt x="17"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231"/>
              <p:cNvSpPr>
                <a:spLocks/>
              </p:cNvSpPr>
              <p:nvPr/>
            </p:nvSpPr>
            <p:spPr bwMode="auto">
              <a:xfrm>
                <a:off x="1345" y="3831"/>
                <a:ext cx="6" cy="13"/>
              </a:xfrm>
              <a:custGeom>
                <a:avLst/>
                <a:gdLst>
                  <a:gd name="T0" fmla="*/ 2 w 6"/>
                  <a:gd name="T1" fmla="*/ 0 h 13"/>
                  <a:gd name="T2" fmla="*/ 6 w 6"/>
                  <a:gd name="T3" fmla="*/ 5 h 13"/>
                  <a:gd name="T4" fmla="*/ 6 w 6"/>
                  <a:gd name="T5" fmla="*/ 9 h 13"/>
                  <a:gd name="T6" fmla="*/ 4 w 6"/>
                  <a:gd name="T7" fmla="*/ 13 h 13"/>
                  <a:gd name="T8" fmla="*/ 0 w 6"/>
                  <a:gd name="T9" fmla="*/ 11 h 13"/>
                  <a:gd name="T10" fmla="*/ 0 w 6"/>
                  <a:gd name="T11" fmla="*/ 0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6" y="5"/>
                    </a:lnTo>
                    <a:lnTo>
                      <a:pt x="6" y="9"/>
                    </a:lnTo>
                    <a:lnTo>
                      <a:pt x="4" y="13"/>
                    </a:lnTo>
                    <a:lnTo>
                      <a:pt x="0" y="11"/>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232"/>
              <p:cNvSpPr>
                <a:spLocks/>
              </p:cNvSpPr>
              <p:nvPr/>
            </p:nvSpPr>
            <p:spPr bwMode="auto">
              <a:xfrm>
                <a:off x="1345" y="3831"/>
                <a:ext cx="6" cy="13"/>
              </a:xfrm>
              <a:custGeom>
                <a:avLst/>
                <a:gdLst>
                  <a:gd name="T0" fmla="*/ 2 w 6"/>
                  <a:gd name="T1" fmla="*/ 0 h 13"/>
                  <a:gd name="T2" fmla="*/ 6 w 6"/>
                  <a:gd name="T3" fmla="*/ 5 h 13"/>
                  <a:gd name="T4" fmla="*/ 6 w 6"/>
                  <a:gd name="T5" fmla="*/ 9 h 13"/>
                  <a:gd name="T6" fmla="*/ 4 w 6"/>
                  <a:gd name="T7" fmla="*/ 13 h 13"/>
                  <a:gd name="T8" fmla="*/ 0 w 6"/>
                  <a:gd name="T9" fmla="*/ 11 h 13"/>
                  <a:gd name="T10" fmla="*/ 0 w 6"/>
                  <a:gd name="T11" fmla="*/ 0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6" y="5"/>
                    </a:lnTo>
                    <a:lnTo>
                      <a:pt x="6" y="9"/>
                    </a:lnTo>
                    <a:lnTo>
                      <a:pt x="4" y="13"/>
                    </a:lnTo>
                    <a:lnTo>
                      <a:pt x="0" y="11"/>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233"/>
              <p:cNvSpPr>
                <a:spLocks/>
              </p:cNvSpPr>
              <p:nvPr/>
            </p:nvSpPr>
            <p:spPr bwMode="auto">
              <a:xfrm>
                <a:off x="1349" y="3819"/>
                <a:ext cx="51" cy="51"/>
              </a:xfrm>
              <a:custGeom>
                <a:avLst/>
                <a:gdLst>
                  <a:gd name="T0" fmla="*/ 24 w 51"/>
                  <a:gd name="T1" fmla="*/ 49 h 51"/>
                  <a:gd name="T2" fmla="*/ 19 w 51"/>
                  <a:gd name="T3" fmla="*/ 42 h 51"/>
                  <a:gd name="T4" fmla="*/ 17 w 51"/>
                  <a:gd name="T5" fmla="*/ 38 h 51"/>
                  <a:gd name="T6" fmla="*/ 11 w 51"/>
                  <a:gd name="T7" fmla="*/ 38 h 51"/>
                  <a:gd name="T8" fmla="*/ 9 w 51"/>
                  <a:gd name="T9" fmla="*/ 32 h 51"/>
                  <a:gd name="T10" fmla="*/ 5 w 51"/>
                  <a:gd name="T11" fmla="*/ 29 h 51"/>
                  <a:gd name="T12" fmla="*/ 2 w 51"/>
                  <a:gd name="T13" fmla="*/ 23 h 51"/>
                  <a:gd name="T14" fmla="*/ 5 w 51"/>
                  <a:gd name="T15" fmla="*/ 19 h 51"/>
                  <a:gd name="T16" fmla="*/ 9 w 51"/>
                  <a:gd name="T17" fmla="*/ 21 h 51"/>
                  <a:gd name="T18" fmla="*/ 0 w 51"/>
                  <a:gd name="T19" fmla="*/ 14 h 51"/>
                  <a:gd name="T20" fmla="*/ 2 w 51"/>
                  <a:gd name="T21" fmla="*/ 10 h 51"/>
                  <a:gd name="T22" fmla="*/ 2 w 51"/>
                  <a:gd name="T23" fmla="*/ 4 h 51"/>
                  <a:gd name="T24" fmla="*/ 7 w 51"/>
                  <a:gd name="T25" fmla="*/ 8 h 51"/>
                  <a:gd name="T26" fmla="*/ 7 w 51"/>
                  <a:gd name="T27" fmla="*/ 4 h 51"/>
                  <a:gd name="T28" fmla="*/ 13 w 51"/>
                  <a:gd name="T29" fmla="*/ 4 h 51"/>
                  <a:gd name="T30" fmla="*/ 17 w 51"/>
                  <a:gd name="T31" fmla="*/ 0 h 51"/>
                  <a:gd name="T32" fmla="*/ 22 w 51"/>
                  <a:gd name="T33" fmla="*/ 2 h 51"/>
                  <a:gd name="T34" fmla="*/ 26 w 51"/>
                  <a:gd name="T35" fmla="*/ 4 h 51"/>
                  <a:gd name="T36" fmla="*/ 26 w 51"/>
                  <a:gd name="T37" fmla="*/ 8 h 51"/>
                  <a:gd name="T38" fmla="*/ 19 w 51"/>
                  <a:gd name="T39" fmla="*/ 12 h 51"/>
                  <a:gd name="T40" fmla="*/ 24 w 51"/>
                  <a:gd name="T41" fmla="*/ 14 h 51"/>
                  <a:gd name="T42" fmla="*/ 28 w 51"/>
                  <a:gd name="T43" fmla="*/ 6 h 51"/>
                  <a:gd name="T44" fmla="*/ 32 w 51"/>
                  <a:gd name="T45" fmla="*/ 6 h 51"/>
                  <a:gd name="T46" fmla="*/ 39 w 51"/>
                  <a:gd name="T47" fmla="*/ 6 h 51"/>
                  <a:gd name="T48" fmla="*/ 43 w 51"/>
                  <a:gd name="T49" fmla="*/ 8 h 51"/>
                  <a:gd name="T50" fmla="*/ 45 w 51"/>
                  <a:gd name="T51" fmla="*/ 14 h 51"/>
                  <a:gd name="T52" fmla="*/ 45 w 51"/>
                  <a:gd name="T53" fmla="*/ 19 h 51"/>
                  <a:gd name="T54" fmla="*/ 41 w 51"/>
                  <a:gd name="T55" fmla="*/ 19 h 51"/>
                  <a:gd name="T56" fmla="*/ 43 w 51"/>
                  <a:gd name="T57" fmla="*/ 23 h 51"/>
                  <a:gd name="T58" fmla="*/ 39 w 51"/>
                  <a:gd name="T59" fmla="*/ 25 h 51"/>
                  <a:gd name="T60" fmla="*/ 34 w 51"/>
                  <a:gd name="T61" fmla="*/ 23 h 51"/>
                  <a:gd name="T62" fmla="*/ 24 w 51"/>
                  <a:gd name="T63" fmla="*/ 19 h 51"/>
                  <a:gd name="T64" fmla="*/ 19 w 51"/>
                  <a:gd name="T65" fmla="*/ 17 h 51"/>
                  <a:gd name="T66" fmla="*/ 32 w 51"/>
                  <a:gd name="T67" fmla="*/ 23 h 51"/>
                  <a:gd name="T68" fmla="*/ 37 w 51"/>
                  <a:gd name="T69" fmla="*/ 27 h 51"/>
                  <a:gd name="T70" fmla="*/ 43 w 51"/>
                  <a:gd name="T71" fmla="*/ 25 h 51"/>
                  <a:gd name="T72" fmla="*/ 47 w 51"/>
                  <a:gd name="T73" fmla="*/ 25 h 51"/>
                  <a:gd name="T74" fmla="*/ 51 w 51"/>
                  <a:gd name="T75" fmla="*/ 38 h 51"/>
                  <a:gd name="T76" fmla="*/ 51 w 51"/>
                  <a:gd name="T77" fmla="*/ 42 h 51"/>
                  <a:gd name="T78" fmla="*/ 45 w 51"/>
                  <a:gd name="T79" fmla="*/ 42 h 51"/>
                  <a:gd name="T80" fmla="*/ 28 w 51"/>
                  <a:gd name="T81" fmla="*/ 32 h 51"/>
                  <a:gd name="T82" fmla="*/ 24 w 51"/>
                  <a:gd name="T83" fmla="*/ 29 h 51"/>
                  <a:gd name="T84" fmla="*/ 26 w 51"/>
                  <a:gd name="T85" fmla="*/ 36 h 51"/>
                  <a:gd name="T86" fmla="*/ 30 w 51"/>
                  <a:gd name="T87" fmla="*/ 42 h 51"/>
                  <a:gd name="T88" fmla="*/ 28 w 51"/>
                  <a:gd name="T89" fmla="*/ 51 h 51"/>
                  <a:gd name="T90" fmla="*/ 22 w 51"/>
                  <a:gd name="T91" fmla="*/ 51 h 51"/>
                  <a:gd name="T92" fmla="*/ 19 w 51"/>
                  <a:gd name="T93" fmla="*/ 44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2"/>
                    </a:lnTo>
                    <a:lnTo>
                      <a:pt x="17" y="38"/>
                    </a:lnTo>
                    <a:lnTo>
                      <a:pt x="11" y="38"/>
                    </a:lnTo>
                    <a:lnTo>
                      <a:pt x="9" y="32"/>
                    </a:lnTo>
                    <a:lnTo>
                      <a:pt x="5" y="29"/>
                    </a:lnTo>
                    <a:lnTo>
                      <a:pt x="2" y="23"/>
                    </a:lnTo>
                    <a:lnTo>
                      <a:pt x="5" y="19"/>
                    </a:lnTo>
                    <a:lnTo>
                      <a:pt x="9" y="21"/>
                    </a:lnTo>
                    <a:lnTo>
                      <a:pt x="0" y="14"/>
                    </a:lnTo>
                    <a:lnTo>
                      <a:pt x="2" y="10"/>
                    </a:lnTo>
                    <a:lnTo>
                      <a:pt x="2" y="4"/>
                    </a:lnTo>
                    <a:lnTo>
                      <a:pt x="7" y="8"/>
                    </a:lnTo>
                    <a:lnTo>
                      <a:pt x="7" y="4"/>
                    </a:lnTo>
                    <a:lnTo>
                      <a:pt x="13" y="4"/>
                    </a:lnTo>
                    <a:lnTo>
                      <a:pt x="17" y="0"/>
                    </a:lnTo>
                    <a:lnTo>
                      <a:pt x="22" y="2"/>
                    </a:lnTo>
                    <a:lnTo>
                      <a:pt x="26" y="4"/>
                    </a:lnTo>
                    <a:lnTo>
                      <a:pt x="26" y="8"/>
                    </a:lnTo>
                    <a:lnTo>
                      <a:pt x="19" y="12"/>
                    </a:lnTo>
                    <a:lnTo>
                      <a:pt x="24" y="14"/>
                    </a:lnTo>
                    <a:lnTo>
                      <a:pt x="28" y="6"/>
                    </a:lnTo>
                    <a:lnTo>
                      <a:pt x="32" y="6"/>
                    </a:lnTo>
                    <a:lnTo>
                      <a:pt x="39" y="6"/>
                    </a:lnTo>
                    <a:lnTo>
                      <a:pt x="43" y="8"/>
                    </a:lnTo>
                    <a:lnTo>
                      <a:pt x="45" y="14"/>
                    </a:lnTo>
                    <a:lnTo>
                      <a:pt x="45" y="19"/>
                    </a:lnTo>
                    <a:lnTo>
                      <a:pt x="41" y="19"/>
                    </a:lnTo>
                    <a:lnTo>
                      <a:pt x="43" y="23"/>
                    </a:lnTo>
                    <a:lnTo>
                      <a:pt x="39" y="25"/>
                    </a:lnTo>
                    <a:lnTo>
                      <a:pt x="34" y="23"/>
                    </a:lnTo>
                    <a:lnTo>
                      <a:pt x="24" y="19"/>
                    </a:lnTo>
                    <a:lnTo>
                      <a:pt x="19" y="17"/>
                    </a:lnTo>
                    <a:lnTo>
                      <a:pt x="32" y="23"/>
                    </a:lnTo>
                    <a:lnTo>
                      <a:pt x="37" y="27"/>
                    </a:lnTo>
                    <a:lnTo>
                      <a:pt x="43" y="25"/>
                    </a:lnTo>
                    <a:lnTo>
                      <a:pt x="47" y="25"/>
                    </a:lnTo>
                    <a:lnTo>
                      <a:pt x="51" y="38"/>
                    </a:lnTo>
                    <a:lnTo>
                      <a:pt x="51" y="42"/>
                    </a:lnTo>
                    <a:lnTo>
                      <a:pt x="45" y="42"/>
                    </a:lnTo>
                    <a:lnTo>
                      <a:pt x="28" y="32"/>
                    </a:lnTo>
                    <a:lnTo>
                      <a:pt x="24" y="29"/>
                    </a:lnTo>
                    <a:lnTo>
                      <a:pt x="26" y="36"/>
                    </a:lnTo>
                    <a:lnTo>
                      <a:pt x="30" y="42"/>
                    </a:lnTo>
                    <a:lnTo>
                      <a:pt x="28" y="51"/>
                    </a:lnTo>
                    <a:lnTo>
                      <a:pt x="22" y="51"/>
                    </a:lnTo>
                    <a:lnTo>
                      <a:pt x="19" y="44"/>
                    </a:lnTo>
                    <a:lnTo>
                      <a:pt x="24"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1234"/>
              <p:cNvSpPr>
                <a:spLocks/>
              </p:cNvSpPr>
              <p:nvPr/>
            </p:nvSpPr>
            <p:spPr bwMode="auto">
              <a:xfrm>
                <a:off x="1349" y="3819"/>
                <a:ext cx="51" cy="51"/>
              </a:xfrm>
              <a:custGeom>
                <a:avLst/>
                <a:gdLst>
                  <a:gd name="T0" fmla="*/ 24 w 51"/>
                  <a:gd name="T1" fmla="*/ 49 h 51"/>
                  <a:gd name="T2" fmla="*/ 19 w 51"/>
                  <a:gd name="T3" fmla="*/ 42 h 51"/>
                  <a:gd name="T4" fmla="*/ 17 w 51"/>
                  <a:gd name="T5" fmla="*/ 38 h 51"/>
                  <a:gd name="T6" fmla="*/ 11 w 51"/>
                  <a:gd name="T7" fmla="*/ 38 h 51"/>
                  <a:gd name="T8" fmla="*/ 9 w 51"/>
                  <a:gd name="T9" fmla="*/ 32 h 51"/>
                  <a:gd name="T10" fmla="*/ 5 w 51"/>
                  <a:gd name="T11" fmla="*/ 29 h 51"/>
                  <a:gd name="T12" fmla="*/ 2 w 51"/>
                  <a:gd name="T13" fmla="*/ 23 h 51"/>
                  <a:gd name="T14" fmla="*/ 5 w 51"/>
                  <a:gd name="T15" fmla="*/ 19 h 51"/>
                  <a:gd name="T16" fmla="*/ 9 w 51"/>
                  <a:gd name="T17" fmla="*/ 21 h 51"/>
                  <a:gd name="T18" fmla="*/ 0 w 51"/>
                  <a:gd name="T19" fmla="*/ 14 h 51"/>
                  <a:gd name="T20" fmla="*/ 2 w 51"/>
                  <a:gd name="T21" fmla="*/ 10 h 51"/>
                  <a:gd name="T22" fmla="*/ 2 w 51"/>
                  <a:gd name="T23" fmla="*/ 4 h 51"/>
                  <a:gd name="T24" fmla="*/ 7 w 51"/>
                  <a:gd name="T25" fmla="*/ 8 h 51"/>
                  <a:gd name="T26" fmla="*/ 7 w 51"/>
                  <a:gd name="T27" fmla="*/ 4 h 51"/>
                  <a:gd name="T28" fmla="*/ 13 w 51"/>
                  <a:gd name="T29" fmla="*/ 4 h 51"/>
                  <a:gd name="T30" fmla="*/ 17 w 51"/>
                  <a:gd name="T31" fmla="*/ 0 h 51"/>
                  <a:gd name="T32" fmla="*/ 22 w 51"/>
                  <a:gd name="T33" fmla="*/ 2 h 51"/>
                  <a:gd name="T34" fmla="*/ 26 w 51"/>
                  <a:gd name="T35" fmla="*/ 4 h 51"/>
                  <a:gd name="T36" fmla="*/ 26 w 51"/>
                  <a:gd name="T37" fmla="*/ 8 h 51"/>
                  <a:gd name="T38" fmla="*/ 19 w 51"/>
                  <a:gd name="T39" fmla="*/ 12 h 51"/>
                  <a:gd name="T40" fmla="*/ 24 w 51"/>
                  <a:gd name="T41" fmla="*/ 14 h 51"/>
                  <a:gd name="T42" fmla="*/ 28 w 51"/>
                  <a:gd name="T43" fmla="*/ 6 h 51"/>
                  <a:gd name="T44" fmla="*/ 32 w 51"/>
                  <a:gd name="T45" fmla="*/ 6 h 51"/>
                  <a:gd name="T46" fmla="*/ 39 w 51"/>
                  <a:gd name="T47" fmla="*/ 6 h 51"/>
                  <a:gd name="T48" fmla="*/ 43 w 51"/>
                  <a:gd name="T49" fmla="*/ 8 h 51"/>
                  <a:gd name="T50" fmla="*/ 45 w 51"/>
                  <a:gd name="T51" fmla="*/ 14 h 51"/>
                  <a:gd name="T52" fmla="*/ 45 w 51"/>
                  <a:gd name="T53" fmla="*/ 19 h 51"/>
                  <a:gd name="T54" fmla="*/ 41 w 51"/>
                  <a:gd name="T55" fmla="*/ 19 h 51"/>
                  <a:gd name="T56" fmla="*/ 43 w 51"/>
                  <a:gd name="T57" fmla="*/ 23 h 51"/>
                  <a:gd name="T58" fmla="*/ 39 w 51"/>
                  <a:gd name="T59" fmla="*/ 25 h 51"/>
                  <a:gd name="T60" fmla="*/ 34 w 51"/>
                  <a:gd name="T61" fmla="*/ 23 h 51"/>
                  <a:gd name="T62" fmla="*/ 24 w 51"/>
                  <a:gd name="T63" fmla="*/ 19 h 51"/>
                  <a:gd name="T64" fmla="*/ 19 w 51"/>
                  <a:gd name="T65" fmla="*/ 17 h 51"/>
                  <a:gd name="T66" fmla="*/ 32 w 51"/>
                  <a:gd name="T67" fmla="*/ 23 h 51"/>
                  <a:gd name="T68" fmla="*/ 37 w 51"/>
                  <a:gd name="T69" fmla="*/ 27 h 51"/>
                  <a:gd name="T70" fmla="*/ 43 w 51"/>
                  <a:gd name="T71" fmla="*/ 25 h 51"/>
                  <a:gd name="T72" fmla="*/ 47 w 51"/>
                  <a:gd name="T73" fmla="*/ 25 h 51"/>
                  <a:gd name="T74" fmla="*/ 51 w 51"/>
                  <a:gd name="T75" fmla="*/ 38 h 51"/>
                  <a:gd name="T76" fmla="*/ 51 w 51"/>
                  <a:gd name="T77" fmla="*/ 42 h 51"/>
                  <a:gd name="T78" fmla="*/ 45 w 51"/>
                  <a:gd name="T79" fmla="*/ 42 h 51"/>
                  <a:gd name="T80" fmla="*/ 28 w 51"/>
                  <a:gd name="T81" fmla="*/ 32 h 51"/>
                  <a:gd name="T82" fmla="*/ 24 w 51"/>
                  <a:gd name="T83" fmla="*/ 29 h 51"/>
                  <a:gd name="T84" fmla="*/ 26 w 51"/>
                  <a:gd name="T85" fmla="*/ 36 h 51"/>
                  <a:gd name="T86" fmla="*/ 30 w 51"/>
                  <a:gd name="T87" fmla="*/ 42 h 51"/>
                  <a:gd name="T88" fmla="*/ 28 w 51"/>
                  <a:gd name="T89" fmla="*/ 51 h 51"/>
                  <a:gd name="T90" fmla="*/ 22 w 51"/>
                  <a:gd name="T91" fmla="*/ 51 h 51"/>
                  <a:gd name="T92" fmla="*/ 19 w 51"/>
                  <a:gd name="T93" fmla="*/ 44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2"/>
                    </a:lnTo>
                    <a:lnTo>
                      <a:pt x="17" y="38"/>
                    </a:lnTo>
                    <a:lnTo>
                      <a:pt x="11" y="38"/>
                    </a:lnTo>
                    <a:lnTo>
                      <a:pt x="9" y="32"/>
                    </a:lnTo>
                    <a:lnTo>
                      <a:pt x="5" y="29"/>
                    </a:lnTo>
                    <a:lnTo>
                      <a:pt x="2" y="23"/>
                    </a:lnTo>
                    <a:lnTo>
                      <a:pt x="5" y="19"/>
                    </a:lnTo>
                    <a:lnTo>
                      <a:pt x="9" y="21"/>
                    </a:lnTo>
                    <a:lnTo>
                      <a:pt x="0" y="14"/>
                    </a:lnTo>
                    <a:lnTo>
                      <a:pt x="2" y="10"/>
                    </a:lnTo>
                    <a:lnTo>
                      <a:pt x="2" y="4"/>
                    </a:lnTo>
                    <a:lnTo>
                      <a:pt x="7" y="8"/>
                    </a:lnTo>
                    <a:lnTo>
                      <a:pt x="7" y="4"/>
                    </a:lnTo>
                    <a:lnTo>
                      <a:pt x="13" y="4"/>
                    </a:lnTo>
                    <a:lnTo>
                      <a:pt x="17" y="0"/>
                    </a:lnTo>
                    <a:lnTo>
                      <a:pt x="22" y="2"/>
                    </a:lnTo>
                    <a:lnTo>
                      <a:pt x="26" y="4"/>
                    </a:lnTo>
                    <a:lnTo>
                      <a:pt x="26" y="8"/>
                    </a:lnTo>
                    <a:lnTo>
                      <a:pt x="19" y="12"/>
                    </a:lnTo>
                    <a:lnTo>
                      <a:pt x="24" y="14"/>
                    </a:lnTo>
                    <a:lnTo>
                      <a:pt x="28" y="6"/>
                    </a:lnTo>
                    <a:lnTo>
                      <a:pt x="32" y="6"/>
                    </a:lnTo>
                    <a:lnTo>
                      <a:pt x="39" y="6"/>
                    </a:lnTo>
                    <a:lnTo>
                      <a:pt x="43" y="8"/>
                    </a:lnTo>
                    <a:lnTo>
                      <a:pt x="45" y="14"/>
                    </a:lnTo>
                    <a:lnTo>
                      <a:pt x="45" y="19"/>
                    </a:lnTo>
                    <a:lnTo>
                      <a:pt x="41" y="19"/>
                    </a:lnTo>
                    <a:lnTo>
                      <a:pt x="43" y="23"/>
                    </a:lnTo>
                    <a:lnTo>
                      <a:pt x="39" y="25"/>
                    </a:lnTo>
                    <a:lnTo>
                      <a:pt x="34" y="23"/>
                    </a:lnTo>
                    <a:lnTo>
                      <a:pt x="24" y="19"/>
                    </a:lnTo>
                    <a:lnTo>
                      <a:pt x="19" y="17"/>
                    </a:lnTo>
                    <a:lnTo>
                      <a:pt x="32" y="23"/>
                    </a:lnTo>
                    <a:lnTo>
                      <a:pt x="37" y="27"/>
                    </a:lnTo>
                    <a:lnTo>
                      <a:pt x="43" y="25"/>
                    </a:lnTo>
                    <a:lnTo>
                      <a:pt x="47" y="25"/>
                    </a:lnTo>
                    <a:lnTo>
                      <a:pt x="51" y="38"/>
                    </a:lnTo>
                    <a:lnTo>
                      <a:pt x="51" y="42"/>
                    </a:lnTo>
                    <a:lnTo>
                      <a:pt x="45" y="42"/>
                    </a:lnTo>
                    <a:lnTo>
                      <a:pt x="28" y="32"/>
                    </a:lnTo>
                    <a:lnTo>
                      <a:pt x="24" y="29"/>
                    </a:lnTo>
                    <a:lnTo>
                      <a:pt x="26" y="36"/>
                    </a:lnTo>
                    <a:lnTo>
                      <a:pt x="30" y="42"/>
                    </a:lnTo>
                    <a:lnTo>
                      <a:pt x="28" y="51"/>
                    </a:lnTo>
                    <a:lnTo>
                      <a:pt x="22" y="51"/>
                    </a:lnTo>
                    <a:lnTo>
                      <a:pt x="19" y="44"/>
                    </a:lnTo>
                    <a:lnTo>
                      <a:pt x="24"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7" name="Freeform 1235"/>
              <p:cNvSpPr>
                <a:spLocks/>
              </p:cNvSpPr>
              <p:nvPr/>
            </p:nvSpPr>
            <p:spPr bwMode="auto">
              <a:xfrm>
                <a:off x="1371" y="3872"/>
                <a:ext cx="10" cy="19"/>
              </a:xfrm>
              <a:custGeom>
                <a:avLst/>
                <a:gdLst>
                  <a:gd name="T0" fmla="*/ 4 w 10"/>
                  <a:gd name="T1" fmla="*/ 0 h 19"/>
                  <a:gd name="T2" fmla="*/ 10 w 10"/>
                  <a:gd name="T3" fmla="*/ 4 h 19"/>
                  <a:gd name="T4" fmla="*/ 10 w 10"/>
                  <a:gd name="T5" fmla="*/ 15 h 19"/>
                  <a:gd name="T6" fmla="*/ 8 w 10"/>
                  <a:gd name="T7" fmla="*/ 19 h 19"/>
                  <a:gd name="T8" fmla="*/ 4 w 10"/>
                  <a:gd name="T9" fmla="*/ 17 h 19"/>
                  <a:gd name="T10" fmla="*/ 6 w 10"/>
                  <a:gd name="T11" fmla="*/ 13 h 19"/>
                  <a:gd name="T12" fmla="*/ 0 w 10"/>
                  <a:gd name="T13" fmla="*/ 0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10" y="4"/>
                    </a:lnTo>
                    <a:lnTo>
                      <a:pt x="10" y="15"/>
                    </a:lnTo>
                    <a:lnTo>
                      <a:pt x="8" y="19"/>
                    </a:lnTo>
                    <a:lnTo>
                      <a:pt x="4" y="17"/>
                    </a:lnTo>
                    <a:lnTo>
                      <a:pt x="6" y="13"/>
                    </a:lnTo>
                    <a:lnTo>
                      <a:pt x="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236"/>
              <p:cNvSpPr>
                <a:spLocks/>
              </p:cNvSpPr>
              <p:nvPr/>
            </p:nvSpPr>
            <p:spPr bwMode="auto">
              <a:xfrm>
                <a:off x="1371" y="3872"/>
                <a:ext cx="10" cy="19"/>
              </a:xfrm>
              <a:custGeom>
                <a:avLst/>
                <a:gdLst>
                  <a:gd name="T0" fmla="*/ 4 w 10"/>
                  <a:gd name="T1" fmla="*/ 0 h 19"/>
                  <a:gd name="T2" fmla="*/ 10 w 10"/>
                  <a:gd name="T3" fmla="*/ 4 h 19"/>
                  <a:gd name="T4" fmla="*/ 10 w 10"/>
                  <a:gd name="T5" fmla="*/ 15 h 19"/>
                  <a:gd name="T6" fmla="*/ 8 w 10"/>
                  <a:gd name="T7" fmla="*/ 19 h 19"/>
                  <a:gd name="T8" fmla="*/ 4 w 10"/>
                  <a:gd name="T9" fmla="*/ 17 h 19"/>
                  <a:gd name="T10" fmla="*/ 6 w 10"/>
                  <a:gd name="T11" fmla="*/ 13 h 19"/>
                  <a:gd name="T12" fmla="*/ 0 w 10"/>
                  <a:gd name="T13" fmla="*/ 0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10" y="4"/>
                    </a:lnTo>
                    <a:lnTo>
                      <a:pt x="10" y="15"/>
                    </a:lnTo>
                    <a:lnTo>
                      <a:pt x="8" y="19"/>
                    </a:lnTo>
                    <a:lnTo>
                      <a:pt x="4" y="17"/>
                    </a:lnTo>
                    <a:lnTo>
                      <a:pt x="6" y="13"/>
                    </a:lnTo>
                    <a:lnTo>
                      <a:pt x="0" y="0"/>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237"/>
              <p:cNvSpPr>
                <a:spLocks/>
              </p:cNvSpPr>
              <p:nvPr/>
            </p:nvSpPr>
            <p:spPr bwMode="auto">
              <a:xfrm>
                <a:off x="1400" y="3863"/>
                <a:ext cx="5" cy="7"/>
              </a:xfrm>
              <a:custGeom>
                <a:avLst/>
                <a:gdLst>
                  <a:gd name="T0" fmla="*/ 3 w 5"/>
                  <a:gd name="T1" fmla="*/ 0 h 7"/>
                  <a:gd name="T2" fmla="*/ 5 w 5"/>
                  <a:gd name="T3" fmla="*/ 7 h 7"/>
                  <a:gd name="T4" fmla="*/ 0 w 5"/>
                  <a:gd name="T5" fmla="*/ 2 h 7"/>
                  <a:gd name="T6" fmla="*/ 3 w 5"/>
                  <a:gd name="T7" fmla="*/ 0 h 7"/>
                </a:gdLst>
                <a:ahLst/>
                <a:cxnLst>
                  <a:cxn ang="0">
                    <a:pos x="T0" y="T1"/>
                  </a:cxn>
                  <a:cxn ang="0">
                    <a:pos x="T2" y="T3"/>
                  </a:cxn>
                  <a:cxn ang="0">
                    <a:pos x="T4" y="T5"/>
                  </a:cxn>
                  <a:cxn ang="0">
                    <a:pos x="T6" y="T7"/>
                  </a:cxn>
                </a:cxnLst>
                <a:rect l="0" t="0" r="r" b="b"/>
                <a:pathLst>
                  <a:path w="5" h="7">
                    <a:moveTo>
                      <a:pt x="3" y="0"/>
                    </a:moveTo>
                    <a:lnTo>
                      <a:pt x="5" y="7"/>
                    </a:lnTo>
                    <a:lnTo>
                      <a:pt x="0"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1238"/>
              <p:cNvSpPr>
                <a:spLocks/>
              </p:cNvSpPr>
              <p:nvPr/>
            </p:nvSpPr>
            <p:spPr bwMode="auto">
              <a:xfrm>
                <a:off x="1400" y="3863"/>
                <a:ext cx="5" cy="7"/>
              </a:xfrm>
              <a:custGeom>
                <a:avLst/>
                <a:gdLst>
                  <a:gd name="T0" fmla="*/ 3 w 5"/>
                  <a:gd name="T1" fmla="*/ 0 h 7"/>
                  <a:gd name="T2" fmla="*/ 5 w 5"/>
                  <a:gd name="T3" fmla="*/ 7 h 7"/>
                  <a:gd name="T4" fmla="*/ 0 w 5"/>
                  <a:gd name="T5" fmla="*/ 2 h 7"/>
                  <a:gd name="T6" fmla="*/ 3 w 5"/>
                  <a:gd name="T7" fmla="*/ 0 h 7"/>
                </a:gdLst>
                <a:ahLst/>
                <a:cxnLst>
                  <a:cxn ang="0">
                    <a:pos x="T0" y="T1"/>
                  </a:cxn>
                  <a:cxn ang="0">
                    <a:pos x="T2" y="T3"/>
                  </a:cxn>
                  <a:cxn ang="0">
                    <a:pos x="T4" y="T5"/>
                  </a:cxn>
                  <a:cxn ang="0">
                    <a:pos x="T6" y="T7"/>
                  </a:cxn>
                </a:cxnLst>
                <a:rect l="0" t="0" r="r" b="b"/>
                <a:pathLst>
                  <a:path w="5" h="7">
                    <a:moveTo>
                      <a:pt x="3" y="0"/>
                    </a:moveTo>
                    <a:lnTo>
                      <a:pt x="5" y="7"/>
                    </a:lnTo>
                    <a:lnTo>
                      <a:pt x="0" y="2"/>
                    </a:lnTo>
                    <a:lnTo>
                      <a:pt x="3"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239"/>
              <p:cNvSpPr>
                <a:spLocks/>
              </p:cNvSpPr>
              <p:nvPr/>
            </p:nvSpPr>
            <p:spPr bwMode="auto">
              <a:xfrm>
                <a:off x="1392" y="3810"/>
                <a:ext cx="40" cy="72"/>
              </a:xfrm>
              <a:custGeom>
                <a:avLst/>
                <a:gdLst>
                  <a:gd name="T0" fmla="*/ 17 w 40"/>
                  <a:gd name="T1" fmla="*/ 47 h 72"/>
                  <a:gd name="T2" fmla="*/ 13 w 40"/>
                  <a:gd name="T3" fmla="*/ 38 h 72"/>
                  <a:gd name="T4" fmla="*/ 6 w 40"/>
                  <a:gd name="T5" fmla="*/ 15 h 72"/>
                  <a:gd name="T6" fmla="*/ 2 w 40"/>
                  <a:gd name="T7" fmla="*/ 9 h 72"/>
                  <a:gd name="T8" fmla="*/ 0 w 40"/>
                  <a:gd name="T9" fmla="*/ 4 h 72"/>
                  <a:gd name="T10" fmla="*/ 0 w 40"/>
                  <a:gd name="T11" fmla="*/ 0 h 72"/>
                  <a:gd name="T12" fmla="*/ 4 w 40"/>
                  <a:gd name="T13" fmla="*/ 4 h 72"/>
                  <a:gd name="T14" fmla="*/ 8 w 40"/>
                  <a:gd name="T15" fmla="*/ 9 h 72"/>
                  <a:gd name="T16" fmla="*/ 13 w 40"/>
                  <a:gd name="T17" fmla="*/ 9 h 72"/>
                  <a:gd name="T18" fmla="*/ 19 w 40"/>
                  <a:gd name="T19" fmla="*/ 9 h 72"/>
                  <a:gd name="T20" fmla="*/ 23 w 40"/>
                  <a:gd name="T21" fmla="*/ 9 h 72"/>
                  <a:gd name="T22" fmla="*/ 25 w 40"/>
                  <a:gd name="T23" fmla="*/ 13 h 72"/>
                  <a:gd name="T24" fmla="*/ 30 w 40"/>
                  <a:gd name="T25" fmla="*/ 19 h 72"/>
                  <a:gd name="T26" fmla="*/ 36 w 40"/>
                  <a:gd name="T27" fmla="*/ 30 h 72"/>
                  <a:gd name="T28" fmla="*/ 38 w 40"/>
                  <a:gd name="T29" fmla="*/ 36 h 72"/>
                  <a:gd name="T30" fmla="*/ 34 w 40"/>
                  <a:gd name="T31" fmla="*/ 32 h 72"/>
                  <a:gd name="T32" fmla="*/ 32 w 40"/>
                  <a:gd name="T33" fmla="*/ 26 h 72"/>
                  <a:gd name="T34" fmla="*/ 28 w 40"/>
                  <a:gd name="T35" fmla="*/ 21 h 72"/>
                  <a:gd name="T36" fmla="*/ 25 w 40"/>
                  <a:gd name="T37" fmla="*/ 15 h 72"/>
                  <a:gd name="T38" fmla="*/ 19 w 40"/>
                  <a:gd name="T39" fmla="*/ 13 h 72"/>
                  <a:gd name="T40" fmla="*/ 21 w 40"/>
                  <a:gd name="T41" fmla="*/ 17 h 72"/>
                  <a:gd name="T42" fmla="*/ 23 w 40"/>
                  <a:gd name="T43" fmla="*/ 23 h 72"/>
                  <a:gd name="T44" fmla="*/ 30 w 40"/>
                  <a:gd name="T45" fmla="*/ 32 h 72"/>
                  <a:gd name="T46" fmla="*/ 36 w 40"/>
                  <a:gd name="T47" fmla="*/ 36 h 72"/>
                  <a:gd name="T48" fmla="*/ 36 w 40"/>
                  <a:gd name="T49" fmla="*/ 43 h 72"/>
                  <a:gd name="T50" fmla="*/ 36 w 40"/>
                  <a:gd name="T51" fmla="*/ 47 h 72"/>
                  <a:gd name="T52" fmla="*/ 40 w 40"/>
                  <a:gd name="T53" fmla="*/ 51 h 72"/>
                  <a:gd name="T54" fmla="*/ 36 w 40"/>
                  <a:gd name="T55" fmla="*/ 55 h 72"/>
                  <a:gd name="T56" fmla="*/ 30 w 40"/>
                  <a:gd name="T57" fmla="*/ 51 h 72"/>
                  <a:gd name="T58" fmla="*/ 34 w 40"/>
                  <a:gd name="T59" fmla="*/ 58 h 72"/>
                  <a:gd name="T60" fmla="*/ 32 w 40"/>
                  <a:gd name="T61" fmla="*/ 62 h 72"/>
                  <a:gd name="T62" fmla="*/ 28 w 40"/>
                  <a:gd name="T63" fmla="*/ 66 h 72"/>
                  <a:gd name="T64" fmla="*/ 25 w 40"/>
                  <a:gd name="T65" fmla="*/ 70 h 72"/>
                  <a:gd name="T66" fmla="*/ 21 w 40"/>
                  <a:gd name="T67" fmla="*/ 72 h 72"/>
                  <a:gd name="T68" fmla="*/ 19 w 40"/>
                  <a:gd name="T69" fmla="*/ 68 h 72"/>
                  <a:gd name="T70" fmla="*/ 23 w 40"/>
                  <a:gd name="T71" fmla="*/ 53 h 72"/>
                  <a:gd name="T72" fmla="*/ 19 w 40"/>
                  <a:gd name="T73" fmla="*/ 47 h 72"/>
                  <a:gd name="T74" fmla="*/ 23 w 40"/>
                  <a:gd name="T75" fmla="*/ 43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13" y="38"/>
                    </a:lnTo>
                    <a:lnTo>
                      <a:pt x="6" y="15"/>
                    </a:lnTo>
                    <a:lnTo>
                      <a:pt x="2" y="9"/>
                    </a:lnTo>
                    <a:lnTo>
                      <a:pt x="0" y="4"/>
                    </a:lnTo>
                    <a:lnTo>
                      <a:pt x="0" y="0"/>
                    </a:lnTo>
                    <a:lnTo>
                      <a:pt x="4" y="4"/>
                    </a:lnTo>
                    <a:lnTo>
                      <a:pt x="8" y="9"/>
                    </a:lnTo>
                    <a:lnTo>
                      <a:pt x="13" y="9"/>
                    </a:lnTo>
                    <a:lnTo>
                      <a:pt x="19" y="9"/>
                    </a:lnTo>
                    <a:lnTo>
                      <a:pt x="23" y="9"/>
                    </a:lnTo>
                    <a:lnTo>
                      <a:pt x="25" y="13"/>
                    </a:lnTo>
                    <a:lnTo>
                      <a:pt x="30" y="19"/>
                    </a:lnTo>
                    <a:lnTo>
                      <a:pt x="36" y="30"/>
                    </a:lnTo>
                    <a:lnTo>
                      <a:pt x="38" y="36"/>
                    </a:lnTo>
                    <a:lnTo>
                      <a:pt x="34" y="32"/>
                    </a:lnTo>
                    <a:lnTo>
                      <a:pt x="32" y="26"/>
                    </a:lnTo>
                    <a:lnTo>
                      <a:pt x="28" y="21"/>
                    </a:lnTo>
                    <a:lnTo>
                      <a:pt x="25" y="15"/>
                    </a:lnTo>
                    <a:lnTo>
                      <a:pt x="19" y="13"/>
                    </a:lnTo>
                    <a:lnTo>
                      <a:pt x="21" y="17"/>
                    </a:lnTo>
                    <a:lnTo>
                      <a:pt x="23" y="23"/>
                    </a:lnTo>
                    <a:lnTo>
                      <a:pt x="30" y="32"/>
                    </a:lnTo>
                    <a:lnTo>
                      <a:pt x="36" y="36"/>
                    </a:lnTo>
                    <a:lnTo>
                      <a:pt x="36" y="43"/>
                    </a:lnTo>
                    <a:lnTo>
                      <a:pt x="36" y="47"/>
                    </a:lnTo>
                    <a:lnTo>
                      <a:pt x="40" y="51"/>
                    </a:lnTo>
                    <a:lnTo>
                      <a:pt x="36" y="55"/>
                    </a:lnTo>
                    <a:lnTo>
                      <a:pt x="30" y="51"/>
                    </a:lnTo>
                    <a:lnTo>
                      <a:pt x="34" y="58"/>
                    </a:lnTo>
                    <a:lnTo>
                      <a:pt x="32" y="62"/>
                    </a:lnTo>
                    <a:lnTo>
                      <a:pt x="28" y="66"/>
                    </a:lnTo>
                    <a:lnTo>
                      <a:pt x="25" y="70"/>
                    </a:lnTo>
                    <a:lnTo>
                      <a:pt x="21" y="72"/>
                    </a:lnTo>
                    <a:lnTo>
                      <a:pt x="19" y="68"/>
                    </a:lnTo>
                    <a:lnTo>
                      <a:pt x="23" y="53"/>
                    </a:lnTo>
                    <a:lnTo>
                      <a:pt x="19" y="47"/>
                    </a:lnTo>
                    <a:lnTo>
                      <a:pt x="23" y="43"/>
                    </a:lnTo>
                    <a:lnTo>
                      <a:pt x="1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1240"/>
              <p:cNvSpPr>
                <a:spLocks/>
              </p:cNvSpPr>
              <p:nvPr/>
            </p:nvSpPr>
            <p:spPr bwMode="auto">
              <a:xfrm>
                <a:off x="1392" y="3810"/>
                <a:ext cx="40" cy="72"/>
              </a:xfrm>
              <a:custGeom>
                <a:avLst/>
                <a:gdLst>
                  <a:gd name="T0" fmla="*/ 17 w 40"/>
                  <a:gd name="T1" fmla="*/ 47 h 72"/>
                  <a:gd name="T2" fmla="*/ 13 w 40"/>
                  <a:gd name="T3" fmla="*/ 38 h 72"/>
                  <a:gd name="T4" fmla="*/ 6 w 40"/>
                  <a:gd name="T5" fmla="*/ 15 h 72"/>
                  <a:gd name="T6" fmla="*/ 2 w 40"/>
                  <a:gd name="T7" fmla="*/ 9 h 72"/>
                  <a:gd name="T8" fmla="*/ 0 w 40"/>
                  <a:gd name="T9" fmla="*/ 4 h 72"/>
                  <a:gd name="T10" fmla="*/ 0 w 40"/>
                  <a:gd name="T11" fmla="*/ 0 h 72"/>
                  <a:gd name="T12" fmla="*/ 4 w 40"/>
                  <a:gd name="T13" fmla="*/ 4 h 72"/>
                  <a:gd name="T14" fmla="*/ 8 w 40"/>
                  <a:gd name="T15" fmla="*/ 9 h 72"/>
                  <a:gd name="T16" fmla="*/ 13 w 40"/>
                  <a:gd name="T17" fmla="*/ 9 h 72"/>
                  <a:gd name="T18" fmla="*/ 19 w 40"/>
                  <a:gd name="T19" fmla="*/ 9 h 72"/>
                  <a:gd name="T20" fmla="*/ 23 w 40"/>
                  <a:gd name="T21" fmla="*/ 9 h 72"/>
                  <a:gd name="T22" fmla="*/ 25 w 40"/>
                  <a:gd name="T23" fmla="*/ 13 h 72"/>
                  <a:gd name="T24" fmla="*/ 30 w 40"/>
                  <a:gd name="T25" fmla="*/ 19 h 72"/>
                  <a:gd name="T26" fmla="*/ 36 w 40"/>
                  <a:gd name="T27" fmla="*/ 30 h 72"/>
                  <a:gd name="T28" fmla="*/ 38 w 40"/>
                  <a:gd name="T29" fmla="*/ 36 h 72"/>
                  <a:gd name="T30" fmla="*/ 34 w 40"/>
                  <a:gd name="T31" fmla="*/ 32 h 72"/>
                  <a:gd name="T32" fmla="*/ 32 w 40"/>
                  <a:gd name="T33" fmla="*/ 26 h 72"/>
                  <a:gd name="T34" fmla="*/ 28 w 40"/>
                  <a:gd name="T35" fmla="*/ 21 h 72"/>
                  <a:gd name="T36" fmla="*/ 25 w 40"/>
                  <a:gd name="T37" fmla="*/ 15 h 72"/>
                  <a:gd name="T38" fmla="*/ 19 w 40"/>
                  <a:gd name="T39" fmla="*/ 13 h 72"/>
                  <a:gd name="T40" fmla="*/ 21 w 40"/>
                  <a:gd name="T41" fmla="*/ 17 h 72"/>
                  <a:gd name="T42" fmla="*/ 23 w 40"/>
                  <a:gd name="T43" fmla="*/ 23 h 72"/>
                  <a:gd name="T44" fmla="*/ 30 w 40"/>
                  <a:gd name="T45" fmla="*/ 32 h 72"/>
                  <a:gd name="T46" fmla="*/ 36 w 40"/>
                  <a:gd name="T47" fmla="*/ 36 h 72"/>
                  <a:gd name="T48" fmla="*/ 36 w 40"/>
                  <a:gd name="T49" fmla="*/ 43 h 72"/>
                  <a:gd name="T50" fmla="*/ 36 w 40"/>
                  <a:gd name="T51" fmla="*/ 47 h 72"/>
                  <a:gd name="T52" fmla="*/ 40 w 40"/>
                  <a:gd name="T53" fmla="*/ 51 h 72"/>
                  <a:gd name="T54" fmla="*/ 36 w 40"/>
                  <a:gd name="T55" fmla="*/ 55 h 72"/>
                  <a:gd name="T56" fmla="*/ 30 w 40"/>
                  <a:gd name="T57" fmla="*/ 51 h 72"/>
                  <a:gd name="T58" fmla="*/ 34 w 40"/>
                  <a:gd name="T59" fmla="*/ 58 h 72"/>
                  <a:gd name="T60" fmla="*/ 32 w 40"/>
                  <a:gd name="T61" fmla="*/ 62 h 72"/>
                  <a:gd name="T62" fmla="*/ 28 w 40"/>
                  <a:gd name="T63" fmla="*/ 66 h 72"/>
                  <a:gd name="T64" fmla="*/ 25 w 40"/>
                  <a:gd name="T65" fmla="*/ 70 h 72"/>
                  <a:gd name="T66" fmla="*/ 21 w 40"/>
                  <a:gd name="T67" fmla="*/ 72 h 72"/>
                  <a:gd name="T68" fmla="*/ 19 w 40"/>
                  <a:gd name="T69" fmla="*/ 68 h 72"/>
                  <a:gd name="T70" fmla="*/ 23 w 40"/>
                  <a:gd name="T71" fmla="*/ 53 h 72"/>
                  <a:gd name="T72" fmla="*/ 19 w 40"/>
                  <a:gd name="T73" fmla="*/ 47 h 72"/>
                  <a:gd name="T74" fmla="*/ 23 w 40"/>
                  <a:gd name="T75" fmla="*/ 43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13" y="38"/>
                    </a:lnTo>
                    <a:lnTo>
                      <a:pt x="6" y="15"/>
                    </a:lnTo>
                    <a:lnTo>
                      <a:pt x="2" y="9"/>
                    </a:lnTo>
                    <a:lnTo>
                      <a:pt x="0" y="4"/>
                    </a:lnTo>
                    <a:lnTo>
                      <a:pt x="0" y="0"/>
                    </a:lnTo>
                    <a:lnTo>
                      <a:pt x="4" y="4"/>
                    </a:lnTo>
                    <a:lnTo>
                      <a:pt x="8" y="9"/>
                    </a:lnTo>
                    <a:lnTo>
                      <a:pt x="13" y="9"/>
                    </a:lnTo>
                    <a:lnTo>
                      <a:pt x="19" y="9"/>
                    </a:lnTo>
                    <a:lnTo>
                      <a:pt x="23" y="9"/>
                    </a:lnTo>
                    <a:lnTo>
                      <a:pt x="25" y="13"/>
                    </a:lnTo>
                    <a:lnTo>
                      <a:pt x="30" y="19"/>
                    </a:lnTo>
                    <a:lnTo>
                      <a:pt x="36" y="30"/>
                    </a:lnTo>
                    <a:lnTo>
                      <a:pt x="38" y="36"/>
                    </a:lnTo>
                    <a:lnTo>
                      <a:pt x="34" y="32"/>
                    </a:lnTo>
                    <a:lnTo>
                      <a:pt x="32" y="26"/>
                    </a:lnTo>
                    <a:lnTo>
                      <a:pt x="28" y="21"/>
                    </a:lnTo>
                    <a:lnTo>
                      <a:pt x="25" y="15"/>
                    </a:lnTo>
                    <a:lnTo>
                      <a:pt x="19" y="13"/>
                    </a:lnTo>
                    <a:lnTo>
                      <a:pt x="21" y="17"/>
                    </a:lnTo>
                    <a:lnTo>
                      <a:pt x="23" y="23"/>
                    </a:lnTo>
                    <a:lnTo>
                      <a:pt x="30" y="32"/>
                    </a:lnTo>
                    <a:lnTo>
                      <a:pt x="36" y="36"/>
                    </a:lnTo>
                    <a:lnTo>
                      <a:pt x="36" y="43"/>
                    </a:lnTo>
                    <a:lnTo>
                      <a:pt x="36" y="47"/>
                    </a:lnTo>
                    <a:lnTo>
                      <a:pt x="40" y="51"/>
                    </a:lnTo>
                    <a:lnTo>
                      <a:pt x="36" y="55"/>
                    </a:lnTo>
                    <a:lnTo>
                      <a:pt x="30" y="51"/>
                    </a:lnTo>
                    <a:lnTo>
                      <a:pt x="34" y="58"/>
                    </a:lnTo>
                    <a:lnTo>
                      <a:pt x="32" y="62"/>
                    </a:lnTo>
                    <a:lnTo>
                      <a:pt x="28" y="66"/>
                    </a:lnTo>
                    <a:lnTo>
                      <a:pt x="25" y="70"/>
                    </a:lnTo>
                    <a:lnTo>
                      <a:pt x="21" y="72"/>
                    </a:lnTo>
                    <a:lnTo>
                      <a:pt x="19" y="68"/>
                    </a:lnTo>
                    <a:lnTo>
                      <a:pt x="23" y="53"/>
                    </a:lnTo>
                    <a:lnTo>
                      <a:pt x="19" y="47"/>
                    </a:lnTo>
                    <a:lnTo>
                      <a:pt x="23" y="43"/>
                    </a:lnTo>
                    <a:lnTo>
                      <a:pt x="17" y="4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241"/>
              <p:cNvSpPr>
                <a:spLocks/>
              </p:cNvSpPr>
              <p:nvPr/>
            </p:nvSpPr>
            <p:spPr bwMode="auto">
              <a:xfrm>
                <a:off x="1417" y="3833"/>
                <a:ext cx="5" cy="5"/>
              </a:xfrm>
              <a:custGeom>
                <a:avLst/>
                <a:gdLst>
                  <a:gd name="T0" fmla="*/ 0 w 5"/>
                  <a:gd name="T1" fmla="*/ 0 h 5"/>
                  <a:gd name="T2" fmla="*/ 5 w 5"/>
                  <a:gd name="T3" fmla="*/ 5 h 5"/>
                  <a:gd name="T4" fmla="*/ 0 w 5"/>
                  <a:gd name="T5" fmla="*/ 0 h 5"/>
                  <a:gd name="T6" fmla="*/ 0 w 5"/>
                  <a:gd name="T7" fmla="*/ 0 h 5"/>
                </a:gdLst>
                <a:ahLst/>
                <a:cxnLst>
                  <a:cxn ang="0">
                    <a:pos x="T0" y="T1"/>
                  </a:cxn>
                  <a:cxn ang="0">
                    <a:pos x="T2" y="T3"/>
                  </a:cxn>
                  <a:cxn ang="0">
                    <a:pos x="T4" y="T5"/>
                  </a:cxn>
                  <a:cxn ang="0">
                    <a:pos x="T6" y="T7"/>
                  </a:cxn>
                </a:cxnLst>
                <a:rect l="0" t="0" r="r" b="b"/>
                <a:pathLst>
                  <a:path w="5" h="5">
                    <a:moveTo>
                      <a:pt x="0" y="0"/>
                    </a:moveTo>
                    <a:lnTo>
                      <a:pt x="5" y="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1242"/>
              <p:cNvSpPr>
                <a:spLocks/>
              </p:cNvSpPr>
              <p:nvPr/>
            </p:nvSpPr>
            <p:spPr bwMode="auto">
              <a:xfrm>
                <a:off x="1417" y="3833"/>
                <a:ext cx="5" cy="5"/>
              </a:xfrm>
              <a:custGeom>
                <a:avLst/>
                <a:gdLst>
                  <a:gd name="T0" fmla="*/ 0 w 5"/>
                  <a:gd name="T1" fmla="*/ 0 h 5"/>
                  <a:gd name="T2" fmla="*/ 5 w 5"/>
                  <a:gd name="T3" fmla="*/ 5 h 5"/>
                  <a:gd name="T4" fmla="*/ 0 w 5"/>
                  <a:gd name="T5" fmla="*/ 0 h 5"/>
                  <a:gd name="T6" fmla="*/ 0 w 5"/>
                  <a:gd name="T7" fmla="*/ 0 h 5"/>
                </a:gdLst>
                <a:ahLst/>
                <a:cxnLst>
                  <a:cxn ang="0">
                    <a:pos x="T0" y="T1"/>
                  </a:cxn>
                  <a:cxn ang="0">
                    <a:pos x="T2" y="T3"/>
                  </a:cxn>
                  <a:cxn ang="0">
                    <a:pos x="T4" y="T5"/>
                  </a:cxn>
                  <a:cxn ang="0">
                    <a:pos x="T6" y="T7"/>
                  </a:cxn>
                </a:cxnLst>
                <a:rect l="0" t="0" r="r" b="b"/>
                <a:pathLst>
                  <a:path w="5" h="5">
                    <a:moveTo>
                      <a:pt x="0" y="0"/>
                    </a:moveTo>
                    <a:lnTo>
                      <a:pt x="5" y="5"/>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243"/>
              <p:cNvSpPr>
                <a:spLocks/>
              </p:cNvSpPr>
              <p:nvPr/>
            </p:nvSpPr>
            <p:spPr bwMode="auto">
              <a:xfrm>
                <a:off x="1377" y="3857"/>
                <a:ext cx="40" cy="74"/>
              </a:xfrm>
              <a:custGeom>
                <a:avLst/>
                <a:gdLst>
                  <a:gd name="T0" fmla="*/ 23 w 40"/>
                  <a:gd name="T1" fmla="*/ 55 h 74"/>
                  <a:gd name="T2" fmla="*/ 23 w 40"/>
                  <a:gd name="T3" fmla="*/ 51 h 74"/>
                  <a:gd name="T4" fmla="*/ 23 w 40"/>
                  <a:gd name="T5" fmla="*/ 47 h 74"/>
                  <a:gd name="T6" fmla="*/ 19 w 40"/>
                  <a:gd name="T7" fmla="*/ 49 h 74"/>
                  <a:gd name="T8" fmla="*/ 21 w 40"/>
                  <a:gd name="T9" fmla="*/ 45 h 74"/>
                  <a:gd name="T10" fmla="*/ 15 w 40"/>
                  <a:gd name="T11" fmla="*/ 45 h 74"/>
                  <a:gd name="T12" fmla="*/ 13 w 40"/>
                  <a:gd name="T13" fmla="*/ 34 h 74"/>
                  <a:gd name="T14" fmla="*/ 17 w 40"/>
                  <a:gd name="T15" fmla="*/ 30 h 74"/>
                  <a:gd name="T16" fmla="*/ 13 w 40"/>
                  <a:gd name="T17" fmla="*/ 28 h 74"/>
                  <a:gd name="T18" fmla="*/ 9 w 40"/>
                  <a:gd name="T19" fmla="*/ 23 h 74"/>
                  <a:gd name="T20" fmla="*/ 11 w 40"/>
                  <a:gd name="T21" fmla="*/ 17 h 74"/>
                  <a:gd name="T22" fmla="*/ 4 w 40"/>
                  <a:gd name="T23" fmla="*/ 19 h 74"/>
                  <a:gd name="T24" fmla="*/ 0 w 40"/>
                  <a:gd name="T25" fmla="*/ 15 h 74"/>
                  <a:gd name="T26" fmla="*/ 2 w 40"/>
                  <a:gd name="T27" fmla="*/ 11 h 74"/>
                  <a:gd name="T28" fmla="*/ 6 w 40"/>
                  <a:gd name="T29" fmla="*/ 0 h 74"/>
                  <a:gd name="T30" fmla="*/ 11 w 40"/>
                  <a:gd name="T31" fmla="*/ 2 h 74"/>
                  <a:gd name="T32" fmla="*/ 6 w 40"/>
                  <a:gd name="T33" fmla="*/ 6 h 74"/>
                  <a:gd name="T34" fmla="*/ 13 w 40"/>
                  <a:gd name="T35" fmla="*/ 4 h 74"/>
                  <a:gd name="T36" fmla="*/ 21 w 40"/>
                  <a:gd name="T37" fmla="*/ 11 h 74"/>
                  <a:gd name="T38" fmla="*/ 23 w 40"/>
                  <a:gd name="T39" fmla="*/ 15 h 74"/>
                  <a:gd name="T40" fmla="*/ 28 w 40"/>
                  <a:gd name="T41" fmla="*/ 19 h 74"/>
                  <a:gd name="T42" fmla="*/ 36 w 40"/>
                  <a:gd name="T43" fmla="*/ 43 h 74"/>
                  <a:gd name="T44" fmla="*/ 40 w 40"/>
                  <a:gd name="T45" fmla="*/ 53 h 74"/>
                  <a:gd name="T46" fmla="*/ 38 w 40"/>
                  <a:gd name="T47" fmla="*/ 57 h 74"/>
                  <a:gd name="T48" fmla="*/ 40 w 40"/>
                  <a:gd name="T49" fmla="*/ 68 h 74"/>
                  <a:gd name="T50" fmla="*/ 40 w 40"/>
                  <a:gd name="T51" fmla="*/ 74 h 74"/>
                  <a:gd name="T52" fmla="*/ 36 w 40"/>
                  <a:gd name="T53" fmla="*/ 70 h 74"/>
                  <a:gd name="T54" fmla="*/ 32 w 40"/>
                  <a:gd name="T55" fmla="*/ 66 h 74"/>
                  <a:gd name="T56" fmla="*/ 28 w 40"/>
                  <a:gd name="T57" fmla="*/ 62 h 74"/>
                  <a:gd name="T58" fmla="*/ 26 w 40"/>
                  <a:gd name="T59" fmla="*/ 55 h 74"/>
                  <a:gd name="T60" fmla="*/ 26 w 40"/>
                  <a:gd name="T61" fmla="*/ 49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3" y="51"/>
                    </a:lnTo>
                    <a:lnTo>
                      <a:pt x="23" y="47"/>
                    </a:lnTo>
                    <a:lnTo>
                      <a:pt x="19" y="49"/>
                    </a:lnTo>
                    <a:lnTo>
                      <a:pt x="21" y="45"/>
                    </a:lnTo>
                    <a:lnTo>
                      <a:pt x="15" y="45"/>
                    </a:lnTo>
                    <a:lnTo>
                      <a:pt x="13" y="34"/>
                    </a:lnTo>
                    <a:lnTo>
                      <a:pt x="17" y="30"/>
                    </a:lnTo>
                    <a:lnTo>
                      <a:pt x="13" y="28"/>
                    </a:lnTo>
                    <a:lnTo>
                      <a:pt x="9" y="23"/>
                    </a:lnTo>
                    <a:lnTo>
                      <a:pt x="11" y="17"/>
                    </a:lnTo>
                    <a:lnTo>
                      <a:pt x="4" y="19"/>
                    </a:lnTo>
                    <a:lnTo>
                      <a:pt x="0" y="15"/>
                    </a:lnTo>
                    <a:lnTo>
                      <a:pt x="2" y="11"/>
                    </a:lnTo>
                    <a:lnTo>
                      <a:pt x="6" y="0"/>
                    </a:lnTo>
                    <a:lnTo>
                      <a:pt x="11" y="2"/>
                    </a:lnTo>
                    <a:lnTo>
                      <a:pt x="6" y="6"/>
                    </a:lnTo>
                    <a:lnTo>
                      <a:pt x="13" y="4"/>
                    </a:lnTo>
                    <a:lnTo>
                      <a:pt x="21" y="11"/>
                    </a:lnTo>
                    <a:lnTo>
                      <a:pt x="23" y="15"/>
                    </a:lnTo>
                    <a:lnTo>
                      <a:pt x="28" y="19"/>
                    </a:lnTo>
                    <a:lnTo>
                      <a:pt x="36" y="43"/>
                    </a:lnTo>
                    <a:lnTo>
                      <a:pt x="40" y="53"/>
                    </a:lnTo>
                    <a:lnTo>
                      <a:pt x="38" y="57"/>
                    </a:lnTo>
                    <a:lnTo>
                      <a:pt x="40" y="68"/>
                    </a:lnTo>
                    <a:lnTo>
                      <a:pt x="40" y="74"/>
                    </a:lnTo>
                    <a:lnTo>
                      <a:pt x="36" y="70"/>
                    </a:lnTo>
                    <a:lnTo>
                      <a:pt x="32" y="66"/>
                    </a:lnTo>
                    <a:lnTo>
                      <a:pt x="28" y="62"/>
                    </a:lnTo>
                    <a:lnTo>
                      <a:pt x="26" y="55"/>
                    </a:lnTo>
                    <a:lnTo>
                      <a:pt x="26" y="49"/>
                    </a:lnTo>
                    <a:lnTo>
                      <a:pt x="23"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1244"/>
              <p:cNvSpPr>
                <a:spLocks/>
              </p:cNvSpPr>
              <p:nvPr/>
            </p:nvSpPr>
            <p:spPr bwMode="auto">
              <a:xfrm>
                <a:off x="1377" y="3857"/>
                <a:ext cx="40" cy="74"/>
              </a:xfrm>
              <a:custGeom>
                <a:avLst/>
                <a:gdLst>
                  <a:gd name="T0" fmla="*/ 23 w 40"/>
                  <a:gd name="T1" fmla="*/ 55 h 74"/>
                  <a:gd name="T2" fmla="*/ 23 w 40"/>
                  <a:gd name="T3" fmla="*/ 51 h 74"/>
                  <a:gd name="T4" fmla="*/ 23 w 40"/>
                  <a:gd name="T5" fmla="*/ 47 h 74"/>
                  <a:gd name="T6" fmla="*/ 19 w 40"/>
                  <a:gd name="T7" fmla="*/ 49 h 74"/>
                  <a:gd name="T8" fmla="*/ 21 w 40"/>
                  <a:gd name="T9" fmla="*/ 45 h 74"/>
                  <a:gd name="T10" fmla="*/ 15 w 40"/>
                  <a:gd name="T11" fmla="*/ 45 h 74"/>
                  <a:gd name="T12" fmla="*/ 13 w 40"/>
                  <a:gd name="T13" fmla="*/ 34 h 74"/>
                  <a:gd name="T14" fmla="*/ 17 w 40"/>
                  <a:gd name="T15" fmla="*/ 30 h 74"/>
                  <a:gd name="T16" fmla="*/ 13 w 40"/>
                  <a:gd name="T17" fmla="*/ 28 h 74"/>
                  <a:gd name="T18" fmla="*/ 9 w 40"/>
                  <a:gd name="T19" fmla="*/ 23 h 74"/>
                  <a:gd name="T20" fmla="*/ 11 w 40"/>
                  <a:gd name="T21" fmla="*/ 17 h 74"/>
                  <a:gd name="T22" fmla="*/ 4 w 40"/>
                  <a:gd name="T23" fmla="*/ 19 h 74"/>
                  <a:gd name="T24" fmla="*/ 0 w 40"/>
                  <a:gd name="T25" fmla="*/ 15 h 74"/>
                  <a:gd name="T26" fmla="*/ 2 w 40"/>
                  <a:gd name="T27" fmla="*/ 11 h 74"/>
                  <a:gd name="T28" fmla="*/ 6 w 40"/>
                  <a:gd name="T29" fmla="*/ 0 h 74"/>
                  <a:gd name="T30" fmla="*/ 11 w 40"/>
                  <a:gd name="T31" fmla="*/ 2 h 74"/>
                  <a:gd name="T32" fmla="*/ 6 w 40"/>
                  <a:gd name="T33" fmla="*/ 6 h 74"/>
                  <a:gd name="T34" fmla="*/ 13 w 40"/>
                  <a:gd name="T35" fmla="*/ 4 h 74"/>
                  <a:gd name="T36" fmla="*/ 21 w 40"/>
                  <a:gd name="T37" fmla="*/ 11 h 74"/>
                  <a:gd name="T38" fmla="*/ 23 w 40"/>
                  <a:gd name="T39" fmla="*/ 15 h 74"/>
                  <a:gd name="T40" fmla="*/ 28 w 40"/>
                  <a:gd name="T41" fmla="*/ 19 h 74"/>
                  <a:gd name="T42" fmla="*/ 36 w 40"/>
                  <a:gd name="T43" fmla="*/ 43 h 74"/>
                  <a:gd name="T44" fmla="*/ 40 w 40"/>
                  <a:gd name="T45" fmla="*/ 53 h 74"/>
                  <a:gd name="T46" fmla="*/ 38 w 40"/>
                  <a:gd name="T47" fmla="*/ 57 h 74"/>
                  <a:gd name="T48" fmla="*/ 40 w 40"/>
                  <a:gd name="T49" fmla="*/ 68 h 74"/>
                  <a:gd name="T50" fmla="*/ 40 w 40"/>
                  <a:gd name="T51" fmla="*/ 74 h 74"/>
                  <a:gd name="T52" fmla="*/ 36 w 40"/>
                  <a:gd name="T53" fmla="*/ 70 h 74"/>
                  <a:gd name="T54" fmla="*/ 32 w 40"/>
                  <a:gd name="T55" fmla="*/ 66 h 74"/>
                  <a:gd name="T56" fmla="*/ 28 w 40"/>
                  <a:gd name="T57" fmla="*/ 62 h 74"/>
                  <a:gd name="T58" fmla="*/ 26 w 40"/>
                  <a:gd name="T59" fmla="*/ 55 h 74"/>
                  <a:gd name="T60" fmla="*/ 26 w 40"/>
                  <a:gd name="T61" fmla="*/ 49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3" y="51"/>
                    </a:lnTo>
                    <a:lnTo>
                      <a:pt x="23" y="47"/>
                    </a:lnTo>
                    <a:lnTo>
                      <a:pt x="19" y="49"/>
                    </a:lnTo>
                    <a:lnTo>
                      <a:pt x="21" y="45"/>
                    </a:lnTo>
                    <a:lnTo>
                      <a:pt x="15" y="45"/>
                    </a:lnTo>
                    <a:lnTo>
                      <a:pt x="13" y="34"/>
                    </a:lnTo>
                    <a:lnTo>
                      <a:pt x="17" y="30"/>
                    </a:lnTo>
                    <a:lnTo>
                      <a:pt x="13" y="28"/>
                    </a:lnTo>
                    <a:lnTo>
                      <a:pt x="9" y="23"/>
                    </a:lnTo>
                    <a:lnTo>
                      <a:pt x="11" y="17"/>
                    </a:lnTo>
                    <a:lnTo>
                      <a:pt x="4" y="19"/>
                    </a:lnTo>
                    <a:lnTo>
                      <a:pt x="0" y="15"/>
                    </a:lnTo>
                    <a:lnTo>
                      <a:pt x="2" y="11"/>
                    </a:lnTo>
                    <a:lnTo>
                      <a:pt x="6" y="0"/>
                    </a:lnTo>
                    <a:lnTo>
                      <a:pt x="11" y="2"/>
                    </a:lnTo>
                    <a:lnTo>
                      <a:pt x="6" y="6"/>
                    </a:lnTo>
                    <a:lnTo>
                      <a:pt x="13" y="4"/>
                    </a:lnTo>
                    <a:lnTo>
                      <a:pt x="21" y="11"/>
                    </a:lnTo>
                    <a:lnTo>
                      <a:pt x="23" y="15"/>
                    </a:lnTo>
                    <a:lnTo>
                      <a:pt x="28" y="19"/>
                    </a:lnTo>
                    <a:lnTo>
                      <a:pt x="36" y="43"/>
                    </a:lnTo>
                    <a:lnTo>
                      <a:pt x="40" y="53"/>
                    </a:lnTo>
                    <a:lnTo>
                      <a:pt x="38" y="57"/>
                    </a:lnTo>
                    <a:lnTo>
                      <a:pt x="40" y="68"/>
                    </a:lnTo>
                    <a:lnTo>
                      <a:pt x="40" y="74"/>
                    </a:lnTo>
                    <a:lnTo>
                      <a:pt x="36" y="70"/>
                    </a:lnTo>
                    <a:lnTo>
                      <a:pt x="32" y="66"/>
                    </a:lnTo>
                    <a:lnTo>
                      <a:pt x="28" y="62"/>
                    </a:lnTo>
                    <a:lnTo>
                      <a:pt x="26" y="55"/>
                    </a:lnTo>
                    <a:lnTo>
                      <a:pt x="26" y="49"/>
                    </a:lnTo>
                    <a:lnTo>
                      <a:pt x="23" y="5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245"/>
              <p:cNvSpPr>
                <a:spLocks/>
              </p:cNvSpPr>
              <p:nvPr/>
            </p:nvSpPr>
            <p:spPr bwMode="auto">
              <a:xfrm>
                <a:off x="1422" y="3889"/>
                <a:ext cx="21" cy="51"/>
              </a:xfrm>
              <a:custGeom>
                <a:avLst/>
                <a:gdLst>
                  <a:gd name="T0" fmla="*/ 15 w 21"/>
                  <a:gd name="T1" fmla="*/ 51 h 51"/>
                  <a:gd name="T2" fmla="*/ 10 w 21"/>
                  <a:gd name="T3" fmla="*/ 45 h 51"/>
                  <a:gd name="T4" fmla="*/ 8 w 21"/>
                  <a:gd name="T5" fmla="*/ 34 h 51"/>
                  <a:gd name="T6" fmla="*/ 8 w 21"/>
                  <a:gd name="T7" fmla="*/ 30 h 51"/>
                  <a:gd name="T8" fmla="*/ 15 w 21"/>
                  <a:gd name="T9" fmla="*/ 28 h 51"/>
                  <a:gd name="T10" fmla="*/ 6 w 21"/>
                  <a:gd name="T11" fmla="*/ 19 h 51"/>
                  <a:gd name="T12" fmla="*/ 8 w 21"/>
                  <a:gd name="T13" fmla="*/ 15 h 51"/>
                  <a:gd name="T14" fmla="*/ 4 w 21"/>
                  <a:gd name="T15" fmla="*/ 15 h 51"/>
                  <a:gd name="T16" fmla="*/ 0 w 21"/>
                  <a:gd name="T17" fmla="*/ 11 h 51"/>
                  <a:gd name="T18" fmla="*/ 4 w 21"/>
                  <a:gd name="T19" fmla="*/ 6 h 51"/>
                  <a:gd name="T20" fmla="*/ 2 w 21"/>
                  <a:gd name="T21" fmla="*/ 2 h 51"/>
                  <a:gd name="T22" fmla="*/ 8 w 21"/>
                  <a:gd name="T23" fmla="*/ 2 h 51"/>
                  <a:gd name="T24" fmla="*/ 4 w 21"/>
                  <a:gd name="T25" fmla="*/ 0 h 51"/>
                  <a:gd name="T26" fmla="*/ 8 w 21"/>
                  <a:gd name="T27" fmla="*/ 0 h 51"/>
                  <a:gd name="T28" fmla="*/ 13 w 21"/>
                  <a:gd name="T29" fmla="*/ 4 h 51"/>
                  <a:gd name="T30" fmla="*/ 15 w 21"/>
                  <a:gd name="T31" fmla="*/ 8 h 51"/>
                  <a:gd name="T32" fmla="*/ 15 w 21"/>
                  <a:gd name="T33" fmla="*/ 15 h 51"/>
                  <a:gd name="T34" fmla="*/ 17 w 21"/>
                  <a:gd name="T35" fmla="*/ 11 h 51"/>
                  <a:gd name="T36" fmla="*/ 15 w 21"/>
                  <a:gd name="T37" fmla="*/ 4 h 51"/>
                  <a:gd name="T38" fmla="*/ 21 w 21"/>
                  <a:gd name="T39" fmla="*/ 8 h 51"/>
                  <a:gd name="T40" fmla="*/ 21 w 21"/>
                  <a:gd name="T41" fmla="*/ 13 h 51"/>
                  <a:gd name="T42" fmla="*/ 19 w 21"/>
                  <a:gd name="T43" fmla="*/ 17 h 51"/>
                  <a:gd name="T44" fmla="*/ 19 w 21"/>
                  <a:gd name="T45" fmla="*/ 28 h 51"/>
                  <a:gd name="T46" fmla="*/ 17 w 21"/>
                  <a:gd name="T47" fmla="*/ 32 h 51"/>
                  <a:gd name="T48" fmla="*/ 19 w 21"/>
                  <a:gd name="T49" fmla="*/ 38 h 51"/>
                  <a:gd name="T50" fmla="*/ 17 w 21"/>
                  <a:gd name="T51" fmla="*/ 42 h 51"/>
                  <a:gd name="T52" fmla="*/ 15 w 21"/>
                  <a:gd name="T53" fmla="*/ 38 h 51"/>
                  <a:gd name="T54" fmla="*/ 10 w 21"/>
                  <a:gd name="T55" fmla="*/ 42 h 51"/>
                  <a:gd name="T56" fmla="*/ 15 w 21"/>
                  <a:gd name="T57" fmla="*/ 47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0" y="45"/>
                    </a:lnTo>
                    <a:lnTo>
                      <a:pt x="8" y="34"/>
                    </a:lnTo>
                    <a:lnTo>
                      <a:pt x="8" y="30"/>
                    </a:lnTo>
                    <a:lnTo>
                      <a:pt x="15" y="28"/>
                    </a:lnTo>
                    <a:lnTo>
                      <a:pt x="6" y="19"/>
                    </a:lnTo>
                    <a:lnTo>
                      <a:pt x="8" y="15"/>
                    </a:lnTo>
                    <a:lnTo>
                      <a:pt x="4" y="15"/>
                    </a:lnTo>
                    <a:lnTo>
                      <a:pt x="0" y="11"/>
                    </a:lnTo>
                    <a:lnTo>
                      <a:pt x="4" y="6"/>
                    </a:lnTo>
                    <a:lnTo>
                      <a:pt x="2" y="2"/>
                    </a:lnTo>
                    <a:lnTo>
                      <a:pt x="8" y="2"/>
                    </a:lnTo>
                    <a:lnTo>
                      <a:pt x="4" y="0"/>
                    </a:lnTo>
                    <a:lnTo>
                      <a:pt x="8" y="0"/>
                    </a:lnTo>
                    <a:lnTo>
                      <a:pt x="13" y="4"/>
                    </a:lnTo>
                    <a:lnTo>
                      <a:pt x="15" y="8"/>
                    </a:lnTo>
                    <a:lnTo>
                      <a:pt x="15" y="15"/>
                    </a:lnTo>
                    <a:lnTo>
                      <a:pt x="17" y="11"/>
                    </a:lnTo>
                    <a:lnTo>
                      <a:pt x="15" y="4"/>
                    </a:lnTo>
                    <a:lnTo>
                      <a:pt x="21" y="8"/>
                    </a:lnTo>
                    <a:lnTo>
                      <a:pt x="21" y="13"/>
                    </a:lnTo>
                    <a:lnTo>
                      <a:pt x="19" y="17"/>
                    </a:lnTo>
                    <a:lnTo>
                      <a:pt x="19" y="28"/>
                    </a:lnTo>
                    <a:lnTo>
                      <a:pt x="17" y="32"/>
                    </a:lnTo>
                    <a:lnTo>
                      <a:pt x="19" y="38"/>
                    </a:lnTo>
                    <a:lnTo>
                      <a:pt x="17" y="42"/>
                    </a:lnTo>
                    <a:lnTo>
                      <a:pt x="15" y="38"/>
                    </a:lnTo>
                    <a:lnTo>
                      <a:pt x="10" y="42"/>
                    </a:lnTo>
                    <a:lnTo>
                      <a:pt x="15" y="47"/>
                    </a:lnTo>
                    <a:lnTo>
                      <a:pt x="15"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1246"/>
              <p:cNvSpPr>
                <a:spLocks/>
              </p:cNvSpPr>
              <p:nvPr/>
            </p:nvSpPr>
            <p:spPr bwMode="auto">
              <a:xfrm>
                <a:off x="1422" y="3889"/>
                <a:ext cx="21" cy="51"/>
              </a:xfrm>
              <a:custGeom>
                <a:avLst/>
                <a:gdLst>
                  <a:gd name="T0" fmla="*/ 15 w 21"/>
                  <a:gd name="T1" fmla="*/ 51 h 51"/>
                  <a:gd name="T2" fmla="*/ 10 w 21"/>
                  <a:gd name="T3" fmla="*/ 45 h 51"/>
                  <a:gd name="T4" fmla="*/ 8 w 21"/>
                  <a:gd name="T5" fmla="*/ 34 h 51"/>
                  <a:gd name="T6" fmla="*/ 8 w 21"/>
                  <a:gd name="T7" fmla="*/ 30 h 51"/>
                  <a:gd name="T8" fmla="*/ 15 w 21"/>
                  <a:gd name="T9" fmla="*/ 28 h 51"/>
                  <a:gd name="T10" fmla="*/ 6 w 21"/>
                  <a:gd name="T11" fmla="*/ 19 h 51"/>
                  <a:gd name="T12" fmla="*/ 8 w 21"/>
                  <a:gd name="T13" fmla="*/ 15 h 51"/>
                  <a:gd name="T14" fmla="*/ 4 w 21"/>
                  <a:gd name="T15" fmla="*/ 15 h 51"/>
                  <a:gd name="T16" fmla="*/ 0 w 21"/>
                  <a:gd name="T17" fmla="*/ 11 h 51"/>
                  <a:gd name="T18" fmla="*/ 4 w 21"/>
                  <a:gd name="T19" fmla="*/ 6 h 51"/>
                  <a:gd name="T20" fmla="*/ 2 w 21"/>
                  <a:gd name="T21" fmla="*/ 2 h 51"/>
                  <a:gd name="T22" fmla="*/ 8 w 21"/>
                  <a:gd name="T23" fmla="*/ 2 h 51"/>
                  <a:gd name="T24" fmla="*/ 4 w 21"/>
                  <a:gd name="T25" fmla="*/ 0 h 51"/>
                  <a:gd name="T26" fmla="*/ 8 w 21"/>
                  <a:gd name="T27" fmla="*/ 0 h 51"/>
                  <a:gd name="T28" fmla="*/ 13 w 21"/>
                  <a:gd name="T29" fmla="*/ 4 h 51"/>
                  <a:gd name="T30" fmla="*/ 15 w 21"/>
                  <a:gd name="T31" fmla="*/ 8 h 51"/>
                  <a:gd name="T32" fmla="*/ 15 w 21"/>
                  <a:gd name="T33" fmla="*/ 15 h 51"/>
                  <a:gd name="T34" fmla="*/ 17 w 21"/>
                  <a:gd name="T35" fmla="*/ 11 h 51"/>
                  <a:gd name="T36" fmla="*/ 15 w 21"/>
                  <a:gd name="T37" fmla="*/ 4 h 51"/>
                  <a:gd name="T38" fmla="*/ 21 w 21"/>
                  <a:gd name="T39" fmla="*/ 8 h 51"/>
                  <a:gd name="T40" fmla="*/ 21 w 21"/>
                  <a:gd name="T41" fmla="*/ 13 h 51"/>
                  <a:gd name="T42" fmla="*/ 19 w 21"/>
                  <a:gd name="T43" fmla="*/ 17 h 51"/>
                  <a:gd name="T44" fmla="*/ 19 w 21"/>
                  <a:gd name="T45" fmla="*/ 28 h 51"/>
                  <a:gd name="T46" fmla="*/ 17 w 21"/>
                  <a:gd name="T47" fmla="*/ 32 h 51"/>
                  <a:gd name="T48" fmla="*/ 19 w 21"/>
                  <a:gd name="T49" fmla="*/ 38 h 51"/>
                  <a:gd name="T50" fmla="*/ 17 w 21"/>
                  <a:gd name="T51" fmla="*/ 42 h 51"/>
                  <a:gd name="T52" fmla="*/ 15 w 21"/>
                  <a:gd name="T53" fmla="*/ 38 h 51"/>
                  <a:gd name="T54" fmla="*/ 10 w 21"/>
                  <a:gd name="T55" fmla="*/ 42 h 51"/>
                  <a:gd name="T56" fmla="*/ 15 w 21"/>
                  <a:gd name="T57" fmla="*/ 47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0" y="45"/>
                    </a:lnTo>
                    <a:lnTo>
                      <a:pt x="8" y="34"/>
                    </a:lnTo>
                    <a:lnTo>
                      <a:pt x="8" y="30"/>
                    </a:lnTo>
                    <a:lnTo>
                      <a:pt x="15" y="28"/>
                    </a:lnTo>
                    <a:lnTo>
                      <a:pt x="6" y="19"/>
                    </a:lnTo>
                    <a:lnTo>
                      <a:pt x="8" y="15"/>
                    </a:lnTo>
                    <a:lnTo>
                      <a:pt x="4" y="15"/>
                    </a:lnTo>
                    <a:lnTo>
                      <a:pt x="0" y="11"/>
                    </a:lnTo>
                    <a:lnTo>
                      <a:pt x="4" y="6"/>
                    </a:lnTo>
                    <a:lnTo>
                      <a:pt x="2" y="2"/>
                    </a:lnTo>
                    <a:lnTo>
                      <a:pt x="8" y="2"/>
                    </a:lnTo>
                    <a:lnTo>
                      <a:pt x="4" y="0"/>
                    </a:lnTo>
                    <a:lnTo>
                      <a:pt x="8" y="0"/>
                    </a:lnTo>
                    <a:lnTo>
                      <a:pt x="13" y="4"/>
                    </a:lnTo>
                    <a:lnTo>
                      <a:pt x="15" y="8"/>
                    </a:lnTo>
                    <a:lnTo>
                      <a:pt x="15" y="15"/>
                    </a:lnTo>
                    <a:lnTo>
                      <a:pt x="17" y="11"/>
                    </a:lnTo>
                    <a:lnTo>
                      <a:pt x="15" y="4"/>
                    </a:lnTo>
                    <a:lnTo>
                      <a:pt x="21" y="8"/>
                    </a:lnTo>
                    <a:lnTo>
                      <a:pt x="21" y="13"/>
                    </a:lnTo>
                    <a:lnTo>
                      <a:pt x="19" y="17"/>
                    </a:lnTo>
                    <a:lnTo>
                      <a:pt x="19" y="28"/>
                    </a:lnTo>
                    <a:lnTo>
                      <a:pt x="17" y="32"/>
                    </a:lnTo>
                    <a:lnTo>
                      <a:pt x="19" y="38"/>
                    </a:lnTo>
                    <a:lnTo>
                      <a:pt x="17" y="42"/>
                    </a:lnTo>
                    <a:lnTo>
                      <a:pt x="15" y="38"/>
                    </a:lnTo>
                    <a:lnTo>
                      <a:pt x="10" y="42"/>
                    </a:lnTo>
                    <a:lnTo>
                      <a:pt x="15" y="47"/>
                    </a:lnTo>
                    <a:lnTo>
                      <a:pt x="15" y="5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9" name="Freeform 1247"/>
              <p:cNvSpPr>
                <a:spLocks/>
              </p:cNvSpPr>
              <p:nvPr/>
            </p:nvSpPr>
            <p:spPr bwMode="auto">
              <a:xfrm>
                <a:off x="1430" y="3946"/>
                <a:ext cx="9" cy="5"/>
              </a:xfrm>
              <a:custGeom>
                <a:avLst/>
                <a:gdLst>
                  <a:gd name="T0" fmla="*/ 9 w 9"/>
                  <a:gd name="T1" fmla="*/ 0 h 5"/>
                  <a:gd name="T2" fmla="*/ 5 w 9"/>
                  <a:gd name="T3" fmla="*/ 5 h 5"/>
                  <a:gd name="T4" fmla="*/ 0 w 9"/>
                  <a:gd name="T5" fmla="*/ 0 h 5"/>
                  <a:gd name="T6" fmla="*/ 9 w 9"/>
                  <a:gd name="T7" fmla="*/ 0 h 5"/>
                </a:gdLst>
                <a:ahLst/>
                <a:cxnLst>
                  <a:cxn ang="0">
                    <a:pos x="T0" y="T1"/>
                  </a:cxn>
                  <a:cxn ang="0">
                    <a:pos x="T2" y="T3"/>
                  </a:cxn>
                  <a:cxn ang="0">
                    <a:pos x="T4" y="T5"/>
                  </a:cxn>
                  <a:cxn ang="0">
                    <a:pos x="T6" y="T7"/>
                  </a:cxn>
                </a:cxnLst>
                <a:rect l="0" t="0" r="r" b="b"/>
                <a:pathLst>
                  <a:path w="9" h="5">
                    <a:moveTo>
                      <a:pt x="9" y="0"/>
                    </a:moveTo>
                    <a:lnTo>
                      <a:pt x="5" y="5"/>
                    </a:lnTo>
                    <a:lnTo>
                      <a:pt x="0"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1248"/>
              <p:cNvSpPr>
                <a:spLocks/>
              </p:cNvSpPr>
              <p:nvPr/>
            </p:nvSpPr>
            <p:spPr bwMode="auto">
              <a:xfrm>
                <a:off x="1430" y="3946"/>
                <a:ext cx="9" cy="5"/>
              </a:xfrm>
              <a:custGeom>
                <a:avLst/>
                <a:gdLst>
                  <a:gd name="T0" fmla="*/ 9 w 9"/>
                  <a:gd name="T1" fmla="*/ 0 h 5"/>
                  <a:gd name="T2" fmla="*/ 5 w 9"/>
                  <a:gd name="T3" fmla="*/ 5 h 5"/>
                  <a:gd name="T4" fmla="*/ 0 w 9"/>
                  <a:gd name="T5" fmla="*/ 0 h 5"/>
                  <a:gd name="T6" fmla="*/ 9 w 9"/>
                  <a:gd name="T7" fmla="*/ 0 h 5"/>
                </a:gdLst>
                <a:ahLst/>
                <a:cxnLst>
                  <a:cxn ang="0">
                    <a:pos x="T0" y="T1"/>
                  </a:cxn>
                  <a:cxn ang="0">
                    <a:pos x="T2" y="T3"/>
                  </a:cxn>
                  <a:cxn ang="0">
                    <a:pos x="T4" y="T5"/>
                  </a:cxn>
                  <a:cxn ang="0">
                    <a:pos x="T6" y="T7"/>
                  </a:cxn>
                </a:cxnLst>
                <a:rect l="0" t="0" r="r" b="b"/>
                <a:pathLst>
                  <a:path w="9" h="5">
                    <a:moveTo>
                      <a:pt x="9" y="0"/>
                    </a:moveTo>
                    <a:lnTo>
                      <a:pt x="5" y="5"/>
                    </a:lnTo>
                    <a:lnTo>
                      <a:pt x="0" y="0"/>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249"/>
              <p:cNvSpPr>
                <a:spLocks/>
              </p:cNvSpPr>
              <p:nvPr/>
            </p:nvSpPr>
            <p:spPr bwMode="auto">
              <a:xfrm>
                <a:off x="1430" y="3878"/>
                <a:ext cx="39" cy="34"/>
              </a:xfrm>
              <a:custGeom>
                <a:avLst/>
                <a:gdLst>
                  <a:gd name="T0" fmla="*/ 22 w 39"/>
                  <a:gd name="T1" fmla="*/ 34 h 34"/>
                  <a:gd name="T2" fmla="*/ 17 w 39"/>
                  <a:gd name="T3" fmla="*/ 32 h 34"/>
                  <a:gd name="T4" fmla="*/ 17 w 39"/>
                  <a:gd name="T5" fmla="*/ 26 h 34"/>
                  <a:gd name="T6" fmla="*/ 11 w 39"/>
                  <a:gd name="T7" fmla="*/ 15 h 34"/>
                  <a:gd name="T8" fmla="*/ 9 w 39"/>
                  <a:gd name="T9" fmla="*/ 9 h 34"/>
                  <a:gd name="T10" fmla="*/ 5 w 39"/>
                  <a:gd name="T11" fmla="*/ 7 h 34"/>
                  <a:gd name="T12" fmla="*/ 0 w 39"/>
                  <a:gd name="T13" fmla="*/ 2 h 34"/>
                  <a:gd name="T14" fmla="*/ 7 w 39"/>
                  <a:gd name="T15" fmla="*/ 0 h 34"/>
                  <a:gd name="T16" fmla="*/ 17 w 39"/>
                  <a:gd name="T17" fmla="*/ 0 h 34"/>
                  <a:gd name="T18" fmla="*/ 22 w 39"/>
                  <a:gd name="T19" fmla="*/ 2 h 34"/>
                  <a:gd name="T20" fmla="*/ 26 w 39"/>
                  <a:gd name="T21" fmla="*/ 4 h 34"/>
                  <a:gd name="T22" fmla="*/ 28 w 39"/>
                  <a:gd name="T23" fmla="*/ 0 h 34"/>
                  <a:gd name="T24" fmla="*/ 32 w 39"/>
                  <a:gd name="T25" fmla="*/ 2 h 34"/>
                  <a:gd name="T26" fmla="*/ 36 w 39"/>
                  <a:gd name="T27" fmla="*/ 7 h 34"/>
                  <a:gd name="T28" fmla="*/ 34 w 39"/>
                  <a:gd name="T29" fmla="*/ 11 h 34"/>
                  <a:gd name="T30" fmla="*/ 36 w 39"/>
                  <a:gd name="T31" fmla="*/ 17 h 34"/>
                  <a:gd name="T32" fmla="*/ 39 w 39"/>
                  <a:gd name="T33" fmla="*/ 22 h 34"/>
                  <a:gd name="T34" fmla="*/ 32 w 39"/>
                  <a:gd name="T35" fmla="*/ 19 h 34"/>
                  <a:gd name="T36" fmla="*/ 28 w 39"/>
                  <a:gd name="T37" fmla="*/ 15 h 34"/>
                  <a:gd name="T38" fmla="*/ 24 w 39"/>
                  <a:gd name="T39" fmla="*/ 13 h 34"/>
                  <a:gd name="T40" fmla="*/ 28 w 39"/>
                  <a:gd name="T41" fmla="*/ 15 h 34"/>
                  <a:gd name="T42" fmla="*/ 34 w 39"/>
                  <a:gd name="T43" fmla="*/ 28 h 34"/>
                  <a:gd name="T44" fmla="*/ 30 w 39"/>
                  <a:gd name="T45" fmla="*/ 30 h 34"/>
                  <a:gd name="T46" fmla="*/ 24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17" y="32"/>
                    </a:lnTo>
                    <a:lnTo>
                      <a:pt x="17" y="26"/>
                    </a:lnTo>
                    <a:lnTo>
                      <a:pt x="11" y="15"/>
                    </a:lnTo>
                    <a:lnTo>
                      <a:pt x="9" y="9"/>
                    </a:lnTo>
                    <a:lnTo>
                      <a:pt x="5" y="7"/>
                    </a:lnTo>
                    <a:lnTo>
                      <a:pt x="0" y="2"/>
                    </a:lnTo>
                    <a:lnTo>
                      <a:pt x="7" y="0"/>
                    </a:lnTo>
                    <a:lnTo>
                      <a:pt x="17" y="0"/>
                    </a:lnTo>
                    <a:lnTo>
                      <a:pt x="22" y="2"/>
                    </a:lnTo>
                    <a:lnTo>
                      <a:pt x="26" y="4"/>
                    </a:lnTo>
                    <a:lnTo>
                      <a:pt x="28" y="0"/>
                    </a:lnTo>
                    <a:lnTo>
                      <a:pt x="32" y="2"/>
                    </a:lnTo>
                    <a:lnTo>
                      <a:pt x="36" y="7"/>
                    </a:lnTo>
                    <a:lnTo>
                      <a:pt x="34" y="11"/>
                    </a:lnTo>
                    <a:lnTo>
                      <a:pt x="36" y="17"/>
                    </a:lnTo>
                    <a:lnTo>
                      <a:pt x="39" y="22"/>
                    </a:lnTo>
                    <a:lnTo>
                      <a:pt x="32" y="19"/>
                    </a:lnTo>
                    <a:lnTo>
                      <a:pt x="28" y="15"/>
                    </a:lnTo>
                    <a:lnTo>
                      <a:pt x="24" y="13"/>
                    </a:lnTo>
                    <a:lnTo>
                      <a:pt x="28" y="15"/>
                    </a:lnTo>
                    <a:lnTo>
                      <a:pt x="34" y="28"/>
                    </a:lnTo>
                    <a:lnTo>
                      <a:pt x="30" y="30"/>
                    </a:lnTo>
                    <a:lnTo>
                      <a:pt x="24" y="32"/>
                    </a:lnTo>
                    <a:lnTo>
                      <a:pt x="2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1250"/>
              <p:cNvSpPr>
                <a:spLocks/>
              </p:cNvSpPr>
              <p:nvPr/>
            </p:nvSpPr>
            <p:spPr bwMode="auto">
              <a:xfrm>
                <a:off x="1430" y="3878"/>
                <a:ext cx="39" cy="34"/>
              </a:xfrm>
              <a:custGeom>
                <a:avLst/>
                <a:gdLst>
                  <a:gd name="T0" fmla="*/ 22 w 39"/>
                  <a:gd name="T1" fmla="*/ 34 h 34"/>
                  <a:gd name="T2" fmla="*/ 17 w 39"/>
                  <a:gd name="T3" fmla="*/ 32 h 34"/>
                  <a:gd name="T4" fmla="*/ 17 w 39"/>
                  <a:gd name="T5" fmla="*/ 26 h 34"/>
                  <a:gd name="T6" fmla="*/ 11 w 39"/>
                  <a:gd name="T7" fmla="*/ 15 h 34"/>
                  <a:gd name="T8" fmla="*/ 9 w 39"/>
                  <a:gd name="T9" fmla="*/ 9 h 34"/>
                  <a:gd name="T10" fmla="*/ 5 w 39"/>
                  <a:gd name="T11" fmla="*/ 7 h 34"/>
                  <a:gd name="T12" fmla="*/ 0 w 39"/>
                  <a:gd name="T13" fmla="*/ 2 h 34"/>
                  <a:gd name="T14" fmla="*/ 7 w 39"/>
                  <a:gd name="T15" fmla="*/ 0 h 34"/>
                  <a:gd name="T16" fmla="*/ 17 w 39"/>
                  <a:gd name="T17" fmla="*/ 0 h 34"/>
                  <a:gd name="T18" fmla="*/ 22 w 39"/>
                  <a:gd name="T19" fmla="*/ 2 h 34"/>
                  <a:gd name="T20" fmla="*/ 26 w 39"/>
                  <a:gd name="T21" fmla="*/ 4 h 34"/>
                  <a:gd name="T22" fmla="*/ 28 w 39"/>
                  <a:gd name="T23" fmla="*/ 0 h 34"/>
                  <a:gd name="T24" fmla="*/ 32 w 39"/>
                  <a:gd name="T25" fmla="*/ 2 h 34"/>
                  <a:gd name="T26" fmla="*/ 36 w 39"/>
                  <a:gd name="T27" fmla="*/ 7 h 34"/>
                  <a:gd name="T28" fmla="*/ 34 w 39"/>
                  <a:gd name="T29" fmla="*/ 11 h 34"/>
                  <a:gd name="T30" fmla="*/ 36 w 39"/>
                  <a:gd name="T31" fmla="*/ 17 h 34"/>
                  <a:gd name="T32" fmla="*/ 39 w 39"/>
                  <a:gd name="T33" fmla="*/ 22 h 34"/>
                  <a:gd name="T34" fmla="*/ 32 w 39"/>
                  <a:gd name="T35" fmla="*/ 19 h 34"/>
                  <a:gd name="T36" fmla="*/ 28 w 39"/>
                  <a:gd name="T37" fmla="*/ 15 h 34"/>
                  <a:gd name="T38" fmla="*/ 24 w 39"/>
                  <a:gd name="T39" fmla="*/ 13 h 34"/>
                  <a:gd name="T40" fmla="*/ 28 w 39"/>
                  <a:gd name="T41" fmla="*/ 15 h 34"/>
                  <a:gd name="T42" fmla="*/ 34 w 39"/>
                  <a:gd name="T43" fmla="*/ 28 h 34"/>
                  <a:gd name="T44" fmla="*/ 30 w 39"/>
                  <a:gd name="T45" fmla="*/ 30 h 34"/>
                  <a:gd name="T46" fmla="*/ 24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17" y="32"/>
                    </a:lnTo>
                    <a:lnTo>
                      <a:pt x="17" y="26"/>
                    </a:lnTo>
                    <a:lnTo>
                      <a:pt x="11" y="15"/>
                    </a:lnTo>
                    <a:lnTo>
                      <a:pt x="9" y="9"/>
                    </a:lnTo>
                    <a:lnTo>
                      <a:pt x="5" y="7"/>
                    </a:lnTo>
                    <a:lnTo>
                      <a:pt x="0" y="2"/>
                    </a:lnTo>
                    <a:lnTo>
                      <a:pt x="7" y="0"/>
                    </a:lnTo>
                    <a:lnTo>
                      <a:pt x="17" y="0"/>
                    </a:lnTo>
                    <a:lnTo>
                      <a:pt x="22" y="2"/>
                    </a:lnTo>
                    <a:lnTo>
                      <a:pt x="26" y="4"/>
                    </a:lnTo>
                    <a:lnTo>
                      <a:pt x="28" y="0"/>
                    </a:lnTo>
                    <a:lnTo>
                      <a:pt x="32" y="2"/>
                    </a:lnTo>
                    <a:lnTo>
                      <a:pt x="36" y="7"/>
                    </a:lnTo>
                    <a:lnTo>
                      <a:pt x="34" y="11"/>
                    </a:lnTo>
                    <a:lnTo>
                      <a:pt x="36" y="17"/>
                    </a:lnTo>
                    <a:lnTo>
                      <a:pt x="39" y="22"/>
                    </a:lnTo>
                    <a:lnTo>
                      <a:pt x="32" y="19"/>
                    </a:lnTo>
                    <a:lnTo>
                      <a:pt x="28" y="15"/>
                    </a:lnTo>
                    <a:lnTo>
                      <a:pt x="24" y="13"/>
                    </a:lnTo>
                    <a:lnTo>
                      <a:pt x="28" y="15"/>
                    </a:lnTo>
                    <a:lnTo>
                      <a:pt x="34" y="28"/>
                    </a:lnTo>
                    <a:lnTo>
                      <a:pt x="30" y="30"/>
                    </a:lnTo>
                    <a:lnTo>
                      <a:pt x="24" y="32"/>
                    </a:lnTo>
                    <a:lnTo>
                      <a:pt x="22" y="3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251"/>
              <p:cNvSpPr>
                <a:spLocks/>
              </p:cNvSpPr>
              <p:nvPr/>
            </p:nvSpPr>
            <p:spPr bwMode="auto">
              <a:xfrm>
                <a:off x="1445"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252"/>
              <p:cNvSpPr>
                <a:spLocks/>
              </p:cNvSpPr>
              <p:nvPr/>
            </p:nvSpPr>
            <p:spPr bwMode="auto">
              <a:xfrm>
                <a:off x="1445"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253"/>
              <p:cNvSpPr>
                <a:spLocks/>
              </p:cNvSpPr>
              <p:nvPr/>
            </p:nvSpPr>
            <p:spPr bwMode="auto">
              <a:xfrm>
                <a:off x="1449" y="3919"/>
                <a:ext cx="71" cy="85"/>
              </a:xfrm>
              <a:custGeom>
                <a:avLst/>
                <a:gdLst>
                  <a:gd name="T0" fmla="*/ 11 w 71"/>
                  <a:gd name="T1" fmla="*/ 10 h 85"/>
                  <a:gd name="T2" fmla="*/ 11 w 71"/>
                  <a:gd name="T3" fmla="*/ 8 h 85"/>
                  <a:gd name="T4" fmla="*/ 7 w 71"/>
                  <a:gd name="T5" fmla="*/ 8 h 85"/>
                  <a:gd name="T6" fmla="*/ 3 w 71"/>
                  <a:gd name="T7" fmla="*/ 4 h 85"/>
                  <a:gd name="T8" fmla="*/ 0 w 71"/>
                  <a:gd name="T9" fmla="*/ 0 h 85"/>
                  <a:gd name="T10" fmla="*/ 17 w 71"/>
                  <a:gd name="T11" fmla="*/ 0 h 85"/>
                  <a:gd name="T12" fmla="*/ 20 w 71"/>
                  <a:gd name="T13" fmla="*/ 6 h 85"/>
                  <a:gd name="T14" fmla="*/ 17 w 71"/>
                  <a:gd name="T15" fmla="*/ 10 h 85"/>
                  <a:gd name="T16" fmla="*/ 24 w 71"/>
                  <a:gd name="T17" fmla="*/ 12 h 85"/>
                  <a:gd name="T18" fmla="*/ 32 w 71"/>
                  <a:gd name="T19" fmla="*/ 15 h 85"/>
                  <a:gd name="T20" fmla="*/ 37 w 71"/>
                  <a:gd name="T21" fmla="*/ 19 h 85"/>
                  <a:gd name="T22" fmla="*/ 41 w 71"/>
                  <a:gd name="T23" fmla="*/ 23 h 85"/>
                  <a:gd name="T24" fmla="*/ 45 w 71"/>
                  <a:gd name="T25" fmla="*/ 27 h 85"/>
                  <a:gd name="T26" fmla="*/ 45 w 71"/>
                  <a:gd name="T27" fmla="*/ 34 h 85"/>
                  <a:gd name="T28" fmla="*/ 52 w 71"/>
                  <a:gd name="T29" fmla="*/ 36 h 85"/>
                  <a:gd name="T30" fmla="*/ 54 w 71"/>
                  <a:gd name="T31" fmla="*/ 40 h 85"/>
                  <a:gd name="T32" fmla="*/ 49 w 71"/>
                  <a:gd name="T33" fmla="*/ 40 h 85"/>
                  <a:gd name="T34" fmla="*/ 45 w 71"/>
                  <a:gd name="T35" fmla="*/ 40 h 85"/>
                  <a:gd name="T36" fmla="*/ 43 w 71"/>
                  <a:gd name="T37" fmla="*/ 44 h 85"/>
                  <a:gd name="T38" fmla="*/ 49 w 71"/>
                  <a:gd name="T39" fmla="*/ 40 h 85"/>
                  <a:gd name="T40" fmla="*/ 52 w 71"/>
                  <a:gd name="T41" fmla="*/ 47 h 85"/>
                  <a:gd name="T42" fmla="*/ 56 w 71"/>
                  <a:gd name="T43" fmla="*/ 47 h 85"/>
                  <a:gd name="T44" fmla="*/ 60 w 71"/>
                  <a:gd name="T45" fmla="*/ 51 h 85"/>
                  <a:gd name="T46" fmla="*/ 60 w 71"/>
                  <a:gd name="T47" fmla="*/ 55 h 85"/>
                  <a:gd name="T48" fmla="*/ 66 w 71"/>
                  <a:gd name="T49" fmla="*/ 55 h 85"/>
                  <a:gd name="T50" fmla="*/ 64 w 71"/>
                  <a:gd name="T51" fmla="*/ 59 h 85"/>
                  <a:gd name="T52" fmla="*/ 62 w 71"/>
                  <a:gd name="T53" fmla="*/ 64 h 85"/>
                  <a:gd name="T54" fmla="*/ 64 w 71"/>
                  <a:gd name="T55" fmla="*/ 70 h 85"/>
                  <a:gd name="T56" fmla="*/ 69 w 71"/>
                  <a:gd name="T57" fmla="*/ 66 h 85"/>
                  <a:gd name="T58" fmla="*/ 71 w 71"/>
                  <a:gd name="T59" fmla="*/ 76 h 85"/>
                  <a:gd name="T60" fmla="*/ 71 w 71"/>
                  <a:gd name="T61" fmla="*/ 81 h 85"/>
                  <a:gd name="T62" fmla="*/ 64 w 71"/>
                  <a:gd name="T63" fmla="*/ 85 h 85"/>
                  <a:gd name="T64" fmla="*/ 60 w 71"/>
                  <a:gd name="T65" fmla="*/ 85 h 85"/>
                  <a:gd name="T66" fmla="*/ 62 w 71"/>
                  <a:gd name="T67" fmla="*/ 78 h 85"/>
                  <a:gd name="T68" fmla="*/ 54 w 71"/>
                  <a:gd name="T69" fmla="*/ 72 h 85"/>
                  <a:gd name="T70" fmla="*/ 47 w 71"/>
                  <a:gd name="T71" fmla="*/ 72 h 85"/>
                  <a:gd name="T72" fmla="*/ 52 w 71"/>
                  <a:gd name="T73" fmla="*/ 68 h 85"/>
                  <a:gd name="T74" fmla="*/ 45 w 71"/>
                  <a:gd name="T75" fmla="*/ 64 h 85"/>
                  <a:gd name="T76" fmla="*/ 43 w 71"/>
                  <a:gd name="T77" fmla="*/ 57 h 85"/>
                  <a:gd name="T78" fmla="*/ 41 w 71"/>
                  <a:gd name="T79" fmla="*/ 61 h 85"/>
                  <a:gd name="T80" fmla="*/ 37 w 71"/>
                  <a:gd name="T81" fmla="*/ 57 h 85"/>
                  <a:gd name="T82" fmla="*/ 30 w 71"/>
                  <a:gd name="T83" fmla="*/ 61 h 85"/>
                  <a:gd name="T84" fmla="*/ 34 w 71"/>
                  <a:gd name="T85" fmla="*/ 57 h 85"/>
                  <a:gd name="T86" fmla="*/ 30 w 71"/>
                  <a:gd name="T87" fmla="*/ 57 h 85"/>
                  <a:gd name="T88" fmla="*/ 24 w 71"/>
                  <a:gd name="T89" fmla="*/ 57 h 85"/>
                  <a:gd name="T90" fmla="*/ 24 w 71"/>
                  <a:gd name="T91" fmla="*/ 53 h 85"/>
                  <a:gd name="T92" fmla="*/ 28 w 71"/>
                  <a:gd name="T93" fmla="*/ 53 h 85"/>
                  <a:gd name="T94" fmla="*/ 34 w 71"/>
                  <a:gd name="T95" fmla="*/ 53 h 85"/>
                  <a:gd name="T96" fmla="*/ 26 w 71"/>
                  <a:gd name="T97" fmla="*/ 42 h 85"/>
                  <a:gd name="T98" fmla="*/ 26 w 71"/>
                  <a:gd name="T99" fmla="*/ 38 h 85"/>
                  <a:gd name="T100" fmla="*/ 22 w 71"/>
                  <a:gd name="T101" fmla="*/ 42 h 85"/>
                  <a:gd name="T102" fmla="*/ 15 w 71"/>
                  <a:gd name="T103" fmla="*/ 40 h 85"/>
                  <a:gd name="T104" fmla="*/ 17 w 71"/>
                  <a:gd name="T105" fmla="*/ 34 h 85"/>
                  <a:gd name="T106" fmla="*/ 20 w 71"/>
                  <a:gd name="T107" fmla="*/ 30 h 85"/>
                  <a:gd name="T108" fmla="*/ 20 w 71"/>
                  <a:gd name="T109" fmla="*/ 25 h 85"/>
                  <a:gd name="T110" fmla="*/ 17 w 71"/>
                  <a:gd name="T111" fmla="*/ 19 h 85"/>
                  <a:gd name="T112" fmla="*/ 15 w 71"/>
                  <a:gd name="T113" fmla="*/ 15 h 85"/>
                  <a:gd name="T114" fmla="*/ 13 w 71"/>
                  <a:gd name="T115" fmla="*/ 12 h 85"/>
                  <a:gd name="T116" fmla="*/ 13 w 71"/>
                  <a:gd name="T117" fmla="*/ 10 h 85"/>
                  <a:gd name="T118" fmla="*/ 13 w 71"/>
                  <a:gd name="T119" fmla="*/ 8 h 85"/>
                  <a:gd name="T120" fmla="*/ 11 w 71"/>
                  <a:gd name="T121"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85">
                    <a:moveTo>
                      <a:pt x="11" y="10"/>
                    </a:moveTo>
                    <a:lnTo>
                      <a:pt x="11" y="8"/>
                    </a:lnTo>
                    <a:lnTo>
                      <a:pt x="7" y="8"/>
                    </a:lnTo>
                    <a:lnTo>
                      <a:pt x="3" y="4"/>
                    </a:lnTo>
                    <a:lnTo>
                      <a:pt x="0" y="0"/>
                    </a:lnTo>
                    <a:lnTo>
                      <a:pt x="17" y="0"/>
                    </a:lnTo>
                    <a:lnTo>
                      <a:pt x="20" y="6"/>
                    </a:lnTo>
                    <a:lnTo>
                      <a:pt x="17" y="10"/>
                    </a:lnTo>
                    <a:lnTo>
                      <a:pt x="24" y="12"/>
                    </a:lnTo>
                    <a:lnTo>
                      <a:pt x="32" y="15"/>
                    </a:lnTo>
                    <a:lnTo>
                      <a:pt x="37" y="19"/>
                    </a:lnTo>
                    <a:lnTo>
                      <a:pt x="41" y="23"/>
                    </a:lnTo>
                    <a:lnTo>
                      <a:pt x="45" y="27"/>
                    </a:lnTo>
                    <a:lnTo>
                      <a:pt x="45" y="34"/>
                    </a:lnTo>
                    <a:lnTo>
                      <a:pt x="52" y="36"/>
                    </a:lnTo>
                    <a:lnTo>
                      <a:pt x="54" y="40"/>
                    </a:lnTo>
                    <a:lnTo>
                      <a:pt x="49" y="40"/>
                    </a:lnTo>
                    <a:lnTo>
                      <a:pt x="45" y="40"/>
                    </a:lnTo>
                    <a:lnTo>
                      <a:pt x="43" y="44"/>
                    </a:lnTo>
                    <a:lnTo>
                      <a:pt x="49" y="40"/>
                    </a:lnTo>
                    <a:lnTo>
                      <a:pt x="52" y="47"/>
                    </a:lnTo>
                    <a:lnTo>
                      <a:pt x="56" y="47"/>
                    </a:lnTo>
                    <a:lnTo>
                      <a:pt x="60" y="51"/>
                    </a:lnTo>
                    <a:lnTo>
                      <a:pt x="60" y="55"/>
                    </a:lnTo>
                    <a:lnTo>
                      <a:pt x="66" y="55"/>
                    </a:lnTo>
                    <a:lnTo>
                      <a:pt x="64" y="59"/>
                    </a:lnTo>
                    <a:lnTo>
                      <a:pt x="62" y="64"/>
                    </a:lnTo>
                    <a:lnTo>
                      <a:pt x="64" y="70"/>
                    </a:lnTo>
                    <a:lnTo>
                      <a:pt x="69" y="66"/>
                    </a:lnTo>
                    <a:lnTo>
                      <a:pt x="71" y="76"/>
                    </a:lnTo>
                    <a:lnTo>
                      <a:pt x="71" y="81"/>
                    </a:lnTo>
                    <a:lnTo>
                      <a:pt x="64" y="85"/>
                    </a:lnTo>
                    <a:lnTo>
                      <a:pt x="60" y="85"/>
                    </a:lnTo>
                    <a:lnTo>
                      <a:pt x="62" y="78"/>
                    </a:lnTo>
                    <a:lnTo>
                      <a:pt x="54" y="72"/>
                    </a:lnTo>
                    <a:lnTo>
                      <a:pt x="47" y="72"/>
                    </a:lnTo>
                    <a:lnTo>
                      <a:pt x="52" y="68"/>
                    </a:lnTo>
                    <a:lnTo>
                      <a:pt x="45" y="64"/>
                    </a:lnTo>
                    <a:lnTo>
                      <a:pt x="43" y="57"/>
                    </a:lnTo>
                    <a:lnTo>
                      <a:pt x="41" y="61"/>
                    </a:lnTo>
                    <a:lnTo>
                      <a:pt x="37" y="57"/>
                    </a:lnTo>
                    <a:lnTo>
                      <a:pt x="30" y="61"/>
                    </a:lnTo>
                    <a:lnTo>
                      <a:pt x="34" y="57"/>
                    </a:lnTo>
                    <a:lnTo>
                      <a:pt x="30" y="57"/>
                    </a:lnTo>
                    <a:lnTo>
                      <a:pt x="24" y="57"/>
                    </a:lnTo>
                    <a:lnTo>
                      <a:pt x="24" y="53"/>
                    </a:lnTo>
                    <a:lnTo>
                      <a:pt x="28" y="53"/>
                    </a:lnTo>
                    <a:lnTo>
                      <a:pt x="34" y="53"/>
                    </a:lnTo>
                    <a:lnTo>
                      <a:pt x="26" y="42"/>
                    </a:lnTo>
                    <a:lnTo>
                      <a:pt x="26" y="38"/>
                    </a:lnTo>
                    <a:lnTo>
                      <a:pt x="22" y="42"/>
                    </a:lnTo>
                    <a:lnTo>
                      <a:pt x="15" y="40"/>
                    </a:lnTo>
                    <a:lnTo>
                      <a:pt x="17" y="34"/>
                    </a:lnTo>
                    <a:lnTo>
                      <a:pt x="20" y="30"/>
                    </a:lnTo>
                    <a:lnTo>
                      <a:pt x="20" y="25"/>
                    </a:lnTo>
                    <a:lnTo>
                      <a:pt x="17" y="19"/>
                    </a:lnTo>
                    <a:lnTo>
                      <a:pt x="15" y="15"/>
                    </a:lnTo>
                    <a:lnTo>
                      <a:pt x="13" y="12"/>
                    </a:lnTo>
                    <a:lnTo>
                      <a:pt x="13" y="10"/>
                    </a:lnTo>
                    <a:lnTo>
                      <a:pt x="13" y="8"/>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54"/>
              <p:cNvSpPr>
                <a:spLocks/>
              </p:cNvSpPr>
              <p:nvPr/>
            </p:nvSpPr>
            <p:spPr bwMode="auto">
              <a:xfrm>
                <a:off x="1449" y="3919"/>
                <a:ext cx="71" cy="85"/>
              </a:xfrm>
              <a:custGeom>
                <a:avLst/>
                <a:gdLst>
                  <a:gd name="T0" fmla="*/ 11 w 71"/>
                  <a:gd name="T1" fmla="*/ 10 h 85"/>
                  <a:gd name="T2" fmla="*/ 11 w 71"/>
                  <a:gd name="T3" fmla="*/ 8 h 85"/>
                  <a:gd name="T4" fmla="*/ 7 w 71"/>
                  <a:gd name="T5" fmla="*/ 8 h 85"/>
                  <a:gd name="T6" fmla="*/ 3 w 71"/>
                  <a:gd name="T7" fmla="*/ 4 h 85"/>
                  <a:gd name="T8" fmla="*/ 0 w 71"/>
                  <a:gd name="T9" fmla="*/ 0 h 85"/>
                  <a:gd name="T10" fmla="*/ 17 w 71"/>
                  <a:gd name="T11" fmla="*/ 0 h 85"/>
                  <a:gd name="T12" fmla="*/ 20 w 71"/>
                  <a:gd name="T13" fmla="*/ 6 h 85"/>
                  <a:gd name="T14" fmla="*/ 17 w 71"/>
                  <a:gd name="T15" fmla="*/ 10 h 85"/>
                  <a:gd name="T16" fmla="*/ 24 w 71"/>
                  <a:gd name="T17" fmla="*/ 12 h 85"/>
                  <a:gd name="T18" fmla="*/ 32 w 71"/>
                  <a:gd name="T19" fmla="*/ 15 h 85"/>
                  <a:gd name="T20" fmla="*/ 37 w 71"/>
                  <a:gd name="T21" fmla="*/ 19 h 85"/>
                  <a:gd name="T22" fmla="*/ 41 w 71"/>
                  <a:gd name="T23" fmla="*/ 23 h 85"/>
                  <a:gd name="T24" fmla="*/ 45 w 71"/>
                  <a:gd name="T25" fmla="*/ 27 h 85"/>
                  <a:gd name="T26" fmla="*/ 45 w 71"/>
                  <a:gd name="T27" fmla="*/ 34 h 85"/>
                  <a:gd name="T28" fmla="*/ 52 w 71"/>
                  <a:gd name="T29" fmla="*/ 36 h 85"/>
                  <a:gd name="T30" fmla="*/ 54 w 71"/>
                  <a:gd name="T31" fmla="*/ 40 h 85"/>
                  <a:gd name="T32" fmla="*/ 49 w 71"/>
                  <a:gd name="T33" fmla="*/ 40 h 85"/>
                  <a:gd name="T34" fmla="*/ 45 w 71"/>
                  <a:gd name="T35" fmla="*/ 40 h 85"/>
                  <a:gd name="T36" fmla="*/ 43 w 71"/>
                  <a:gd name="T37" fmla="*/ 44 h 85"/>
                  <a:gd name="T38" fmla="*/ 49 w 71"/>
                  <a:gd name="T39" fmla="*/ 40 h 85"/>
                  <a:gd name="T40" fmla="*/ 52 w 71"/>
                  <a:gd name="T41" fmla="*/ 47 h 85"/>
                  <a:gd name="T42" fmla="*/ 56 w 71"/>
                  <a:gd name="T43" fmla="*/ 47 h 85"/>
                  <a:gd name="T44" fmla="*/ 60 w 71"/>
                  <a:gd name="T45" fmla="*/ 51 h 85"/>
                  <a:gd name="T46" fmla="*/ 60 w 71"/>
                  <a:gd name="T47" fmla="*/ 55 h 85"/>
                  <a:gd name="T48" fmla="*/ 66 w 71"/>
                  <a:gd name="T49" fmla="*/ 55 h 85"/>
                  <a:gd name="T50" fmla="*/ 64 w 71"/>
                  <a:gd name="T51" fmla="*/ 59 h 85"/>
                  <a:gd name="T52" fmla="*/ 62 w 71"/>
                  <a:gd name="T53" fmla="*/ 64 h 85"/>
                  <a:gd name="T54" fmla="*/ 64 w 71"/>
                  <a:gd name="T55" fmla="*/ 70 h 85"/>
                  <a:gd name="T56" fmla="*/ 69 w 71"/>
                  <a:gd name="T57" fmla="*/ 66 h 85"/>
                  <a:gd name="T58" fmla="*/ 71 w 71"/>
                  <a:gd name="T59" fmla="*/ 76 h 85"/>
                  <a:gd name="T60" fmla="*/ 71 w 71"/>
                  <a:gd name="T61" fmla="*/ 81 h 85"/>
                  <a:gd name="T62" fmla="*/ 64 w 71"/>
                  <a:gd name="T63" fmla="*/ 85 h 85"/>
                  <a:gd name="T64" fmla="*/ 60 w 71"/>
                  <a:gd name="T65" fmla="*/ 85 h 85"/>
                  <a:gd name="T66" fmla="*/ 62 w 71"/>
                  <a:gd name="T67" fmla="*/ 78 h 85"/>
                  <a:gd name="T68" fmla="*/ 54 w 71"/>
                  <a:gd name="T69" fmla="*/ 72 h 85"/>
                  <a:gd name="T70" fmla="*/ 47 w 71"/>
                  <a:gd name="T71" fmla="*/ 72 h 85"/>
                  <a:gd name="T72" fmla="*/ 52 w 71"/>
                  <a:gd name="T73" fmla="*/ 68 h 85"/>
                  <a:gd name="T74" fmla="*/ 45 w 71"/>
                  <a:gd name="T75" fmla="*/ 64 h 85"/>
                  <a:gd name="T76" fmla="*/ 43 w 71"/>
                  <a:gd name="T77" fmla="*/ 57 h 85"/>
                  <a:gd name="T78" fmla="*/ 41 w 71"/>
                  <a:gd name="T79" fmla="*/ 61 h 85"/>
                  <a:gd name="T80" fmla="*/ 37 w 71"/>
                  <a:gd name="T81" fmla="*/ 57 h 85"/>
                  <a:gd name="T82" fmla="*/ 30 w 71"/>
                  <a:gd name="T83" fmla="*/ 61 h 85"/>
                  <a:gd name="T84" fmla="*/ 34 w 71"/>
                  <a:gd name="T85" fmla="*/ 57 h 85"/>
                  <a:gd name="T86" fmla="*/ 30 w 71"/>
                  <a:gd name="T87" fmla="*/ 57 h 85"/>
                  <a:gd name="T88" fmla="*/ 24 w 71"/>
                  <a:gd name="T89" fmla="*/ 57 h 85"/>
                  <a:gd name="T90" fmla="*/ 24 w 71"/>
                  <a:gd name="T91" fmla="*/ 53 h 85"/>
                  <a:gd name="T92" fmla="*/ 28 w 71"/>
                  <a:gd name="T93" fmla="*/ 53 h 85"/>
                  <a:gd name="T94" fmla="*/ 34 w 71"/>
                  <a:gd name="T95" fmla="*/ 53 h 85"/>
                  <a:gd name="T96" fmla="*/ 26 w 71"/>
                  <a:gd name="T97" fmla="*/ 42 h 85"/>
                  <a:gd name="T98" fmla="*/ 26 w 71"/>
                  <a:gd name="T99" fmla="*/ 38 h 85"/>
                  <a:gd name="T100" fmla="*/ 22 w 71"/>
                  <a:gd name="T101" fmla="*/ 42 h 85"/>
                  <a:gd name="T102" fmla="*/ 15 w 71"/>
                  <a:gd name="T103" fmla="*/ 40 h 85"/>
                  <a:gd name="T104" fmla="*/ 17 w 71"/>
                  <a:gd name="T105" fmla="*/ 34 h 85"/>
                  <a:gd name="T106" fmla="*/ 20 w 71"/>
                  <a:gd name="T107" fmla="*/ 30 h 85"/>
                  <a:gd name="T108" fmla="*/ 20 w 71"/>
                  <a:gd name="T109" fmla="*/ 25 h 85"/>
                  <a:gd name="T110" fmla="*/ 17 w 71"/>
                  <a:gd name="T111" fmla="*/ 19 h 85"/>
                  <a:gd name="T112" fmla="*/ 15 w 71"/>
                  <a:gd name="T113" fmla="*/ 15 h 85"/>
                  <a:gd name="T114" fmla="*/ 13 w 71"/>
                  <a:gd name="T115" fmla="*/ 12 h 85"/>
                  <a:gd name="T116" fmla="*/ 13 w 71"/>
                  <a:gd name="T117" fmla="*/ 10 h 85"/>
                  <a:gd name="T118" fmla="*/ 13 w 71"/>
                  <a:gd name="T119" fmla="*/ 8 h 85"/>
                  <a:gd name="T120" fmla="*/ 11 w 71"/>
                  <a:gd name="T121"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85">
                    <a:moveTo>
                      <a:pt x="11" y="10"/>
                    </a:moveTo>
                    <a:lnTo>
                      <a:pt x="11" y="8"/>
                    </a:lnTo>
                    <a:lnTo>
                      <a:pt x="7" y="8"/>
                    </a:lnTo>
                    <a:lnTo>
                      <a:pt x="3" y="4"/>
                    </a:lnTo>
                    <a:lnTo>
                      <a:pt x="0" y="0"/>
                    </a:lnTo>
                    <a:lnTo>
                      <a:pt x="17" y="0"/>
                    </a:lnTo>
                    <a:lnTo>
                      <a:pt x="20" y="6"/>
                    </a:lnTo>
                    <a:lnTo>
                      <a:pt x="17" y="10"/>
                    </a:lnTo>
                    <a:lnTo>
                      <a:pt x="24" y="12"/>
                    </a:lnTo>
                    <a:lnTo>
                      <a:pt x="32" y="15"/>
                    </a:lnTo>
                    <a:lnTo>
                      <a:pt x="37" y="19"/>
                    </a:lnTo>
                    <a:lnTo>
                      <a:pt x="41" y="23"/>
                    </a:lnTo>
                    <a:lnTo>
                      <a:pt x="45" y="27"/>
                    </a:lnTo>
                    <a:lnTo>
                      <a:pt x="45" y="34"/>
                    </a:lnTo>
                    <a:lnTo>
                      <a:pt x="52" y="36"/>
                    </a:lnTo>
                    <a:lnTo>
                      <a:pt x="54" y="40"/>
                    </a:lnTo>
                    <a:lnTo>
                      <a:pt x="49" y="40"/>
                    </a:lnTo>
                    <a:lnTo>
                      <a:pt x="45" y="40"/>
                    </a:lnTo>
                    <a:lnTo>
                      <a:pt x="43" y="44"/>
                    </a:lnTo>
                    <a:lnTo>
                      <a:pt x="49" y="40"/>
                    </a:lnTo>
                    <a:lnTo>
                      <a:pt x="52" y="47"/>
                    </a:lnTo>
                    <a:lnTo>
                      <a:pt x="56" y="47"/>
                    </a:lnTo>
                    <a:lnTo>
                      <a:pt x="60" y="51"/>
                    </a:lnTo>
                    <a:lnTo>
                      <a:pt x="60" y="55"/>
                    </a:lnTo>
                    <a:lnTo>
                      <a:pt x="66" y="55"/>
                    </a:lnTo>
                    <a:lnTo>
                      <a:pt x="64" y="59"/>
                    </a:lnTo>
                    <a:lnTo>
                      <a:pt x="62" y="64"/>
                    </a:lnTo>
                    <a:lnTo>
                      <a:pt x="64" y="70"/>
                    </a:lnTo>
                    <a:lnTo>
                      <a:pt x="69" y="66"/>
                    </a:lnTo>
                    <a:lnTo>
                      <a:pt x="71" y="76"/>
                    </a:lnTo>
                    <a:lnTo>
                      <a:pt x="71" y="81"/>
                    </a:lnTo>
                    <a:lnTo>
                      <a:pt x="64" y="85"/>
                    </a:lnTo>
                    <a:lnTo>
                      <a:pt x="60" y="85"/>
                    </a:lnTo>
                    <a:lnTo>
                      <a:pt x="62" y="78"/>
                    </a:lnTo>
                    <a:lnTo>
                      <a:pt x="54" y="72"/>
                    </a:lnTo>
                    <a:lnTo>
                      <a:pt x="47" y="72"/>
                    </a:lnTo>
                    <a:lnTo>
                      <a:pt x="52" y="68"/>
                    </a:lnTo>
                    <a:lnTo>
                      <a:pt x="45" y="64"/>
                    </a:lnTo>
                    <a:lnTo>
                      <a:pt x="43" y="57"/>
                    </a:lnTo>
                    <a:lnTo>
                      <a:pt x="41" y="61"/>
                    </a:lnTo>
                    <a:lnTo>
                      <a:pt x="37" y="57"/>
                    </a:lnTo>
                    <a:lnTo>
                      <a:pt x="30" y="61"/>
                    </a:lnTo>
                    <a:lnTo>
                      <a:pt x="34" y="57"/>
                    </a:lnTo>
                    <a:lnTo>
                      <a:pt x="30" y="57"/>
                    </a:lnTo>
                    <a:lnTo>
                      <a:pt x="24" y="57"/>
                    </a:lnTo>
                    <a:lnTo>
                      <a:pt x="24" y="53"/>
                    </a:lnTo>
                    <a:lnTo>
                      <a:pt x="28" y="53"/>
                    </a:lnTo>
                    <a:lnTo>
                      <a:pt x="34" y="53"/>
                    </a:lnTo>
                    <a:lnTo>
                      <a:pt x="26" y="42"/>
                    </a:lnTo>
                    <a:lnTo>
                      <a:pt x="26" y="38"/>
                    </a:lnTo>
                    <a:lnTo>
                      <a:pt x="22" y="42"/>
                    </a:lnTo>
                    <a:lnTo>
                      <a:pt x="15" y="40"/>
                    </a:lnTo>
                    <a:lnTo>
                      <a:pt x="17" y="34"/>
                    </a:lnTo>
                    <a:lnTo>
                      <a:pt x="20" y="30"/>
                    </a:lnTo>
                    <a:lnTo>
                      <a:pt x="20" y="25"/>
                    </a:lnTo>
                    <a:lnTo>
                      <a:pt x="17" y="19"/>
                    </a:lnTo>
                    <a:lnTo>
                      <a:pt x="15" y="15"/>
                    </a:lnTo>
                    <a:lnTo>
                      <a:pt x="13" y="12"/>
                    </a:lnTo>
                    <a:lnTo>
                      <a:pt x="13" y="10"/>
                    </a:lnTo>
                    <a:lnTo>
                      <a:pt x="13" y="8"/>
                    </a:lnTo>
                    <a:lnTo>
                      <a:pt x="11" y="1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7" name="Freeform 1255"/>
              <p:cNvSpPr>
                <a:spLocks/>
              </p:cNvSpPr>
              <p:nvPr/>
            </p:nvSpPr>
            <p:spPr bwMode="auto">
              <a:xfrm>
                <a:off x="1454" y="3966"/>
                <a:ext cx="6" cy="4"/>
              </a:xfrm>
              <a:custGeom>
                <a:avLst/>
                <a:gdLst>
                  <a:gd name="T0" fmla="*/ 4 w 6"/>
                  <a:gd name="T1" fmla="*/ 4 h 4"/>
                  <a:gd name="T2" fmla="*/ 0 w 6"/>
                  <a:gd name="T3" fmla="*/ 0 h 4"/>
                  <a:gd name="T4" fmla="*/ 6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0" y="0"/>
                    </a:lnTo>
                    <a:lnTo>
                      <a:pt x="6"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256"/>
              <p:cNvSpPr>
                <a:spLocks/>
              </p:cNvSpPr>
              <p:nvPr/>
            </p:nvSpPr>
            <p:spPr bwMode="auto">
              <a:xfrm>
                <a:off x="1454" y="3966"/>
                <a:ext cx="6" cy="4"/>
              </a:xfrm>
              <a:custGeom>
                <a:avLst/>
                <a:gdLst>
                  <a:gd name="T0" fmla="*/ 4 w 6"/>
                  <a:gd name="T1" fmla="*/ 4 h 4"/>
                  <a:gd name="T2" fmla="*/ 0 w 6"/>
                  <a:gd name="T3" fmla="*/ 0 h 4"/>
                  <a:gd name="T4" fmla="*/ 6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0" y="0"/>
                    </a:lnTo>
                    <a:lnTo>
                      <a:pt x="6" y="0"/>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1257"/>
              <p:cNvSpPr>
                <a:spLocks/>
              </p:cNvSpPr>
              <p:nvPr/>
            </p:nvSpPr>
            <p:spPr bwMode="auto">
              <a:xfrm>
                <a:off x="1456" y="3949"/>
                <a:ext cx="10" cy="6"/>
              </a:xfrm>
              <a:custGeom>
                <a:avLst/>
                <a:gdLst>
                  <a:gd name="T0" fmla="*/ 10 w 10"/>
                  <a:gd name="T1" fmla="*/ 0 h 6"/>
                  <a:gd name="T2" fmla="*/ 4 w 10"/>
                  <a:gd name="T3" fmla="*/ 2 h 6"/>
                  <a:gd name="T4" fmla="*/ 4 w 10"/>
                  <a:gd name="T5" fmla="*/ 6 h 6"/>
                  <a:gd name="T6" fmla="*/ 0 w 10"/>
                  <a:gd name="T7" fmla="*/ 4 h 6"/>
                  <a:gd name="T8" fmla="*/ 0 w 10"/>
                  <a:gd name="T9" fmla="*/ 0 h 6"/>
                  <a:gd name="T10" fmla="*/ 6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4" y="2"/>
                    </a:lnTo>
                    <a:lnTo>
                      <a:pt x="4" y="6"/>
                    </a:lnTo>
                    <a:lnTo>
                      <a:pt x="0" y="4"/>
                    </a:lnTo>
                    <a:lnTo>
                      <a:pt x="0" y="0"/>
                    </a:lnTo>
                    <a:lnTo>
                      <a:pt x="6" y="2"/>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258"/>
              <p:cNvSpPr>
                <a:spLocks/>
              </p:cNvSpPr>
              <p:nvPr/>
            </p:nvSpPr>
            <p:spPr bwMode="auto">
              <a:xfrm>
                <a:off x="1456" y="3949"/>
                <a:ext cx="10" cy="6"/>
              </a:xfrm>
              <a:custGeom>
                <a:avLst/>
                <a:gdLst>
                  <a:gd name="T0" fmla="*/ 10 w 10"/>
                  <a:gd name="T1" fmla="*/ 0 h 6"/>
                  <a:gd name="T2" fmla="*/ 4 w 10"/>
                  <a:gd name="T3" fmla="*/ 2 h 6"/>
                  <a:gd name="T4" fmla="*/ 4 w 10"/>
                  <a:gd name="T5" fmla="*/ 6 h 6"/>
                  <a:gd name="T6" fmla="*/ 0 w 10"/>
                  <a:gd name="T7" fmla="*/ 4 h 6"/>
                  <a:gd name="T8" fmla="*/ 0 w 10"/>
                  <a:gd name="T9" fmla="*/ 0 h 6"/>
                  <a:gd name="T10" fmla="*/ 6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4" y="2"/>
                    </a:lnTo>
                    <a:lnTo>
                      <a:pt x="4" y="6"/>
                    </a:lnTo>
                    <a:lnTo>
                      <a:pt x="0" y="4"/>
                    </a:lnTo>
                    <a:lnTo>
                      <a:pt x="0" y="0"/>
                    </a:lnTo>
                    <a:lnTo>
                      <a:pt x="6" y="2"/>
                    </a:lnTo>
                    <a:lnTo>
                      <a:pt x="1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259"/>
              <p:cNvSpPr>
                <a:spLocks/>
              </p:cNvSpPr>
              <p:nvPr/>
            </p:nvSpPr>
            <p:spPr bwMode="auto">
              <a:xfrm>
                <a:off x="1462" y="3966"/>
                <a:ext cx="0" cy="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lnTo>
                      <a:pt x="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260"/>
              <p:cNvSpPr>
                <a:spLocks/>
              </p:cNvSpPr>
              <p:nvPr/>
            </p:nvSpPr>
            <p:spPr bwMode="auto">
              <a:xfrm>
                <a:off x="1462" y="3966"/>
                <a:ext cx="0" cy="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lnTo>
                      <a:pt x="0" y="4"/>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261"/>
              <p:cNvSpPr>
                <a:spLocks/>
              </p:cNvSpPr>
              <p:nvPr/>
            </p:nvSpPr>
            <p:spPr bwMode="auto">
              <a:xfrm>
                <a:off x="1464"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262"/>
              <p:cNvSpPr>
                <a:spLocks/>
              </p:cNvSpPr>
              <p:nvPr/>
            </p:nvSpPr>
            <p:spPr bwMode="auto">
              <a:xfrm>
                <a:off x="1464"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263"/>
              <p:cNvSpPr>
                <a:spLocks/>
              </p:cNvSpPr>
              <p:nvPr/>
            </p:nvSpPr>
            <p:spPr bwMode="auto">
              <a:xfrm>
                <a:off x="1469" y="3908"/>
                <a:ext cx="12" cy="13"/>
              </a:xfrm>
              <a:custGeom>
                <a:avLst/>
                <a:gdLst>
                  <a:gd name="T0" fmla="*/ 8 w 12"/>
                  <a:gd name="T1" fmla="*/ 0 h 13"/>
                  <a:gd name="T2" fmla="*/ 12 w 12"/>
                  <a:gd name="T3" fmla="*/ 4 h 13"/>
                  <a:gd name="T4" fmla="*/ 10 w 12"/>
                  <a:gd name="T5" fmla="*/ 11 h 13"/>
                  <a:gd name="T6" fmla="*/ 6 w 12"/>
                  <a:gd name="T7" fmla="*/ 13 h 13"/>
                  <a:gd name="T8" fmla="*/ 2 w 12"/>
                  <a:gd name="T9" fmla="*/ 9 h 13"/>
                  <a:gd name="T10" fmla="*/ 0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12" y="4"/>
                    </a:lnTo>
                    <a:lnTo>
                      <a:pt x="10" y="11"/>
                    </a:lnTo>
                    <a:lnTo>
                      <a:pt x="6" y="13"/>
                    </a:lnTo>
                    <a:lnTo>
                      <a:pt x="2" y="9"/>
                    </a:lnTo>
                    <a:lnTo>
                      <a:pt x="0"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264"/>
              <p:cNvSpPr>
                <a:spLocks/>
              </p:cNvSpPr>
              <p:nvPr/>
            </p:nvSpPr>
            <p:spPr bwMode="auto">
              <a:xfrm>
                <a:off x="1469" y="3908"/>
                <a:ext cx="12" cy="13"/>
              </a:xfrm>
              <a:custGeom>
                <a:avLst/>
                <a:gdLst>
                  <a:gd name="T0" fmla="*/ 8 w 12"/>
                  <a:gd name="T1" fmla="*/ 0 h 13"/>
                  <a:gd name="T2" fmla="*/ 12 w 12"/>
                  <a:gd name="T3" fmla="*/ 4 h 13"/>
                  <a:gd name="T4" fmla="*/ 10 w 12"/>
                  <a:gd name="T5" fmla="*/ 11 h 13"/>
                  <a:gd name="T6" fmla="*/ 6 w 12"/>
                  <a:gd name="T7" fmla="*/ 13 h 13"/>
                  <a:gd name="T8" fmla="*/ 2 w 12"/>
                  <a:gd name="T9" fmla="*/ 9 h 13"/>
                  <a:gd name="T10" fmla="*/ 0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12" y="4"/>
                    </a:lnTo>
                    <a:lnTo>
                      <a:pt x="10" y="11"/>
                    </a:lnTo>
                    <a:lnTo>
                      <a:pt x="6" y="13"/>
                    </a:lnTo>
                    <a:lnTo>
                      <a:pt x="2" y="9"/>
                    </a:lnTo>
                    <a:lnTo>
                      <a:pt x="0" y="4"/>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265"/>
              <p:cNvSpPr>
                <a:spLocks/>
              </p:cNvSpPr>
              <p:nvPr/>
            </p:nvSpPr>
            <p:spPr bwMode="auto">
              <a:xfrm>
                <a:off x="1460" y="3972"/>
                <a:ext cx="4" cy="8"/>
              </a:xfrm>
              <a:custGeom>
                <a:avLst/>
                <a:gdLst>
                  <a:gd name="T0" fmla="*/ 4 w 4"/>
                  <a:gd name="T1" fmla="*/ 0 h 8"/>
                  <a:gd name="T2" fmla="*/ 0 w 4"/>
                  <a:gd name="T3" fmla="*/ 4 h 8"/>
                  <a:gd name="T4" fmla="*/ 2 w 4"/>
                  <a:gd name="T5" fmla="*/ 8 h 8"/>
                  <a:gd name="T6" fmla="*/ 0 w 4"/>
                  <a:gd name="T7" fmla="*/ 4 h 8"/>
                  <a:gd name="T8" fmla="*/ 2 w 4"/>
                  <a:gd name="T9" fmla="*/ 0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0" y="4"/>
                    </a:lnTo>
                    <a:lnTo>
                      <a:pt x="2" y="8"/>
                    </a:lnTo>
                    <a:lnTo>
                      <a:pt x="0" y="4"/>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266"/>
              <p:cNvSpPr>
                <a:spLocks/>
              </p:cNvSpPr>
              <p:nvPr/>
            </p:nvSpPr>
            <p:spPr bwMode="auto">
              <a:xfrm>
                <a:off x="1460" y="3972"/>
                <a:ext cx="4" cy="8"/>
              </a:xfrm>
              <a:custGeom>
                <a:avLst/>
                <a:gdLst>
                  <a:gd name="T0" fmla="*/ 4 w 4"/>
                  <a:gd name="T1" fmla="*/ 0 h 8"/>
                  <a:gd name="T2" fmla="*/ 0 w 4"/>
                  <a:gd name="T3" fmla="*/ 4 h 8"/>
                  <a:gd name="T4" fmla="*/ 2 w 4"/>
                  <a:gd name="T5" fmla="*/ 8 h 8"/>
                  <a:gd name="T6" fmla="*/ 0 w 4"/>
                  <a:gd name="T7" fmla="*/ 4 h 8"/>
                  <a:gd name="T8" fmla="*/ 2 w 4"/>
                  <a:gd name="T9" fmla="*/ 0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0" y="4"/>
                    </a:lnTo>
                    <a:lnTo>
                      <a:pt x="2" y="8"/>
                    </a:lnTo>
                    <a:lnTo>
                      <a:pt x="0" y="4"/>
                    </a:lnTo>
                    <a:lnTo>
                      <a:pt x="2" y="0"/>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267"/>
              <p:cNvSpPr>
                <a:spLocks/>
              </p:cNvSpPr>
              <p:nvPr/>
            </p:nvSpPr>
            <p:spPr bwMode="auto">
              <a:xfrm>
                <a:off x="1464" y="3963"/>
                <a:ext cx="5" cy="5"/>
              </a:xfrm>
              <a:custGeom>
                <a:avLst/>
                <a:gdLst>
                  <a:gd name="T0" fmla="*/ 5 w 5"/>
                  <a:gd name="T1" fmla="*/ 0 h 5"/>
                  <a:gd name="T2" fmla="*/ 5 w 5"/>
                  <a:gd name="T3" fmla="*/ 5 h 5"/>
                  <a:gd name="T4" fmla="*/ 0 w 5"/>
                  <a:gd name="T5" fmla="*/ 0 h 5"/>
                  <a:gd name="T6" fmla="*/ 5 w 5"/>
                  <a:gd name="T7" fmla="*/ 0 h 5"/>
                </a:gdLst>
                <a:ahLst/>
                <a:cxnLst>
                  <a:cxn ang="0">
                    <a:pos x="T0" y="T1"/>
                  </a:cxn>
                  <a:cxn ang="0">
                    <a:pos x="T2" y="T3"/>
                  </a:cxn>
                  <a:cxn ang="0">
                    <a:pos x="T4" y="T5"/>
                  </a:cxn>
                  <a:cxn ang="0">
                    <a:pos x="T6" y="T7"/>
                  </a:cxn>
                </a:cxnLst>
                <a:rect l="0" t="0" r="r" b="b"/>
                <a:pathLst>
                  <a:path w="5" h="5">
                    <a:moveTo>
                      <a:pt x="5" y="0"/>
                    </a:moveTo>
                    <a:lnTo>
                      <a:pt x="5" y="5"/>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268"/>
              <p:cNvSpPr>
                <a:spLocks/>
              </p:cNvSpPr>
              <p:nvPr/>
            </p:nvSpPr>
            <p:spPr bwMode="auto">
              <a:xfrm>
                <a:off x="1464" y="3963"/>
                <a:ext cx="5" cy="5"/>
              </a:xfrm>
              <a:custGeom>
                <a:avLst/>
                <a:gdLst>
                  <a:gd name="T0" fmla="*/ 5 w 5"/>
                  <a:gd name="T1" fmla="*/ 0 h 5"/>
                  <a:gd name="T2" fmla="*/ 5 w 5"/>
                  <a:gd name="T3" fmla="*/ 5 h 5"/>
                  <a:gd name="T4" fmla="*/ 0 w 5"/>
                  <a:gd name="T5" fmla="*/ 0 h 5"/>
                  <a:gd name="T6" fmla="*/ 5 w 5"/>
                  <a:gd name="T7" fmla="*/ 0 h 5"/>
                </a:gdLst>
                <a:ahLst/>
                <a:cxnLst>
                  <a:cxn ang="0">
                    <a:pos x="T0" y="T1"/>
                  </a:cxn>
                  <a:cxn ang="0">
                    <a:pos x="T2" y="T3"/>
                  </a:cxn>
                  <a:cxn ang="0">
                    <a:pos x="T4" y="T5"/>
                  </a:cxn>
                  <a:cxn ang="0">
                    <a:pos x="T6" y="T7"/>
                  </a:cxn>
                </a:cxnLst>
                <a:rect l="0" t="0" r="r" b="b"/>
                <a:pathLst>
                  <a:path w="5" h="5">
                    <a:moveTo>
                      <a:pt x="5" y="0"/>
                    </a:moveTo>
                    <a:lnTo>
                      <a:pt x="5" y="5"/>
                    </a:lnTo>
                    <a:lnTo>
                      <a:pt x="0" y="0"/>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1" name="Freeform 1269"/>
              <p:cNvSpPr>
                <a:spLocks/>
              </p:cNvSpPr>
              <p:nvPr/>
            </p:nvSpPr>
            <p:spPr bwMode="auto">
              <a:xfrm>
                <a:off x="1466" y="3974"/>
                <a:ext cx="7" cy="9"/>
              </a:xfrm>
              <a:custGeom>
                <a:avLst/>
                <a:gdLst>
                  <a:gd name="T0" fmla="*/ 5 w 7"/>
                  <a:gd name="T1" fmla="*/ 0 h 9"/>
                  <a:gd name="T2" fmla="*/ 7 w 7"/>
                  <a:gd name="T3" fmla="*/ 6 h 9"/>
                  <a:gd name="T4" fmla="*/ 0 w 7"/>
                  <a:gd name="T5" fmla="*/ 9 h 9"/>
                  <a:gd name="T6" fmla="*/ 0 w 7"/>
                  <a:gd name="T7" fmla="*/ 4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7" y="6"/>
                    </a:lnTo>
                    <a:lnTo>
                      <a:pt x="0" y="9"/>
                    </a:lnTo>
                    <a:lnTo>
                      <a:pt x="0" y="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270"/>
              <p:cNvSpPr>
                <a:spLocks/>
              </p:cNvSpPr>
              <p:nvPr/>
            </p:nvSpPr>
            <p:spPr bwMode="auto">
              <a:xfrm>
                <a:off x="1466" y="3974"/>
                <a:ext cx="7" cy="9"/>
              </a:xfrm>
              <a:custGeom>
                <a:avLst/>
                <a:gdLst>
                  <a:gd name="T0" fmla="*/ 5 w 7"/>
                  <a:gd name="T1" fmla="*/ 0 h 9"/>
                  <a:gd name="T2" fmla="*/ 7 w 7"/>
                  <a:gd name="T3" fmla="*/ 6 h 9"/>
                  <a:gd name="T4" fmla="*/ 0 w 7"/>
                  <a:gd name="T5" fmla="*/ 9 h 9"/>
                  <a:gd name="T6" fmla="*/ 0 w 7"/>
                  <a:gd name="T7" fmla="*/ 4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7" y="6"/>
                    </a:lnTo>
                    <a:lnTo>
                      <a:pt x="0" y="9"/>
                    </a:lnTo>
                    <a:lnTo>
                      <a:pt x="0" y="4"/>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3" name="Freeform 1271"/>
              <p:cNvSpPr>
                <a:spLocks/>
              </p:cNvSpPr>
              <p:nvPr/>
            </p:nvSpPr>
            <p:spPr bwMode="auto">
              <a:xfrm>
                <a:off x="1490" y="3904"/>
                <a:ext cx="13" cy="19"/>
              </a:xfrm>
              <a:custGeom>
                <a:avLst/>
                <a:gdLst>
                  <a:gd name="T0" fmla="*/ 0 w 13"/>
                  <a:gd name="T1" fmla="*/ 0 h 19"/>
                  <a:gd name="T2" fmla="*/ 13 w 13"/>
                  <a:gd name="T3" fmla="*/ 8 h 19"/>
                  <a:gd name="T4" fmla="*/ 13 w 13"/>
                  <a:gd name="T5" fmla="*/ 15 h 19"/>
                  <a:gd name="T6" fmla="*/ 13 w 13"/>
                  <a:gd name="T7" fmla="*/ 19 h 19"/>
                  <a:gd name="T8" fmla="*/ 8 w 13"/>
                  <a:gd name="T9" fmla="*/ 15 h 19"/>
                  <a:gd name="T10" fmla="*/ 2 w 13"/>
                  <a:gd name="T11" fmla="*/ 15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13" y="8"/>
                    </a:lnTo>
                    <a:lnTo>
                      <a:pt x="13" y="15"/>
                    </a:lnTo>
                    <a:lnTo>
                      <a:pt x="13" y="19"/>
                    </a:lnTo>
                    <a:lnTo>
                      <a:pt x="8" y="15"/>
                    </a:lnTo>
                    <a:lnTo>
                      <a:pt x="2" y="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0" name="Freeform 1273"/>
            <p:cNvSpPr>
              <a:spLocks/>
            </p:cNvSpPr>
            <p:nvPr/>
          </p:nvSpPr>
          <p:spPr bwMode="auto">
            <a:xfrm>
              <a:off x="2522537" y="5959475"/>
              <a:ext cx="20638" cy="30163"/>
            </a:xfrm>
            <a:custGeom>
              <a:avLst/>
              <a:gdLst>
                <a:gd name="T0" fmla="*/ 0 w 13"/>
                <a:gd name="T1" fmla="*/ 0 h 19"/>
                <a:gd name="T2" fmla="*/ 13 w 13"/>
                <a:gd name="T3" fmla="*/ 8 h 19"/>
                <a:gd name="T4" fmla="*/ 13 w 13"/>
                <a:gd name="T5" fmla="*/ 15 h 19"/>
                <a:gd name="T6" fmla="*/ 13 w 13"/>
                <a:gd name="T7" fmla="*/ 19 h 19"/>
                <a:gd name="T8" fmla="*/ 8 w 13"/>
                <a:gd name="T9" fmla="*/ 15 h 19"/>
                <a:gd name="T10" fmla="*/ 2 w 13"/>
                <a:gd name="T11" fmla="*/ 15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13" y="8"/>
                  </a:lnTo>
                  <a:lnTo>
                    <a:pt x="13" y="15"/>
                  </a:lnTo>
                  <a:lnTo>
                    <a:pt x="13" y="19"/>
                  </a:lnTo>
                  <a:lnTo>
                    <a:pt x="8" y="15"/>
                  </a:lnTo>
                  <a:lnTo>
                    <a:pt x="2" y="1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1274"/>
            <p:cNvSpPr>
              <a:spLocks/>
            </p:cNvSpPr>
            <p:nvPr/>
          </p:nvSpPr>
          <p:spPr bwMode="auto">
            <a:xfrm>
              <a:off x="2508250" y="5972175"/>
              <a:ext cx="34925" cy="38100"/>
            </a:xfrm>
            <a:custGeom>
              <a:avLst/>
              <a:gdLst>
                <a:gd name="T0" fmla="*/ 9 w 22"/>
                <a:gd name="T1" fmla="*/ 0 h 24"/>
                <a:gd name="T2" fmla="*/ 9 w 22"/>
                <a:gd name="T3" fmla="*/ 5 h 24"/>
                <a:gd name="T4" fmla="*/ 17 w 22"/>
                <a:gd name="T5" fmla="*/ 11 h 24"/>
                <a:gd name="T6" fmla="*/ 17 w 22"/>
                <a:gd name="T7" fmla="*/ 15 h 24"/>
                <a:gd name="T8" fmla="*/ 22 w 22"/>
                <a:gd name="T9" fmla="*/ 22 h 24"/>
                <a:gd name="T10" fmla="*/ 15 w 22"/>
                <a:gd name="T11" fmla="*/ 24 h 24"/>
                <a:gd name="T12" fmla="*/ 7 w 22"/>
                <a:gd name="T13" fmla="*/ 17 h 24"/>
                <a:gd name="T14" fmla="*/ 2 w 22"/>
                <a:gd name="T15" fmla="*/ 15 h 24"/>
                <a:gd name="T16" fmla="*/ 0 w 22"/>
                <a:gd name="T17" fmla="*/ 11 h 24"/>
                <a:gd name="T18" fmla="*/ 2 w 22"/>
                <a:gd name="T19" fmla="*/ 7 h 24"/>
                <a:gd name="T20" fmla="*/ 2 w 22"/>
                <a:gd name="T21" fmla="*/ 0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9" y="5"/>
                  </a:lnTo>
                  <a:lnTo>
                    <a:pt x="17" y="11"/>
                  </a:lnTo>
                  <a:lnTo>
                    <a:pt x="17" y="15"/>
                  </a:lnTo>
                  <a:lnTo>
                    <a:pt x="22" y="22"/>
                  </a:lnTo>
                  <a:lnTo>
                    <a:pt x="15" y="24"/>
                  </a:lnTo>
                  <a:lnTo>
                    <a:pt x="7" y="17"/>
                  </a:lnTo>
                  <a:lnTo>
                    <a:pt x="2" y="15"/>
                  </a:lnTo>
                  <a:lnTo>
                    <a:pt x="0" y="11"/>
                  </a:lnTo>
                  <a:lnTo>
                    <a:pt x="2" y="7"/>
                  </a:lnTo>
                  <a:lnTo>
                    <a:pt x="2"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275"/>
            <p:cNvSpPr>
              <a:spLocks/>
            </p:cNvSpPr>
            <p:nvPr/>
          </p:nvSpPr>
          <p:spPr bwMode="auto">
            <a:xfrm>
              <a:off x="2508250" y="5972175"/>
              <a:ext cx="34925" cy="38100"/>
            </a:xfrm>
            <a:custGeom>
              <a:avLst/>
              <a:gdLst>
                <a:gd name="T0" fmla="*/ 9 w 22"/>
                <a:gd name="T1" fmla="*/ 0 h 24"/>
                <a:gd name="T2" fmla="*/ 9 w 22"/>
                <a:gd name="T3" fmla="*/ 5 h 24"/>
                <a:gd name="T4" fmla="*/ 17 w 22"/>
                <a:gd name="T5" fmla="*/ 11 h 24"/>
                <a:gd name="T6" fmla="*/ 17 w 22"/>
                <a:gd name="T7" fmla="*/ 15 h 24"/>
                <a:gd name="T8" fmla="*/ 22 w 22"/>
                <a:gd name="T9" fmla="*/ 22 h 24"/>
                <a:gd name="T10" fmla="*/ 15 w 22"/>
                <a:gd name="T11" fmla="*/ 24 h 24"/>
                <a:gd name="T12" fmla="*/ 7 w 22"/>
                <a:gd name="T13" fmla="*/ 17 h 24"/>
                <a:gd name="T14" fmla="*/ 2 w 22"/>
                <a:gd name="T15" fmla="*/ 15 h 24"/>
                <a:gd name="T16" fmla="*/ 0 w 22"/>
                <a:gd name="T17" fmla="*/ 11 h 24"/>
                <a:gd name="T18" fmla="*/ 2 w 22"/>
                <a:gd name="T19" fmla="*/ 7 h 24"/>
                <a:gd name="T20" fmla="*/ 2 w 22"/>
                <a:gd name="T21" fmla="*/ 0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9" y="5"/>
                  </a:lnTo>
                  <a:lnTo>
                    <a:pt x="17" y="11"/>
                  </a:lnTo>
                  <a:lnTo>
                    <a:pt x="17" y="15"/>
                  </a:lnTo>
                  <a:lnTo>
                    <a:pt x="22" y="22"/>
                  </a:lnTo>
                  <a:lnTo>
                    <a:pt x="15" y="24"/>
                  </a:lnTo>
                  <a:lnTo>
                    <a:pt x="7" y="17"/>
                  </a:lnTo>
                  <a:lnTo>
                    <a:pt x="2" y="15"/>
                  </a:lnTo>
                  <a:lnTo>
                    <a:pt x="0" y="11"/>
                  </a:lnTo>
                  <a:lnTo>
                    <a:pt x="2" y="7"/>
                  </a:lnTo>
                  <a:lnTo>
                    <a:pt x="2" y="0"/>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1276"/>
            <p:cNvSpPr>
              <a:spLocks/>
            </p:cNvSpPr>
            <p:nvPr/>
          </p:nvSpPr>
          <p:spPr bwMode="auto">
            <a:xfrm>
              <a:off x="2498725" y="6076950"/>
              <a:ext cx="33338" cy="47625"/>
            </a:xfrm>
            <a:custGeom>
              <a:avLst/>
              <a:gdLst>
                <a:gd name="T0" fmla="*/ 2 w 21"/>
                <a:gd name="T1" fmla="*/ 0 h 30"/>
                <a:gd name="T2" fmla="*/ 4 w 21"/>
                <a:gd name="T3" fmla="*/ 7 h 30"/>
                <a:gd name="T4" fmla="*/ 8 w 21"/>
                <a:gd name="T5" fmla="*/ 11 h 30"/>
                <a:gd name="T6" fmla="*/ 11 w 21"/>
                <a:gd name="T7" fmla="*/ 15 h 30"/>
                <a:gd name="T8" fmla="*/ 19 w 21"/>
                <a:gd name="T9" fmla="*/ 24 h 30"/>
                <a:gd name="T10" fmla="*/ 21 w 21"/>
                <a:gd name="T11" fmla="*/ 30 h 30"/>
                <a:gd name="T12" fmla="*/ 17 w 21"/>
                <a:gd name="T13" fmla="*/ 30 h 30"/>
                <a:gd name="T14" fmla="*/ 4 w 21"/>
                <a:gd name="T15" fmla="*/ 17 h 30"/>
                <a:gd name="T16" fmla="*/ 0 w 21"/>
                <a:gd name="T17" fmla="*/ 11 h 30"/>
                <a:gd name="T18" fmla="*/ 2 w 21"/>
                <a:gd name="T19" fmla="*/ 0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4" y="7"/>
                  </a:lnTo>
                  <a:lnTo>
                    <a:pt x="8" y="11"/>
                  </a:lnTo>
                  <a:lnTo>
                    <a:pt x="11" y="15"/>
                  </a:lnTo>
                  <a:lnTo>
                    <a:pt x="19" y="24"/>
                  </a:lnTo>
                  <a:lnTo>
                    <a:pt x="21" y="30"/>
                  </a:lnTo>
                  <a:lnTo>
                    <a:pt x="17" y="30"/>
                  </a:lnTo>
                  <a:lnTo>
                    <a:pt x="4" y="17"/>
                  </a:lnTo>
                  <a:lnTo>
                    <a:pt x="0" y="1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277"/>
            <p:cNvSpPr>
              <a:spLocks/>
            </p:cNvSpPr>
            <p:nvPr/>
          </p:nvSpPr>
          <p:spPr bwMode="auto">
            <a:xfrm>
              <a:off x="2498725" y="6076950"/>
              <a:ext cx="33338" cy="47625"/>
            </a:xfrm>
            <a:custGeom>
              <a:avLst/>
              <a:gdLst>
                <a:gd name="T0" fmla="*/ 2 w 21"/>
                <a:gd name="T1" fmla="*/ 0 h 30"/>
                <a:gd name="T2" fmla="*/ 4 w 21"/>
                <a:gd name="T3" fmla="*/ 7 h 30"/>
                <a:gd name="T4" fmla="*/ 8 w 21"/>
                <a:gd name="T5" fmla="*/ 11 h 30"/>
                <a:gd name="T6" fmla="*/ 11 w 21"/>
                <a:gd name="T7" fmla="*/ 15 h 30"/>
                <a:gd name="T8" fmla="*/ 19 w 21"/>
                <a:gd name="T9" fmla="*/ 24 h 30"/>
                <a:gd name="T10" fmla="*/ 21 w 21"/>
                <a:gd name="T11" fmla="*/ 30 h 30"/>
                <a:gd name="T12" fmla="*/ 17 w 21"/>
                <a:gd name="T13" fmla="*/ 30 h 30"/>
                <a:gd name="T14" fmla="*/ 4 w 21"/>
                <a:gd name="T15" fmla="*/ 17 h 30"/>
                <a:gd name="T16" fmla="*/ 0 w 21"/>
                <a:gd name="T17" fmla="*/ 11 h 30"/>
                <a:gd name="T18" fmla="*/ 2 w 21"/>
                <a:gd name="T19" fmla="*/ 0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4" y="7"/>
                  </a:lnTo>
                  <a:lnTo>
                    <a:pt x="8" y="11"/>
                  </a:lnTo>
                  <a:lnTo>
                    <a:pt x="11" y="15"/>
                  </a:lnTo>
                  <a:lnTo>
                    <a:pt x="19" y="24"/>
                  </a:lnTo>
                  <a:lnTo>
                    <a:pt x="21" y="30"/>
                  </a:lnTo>
                  <a:lnTo>
                    <a:pt x="17" y="30"/>
                  </a:lnTo>
                  <a:lnTo>
                    <a:pt x="4" y="17"/>
                  </a:lnTo>
                  <a:lnTo>
                    <a:pt x="0" y="11"/>
                  </a:lnTo>
                  <a:lnTo>
                    <a:pt x="2"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1278"/>
            <p:cNvSpPr>
              <a:spLocks/>
            </p:cNvSpPr>
            <p:nvPr/>
          </p:nvSpPr>
          <p:spPr bwMode="auto">
            <a:xfrm>
              <a:off x="2519362" y="6080125"/>
              <a:ext cx="6350" cy="14288"/>
            </a:xfrm>
            <a:custGeom>
              <a:avLst/>
              <a:gdLst>
                <a:gd name="T0" fmla="*/ 0 w 4"/>
                <a:gd name="T1" fmla="*/ 0 h 9"/>
                <a:gd name="T2" fmla="*/ 4 w 4"/>
                <a:gd name="T3" fmla="*/ 5 h 9"/>
                <a:gd name="T4" fmla="*/ 4 w 4"/>
                <a:gd name="T5" fmla="*/ 9 h 9"/>
                <a:gd name="T6" fmla="*/ 0 w 4"/>
                <a:gd name="T7" fmla="*/ 9 h 9"/>
                <a:gd name="T8" fmla="*/ 0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4" y="5"/>
                  </a:lnTo>
                  <a:lnTo>
                    <a:pt x="4" y="9"/>
                  </a:lnTo>
                  <a:lnTo>
                    <a:pt x="0" y="9"/>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279"/>
            <p:cNvSpPr>
              <a:spLocks/>
            </p:cNvSpPr>
            <p:nvPr/>
          </p:nvSpPr>
          <p:spPr bwMode="auto">
            <a:xfrm>
              <a:off x="2519362" y="6080125"/>
              <a:ext cx="6350" cy="14288"/>
            </a:xfrm>
            <a:custGeom>
              <a:avLst/>
              <a:gdLst>
                <a:gd name="T0" fmla="*/ 0 w 4"/>
                <a:gd name="T1" fmla="*/ 0 h 9"/>
                <a:gd name="T2" fmla="*/ 4 w 4"/>
                <a:gd name="T3" fmla="*/ 5 h 9"/>
                <a:gd name="T4" fmla="*/ 4 w 4"/>
                <a:gd name="T5" fmla="*/ 9 h 9"/>
                <a:gd name="T6" fmla="*/ 0 w 4"/>
                <a:gd name="T7" fmla="*/ 9 h 9"/>
                <a:gd name="T8" fmla="*/ 0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4" y="5"/>
                  </a:lnTo>
                  <a:lnTo>
                    <a:pt x="4" y="9"/>
                  </a:lnTo>
                  <a:lnTo>
                    <a:pt x="0" y="9"/>
                  </a:lnTo>
                  <a:lnTo>
                    <a:pt x="0"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1280"/>
            <p:cNvSpPr>
              <a:spLocks/>
            </p:cNvSpPr>
            <p:nvPr/>
          </p:nvSpPr>
          <p:spPr bwMode="auto">
            <a:xfrm>
              <a:off x="2528887" y="6103938"/>
              <a:ext cx="6350" cy="11113"/>
            </a:xfrm>
            <a:custGeom>
              <a:avLst/>
              <a:gdLst>
                <a:gd name="T0" fmla="*/ 2 w 4"/>
                <a:gd name="T1" fmla="*/ 0 h 7"/>
                <a:gd name="T2" fmla="*/ 4 w 4"/>
                <a:gd name="T3" fmla="*/ 7 h 7"/>
                <a:gd name="T4" fmla="*/ 0 w 4"/>
                <a:gd name="T5" fmla="*/ 5 h 7"/>
                <a:gd name="T6" fmla="*/ 0 w 4"/>
                <a:gd name="T7" fmla="*/ 0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4" y="7"/>
                  </a:lnTo>
                  <a:lnTo>
                    <a:pt x="0" y="5"/>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281"/>
            <p:cNvSpPr>
              <a:spLocks/>
            </p:cNvSpPr>
            <p:nvPr/>
          </p:nvSpPr>
          <p:spPr bwMode="auto">
            <a:xfrm>
              <a:off x="2528887" y="6103938"/>
              <a:ext cx="6350" cy="11113"/>
            </a:xfrm>
            <a:custGeom>
              <a:avLst/>
              <a:gdLst>
                <a:gd name="T0" fmla="*/ 2 w 4"/>
                <a:gd name="T1" fmla="*/ 0 h 7"/>
                <a:gd name="T2" fmla="*/ 4 w 4"/>
                <a:gd name="T3" fmla="*/ 7 h 7"/>
                <a:gd name="T4" fmla="*/ 0 w 4"/>
                <a:gd name="T5" fmla="*/ 5 h 7"/>
                <a:gd name="T6" fmla="*/ 0 w 4"/>
                <a:gd name="T7" fmla="*/ 0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4" y="7"/>
                  </a:lnTo>
                  <a:lnTo>
                    <a:pt x="0" y="5"/>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1282"/>
            <p:cNvSpPr>
              <a:spLocks/>
            </p:cNvSpPr>
            <p:nvPr/>
          </p:nvSpPr>
          <p:spPr bwMode="auto">
            <a:xfrm>
              <a:off x="2566987" y="6049963"/>
              <a:ext cx="9525" cy="20638"/>
            </a:xfrm>
            <a:custGeom>
              <a:avLst/>
              <a:gdLst>
                <a:gd name="T0" fmla="*/ 0 w 6"/>
                <a:gd name="T1" fmla="*/ 0 h 13"/>
                <a:gd name="T2" fmla="*/ 4 w 6"/>
                <a:gd name="T3" fmla="*/ 2 h 13"/>
                <a:gd name="T4" fmla="*/ 6 w 6"/>
                <a:gd name="T5" fmla="*/ 9 h 13"/>
                <a:gd name="T6" fmla="*/ 6 w 6"/>
                <a:gd name="T7" fmla="*/ 13 h 13"/>
                <a:gd name="T8" fmla="*/ 2 w 6"/>
                <a:gd name="T9" fmla="*/ 11 h 13"/>
                <a:gd name="T10" fmla="*/ 0 w 6"/>
                <a:gd name="T11" fmla="*/ 5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4" y="2"/>
                  </a:lnTo>
                  <a:lnTo>
                    <a:pt x="6" y="9"/>
                  </a:lnTo>
                  <a:lnTo>
                    <a:pt x="6" y="13"/>
                  </a:lnTo>
                  <a:lnTo>
                    <a:pt x="2" y="11"/>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283"/>
            <p:cNvSpPr>
              <a:spLocks/>
            </p:cNvSpPr>
            <p:nvPr/>
          </p:nvSpPr>
          <p:spPr bwMode="auto">
            <a:xfrm>
              <a:off x="2566987" y="6049963"/>
              <a:ext cx="9525" cy="20638"/>
            </a:xfrm>
            <a:custGeom>
              <a:avLst/>
              <a:gdLst>
                <a:gd name="T0" fmla="*/ 0 w 6"/>
                <a:gd name="T1" fmla="*/ 0 h 13"/>
                <a:gd name="T2" fmla="*/ 4 w 6"/>
                <a:gd name="T3" fmla="*/ 2 h 13"/>
                <a:gd name="T4" fmla="*/ 6 w 6"/>
                <a:gd name="T5" fmla="*/ 9 h 13"/>
                <a:gd name="T6" fmla="*/ 6 w 6"/>
                <a:gd name="T7" fmla="*/ 13 h 13"/>
                <a:gd name="T8" fmla="*/ 2 w 6"/>
                <a:gd name="T9" fmla="*/ 11 h 13"/>
                <a:gd name="T10" fmla="*/ 0 w 6"/>
                <a:gd name="T11" fmla="*/ 5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4" y="2"/>
                  </a:lnTo>
                  <a:lnTo>
                    <a:pt x="6" y="9"/>
                  </a:lnTo>
                  <a:lnTo>
                    <a:pt x="6" y="13"/>
                  </a:lnTo>
                  <a:lnTo>
                    <a:pt x="2" y="11"/>
                  </a:lnTo>
                  <a:lnTo>
                    <a:pt x="0"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1284"/>
            <p:cNvSpPr>
              <a:spLocks/>
            </p:cNvSpPr>
            <p:nvPr/>
          </p:nvSpPr>
          <p:spPr bwMode="auto">
            <a:xfrm>
              <a:off x="2566987" y="5995988"/>
              <a:ext cx="42863" cy="68263"/>
            </a:xfrm>
            <a:custGeom>
              <a:avLst/>
              <a:gdLst>
                <a:gd name="T0" fmla="*/ 8 w 27"/>
                <a:gd name="T1" fmla="*/ 39 h 43"/>
                <a:gd name="T2" fmla="*/ 4 w 27"/>
                <a:gd name="T3" fmla="*/ 36 h 43"/>
                <a:gd name="T4" fmla="*/ 0 w 27"/>
                <a:gd name="T5" fmla="*/ 34 h 43"/>
                <a:gd name="T6" fmla="*/ 2 w 27"/>
                <a:gd name="T7" fmla="*/ 28 h 43"/>
                <a:gd name="T8" fmla="*/ 4 w 27"/>
                <a:gd name="T9" fmla="*/ 24 h 43"/>
                <a:gd name="T10" fmla="*/ 0 w 27"/>
                <a:gd name="T11" fmla="*/ 19 h 43"/>
                <a:gd name="T12" fmla="*/ 6 w 27"/>
                <a:gd name="T13" fmla="*/ 15 h 43"/>
                <a:gd name="T14" fmla="*/ 0 w 27"/>
                <a:gd name="T15" fmla="*/ 15 h 43"/>
                <a:gd name="T16" fmla="*/ 6 w 27"/>
                <a:gd name="T17" fmla="*/ 11 h 43"/>
                <a:gd name="T18" fmla="*/ 0 w 27"/>
                <a:gd name="T19" fmla="*/ 9 h 43"/>
                <a:gd name="T20" fmla="*/ 4 w 27"/>
                <a:gd name="T21" fmla="*/ 4 h 43"/>
                <a:gd name="T22" fmla="*/ 8 w 27"/>
                <a:gd name="T23" fmla="*/ 0 h 43"/>
                <a:gd name="T24" fmla="*/ 14 w 27"/>
                <a:gd name="T25" fmla="*/ 0 h 43"/>
                <a:gd name="T26" fmla="*/ 19 w 27"/>
                <a:gd name="T27" fmla="*/ 4 h 43"/>
                <a:gd name="T28" fmla="*/ 25 w 27"/>
                <a:gd name="T29" fmla="*/ 17 h 43"/>
                <a:gd name="T30" fmla="*/ 25 w 27"/>
                <a:gd name="T31" fmla="*/ 22 h 43"/>
                <a:gd name="T32" fmla="*/ 27 w 27"/>
                <a:gd name="T33" fmla="*/ 28 h 43"/>
                <a:gd name="T34" fmla="*/ 25 w 27"/>
                <a:gd name="T35" fmla="*/ 39 h 43"/>
                <a:gd name="T36" fmla="*/ 23 w 27"/>
                <a:gd name="T37" fmla="*/ 43 h 43"/>
                <a:gd name="T38" fmla="*/ 19 w 27"/>
                <a:gd name="T39" fmla="*/ 41 h 43"/>
                <a:gd name="T40" fmla="*/ 17 w 27"/>
                <a:gd name="T41" fmla="*/ 34 h 43"/>
                <a:gd name="T42" fmla="*/ 19 w 27"/>
                <a:gd name="T43" fmla="*/ 39 h 43"/>
                <a:gd name="T44" fmla="*/ 12 w 27"/>
                <a:gd name="T45" fmla="*/ 39 h 43"/>
                <a:gd name="T46" fmla="*/ 14 w 27"/>
                <a:gd name="T47" fmla="*/ 34 h 43"/>
                <a:gd name="T48" fmla="*/ 17 w 27"/>
                <a:gd name="T49" fmla="*/ 28 h 43"/>
                <a:gd name="T50" fmla="*/ 12 w 27"/>
                <a:gd name="T51" fmla="*/ 24 h 43"/>
                <a:gd name="T52" fmla="*/ 14 w 27"/>
                <a:gd name="T53" fmla="*/ 28 h 43"/>
                <a:gd name="T54" fmla="*/ 12 w 27"/>
                <a:gd name="T55" fmla="*/ 32 h 43"/>
                <a:gd name="T56" fmla="*/ 8 w 27"/>
                <a:gd name="T57" fmla="*/ 28 h 43"/>
                <a:gd name="T58" fmla="*/ 12 w 27"/>
                <a:gd name="T59" fmla="*/ 34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4" y="36"/>
                  </a:lnTo>
                  <a:lnTo>
                    <a:pt x="0" y="34"/>
                  </a:lnTo>
                  <a:lnTo>
                    <a:pt x="2" y="28"/>
                  </a:lnTo>
                  <a:lnTo>
                    <a:pt x="4" y="24"/>
                  </a:lnTo>
                  <a:lnTo>
                    <a:pt x="0" y="19"/>
                  </a:lnTo>
                  <a:lnTo>
                    <a:pt x="6" y="15"/>
                  </a:lnTo>
                  <a:lnTo>
                    <a:pt x="0" y="15"/>
                  </a:lnTo>
                  <a:lnTo>
                    <a:pt x="6" y="11"/>
                  </a:lnTo>
                  <a:lnTo>
                    <a:pt x="0" y="9"/>
                  </a:lnTo>
                  <a:lnTo>
                    <a:pt x="4" y="4"/>
                  </a:lnTo>
                  <a:lnTo>
                    <a:pt x="8" y="0"/>
                  </a:lnTo>
                  <a:lnTo>
                    <a:pt x="14" y="0"/>
                  </a:lnTo>
                  <a:lnTo>
                    <a:pt x="19" y="4"/>
                  </a:lnTo>
                  <a:lnTo>
                    <a:pt x="25" y="17"/>
                  </a:lnTo>
                  <a:lnTo>
                    <a:pt x="25" y="22"/>
                  </a:lnTo>
                  <a:lnTo>
                    <a:pt x="27" y="28"/>
                  </a:lnTo>
                  <a:lnTo>
                    <a:pt x="25" y="39"/>
                  </a:lnTo>
                  <a:lnTo>
                    <a:pt x="23" y="43"/>
                  </a:lnTo>
                  <a:lnTo>
                    <a:pt x="19" y="41"/>
                  </a:lnTo>
                  <a:lnTo>
                    <a:pt x="17" y="34"/>
                  </a:lnTo>
                  <a:lnTo>
                    <a:pt x="19" y="39"/>
                  </a:lnTo>
                  <a:lnTo>
                    <a:pt x="12" y="39"/>
                  </a:lnTo>
                  <a:lnTo>
                    <a:pt x="14" y="34"/>
                  </a:lnTo>
                  <a:lnTo>
                    <a:pt x="17" y="28"/>
                  </a:lnTo>
                  <a:lnTo>
                    <a:pt x="12" y="24"/>
                  </a:lnTo>
                  <a:lnTo>
                    <a:pt x="14" y="28"/>
                  </a:lnTo>
                  <a:lnTo>
                    <a:pt x="12" y="32"/>
                  </a:lnTo>
                  <a:lnTo>
                    <a:pt x="8" y="28"/>
                  </a:lnTo>
                  <a:lnTo>
                    <a:pt x="12" y="34"/>
                  </a:lnTo>
                  <a:lnTo>
                    <a:pt x="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285"/>
            <p:cNvSpPr>
              <a:spLocks/>
            </p:cNvSpPr>
            <p:nvPr/>
          </p:nvSpPr>
          <p:spPr bwMode="auto">
            <a:xfrm>
              <a:off x="2566987" y="5995988"/>
              <a:ext cx="42863" cy="68263"/>
            </a:xfrm>
            <a:custGeom>
              <a:avLst/>
              <a:gdLst>
                <a:gd name="T0" fmla="*/ 8 w 27"/>
                <a:gd name="T1" fmla="*/ 39 h 43"/>
                <a:gd name="T2" fmla="*/ 4 w 27"/>
                <a:gd name="T3" fmla="*/ 36 h 43"/>
                <a:gd name="T4" fmla="*/ 0 w 27"/>
                <a:gd name="T5" fmla="*/ 34 h 43"/>
                <a:gd name="T6" fmla="*/ 2 w 27"/>
                <a:gd name="T7" fmla="*/ 28 h 43"/>
                <a:gd name="T8" fmla="*/ 4 w 27"/>
                <a:gd name="T9" fmla="*/ 24 h 43"/>
                <a:gd name="T10" fmla="*/ 0 w 27"/>
                <a:gd name="T11" fmla="*/ 19 h 43"/>
                <a:gd name="T12" fmla="*/ 6 w 27"/>
                <a:gd name="T13" fmla="*/ 15 h 43"/>
                <a:gd name="T14" fmla="*/ 0 w 27"/>
                <a:gd name="T15" fmla="*/ 15 h 43"/>
                <a:gd name="T16" fmla="*/ 6 w 27"/>
                <a:gd name="T17" fmla="*/ 11 h 43"/>
                <a:gd name="T18" fmla="*/ 0 w 27"/>
                <a:gd name="T19" fmla="*/ 9 h 43"/>
                <a:gd name="T20" fmla="*/ 4 w 27"/>
                <a:gd name="T21" fmla="*/ 4 h 43"/>
                <a:gd name="T22" fmla="*/ 8 w 27"/>
                <a:gd name="T23" fmla="*/ 0 h 43"/>
                <a:gd name="T24" fmla="*/ 14 w 27"/>
                <a:gd name="T25" fmla="*/ 0 h 43"/>
                <a:gd name="T26" fmla="*/ 19 w 27"/>
                <a:gd name="T27" fmla="*/ 4 h 43"/>
                <a:gd name="T28" fmla="*/ 25 w 27"/>
                <a:gd name="T29" fmla="*/ 17 h 43"/>
                <a:gd name="T30" fmla="*/ 25 w 27"/>
                <a:gd name="T31" fmla="*/ 22 h 43"/>
                <a:gd name="T32" fmla="*/ 27 w 27"/>
                <a:gd name="T33" fmla="*/ 28 h 43"/>
                <a:gd name="T34" fmla="*/ 25 w 27"/>
                <a:gd name="T35" fmla="*/ 39 h 43"/>
                <a:gd name="T36" fmla="*/ 23 w 27"/>
                <a:gd name="T37" fmla="*/ 43 h 43"/>
                <a:gd name="T38" fmla="*/ 19 w 27"/>
                <a:gd name="T39" fmla="*/ 41 h 43"/>
                <a:gd name="T40" fmla="*/ 17 w 27"/>
                <a:gd name="T41" fmla="*/ 34 h 43"/>
                <a:gd name="T42" fmla="*/ 19 w 27"/>
                <a:gd name="T43" fmla="*/ 39 h 43"/>
                <a:gd name="T44" fmla="*/ 12 w 27"/>
                <a:gd name="T45" fmla="*/ 39 h 43"/>
                <a:gd name="T46" fmla="*/ 14 w 27"/>
                <a:gd name="T47" fmla="*/ 34 h 43"/>
                <a:gd name="T48" fmla="*/ 17 w 27"/>
                <a:gd name="T49" fmla="*/ 28 h 43"/>
                <a:gd name="T50" fmla="*/ 12 w 27"/>
                <a:gd name="T51" fmla="*/ 24 h 43"/>
                <a:gd name="T52" fmla="*/ 14 w 27"/>
                <a:gd name="T53" fmla="*/ 28 h 43"/>
                <a:gd name="T54" fmla="*/ 12 w 27"/>
                <a:gd name="T55" fmla="*/ 32 h 43"/>
                <a:gd name="T56" fmla="*/ 8 w 27"/>
                <a:gd name="T57" fmla="*/ 28 h 43"/>
                <a:gd name="T58" fmla="*/ 12 w 27"/>
                <a:gd name="T59" fmla="*/ 34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4" y="36"/>
                  </a:lnTo>
                  <a:lnTo>
                    <a:pt x="0" y="34"/>
                  </a:lnTo>
                  <a:lnTo>
                    <a:pt x="2" y="28"/>
                  </a:lnTo>
                  <a:lnTo>
                    <a:pt x="4" y="24"/>
                  </a:lnTo>
                  <a:lnTo>
                    <a:pt x="0" y="19"/>
                  </a:lnTo>
                  <a:lnTo>
                    <a:pt x="6" y="15"/>
                  </a:lnTo>
                  <a:lnTo>
                    <a:pt x="0" y="15"/>
                  </a:lnTo>
                  <a:lnTo>
                    <a:pt x="6" y="11"/>
                  </a:lnTo>
                  <a:lnTo>
                    <a:pt x="0" y="9"/>
                  </a:lnTo>
                  <a:lnTo>
                    <a:pt x="4" y="4"/>
                  </a:lnTo>
                  <a:lnTo>
                    <a:pt x="8" y="0"/>
                  </a:lnTo>
                  <a:lnTo>
                    <a:pt x="14" y="0"/>
                  </a:lnTo>
                  <a:lnTo>
                    <a:pt x="19" y="4"/>
                  </a:lnTo>
                  <a:lnTo>
                    <a:pt x="25" y="17"/>
                  </a:lnTo>
                  <a:lnTo>
                    <a:pt x="25" y="22"/>
                  </a:lnTo>
                  <a:lnTo>
                    <a:pt x="27" y="28"/>
                  </a:lnTo>
                  <a:lnTo>
                    <a:pt x="25" y="39"/>
                  </a:lnTo>
                  <a:lnTo>
                    <a:pt x="23" y="43"/>
                  </a:lnTo>
                  <a:lnTo>
                    <a:pt x="19" y="41"/>
                  </a:lnTo>
                  <a:lnTo>
                    <a:pt x="17" y="34"/>
                  </a:lnTo>
                  <a:lnTo>
                    <a:pt x="19" y="39"/>
                  </a:lnTo>
                  <a:lnTo>
                    <a:pt x="12" y="39"/>
                  </a:lnTo>
                  <a:lnTo>
                    <a:pt x="14" y="34"/>
                  </a:lnTo>
                  <a:lnTo>
                    <a:pt x="17" y="28"/>
                  </a:lnTo>
                  <a:lnTo>
                    <a:pt x="12" y="24"/>
                  </a:lnTo>
                  <a:lnTo>
                    <a:pt x="14" y="28"/>
                  </a:lnTo>
                  <a:lnTo>
                    <a:pt x="12" y="32"/>
                  </a:lnTo>
                  <a:lnTo>
                    <a:pt x="8" y="28"/>
                  </a:lnTo>
                  <a:lnTo>
                    <a:pt x="12" y="34"/>
                  </a:lnTo>
                  <a:lnTo>
                    <a:pt x="8" y="3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1286"/>
            <p:cNvSpPr>
              <a:spLocks/>
            </p:cNvSpPr>
            <p:nvPr/>
          </p:nvSpPr>
          <p:spPr bwMode="auto">
            <a:xfrm>
              <a:off x="2582862" y="6061075"/>
              <a:ext cx="14288" cy="15875"/>
            </a:xfrm>
            <a:custGeom>
              <a:avLst/>
              <a:gdLst>
                <a:gd name="T0" fmla="*/ 2 w 9"/>
                <a:gd name="T1" fmla="*/ 2 h 10"/>
                <a:gd name="T2" fmla="*/ 7 w 9"/>
                <a:gd name="T3" fmla="*/ 4 h 10"/>
                <a:gd name="T4" fmla="*/ 9 w 9"/>
                <a:gd name="T5" fmla="*/ 10 h 10"/>
                <a:gd name="T6" fmla="*/ 4 w 9"/>
                <a:gd name="T7" fmla="*/ 10 h 10"/>
                <a:gd name="T8" fmla="*/ 0 w 9"/>
                <a:gd name="T9" fmla="*/ 6 h 10"/>
                <a:gd name="T10" fmla="*/ 0 w 9"/>
                <a:gd name="T11" fmla="*/ 0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7" y="4"/>
                  </a:lnTo>
                  <a:lnTo>
                    <a:pt x="9" y="10"/>
                  </a:lnTo>
                  <a:lnTo>
                    <a:pt x="4" y="10"/>
                  </a:lnTo>
                  <a:lnTo>
                    <a:pt x="0" y="6"/>
                  </a:lnTo>
                  <a:lnTo>
                    <a:pt x="0"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287"/>
            <p:cNvSpPr>
              <a:spLocks/>
            </p:cNvSpPr>
            <p:nvPr/>
          </p:nvSpPr>
          <p:spPr bwMode="auto">
            <a:xfrm>
              <a:off x="2582862" y="6061075"/>
              <a:ext cx="14288" cy="15875"/>
            </a:xfrm>
            <a:custGeom>
              <a:avLst/>
              <a:gdLst>
                <a:gd name="T0" fmla="*/ 2 w 9"/>
                <a:gd name="T1" fmla="*/ 2 h 10"/>
                <a:gd name="T2" fmla="*/ 7 w 9"/>
                <a:gd name="T3" fmla="*/ 4 h 10"/>
                <a:gd name="T4" fmla="*/ 9 w 9"/>
                <a:gd name="T5" fmla="*/ 10 h 10"/>
                <a:gd name="T6" fmla="*/ 4 w 9"/>
                <a:gd name="T7" fmla="*/ 10 h 10"/>
                <a:gd name="T8" fmla="*/ 0 w 9"/>
                <a:gd name="T9" fmla="*/ 6 h 10"/>
                <a:gd name="T10" fmla="*/ 0 w 9"/>
                <a:gd name="T11" fmla="*/ 0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7" y="4"/>
                  </a:lnTo>
                  <a:lnTo>
                    <a:pt x="9" y="10"/>
                  </a:lnTo>
                  <a:lnTo>
                    <a:pt x="4" y="10"/>
                  </a:lnTo>
                  <a:lnTo>
                    <a:pt x="0" y="6"/>
                  </a:lnTo>
                  <a:lnTo>
                    <a:pt x="0" y="0"/>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1288"/>
            <p:cNvSpPr>
              <a:spLocks/>
            </p:cNvSpPr>
            <p:nvPr/>
          </p:nvSpPr>
          <p:spPr bwMode="auto">
            <a:xfrm>
              <a:off x="2597150" y="6084888"/>
              <a:ext cx="9525" cy="9525"/>
            </a:xfrm>
            <a:custGeom>
              <a:avLst/>
              <a:gdLst>
                <a:gd name="T0" fmla="*/ 4 w 6"/>
                <a:gd name="T1" fmla="*/ 0 h 6"/>
                <a:gd name="T2" fmla="*/ 6 w 6"/>
                <a:gd name="T3" fmla="*/ 4 h 6"/>
                <a:gd name="T4" fmla="*/ 0 w 6"/>
                <a:gd name="T5" fmla="*/ 6 h 6"/>
                <a:gd name="T6" fmla="*/ 2 w 6"/>
                <a:gd name="T7" fmla="*/ 2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6" y="4"/>
                  </a:lnTo>
                  <a:lnTo>
                    <a:pt x="0" y="6"/>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289"/>
            <p:cNvSpPr>
              <a:spLocks/>
            </p:cNvSpPr>
            <p:nvPr/>
          </p:nvSpPr>
          <p:spPr bwMode="auto">
            <a:xfrm>
              <a:off x="2597150" y="6084888"/>
              <a:ext cx="9525" cy="9525"/>
            </a:xfrm>
            <a:custGeom>
              <a:avLst/>
              <a:gdLst>
                <a:gd name="T0" fmla="*/ 4 w 6"/>
                <a:gd name="T1" fmla="*/ 0 h 6"/>
                <a:gd name="T2" fmla="*/ 6 w 6"/>
                <a:gd name="T3" fmla="*/ 4 h 6"/>
                <a:gd name="T4" fmla="*/ 0 w 6"/>
                <a:gd name="T5" fmla="*/ 6 h 6"/>
                <a:gd name="T6" fmla="*/ 2 w 6"/>
                <a:gd name="T7" fmla="*/ 2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6" y="4"/>
                  </a:lnTo>
                  <a:lnTo>
                    <a:pt x="0" y="6"/>
                  </a:lnTo>
                  <a:lnTo>
                    <a:pt x="2" y="2"/>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97" name="Line 1290"/>
          <p:cNvSpPr>
            <a:spLocks noChangeShapeType="1"/>
          </p:cNvSpPr>
          <p:nvPr/>
        </p:nvSpPr>
        <p:spPr bwMode="auto">
          <a:xfrm>
            <a:off x="8458200" y="25511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Line 1291"/>
          <p:cNvSpPr>
            <a:spLocks noChangeShapeType="1"/>
          </p:cNvSpPr>
          <p:nvPr/>
        </p:nvSpPr>
        <p:spPr bwMode="auto">
          <a:xfrm>
            <a:off x="8458200" y="2551113"/>
            <a:ext cx="0"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9" name="Line 1292"/>
          <p:cNvSpPr>
            <a:spLocks noChangeShapeType="1"/>
          </p:cNvSpPr>
          <p:nvPr/>
        </p:nvSpPr>
        <p:spPr bwMode="auto">
          <a:xfrm>
            <a:off x="7329487" y="2230438"/>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Line 1293"/>
          <p:cNvSpPr>
            <a:spLocks noChangeShapeType="1"/>
          </p:cNvSpPr>
          <p:nvPr/>
        </p:nvSpPr>
        <p:spPr bwMode="auto">
          <a:xfrm>
            <a:off x="7329487" y="2230438"/>
            <a:ext cx="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1" name="Line 1294"/>
          <p:cNvSpPr>
            <a:spLocks noChangeShapeType="1"/>
          </p:cNvSpPr>
          <p:nvPr/>
        </p:nvSpPr>
        <p:spPr bwMode="auto">
          <a:xfrm>
            <a:off x="7329487" y="2054225"/>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Line 1295"/>
          <p:cNvSpPr>
            <a:spLocks noChangeShapeType="1"/>
          </p:cNvSpPr>
          <p:nvPr/>
        </p:nvSpPr>
        <p:spPr bwMode="auto">
          <a:xfrm>
            <a:off x="7329487" y="2054225"/>
            <a:ext cx="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3" name="Freeform 1296"/>
          <p:cNvSpPr>
            <a:spLocks/>
          </p:cNvSpPr>
          <p:nvPr/>
        </p:nvSpPr>
        <p:spPr bwMode="auto">
          <a:xfrm>
            <a:off x="7551737" y="2479675"/>
            <a:ext cx="190500" cy="0"/>
          </a:xfrm>
          <a:custGeom>
            <a:avLst/>
            <a:gdLst>
              <a:gd name="T0" fmla="*/ 120 w 120"/>
              <a:gd name="T1" fmla="*/ 0 w 120"/>
              <a:gd name="T2" fmla="*/ 120 w 120"/>
            </a:gdLst>
            <a:ahLst/>
            <a:cxnLst>
              <a:cxn ang="0">
                <a:pos x="T0" y="0"/>
              </a:cxn>
              <a:cxn ang="0">
                <a:pos x="T1" y="0"/>
              </a:cxn>
              <a:cxn ang="0">
                <a:pos x="T2" y="0"/>
              </a:cxn>
            </a:cxnLst>
            <a:rect l="0" t="0" r="r" b="b"/>
            <a:pathLst>
              <a:path w="120">
                <a:moveTo>
                  <a:pt x="120" y="0"/>
                </a:moveTo>
                <a:lnTo>
                  <a:pt x="0" y="0"/>
                </a:lnTo>
                <a:lnTo>
                  <a:pt x="1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Line 1297"/>
          <p:cNvSpPr>
            <a:spLocks noChangeShapeType="1"/>
          </p:cNvSpPr>
          <p:nvPr/>
        </p:nvSpPr>
        <p:spPr bwMode="auto">
          <a:xfrm flipH="1">
            <a:off x="7551737" y="2479675"/>
            <a:ext cx="19050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5" name="Freeform 1298"/>
          <p:cNvSpPr>
            <a:spLocks/>
          </p:cNvSpPr>
          <p:nvPr/>
        </p:nvSpPr>
        <p:spPr bwMode="auto">
          <a:xfrm>
            <a:off x="7497762" y="2303463"/>
            <a:ext cx="244475" cy="0"/>
          </a:xfrm>
          <a:custGeom>
            <a:avLst/>
            <a:gdLst>
              <a:gd name="T0" fmla="*/ 154 w 154"/>
              <a:gd name="T1" fmla="*/ 0 w 154"/>
              <a:gd name="T2" fmla="*/ 154 w 154"/>
            </a:gdLst>
            <a:ahLst/>
            <a:cxnLst>
              <a:cxn ang="0">
                <a:pos x="T0" y="0"/>
              </a:cxn>
              <a:cxn ang="0">
                <a:pos x="T1" y="0"/>
              </a:cxn>
              <a:cxn ang="0">
                <a:pos x="T2" y="0"/>
              </a:cxn>
            </a:cxnLst>
            <a:rect l="0" t="0" r="r" b="b"/>
            <a:pathLst>
              <a:path w="154">
                <a:moveTo>
                  <a:pt x="154" y="0"/>
                </a:moveTo>
                <a:lnTo>
                  <a:pt x="0" y="0"/>
                </a:ln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Line 1299"/>
          <p:cNvSpPr>
            <a:spLocks noChangeShapeType="1"/>
          </p:cNvSpPr>
          <p:nvPr/>
        </p:nvSpPr>
        <p:spPr bwMode="auto">
          <a:xfrm flipH="1">
            <a:off x="7497762" y="2303463"/>
            <a:ext cx="244475"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7" name="Freeform 1300"/>
          <p:cNvSpPr>
            <a:spLocks/>
          </p:cNvSpPr>
          <p:nvPr/>
        </p:nvSpPr>
        <p:spPr bwMode="auto">
          <a:xfrm>
            <a:off x="7578725" y="2655888"/>
            <a:ext cx="163513" cy="0"/>
          </a:xfrm>
          <a:custGeom>
            <a:avLst/>
            <a:gdLst>
              <a:gd name="T0" fmla="*/ 103 w 103"/>
              <a:gd name="T1" fmla="*/ 0 w 103"/>
              <a:gd name="T2" fmla="*/ 103 w 103"/>
            </a:gdLst>
            <a:ahLst/>
            <a:cxnLst>
              <a:cxn ang="0">
                <a:pos x="T0" y="0"/>
              </a:cxn>
              <a:cxn ang="0">
                <a:pos x="T1" y="0"/>
              </a:cxn>
              <a:cxn ang="0">
                <a:pos x="T2" y="0"/>
              </a:cxn>
            </a:cxnLst>
            <a:rect l="0" t="0" r="r" b="b"/>
            <a:pathLst>
              <a:path w="103">
                <a:moveTo>
                  <a:pt x="103" y="0"/>
                </a:moveTo>
                <a:lnTo>
                  <a:pt x="0" y="0"/>
                </a:lnTo>
                <a:lnTo>
                  <a:pt x="10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Line 1301"/>
          <p:cNvSpPr>
            <a:spLocks noChangeShapeType="1"/>
          </p:cNvSpPr>
          <p:nvPr/>
        </p:nvSpPr>
        <p:spPr bwMode="auto">
          <a:xfrm flipH="1">
            <a:off x="7578725" y="2655888"/>
            <a:ext cx="163513"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9" name="Freeform 1302"/>
          <p:cNvSpPr>
            <a:spLocks/>
          </p:cNvSpPr>
          <p:nvPr/>
        </p:nvSpPr>
        <p:spPr bwMode="auto">
          <a:xfrm>
            <a:off x="7267575" y="3033713"/>
            <a:ext cx="109538" cy="0"/>
          </a:xfrm>
          <a:custGeom>
            <a:avLst/>
            <a:gdLst>
              <a:gd name="T0" fmla="*/ 69 w 69"/>
              <a:gd name="T1" fmla="*/ 0 w 69"/>
              <a:gd name="T2" fmla="*/ 69 w 69"/>
            </a:gdLst>
            <a:ahLst/>
            <a:cxnLst>
              <a:cxn ang="0">
                <a:pos x="T0" y="0"/>
              </a:cxn>
              <a:cxn ang="0">
                <a:pos x="T1" y="0"/>
              </a:cxn>
              <a:cxn ang="0">
                <a:pos x="T2" y="0"/>
              </a:cxn>
            </a:cxnLst>
            <a:rect l="0" t="0" r="r" b="b"/>
            <a:pathLst>
              <a:path w="69">
                <a:moveTo>
                  <a:pt x="69" y="0"/>
                </a:moveTo>
                <a:lnTo>
                  <a:pt x="0" y="0"/>
                </a:lnTo>
                <a:lnTo>
                  <a:pt x="6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Line 1303"/>
          <p:cNvSpPr>
            <a:spLocks noChangeShapeType="1"/>
          </p:cNvSpPr>
          <p:nvPr/>
        </p:nvSpPr>
        <p:spPr bwMode="auto">
          <a:xfrm flipH="1">
            <a:off x="7267575" y="3033713"/>
            <a:ext cx="10953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1" name="Freeform 1304"/>
          <p:cNvSpPr>
            <a:spLocks/>
          </p:cNvSpPr>
          <p:nvPr/>
        </p:nvSpPr>
        <p:spPr bwMode="auto">
          <a:xfrm>
            <a:off x="7186612" y="3263900"/>
            <a:ext cx="190500" cy="0"/>
          </a:xfrm>
          <a:custGeom>
            <a:avLst/>
            <a:gdLst>
              <a:gd name="T0" fmla="*/ 120 w 120"/>
              <a:gd name="T1" fmla="*/ 0 w 120"/>
              <a:gd name="T2" fmla="*/ 120 w 120"/>
            </a:gdLst>
            <a:ahLst/>
            <a:cxnLst>
              <a:cxn ang="0">
                <a:pos x="T0" y="0"/>
              </a:cxn>
              <a:cxn ang="0">
                <a:pos x="T1" y="0"/>
              </a:cxn>
              <a:cxn ang="0">
                <a:pos x="T2" y="0"/>
              </a:cxn>
            </a:cxnLst>
            <a:rect l="0" t="0" r="r" b="b"/>
            <a:pathLst>
              <a:path w="120">
                <a:moveTo>
                  <a:pt x="120" y="0"/>
                </a:moveTo>
                <a:lnTo>
                  <a:pt x="0" y="0"/>
                </a:lnTo>
                <a:lnTo>
                  <a:pt x="1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Line 1305"/>
          <p:cNvSpPr>
            <a:spLocks noChangeShapeType="1"/>
          </p:cNvSpPr>
          <p:nvPr/>
        </p:nvSpPr>
        <p:spPr bwMode="auto">
          <a:xfrm flipH="1">
            <a:off x="7186612" y="3263900"/>
            <a:ext cx="19050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6" name="Rectangle 1339"/>
          <p:cNvSpPr>
            <a:spLocks noChangeArrowheads="1"/>
          </p:cNvSpPr>
          <p:nvPr/>
        </p:nvSpPr>
        <p:spPr bwMode="auto">
          <a:xfrm>
            <a:off x="2535237" y="1961356"/>
            <a:ext cx="4016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on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48" name="Rectangle 1341"/>
          <p:cNvSpPr>
            <a:spLocks noChangeArrowheads="1"/>
          </p:cNvSpPr>
          <p:nvPr/>
        </p:nvSpPr>
        <p:spPr bwMode="auto">
          <a:xfrm>
            <a:off x="3740942" y="3021648"/>
            <a:ext cx="3381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eb.</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51" name="Rectangle 1344"/>
          <p:cNvSpPr>
            <a:spLocks noChangeArrowheads="1"/>
          </p:cNvSpPr>
          <p:nvPr/>
        </p:nvSpPr>
        <p:spPr bwMode="auto">
          <a:xfrm>
            <a:off x="6729600" y="3488573"/>
            <a:ext cx="1907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V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54" name="Rectangle 1347"/>
          <p:cNvSpPr>
            <a:spLocks noChangeArrowheads="1"/>
          </p:cNvSpPr>
          <p:nvPr/>
        </p:nvSpPr>
        <p:spPr bwMode="auto">
          <a:xfrm>
            <a:off x="6294546" y="3389313"/>
            <a:ext cx="3337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kern="100" cap="none" normalizeH="0" dirty="0">
                <a:ln>
                  <a:noFill/>
                </a:ln>
                <a:solidFill>
                  <a:srgbClr val="000000"/>
                </a:solidFill>
                <a:effectLst/>
                <a:latin typeface="Arial" pitchFamily="34" charset="0"/>
                <a:cs typeface="Arial" pitchFamily="34" charset="0"/>
              </a:rPr>
              <a:t>W.Va.</a:t>
            </a:r>
            <a:endParaRPr kumimoji="0" lang="en-US" altLang="en-US" sz="1800" b="0" i="0" u="none" strike="noStrike" kern="100" cap="none" normalizeH="0" dirty="0">
              <a:ln>
                <a:noFill/>
              </a:ln>
              <a:solidFill>
                <a:schemeClr val="tx1"/>
              </a:solidFill>
              <a:effectLst/>
              <a:latin typeface="Arial" pitchFamily="34" charset="0"/>
              <a:cs typeface="Arial" pitchFamily="34" charset="0"/>
            </a:endParaRPr>
          </a:p>
        </p:txBody>
      </p:sp>
      <p:sp>
        <p:nvSpPr>
          <p:cNvPr id="758" name="Rectangle 1351"/>
          <p:cNvSpPr>
            <a:spLocks noChangeArrowheads="1"/>
          </p:cNvSpPr>
          <p:nvPr/>
        </p:nvSpPr>
        <p:spPr bwMode="auto">
          <a:xfrm>
            <a:off x="6157912" y="4466432"/>
            <a:ext cx="271463"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G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0" name="Rectangle 1353"/>
          <p:cNvSpPr>
            <a:spLocks noChangeArrowheads="1"/>
          </p:cNvSpPr>
          <p:nvPr/>
        </p:nvSpPr>
        <p:spPr bwMode="auto">
          <a:xfrm>
            <a:off x="1810038" y="2356116"/>
            <a:ext cx="4032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dah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2" name="Rectangle 1355"/>
          <p:cNvSpPr>
            <a:spLocks noChangeArrowheads="1"/>
          </p:cNvSpPr>
          <p:nvPr/>
        </p:nvSpPr>
        <p:spPr bwMode="auto">
          <a:xfrm>
            <a:off x="5249544" y="3252788"/>
            <a:ext cx="206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ll.</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4" name="Rectangle 1357"/>
          <p:cNvSpPr>
            <a:spLocks noChangeArrowheads="1"/>
          </p:cNvSpPr>
          <p:nvPr/>
        </p:nvSpPr>
        <p:spPr bwMode="auto">
          <a:xfrm>
            <a:off x="4562475" y="2919412"/>
            <a:ext cx="3476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ow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6" name="Rectangle 1359"/>
          <p:cNvSpPr>
            <a:spLocks noChangeArrowheads="1"/>
          </p:cNvSpPr>
          <p:nvPr/>
        </p:nvSpPr>
        <p:spPr bwMode="auto">
          <a:xfrm>
            <a:off x="3881437" y="3556477"/>
            <a:ext cx="3381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Ka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9" name="Rectangle 1362"/>
          <p:cNvSpPr>
            <a:spLocks noChangeArrowheads="1"/>
          </p:cNvSpPr>
          <p:nvPr/>
        </p:nvSpPr>
        <p:spPr bwMode="auto">
          <a:xfrm>
            <a:off x="5848091" y="3622170"/>
            <a:ext cx="1987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Ky.</a:t>
            </a:r>
            <a:endParaRPr lang="en-US" altLang="en-US" sz="2400" b="1" dirty="0">
              <a:solidFill>
                <a:srgbClr val="000000"/>
              </a:solidFill>
            </a:endParaRPr>
          </a:p>
        </p:txBody>
      </p:sp>
      <p:sp>
        <p:nvSpPr>
          <p:cNvPr id="772" name="Rectangle 1365"/>
          <p:cNvSpPr>
            <a:spLocks noChangeArrowheads="1"/>
          </p:cNvSpPr>
          <p:nvPr/>
        </p:nvSpPr>
        <p:spPr bwMode="auto">
          <a:xfrm>
            <a:off x="4794399" y="4843076"/>
            <a:ext cx="272107"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La.</a:t>
            </a:r>
          </a:p>
        </p:txBody>
      </p:sp>
      <p:sp>
        <p:nvSpPr>
          <p:cNvPr id="774" name="Rectangle 1367"/>
          <p:cNvSpPr>
            <a:spLocks noChangeArrowheads="1"/>
          </p:cNvSpPr>
          <p:nvPr/>
        </p:nvSpPr>
        <p:spPr bwMode="auto">
          <a:xfrm>
            <a:off x="7549991" y="1847850"/>
            <a:ext cx="4254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aine</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76" name="Rectangle 1369"/>
          <p:cNvSpPr>
            <a:spLocks noChangeArrowheads="1"/>
          </p:cNvSpPr>
          <p:nvPr/>
        </p:nvSpPr>
        <p:spPr bwMode="auto">
          <a:xfrm>
            <a:off x="2874962" y="3439160"/>
            <a:ext cx="3825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Col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78" name="Rectangle 1371"/>
          <p:cNvSpPr>
            <a:spLocks noChangeArrowheads="1"/>
          </p:cNvSpPr>
          <p:nvPr/>
        </p:nvSpPr>
        <p:spPr bwMode="auto">
          <a:xfrm>
            <a:off x="7418387" y="3182938"/>
            <a:ext cx="2984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Del.</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80" name="Rectangle 1373"/>
          <p:cNvSpPr>
            <a:spLocks noChangeArrowheads="1"/>
          </p:cNvSpPr>
          <p:nvPr/>
        </p:nvSpPr>
        <p:spPr bwMode="auto">
          <a:xfrm>
            <a:off x="7418387" y="2957513"/>
            <a:ext cx="2968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N.J.</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782" name="Rectangle 1375"/>
          <p:cNvSpPr>
            <a:spLocks noChangeArrowheads="1"/>
          </p:cNvSpPr>
          <p:nvPr/>
        </p:nvSpPr>
        <p:spPr bwMode="auto">
          <a:xfrm>
            <a:off x="7777162" y="2416175"/>
            <a:ext cx="4191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Mas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784" name="Rectangle 1377"/>
          <p:cNvSpPr>
            <a:spLocks noChangeArrowheads="1"/>
          </p:cNvSpPr>
          <p:nvPr/>
        </p:nvSpPr>
        <p:spPr bwMode="auto">
          <a:xfrm>
            <a:off x="6644323" y="3846513"/>
            <a:ext cx="317500"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C.</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86" name="Rectangle 1379"/>
          <p:cNvSpPr>
            <a:spLocks noChangeArrowheads="1"/>
          </p:cNvSpPr>
          <p:nvPr/>
        </p:nvSpPr>
        <p:spPr bwMode="auto">
          <a:xfrm>
            <a:off x="6492875" y="4184550"/>
            <a:ext cx="3111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S.C.</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88" name="Rectangle 1381"/>
          <p:cNvSpPr>
            <a:spLocks noChangeArrowheads="1"/>
          </p:cNvSpPr>
          <p:nvPr/>
        </p:nvSpPr>
        <p:spPr bwMode="auto">
          <a:xfrm>
            <a:off x="5704608" y="2625724"/>
            <a:ext cx="3889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ich.</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90" name="Rectangle 1383"/>
          <p:cNvSpPr>
            <a:spLocks noChangeArrowheads="1"/>
          </p:cNvSpPr>
          <p:nvPr/>
        </p:nvSpPr>
        <p:spPr bwMode="auto">
          <a:xfrm>
            <a:off x="4384674" y="2205831"/>
            <a:ext cx="3952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in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92" name="Rectangle 1385"/>
          <p:cNvSpPr>
            <a:spLocks noChangeArrowheads="1"/>
          </p:cNvSpPr>
          <p:nvPr/>
        </p:nvSpPr>
        <p:spPr bwMode="auto">
          <a:xfrm>
            <a:off x="5175250" y="4539933"/>
            <a:ext cx="31899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iss.</a:t>
            </a:r>
          </a:p>
        </p:txBody>
      </p:sp>
      <p:sp>
        <p:nvSpPr>
          <p:cNvPr id="794" name="Rectangle 1387"/>
          <p:cNvSpPr>
            <a:spLocks noChangeArrowheads="1"/>
          </p:cNvSpPr>
          <p:nvPr/>
        </p:nvSpPr>
        <p:spPr bwMode="auto">
          <a:xfrm>
            <a:off x="7780337" y="2601913"/>
            <a:ext cx="2635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R.I.</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796" name="Rectangle 1389"/>
          <p:cNvSpPr>
            <a:spLocks noChangeArrowheads="1"/>
          </p:cNvSpPr>
          <p:nvPr/>
        </p:nvSpPr>
        <p:spPr bwMode="auto">
          <a:xfrm>
            <a:off x="2793841" y="4237593"/>
            <a:ext cx="3317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M.</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99" name="Rectangle 1392"/>
          <p:cNvSpPr>
            <a:spLocks noChangeArrowheads="1"/>
          </p:cNvSpPr>
          <p:nvPr/>
        </p:nvSpPr>
        <p:spPr bwMode="auto">
          <a:xfrm>
            <a:off x="3748954" y="4788000"/>
            <a:ext cx="360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Texas</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2" name="Rectangle 1395"/>
          <p:cNvSpPr>
            <a:spLocks noChangeArrowheads="1"/>
          </p:cNvSpPr>
          <p:nvPr/>
        </p:nvSpPr>
        <p:spPr bwMode="auto">
          <a:xfrm>
            <a:off x="2729126" y="2665513"/>
            <a:ext cx="30617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Wy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4" name="Rectangle 1397"/>
          <p:cNvSpPr>
            <a:spLocks noChangeArrowheads="1"/>
          </p:cNvSpPr>
          <p:nvPr/>
        </p:nvSpPr>
        <p:spPr bwMode="auto">
          <a:xfrm>
            <a:off x="3678237" y="2501900"/>
            <a:ext cx="3111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S.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7" name="Rectangle 1400"/>
          <p:cNvSpPr>
            <a:spLocks noChangeArrowheads="1"/>
          </p:cNvSpPr>
          <p:nvPr/>
        </p:nvSpPr>
        <p:spPr bwMode="auto">
          <a:xfrm>
            <a:off x="5572792" y="3975101"/>
            <a:ext cx="34144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Ten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9" name="Rectangle 1402"/>
          <p:cNvSpPr>
            <a:spLocks noChangeArrowheads="1"/>
          </p:cNvSpPr>
          <p:nvPr/>
        </p:nvSpPr>
        <p:spPr bwMode="auto">
          <a:xfrm>
            <a:off x="4045743" y="4095274"/>
            <a:ext cx="3746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Okl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1" name="Rectangle 1404"/>
          <p:cNvSpPr>
            <a:spLocks noChangeArrowheads="1"/>
          </p:cNvSpPr>
          <p:nvPr/>
        </p:nvSpPr>
        <p:spPr bwMode="auto">
          <a:xfrm>
            <a:off x="1101724" y="2205831"/>
            <a:ext cx="3206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Ore.</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3" name="Rectangle 1406"/>
          <p:cNvSpPr>
            <a:spLocks noChangeArrowheads="1"/>
          </p:cNvSpPr>
          <p:nvPr/>
        </p:nvSpPr>
        <p:spPr bwMode="auto">
          <a:xfrm>
            <a:off x="4764087" y="4215606"/>
            <a:ext cx="3079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rk.</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5" name="Rectangle 1408"/>
          <p:cNvSpPr>
            <a:spLocks noChangeArrowheads="1"/>
          </p:cNvSpPr>
          <p:nvPr/>
        </p:nvSpPr>
        <p:spPr bwMode="auto">
          <a:xfrm>
            <a:off x="7780337" y="2235200"/>
            <a:ext cx="3175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N.H.</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817" name="Rectangle 1410"/>
          <p:cNvSpPr>
            <a:spLocks noChangeArrowheads="1"/>
          </p:cNvSpPr>
          <p:nvPr/>
        </p:nvSpPr>
        <p:spPr bwMode="auto">
          <a:xfrm>
            <a:off x="1440656" y="5105083"/>
            <a:ext cx="4699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lask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9" name="Rectangle 1412"/>
          <p:cNvSpPr>
            <a:spLocks noChangeArrowheads="1"/>
          </p:cNvSpPr>
          <p:nvPr/>
        </p:nvSpPr>
        <p:spPr bwMode="auto">
          <a:xfrm>
            <a:off x="2945606" y="5791993"/>
            <a:ext cx="4699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Hawaii</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21" name="Rectangle 1414"/>
          <p:cNvSpPr>
            <a:spLocks noChangeArrowheads="1"/>
          </p:cNvSpPr>
          <p:nvPr/>
        </p:nvSpPr>
        <p:spPr bwMode="auto">
          <a:xfrm>
            <a:off x="5664676" y="4505325"/>
            <a:ext cx="295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l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23" name="Freeform 1416"/>
          <p:cNvSpPr>
            <a:spLocks/>
          </p:cNvSpPr>
          <p:nvPr/>
        </p:nvSpPr>
        <p:spPr bwMode="auto">
          <a:xfrm>
            <a:off x="7400925" y="2722563"/>
            <a:ext cx="249238" cy="74613"/>
          </a:xfrm>
          <a:custGeom>
            <a:avLst/>
            <a:gdLst>
              <a:gd name="T0" fmla="*/ 0 w 157"/>
              <a:gd name="T1" fmla="*/ 0 h 47"/>
              <a:gd name="T2" fmla="*/ 157 w 157"/>
              <a:gd name="T3" fmla="*/ 0 h 47"/>
              <a:gd name="T4" fmla="*/ 157 w 157"/>
              <a:gd name="T5" fmla="*/ 47 h 47"/>
            </a:gdLst>
            <a:ahLst/>
            <a:cxnLst>
              <a:cxn ang="0">
                <a:pos x="T0" y="T1"/>
              </a:cxn>
              <a:cxn ang="0">
                <a:pos x="T2" y="T3"/>
              </a:cxn>
              <a:cxn ang="0">
                <a:pos x="T4" y="T5"/>
              </a:cxn>
            </a:cxnLst>
            <a:rect l="0" t="0" r="r" b="b"/>
            <a:pathLst>
              <a:path w="157" h="47">
                <a:moveTo>
                  <a:pt x="0" y="0"/>
                </a:moveTo>
                <a:lnTo>
                  <a:pt x="157" y="0"/>
                </a:lnTo>
                <a:lnTo>
                  <a:pt x="157" y="47"/>
                </a:lnTo>
              </a:path>
            </a:pathLst>
          </a:custGeom>
          <a:noFill/>
          <a:ln w="11113"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4" name="Freeform 1417"/>
          <p:cNvSpPr>
            <a:spLocks/>
          </p:cNvSpPr>
          <p:nvPr/>
        </p:nvSpPr>
        <p:spPr bwMode="auto">
          <a:xfrm>
            <a:off x="7000876" y="3216276"/>
            <a:ext cx="331786" cy="142875"/>
          </a:xfrm>
          <a:custGeom>
            <a:avLst/>
            <a:gdLst>
              <a:gd name="T0" fmla="*/ 200 w 200"/>
              <a:gd name="T1" fmla="*/ 107 h 107"/>
              <a:gd name="T2" fmla="*/ 0 w 200"/>
              <a:gd name="T3" fmla="*/ 107 h 107"/>
              <a:gd name="T4" fmla="*/ 0 w 200"/>
              <a:gd name="T5" fmla="*/ 0 h 107"/>
            </a:gdLst>
            <a:ahLst/>
            <a:cxnLst>
              <a:cxn ang="0">
                <a:pos x="T0" y="T1"/>
              </a:cxn>
              <a:cxn ang="0">
                <a:pos x="T2" y="T3"/>
              </a:cxn>
              <a:cxn ang="0">
                <a:pos x="T4" y="T5"/>
              </a:cxn>
            </a:cxnLst>
            <a:rect l="0" t="0" r="r" b="b"/>
            <a:pathLst>
              <a:path w="200" h="107">
                <a:moveTo>
                  <a:pt x="200" y="107"/>
                </a:moveTo>
                <a:lnTo>
                  <a:pt x="0" y="107"/>
                </a:lnTo>
                <a:lnTo>
                  <a:pt x="0" y="0"/>
                </a:lnTo>
              </a:path>
            </a:pathLst>
          </a:custGeom>
          <a:noFill/>
          <a:ln w="11113"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5" name="Rectangle 1418"/>
          <p:cNvSpPr>
            <a:spLocks noChangeArrowheads="1"/>
          </p:cNvSpPr>
          <p:nvPr/>
        </p:nvSpPr>
        <p:spPr bwMode="auto">
          <a:xfrm>
            <a:off x="4764087" y="3577938"/>
            <a:ext cx="2794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27" name="Rectangle 1420"/>
          <p:cNvSpPr>
            <a:spLocks noChangeArrowheads="1"/>
          </p:cNvSpPr>
          <p:nvPr/>
        </p:nvSpPr>
        <p:spPr bwMode="auto">
          <a:xfrm>
            <a:off x="1411491" y="3168333"/>
            <a:ext cx="26930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ev.</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1" name="Rectangle 1424"/>
          <p:cNvSpPr>
            <a:spLocks noChangeArrowheads="1"/>
          </p:cNvSpPr>
          <p:nvPr/>
        </p:nvSpPr>
        <p:spPr bwMode="auto">
          <a:xfrm>
            <a:off x="7236142" y="2106614"/>
            <a:ext cx="3206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V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3" name="Rectangle 1426"/>
          <p:cNvSpPr>
            <a:spLocks noChangeArrowheads="1"/>
          </p:cNvSpPr>
          <p:nvPr/>
        </p:nvSpPr>
        <p:spPr bwMode="auto">
          <a:xfrm>
            <a:off x="2085974" y="3287395"/>
            <a:ext cx="3444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Utah</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5" name="Rectangle 1428"/>
          <p:cNvSpPr>
            <a:spLocks noChangeArrowheads="1"/>
          </p:cNvSpPr>
          <p:nvPr/>
        </p:nvSpPr>
        <p:spPr bwMode="auto">
          <a:xfrm>
            <a:off x="6557168" y="5212557"/>
            <a:ext cx="2841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Fl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7" name="Rectangle 1430"/>
          <p:cNvSpPr>
            <a:spLocks noChangeArrowheads="1"/>
          </p:cNvSpPr>
          <p:nvPr/>
        </p:nvSpPr>
        <p:spPr bwMode="auto">
          <a:xfrm>
            <a:off x="5609615" y="3233440"/>
            <a:ext cx="29051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n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9" name="Rectangle 1432"/>
          <p:cNvSpPr>
            <a:spLocks noChangeArrowheads="1"/>
          </p:cNvSpPr>
          <p:nvPr/>
        </p:nvSpPr>
        <p:spPr bwMode="auto">
          <a:xfrm>
            <a:off x="5991860" y="3129222"/>
            <a:ext cx="3524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Ohi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41" name="Rectangle 1434"/>
          <p:cNvSpPr>
            <a:spLocks noChangeArrowheads="1"/>
          </p:cNvSpPr>
          <p:nvPr/>
        </p:nvSpPr>
        <p:spPr bwMode="auto">
          <a:xfrm>
            <a:off x="7375525" y="3298825"/>
            <a:ext cx="2809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44" name="Rectangle 1437"/>
          <p:cNvSpPr>
            <a:spLocks noChangeArrowheads="1"/>
          </p:cNvSpPr>
          <p:nvPr/>
        </p:nvSpPr>
        <p:spPr bwMode="auto">
          <a:xfrm>
            <a:off x="6933770" y="2463106"/>
            <a:ext cx="2484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Y.</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48" name="Rectangle 1441"/>
          <p:cNvSpPr>
            <a:spLocks noChangeArrowheads="1"/>
          </p:cNvSpPr>
          <p:nvPr/>
        </p:nvSpPr>
        <p:spPr bwMode="auto">
          <a:xfrm>
            <a:off x="5040313" y="2466281"/>
            <a:ext cx="2628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Wis.</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50" name="Rectangle 1443"/>
          <p:cNvSpPr>
            <a:spLocks noChangeArrowheads="1"/>
          </p:cNvSpPr>
          <p:nvPr/>
        </p:nvSpPr>
        <p:spPr bwMode="auto">
          <a:xfrm>
            <a:off x="7488237" y="2770188"/>
            <a:ext cx="422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Conn.</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852" name="Rectangle 1445"/>
          <p:cNvSpPr>
            <a:spLocks noChangeArrowheads="1"/>
          </p:cNvSpPr>
          <p:nvPr/>
        </p:nvSpPr>
        <p:spPr bwMode="auto">
          <a:xfrm>
            <a:off x="1967706" y="4131468"/>
            <a:ext cx="3381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riz.</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54" name="Rectangle 1447"/>
          <p:cNvSpPr>
            <a:spLocks noChangeArrowheads="1"/>
          </p:cNvSpPr>
          <p:nvPr/>
        </p:nvSpPr>
        <p:spPr bwMode="auto">
          <a:xfrm>
            <a:off x="3689351" y="1986757"/>
            <a:ext cx="3175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56" name="Rectangle 1449"/>
          <p:cNvSpPr>
            <a:spLocks noChangeArrowheads="1"/>
          </p:cNvSpPr>
          <p:nvPr/>
        </p:nvSpPr>
        <p:spPr bwMode="auto">
          <a:xfrm>
            <a:off x="6696869" y="2887346"/>
            <a:ext cx="254000"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P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59" name="Rectangle 1452"/>
          <p:cNvSpPr>
            <a:spLocks noChangeArrowheads="1"/>
          </p:cNvSpPr>
          <p:nvPr/>
        </p:nvSpPr>
        <p:spPr bwMode="auto">
          <a:xfrm>
            <a:off x="1261195" y="1669405"/>
            <a:ext cx="37670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Wash.</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61" name="Rectangle 1454"/>
          <p:cNvSpPr>
            <a:spLocks noChangeArrowheads="1"/>
          </p:cNvSpPr>
          <p:nvPr/>
        </p:nvSpPr>
        <p:spPr bwMode="auto">
          <a:xfrm>
            <a:off x="895350" y="3481388"/>
            <a:ext cx="3762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Calif.</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nvGrpSpPr>
          <p:cNvPr id="10" name="Group 9"/>
          <p:cNvGrpSpPr/>
          <p:nvPr/>
        </p:nvGrpSpPr>
        <p:grpSpPr>
          <a:xfrm>
            <a:off x="5122748" y="835026"/>
            <a:ext cx="2874296" cy="610048"/>
            <a:chOff x="3737410" y="913660"/>
            <a:chExt cx="2874296" cy="610048"/>
          </a:xfrm>
        </p:grpSpPr>
        <p:sp>
          <p:nvSpPr>
            <p:cNvPr id="713" name="Rectangle 1306"/>
            <p:cNvSpPr>
              <a:spLocks noChangeArrowheads="1"/>
            </p:cNvSpPr>
            <p:nvPr/>
          </p:nvSpPr>
          <p:spPr bwMode="auto">
            <a:xfrm>
              <a:off x="5502428" y="1128126"/>
              <a:ext cx="110927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ikely Republican</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15" name="Rectangle 1308"/>
            <p:cNvSpPr>
              <a:spLocks noChangeArrowheads="1"/>
            </p:cNvSpPr>
            <p:nvPr/>
          </p:nvSpPr>
          <p:spPr bwMode="auto">
            <a:xfrm>
              <a:off x="5494831" y="920750"/>
              <a:ext cx="106279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Solid Republican</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38" name="Rectangle 1331"/>
            <p:cNvSpPr>
              <a:spLocks noChangeArrowheads="1"/>
            </p:cNvSpPr>
            <p:nvPr/>
          </p:nvSpPr>
          <p:spPr bwMode="auto">
            <a:xfrm>
              <a:off x="3945048" y="1137485"/>
              <a:ext cx="111408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ikely Democratic</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0" name="Rectangle 1333"/>
            <p:cNvSpPr>
              <a:spLocks noChangeArrowheads="1"/>
            </p:cNvSpPr>
            <p:nvPr/>
          </p:nvSpPr>
          <p:spPr bwMode="auto">
            <a:xfrm>
              <a:off x="3945048" y="1354431"/>
              <a:ext cx="1065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ean Democratic</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1" name="Rectangle 1332"/>
            <p:cNvSpPr>
              <a:spLocks noChangeArrowheads="1"/>
            </p:cNvSpPr>
            <p:nvPr/>
          </p:nvSpPr>
          <p:spPr bwMode="auto">
            <a:xfrm>
              <a:off x="3737410" y="952207"/>
              <a:ext cx="144065" cy="107950"/>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722" name="Rectangle 1333"/>
            <p:cNvSpPr>
              <a:spLocks noChangeArrowheads="1"/>
            </p:cNvSpPr>
            <p:nvPr/>
          </p:nvSpPr>
          <p:spPr bwMode="auto">
            <a:xfrm>
              <a:off x="3934330" y="913660"/>
              <a:ext cx="106760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Solid Democratic</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3" name="Rectangle 1308"/>
            <p:cNvSpPr>
              <a:spLocks noChangeArrowheads="1"/>
            </p:cNvSpPr>
            <p:nvPr/>
          </p:nvSpPr>
          <p:spPr bwMode="auto">
            <a:xfrm>
              <a:off x="5495633" y="1334596"/>
              <a:ext cx="106118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ean Republican</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4" name="Rectangle 1332"/>
            <p:cNvSpPr>
              <a:spLocks noChangeArrowheads="1"/>
            </p:cNvSpPr>
            <p:nvPr/>
          </p:nvSpPr>
          <p:spPr bwMode="auto">
            <a:xfrm>
              <a:off x="3737410" y="1176337"/>
              <a:ext cx="144065" cy="107950"/>
            </a:xfrm>
            <a:prstGeom prst="rect">
              <a:avLst/>
            </a:prstGeom>
            <a:solidFill>
              <a:srgbClr val="21A0FF"/>
            </a:solidFill>
            <a:ln>
              <a:noFill/>
            </a:ln>
          </p:spPr>
          <p:txBody>
            <a:bodyPr vert="horz" wrap="square" lIns="91440" tIns="45720" rIns="91440" bIns="45720" numCol="1" anchor="t" anchorCtr="0" compatLnSpc="1">
              <a:prstTxWarp prst="textNoShape">
                <a:avLst/>
              </a:prstTxWarp>
            </a:bodyPr>
            <a:lstStyle/>
            <a:p>
              <a:endParaRPr lang="en-US"/>
            </a:p>
          </p:txBody>
        </p:sp>
        <p:sp>
          <p:nvSpPr>
            <p:cNvPr id="725" name="Rectangle 1332"/>
            <p:cNvSpPr>
              <a:spLocks noChangeArrowheads="1"/>
            </p:cNvSpPr>
            <p:nvPr/>
          </p:nvSpPr>
          <p:spPr bwMode="auto">
            <a:xfrm>
              <a:off x="3737410" y="1381125"/>
              <a:ext cx="144065" cy="107950"/>
            </a:xfrm>
            <a:prstGeom prst="rect">
              <a:avLst/>
            </a:prstGeom>
            <a:solidFill>
              <a:srgbClr val="9BD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Rectangle 1332"/>
            <p:cNvSpPr>
              <a:spLocks noChangeArrowheads="1"/>
            </p:cNvSpPr>
            <p:nvPr/>
          </p:nvSpPr>
          <p:spPr bwMode="auto">
            <a:xfrm>
              <a:off x="5269364" y="958850"/>
              <a:ext cx="144065" cy="107950"/>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727" name="Rectangle 1332"/>
            <p:cNvSpPr>
              <a:spLocks noChangeArrowheads="1"/>
            </p:cNvSpPr>
            <p:nvPr/>
          </p:nvSpPr>
          <p:spPr bwMode="auto">
            <a:xfrm>
              <a:off x="5269818" y="1170985"/>
              <a:ext cx="144065" cy="107950"/>
            </a:xfrm>
            <a:prstGeom prst="rect">
              <a:avLst/>
            </a:prstGeom>
            <a:solidFill>
              <a:srgbClr val="FF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Rectangle 1332"/>
            <p:cNvSpPr>
              <a:spLocks noChangeArrowheads="1"/>
            </p:cNvSpPr>
            <p:nvPr/>
          </p:nvSpPr>
          <p:spPr bwMode="auto">
            <a:xfrm>
              <a:off x="5269364" y="1373642"/>
              <a:ext cx="144065" cy="107950"/>
            </a:xfrm>
            <a:prstGeom prst="rect">
              <a:avLst/>
            </a:prstGeom>
            <a:solidFill>
              <a:srgbClr val="FF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4" name="Rectangle 1307"/>
          <p:cNvSpPr>
            <a:spLocks noChangeArrowheads="1"/>
          </p:cNvSpPr>
          <p:nvPr/>
        </p:nvSpPr>
        <p:spPr bwMode="auto">
          <a:xfrm>
            <a:off x="8148422" y="1084417"/>
            <a:ext cx="144065" cy="10795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716" name="Rectangle 1306"/>
          <p:cNvSpPr>
            <a:spLocks noChangeArrowheads="1"/>
          </p:cNvSpPr>
          <p:nvPr/>
        </p:nvSpPr>
        <p:spPr bwMode="auto">
          <a:xfrm>
            <a:off x="8370547" y="1042744"/>
            <a:ext cx="493725" cy="169277"/>
          </a:xfrm>
          <a:prstGeom prst="rect">
            <a:avLst/>
          </a:prstGeom>
          <a:noFill/>
          <a:ln>
            <a:noFill/>
          </a:ln>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No race</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17" name="Rectangle 1307"/>
          <p:cNvSpPr>
            <a:spLocks noChangeArrowheads="1"/>
          </p:cNvSpPr>
          <p:nvPr/>
        </p:nvSpPr>
        <p:spPr bwMode="auto">
          <a:xfrm>
            <a:off x="8148422" y="880216"/>
            <a:ext cx="144065" cy="107950"/>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8" name="Rectangle 1306"/>
          <p:cNvSpPr>
            <a:spLocks noChangeArrowheads="1"/>
          </p:cNvSpPr>
          <p:nvPr/>
        </p:nvSpPr>
        <p:spPr bwMode="auto">
          <a:xfrm>
            <a:off x="8370546" y="841337"/>
            <a:ext cx="501740" cy="169277"/>
          </a:xfrm>
          <a:prstGeom prst="rect">
            <a:avLst/>
          </a:prstGeom>
          <a:noFill/>
          <a:ln>
            <a:noFill/>
          </a:ln>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Toss up</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235370459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isten to Our New Podcast</a:t>
            </a:r>
          </a:p>
        </p:txBody>
      </p:sp>
      <p:pic>
        <p:nvPicPr>
          <p:cNvPr id="5" name="Picture 4"/>
          <p:cNvPicPr>
            <a:picLocks noChangeAspect="1"/>
          </p:cNvPicPr>
          <p:nvPr/>
        </p:nvPicPr>
        <p:blipFill>
          <a:blip r:embed="rId2"/>
          <a:stretch>
            <a:fillRect/>
          </a:stretch>
        </p:blipFill>
        <p:spPr>
          <a:xfrm>
            <a:off x="547006" y="1656199"/>
            <a:ext cx="3529567" cy="3064254"/>
          </a:xfrm>
          <a:prstGeom prst="rect">
            <a:avLst/>
          </a:prstGeom>
        </p:spPr>
      </p:pic>
      <p:pic>
        <p:nvPicPr>
          <p:cNvPr id="6" name="Picture 5"/>
          <p:cNvPicPr>
            <a:picLocks noChangeAspect="1"/>
          </p:cNvPicPr>
          <p:nvPr/>
        </p:nvPicPr>
        <p:blipFill>
          <a:blip r:embed="rId3"/>
          <a:stretch>
            <a:fillRect/>
          </a:stretch>
        </p:blipFill>
        <p:spPr>
          <a:xfrm>
            <a:off x="4195708" y="2048663"/>
            <a:ext cx="4546943" cy="2586824"/>
          </a:xfrm>
          <a:prstGeom prst="rect">
            <a:avLst/>
          </a:prstGeom>
        </p:spPr>
      </p:pic>
      <p:sp>
        <p:nvSpPr>
          <p:cNvPr id="7" name="Text Placeholder 2"/>
          <p:cNvSpPr>
            <a:spLocks noGrp="1"/>
          </p:cNvSpPr>
          <p:nvPr>
            <p:ph type="body" sz="quarter" idx="10"/>
          </p:nvPr>
        </p:nvSpPr>
        <p:spPr>
          <a:xfrm>
            <a:off x="457993" y="5135647"/>
            <a:ext cx="8080718" cy="902788"/>
          </a:xfrm>
        </p:spPr>
        <p:txBody>
          <a:bodyPr/>
          <a:lstStyle/>
          <a:p>
            <a:pPr algn="ctr">
              <a:buClr>
                <a:srgbClr val="0070C0"/>
              </a:buClr>
            </a:pPr>
            <a:r>
              <a:rPr lang="en-US" dirty="0">
                <a:solidFill>
                  <a:schemeClr val="tx1"/>
                </a:solidFill>
              </a:rPr>
              <a:t>Listen and subscribe to </a:t>
            </a:r>
            <a:r>
              <a:rPr lang="en-US" dirty="0" err="1">
                <a:solidFill>
                  <a:schemeClr val="tx1"/>
                </a:solidFill>
              </a:rPr>
              <a:t>Downballot</a:t>
            </a:r>
            <a:r>
              <a:rPr lang="en-US" dirty="0">
                <a:solidFill>
                  <a:schemeClr val="tx1"/>
                </a:solidFill>
              </a:rPr>
              <a:t> Counts from your mobile device:</a:t>
            </a:r>
          </a:p>
          <a:p>
            <a:pPr algn="ctr">
              <a:buClr>
                <a:srgbClr val="0070C0"/>
              </a:buClr>
            </a:pPr>
            <a:r>
              <a:rPr lang="en-US" dirty="0"/>
              <a:t> </a:t>
            </a:r>
            <a:r>
              <a:rPr lang="en-US" b="1" dirty="0">
                <a:hlinkClick r:id="rId4"/>
              </a:rPr>
              <a:t>Apple Podcasts</a:t>
            </a:r>
            <a:r>
              <a:rPr lang="en-US" dirty="0"/>
              <a:t> | </a:t>
            </a:r>
            <a:r>
              <a:rPr lang="en-US" b="1" dirty="0">
                <a:hlinkClick r:id="rId5"/>
              </a:rPr>
              <a:t>Overcast</a:t>
            </a:r>
            <a:r>
              <a:rPr lang="en-US" dirty="0"/>
              <a:t> | </a:t>
            </a:r>
            <a:r>
              <a:rPr lang="en-US" b="1" dirty="0" err="1">
                <a:hlinkClick r:id="rId6"/>
              </a:rPr>
              <a:t>Stitcher</a:t>
            </a:r>
            <a:r>
              <a:rPr lang="en-US" dirty="0"/>
              <a:t> | </a:t>
            </a:r>
            <a:r>
              <a:rPr lang="en-US" b="1" dirty="0">
                <a:hlinkClick r:id="rId7"/>
              </a:rPr>
              <a:t>Spotify</a:t>
            </a:r>
            <a:endParaRPr lang="en-US" dirty="0">
              <a:solidFill>
                <a:schemeClr val="tx1"/>
              </a:solidFill>
            </a:endParaRPr>
          </a:p>
        </p:txBody>
      </p:sp>
    </p:spTree>
    <p:extLst>
      <p:ext uri="{BB962C8B-B14F-4D97-AF65-F5344CB8AC3E}">
        <p14:creationId xmlns:p14="http://schemas.microsoft.com/office/powerpoint/2010/main" val="38956195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bout Bloomberg Government</a:t>
            </a:r>
          </a:p>
        </p:txBody>
      </p:sp>
      <p:sp>
        <p:nvSpPr>
          <p:cNvPr id="4" name="Text Placeholder 3"/>
          <p:cNvSpPr>
            <a:spLocks noGrp="1"/>
          </p:cNvSpPr>
          <p:nvPr>
            <p:ph type="body" sz="quarter" idx="11"/>
          </p:nvPr>
        </p:nvSpPr>
        <p:spPr/>
        <p:txBody>
          <a:bodyPr/>
          <a:lstStyle/>
          <a:p>
            <a:pPr marL="0" indent="0">
              <a:buNone/>
            </a:pPr>
            <a:r>
              <a:rPr lang="en-US" b="1" dirty="0"/>
              <a:t>On bgov.com</a:t>
            </a:r>
          </a:p>
          <a:p>
            <a:pPr>
              <a:buClr>
                <a:srgbClr val="0070C0"/>
              </a:buClr>
            </a:pPr>
            <a:r>
              <a:rPr lang="en-US" dirty="0"/>
              <a:t>Sign up for Bloomberg Government's </a:t>
            </a:r>
            <a:r>
              <a:rPr lang="en-US" dirty="0">
                <a:hlinkClick r:id="rId2"/>
              </a:rPr>
              <a:t>2020 presidential election</a:t>
            </a:r>
            <a:r>
              <a:rPr lang="en-US" dirty="0"/>
              <a:t> and </a:t>
            </a:r>
            <a:r>
              <a:rPr lang="en-US" dirty="0">
                <a:hlinkClick r:id="rId3"/>
              </a:rPr>
              <a:t>congressional elections</a:t>
            </a:r>
            <a:r>
              <a:rPr lang="en-US" dirty="0"/>
              <a:t> alerts</a:t>
            </a:r>
          </a:p>
          <a:p>
            <a:pPr>
              <a:buClr>
                <a:srgbClr val="0070C0"/>
              </a:buClr>
            </a:pPr>
            <a:endParaRPr lang="en-US" dirty="0"/>
          </a:p>
          <a:p>
            <a:pPr>
              <a:buClr>
                <a:srgbClr val="0070C0"/>
              </a:buClr>
            </a:pPr>
            <a:r>
              <a:rPr lang="en-US" dirty="0"/>
              <a:t>Learn more about </a:t>
            </a:r>
            <a:r>
              <a:rPr lang="en-US" dirty="0" err="1">
                <a:hlinkClick r:id="rId4"/>
              </a:rPr>
              <a:t>Downballot</a:t>
            </a:r>
            <a:r>
              <a:rPr lang="en-US" dirty="0">
                <a:hlinkClick r:id="rId4"/>
              </a:rPr>
              <a:t> Counts</a:t>
            </a:r>
            <a:r>
              <a:rPr lang="en-US" dirty="0"/>
              <a:t>, BGOV’s podcast focused on the House and Senate elections</a:t>
            </a:r>
          </a:p>
          <a:p>
            <a:pPr marL="0" indent="0">
              <a:buNone/>
            </a:pPr>
            <a:endParaRPr lang="en-US" dirty="0">
              <a:solidFill>
                <a:srgbClr val="FF0000"/>
              </a:solidFill>
            </a:endParaRPr>
          </a:p>
          <a:p>
            <a:r>
              <a:rPr lang="en-US" dirty="0"/>
              <a:t>Michael Bloomberg, the majority owner of Bloomberg Government’s parent company, also sought the Democratic presidential nomination. He endorsed Joe Biden on March 4.</a:t>
            </a:r>
          </a:p>
          <a:p>
            <a:endParaRPr lang="en-US" dirty="0"/>
          </a:p>
          <a:p>
            <a:endParaRPr lang="en-US" dirty="0"/>
          </a:p>
        </p:txBody>
      </p:sp>
    </p:spTree>
    <p:extLst>
      <p:ext uri="{BB962C8B-B14F-4D97-AF65-F5344CB8AC3E}">
        <p14:creationId xmlns:p14="http://schemas.microsoft.com/office/powerpoint/2010/main" val="1062006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Senate Balance of Power</a:t>
            </a:r>
          </a:p>
        </p:txBody>
      </p:sp>
      <p:sp>
        <p:nvSpPr>
          <p:cNvPr id="3" name="Text Placeholder 2"/>
          <p:cNvSpPr>
            <a:spLocks noGrp="1"/>
          </p:cNvSpPr>
          <p:nvPr>
            <p:ph type="body" sz="quarter" idx="10"/>
          </p:nvPr>
        </p:nvSpPr>
        <p:spPr>
          <a:xfrm>
            <a:off x="455611" y="1276773"/>
            <a:ext cx="8321040" cy="1523096"/>
          </a:xfrm>
        </p:spPr>
        <p:txBody>
          <a:bodyPr/>
          <a:lstStyle/>
          <a:p>
            <a:pPr marL="0" indent="0">
              <a:buClr>
                <a:srgbClr val="0070C0"/>
              </a:buClr>
              <a:buNone/>
            </a:pPr>
            <a:r>
              <a:rPr lang="en-US" b="1" dirty="0">
                <a:solidFill>
                  <a:schemeClr val="tx1"/>
                </a:solidFill>
              </a:rPr>
              <a:t>Trump’s re-election outlook and each party’s ability to field strong candidates are key</a:t>
            </a:r>
          </a:p>
          <a:p>
            <a:pPr marL="0" indent="0">
              <a:buClr>
                <a:srgbClr val="0070C0"/>
              </a:buClr>
              <a:buNone/>
            </a:pPr>
            <a:endParaRPr lang="en-US" b="1" dirty="0">
              <a:solidFill>
                <a:schemeClr val="tx1"/>
              </a:solidFill>
            </a:endParaRPr>
          </a:p>
          <a:p>
            <a:pPr>
              <a:buClr>
                <a:srgbClr val="0070C0"/>
              </a:buClr>
            </a:pPr>
            <a:r>
              <a:rPr lang="en-US" dirty="0"/>
              <a:t>If Democrats net four seats they would take control </a:t>
            </a:r>
            <a:r>
              <a:rPr lang="en-US" dirty="0">
                <a:solidFill>
                  <a:schemeClr val="tx1"/>
                </a:solidFill>
              </a:rPr>
              <a:t>of </a:t>
            </a:r>
            <a:r>
              <a:rPr lang="en-US" dirty="0"/>
              <a:t>the Senate; netting three seats would result in a tie and the majority would be decided by the vice president’s party</a:t>
            </a:r>
          </a:p>
          <a:p>
            <a:pPr>
              <a:buClr>
                <a:srgbClr val="0070C0"/>
              </a:buClr>
            </a:pPr>
            <a:r>
              <a:rPr lang="en-US" dirty="0">
                <a:solidFill>
                  <a:schemeClr val="tx1"/>
                </a:solidFill>
                <a:latin typeface="+mn-lt"/>
              </a:rPr>
              <a:t>If Bernie Sanders won the Democratic presidential nominee and defeated Trump, then Vermont’s GOP governor would be in a position to name an interim senator of his choosing until a special election could be held </a:t>
            </a:r>
          </a:p>
          <a:p>
            <a:pPr>
              <a:buClr>
                <a:srgbClr val="0070C0"/>
              </a:buClr>
            </a:pPr>
            <a:r>
              <a:rPr lang="en-US" dirty="0"/>
              <a:t>Democrats last defeated more than two Republican senators in 2008, when Barack Obama’s victory helped Democrats beat five GOP incumbents</a:t>
            </a:r>
          </a:p>
          <a:p>
            <a:pPr marL="0" indent="0">
              <a:buClr>
                <a:srgbClr val="0070C0"/>
              </a:buClr>
              <a:buNone/>
            </a:pPr>
            <a:endParaRPr lang="en-US" dirty="0"/>
          </a:p>
          <a:p>
            <a:pPr lvl="1">
              <a:buClr>
                <a:srgbClr val="0070C0"/>
              </a:buClr>
            </a:pPr>
            <a:endParaRPr lang="en-US" dirty="0"/>
          </a:p>
          <a:p>
            <a:pPr marL="0" lvl="1" indent="0">
              <a:buClr>
                <a:srgbClr val="0070C0"/>
              </a:buClr>
              <a:buNone/>
            </a:pPr>
            <a:endParaRPr lang="en-US" dirty="0"/>
          </a:p>
          <a:p>
            <a:pPr lvl="1">
              <a:buClr>
                <a:srgbClr val="0070C0"/>
              </a:buClr>
            </a:pPr>
            <a:endParaRPr lang="en-US" dirty="0"/>
          </a:p>
          <a:p>
            <a:pPr marL="0" indent="0">
              <a:buClr>
                <a:srgbClr val="0070C0"/>
              </a:buClr>
              <a:buNone/>
            </a:pPr>
            <a:endParaRPr lang="en-US" dirty="0"/>
          </a:p>
          <a:p>
            <a:pPr marL="0" indent="0">
              <a:buClr>
                <a:srgbClr val="0070C0"/>
              </a:buClr>
              <a:buNone/>
            </a:pPr>
            <a:endParaRPr lang="en-US" dirty="0"/>
          </a:p>
          <a:p>
            <a:pPr marL="0" indent="0">
              <a:buClr>
                <a:srgbClr val="0070C0"/>
              </a:buClr>
              <a:buNone/>
            </a:pPr>
            <a:endParaRPr lang="en-US" dirty="0"/>
          </a:p>
        </p:txBody>
      </p:sp>
      <p:sp>
        <p:nvSpPr>
          <p:cNvPr id="4" name="Text Placeholder 3"/>
          <p:cNvSpPr>
            <a:spLocks noGrp="1"/>
          </p:cNvSpPr>
          <p:nvPr>
            <p:ph type="body" sz="quarter" idx="13"/>
          </p:nvPr>
        </p:nvSpPr>
        <p:spPr/>
        <p:txBody>
          <a:bodyPr/>
          <a:lstStyle/>
          <a:p>
            <a:r>
              <a:rPr lang="en-US" dirty="0">
                <a:solidFill>
                  <a:schemeClr val="tx1"/>
                </a:solidFill>
              </a:rPr>
              <a:t>Source: Bloomberg Government</a:t>
            </a:r>
          </a:p>
          <a:p>
            <a:r>
              <a:rPr lang="en-US" dirty="0">
                <a:solidFill>
                  <a:schemeClr val="tx1"/>
                </a:solidFill>
              </a:rPr>
              <a:t>Note: Yellow reflects independents who caucus with Democrats</a:t>
            </a:r>
            <a:endParaRPr lang="en-US" u="sng" dirty="0">
              <a:solidFill>
                <a:schemeClr val="tx1"/>
              </a:solidFill>
            </a:endParaRPr>
          </a:p>
        </p:txBody>
      </p:sp>
      <p:grpSp>
        <p:nvGrpSpPr>
          <p:cNvPr id="8" name="Group 7"/>
          <p:cNvGrpSpPr>
            <a:grpSpLocks noChangeAspect="1"/>
          </p:cNvGrpSpPr>
          <p:nvPr/>
        </p:nvGrpSpPr>
        <p:grpSpPr>
          <a:xfrm>
            <a:off x="1819118" y="3625482"/>
            <a:ext cx="5732180" cy="2453373"/>
            <a:chOff x="1646866" y="3635695"/>
            <a:chExt cx="6033875" cy="2582498"/>
          </a:xfrm>
        </p:grpSpPr>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6866" y="3635695"/>
              <a:ext cx="6033875" cy="2582498"/>
            </a:xfrm>
            <a:prstGeom prst="rect">
              <a:avLst/>
            </a:prstGeom>
          </p:spPr>
        </p:pic>
        <p:sp>
          <p:nvSpPr>
            <p:cNvPr id="10" name="Rectangle 9"/>
            <p:cNvSpPr/>
            <p:nvPr/>
          </p:nvSpPr>
          <p:spPr>
            <a:xfrm>
              <a:off x="4214949" y="5538651"/>
              <a:ext cx="923108" cy="3309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b="1" dirty="0">
                <a:solidFill>
                  <a:schemeClr val="bg1"/>
                </a:solidFill>
              </a:endParaRPr>
            </a:p>
          </p:txBody>
        </p:sp>
      </p:grpSp>
      <p:sp>
        <p:nvSpPr>
          <p:cNvPr id="11" name="Text Placeholder 2"/>
          <p:cNvSpPr>
            <a:spLocks noGrp="1"/>
          </p:cNvSpPr>
          <p:nvPr>
            <p:ph type="body" sz="quarter" idx="10"/>
          </p:nvPr>
        </p:nvSpPr>
        <p:spPr>
          <a:xfrm>
            <a:off x="3481160" y="5660490"/>
            <a:ext cx="2408097" cy="309916"/>
          </a:xfrm>
        </p:spPr>
        <p:txBody>
          <a:bodyPr/>
          <a:lstStyle/>
          <a:p>
            <a:pPr marL="0" indent="0">
              <a:buNone/>
            </a:pPr>
            <a:r>
              <a:rPr lang="en-US" b="1" dirty="0">
                <a:solidFill>
                  <a:schemeClr val="bg2">
                    <a:lumMod val="50000"/>
                  </a:schemeClr>
                </a:solidFill>
                <a:latin typeface="Avenir Next P for BBG Demi" panose="020B0703020202020204" pitchFamily="34" charset="0"/>
              </a:rPr>
              <a:t>Senate Balance of Power</a:t>
            </a:r>
            <a:endParaRPr lang="en-US" dirty="0">
              <a:solidFill>
                <a:schemeClr val="bg2">
                  <a:lumMod val="50000"/>
                </a:schemeClr>
              </a:solidFill>
              <a:latin typeface="Avenir Next P for BBG Demi" panose="020B0703020202020204" pitchFamily="34" charset="0"/>
            </a:endParaRPr>
          </a:p>
        </p:txBody>
      </p:sp>
    </p:spTree>
    <p:extLst>
      <p:ext uri="{BB962C8B-B14F-4D97-AF65-F5344CB8AC3E}">
        <p14:creationId xmlns:p14="http://schemas.microsoft.com/office/powerpoint/2010/main" val="2624232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uper Tuesday and the Senate </a:t>
            </a:r>
          </a:p>
        </p:txBody>
      </p:sp>
      <p:sp>
        <p:nvSpPr>
          <p:cNvPr id="6" name="Freeform 825"/>
          <p:cNvSpPr>
            <a:spLocks noChangeAspect="1"/>
          </p:cNvSpPr>
          <p:nvPr/>
        </p:nvSpPr>
        <p:spPr bwMode="auto">
          <a:xfrm>
            <a:off x="343525" y="1684973"/>
            <a:ext cx="1112453" cy="1083929"/>
          </a:xfrm>
          <a:custGeom>
            <a:avLst/>
            <a:gdLst>
              <a:gd name="T0" fmla="*/ 164 w 1248"/>
              <a:gd name="T1" fmla="*/ 496 h 1216"/>
              <a:gd name="T2" fmla="*/ 373 w 1248"/>
              <a:gd name="T3" fmla="*/ 11 h 1216"/>
              <a:gd name="T4" fmla="*/ 648 w 1248"/>
              <a:gd name="T5" fmla="*/ 17 h 1216"/>
              <a:gd name="T6" fmla="*/ 682 w 1248"/>
              <a:gd name="T7" fmla="*/ 251 h 1216"/>
              <a:gd name="T8" fmla="*/ 714 w 1248"/>
              <a:gd name="T9" fmla="*/ 266 h 1216"/>
              <a:gd name="T10" fmla="*/ 763 w 1248"/>
              <a:gd name="T11" fmla="*/ 283 h 1216"/>
              <a:gd name="T12" fmla="*/ 816 w 1248"/>
              <a:gd name="T13" fmla="*/ 285 h 1216"/>
              <a:gd name="T14" fmla="*/ 841 w 1248"/>
              <a:gd name="T15" fmla="*/ 313 h 1216"/>
              <a:gd name="T16" fmla="*/ 893 w 1248"/>
              <a:gd name="T17" fmla="*/ 315 h 1216"/>
              <a:gd name="T18" fmla="*/ 916 w 1248"/>
              <a:gd name="T19" fmla="*/ 313 h 1216"/>
              <a:gd name="T20" fmla="*/ 952 w 1248"/>
              <a:gd name="T21" fmla="*/ 313 h 1216"/>
              <a:gd name="T22" fmla="*/ 999 w 1248"/>
              <a:gd name="T23" fmla="*/ 317 h 1216"/>
              <a:gd name="T24" fmla="*/ 1057 w 1248"/>
              <a:gd name="T25" fmla="*/ 313 h 1216"/>
              <a:gd name="T26" fmla="*/ 1114 w 1248"/>
              <a:gd name="T27" fmla="*/ 326 h 1216"/>
              <a:gd name="T28" fmla="*/ 1167 w 1248"/>
              <a:gd name="T29" fmla="*/ 343 h 1216"/>
              <a:gd name="T30" fmla="*/ 1218 w 1248"/>
              <a:gd name="T31" fmla="*/ 567 h 1216"/>
              <a:gd name="T32" fmla="*/ 1248 w 1248"/>
              <a:gd name="T33" fmla="*/ 613 h 1216"/>
              <a:gd name="T34" fmla="*/ 1242 w 1248"/>
              <a:gd name="T35" fmla="*/ 660 h 1216"/>
              <a:gd name="T36" fmla="*/ 1235 w 1248"/>
              <a:gd name="T37" fmla="*/ 731 h 1216"/>
              <a:gd name="T38" fmla="*/ 1201 w 1248"/>
              <a:gd name="T39" fmla="*/ 786 h 1216"/>
              <a:gd name="T40" fmla="*/ 1137 w 1248"/>
              <a:gd name="T41" fmla="*/ 814 h 1216"/>
              <a:gd name="T42" fmla="*/ 1137 w 1248"/>
              <a:gd name="T43" fmla="*/ 777 h 1216"/>
              <a:gd name="T44" fmla="*/ 1110 w 1248"/>
              <a:gd name="T45" fmla="*/ 799 h 1216"/>
              <a:gd name="T46" fmla="*/ 1097 w 1248"/>
              <a:gd name="T47" fmla="*/ 846 h 1216"/>
              <a:gd name="T48" fmla="*/ 1022 w 1248"/>
              <a:gd name="T49" fmla="*/ 899 h 1216"/>
              <a:gd name="T50" fmla="*/ 995 w 1248"/>
              <a:gd name="T51" fmla="*/ 920 h 1216"/>
              <a:gd name="T52" fmla="*/ 982 w 1248"/>
              <a:gd name="T53" fmla="*/ 905 h 1216"/>
              <a:gd name="T54" fmla="*/ 956 w 1248"/>
              <a:gd name="T55" fmla="*/ 897 h 1216"/>
              <a:gd name="T56" fmla="*/ 973 w 1248"/>
              <a:gd name="T57" fmla="*/ 929 h 1216"/>
              <a:gd name="T58" fmla="*/ 937 w 1248"/>
              <a:gd name="T59" fmla="*/ 948 h 1216"/>
              <a:gd name="T60" fmla="*/ 912 w 1248"/>
              <a:gd name="T61" fmla="*/ 956 h 1216"/>
              <a:gd name="T62" fmla="*/ 914 w 1248"/>
              <a:gd name="T63" fmla="*/ 965 h 1216"/>
              <a:gd name="T64" fmla="*/ 869 w 1248"/>
              <a:gd name="T65" fmla="*/ 997 h 1216"/>
              <a:gd name="T66" fmla="*/ 863 w 1248"/>
              <a:gd name="T67" fmla="*/ 1056 h 1216"/>
              <a:gd name="T68" fmla="*/ 841 w 1248"/>
              <a:gd name="T69" fmla="*/ 1046 h 1216"/>
              <a:gd name="T70" fmla="*/ 867 w 1248"/>
              <a:gd name="T71" fmla="*/ 1080 h 1216"/>
              <a:gd name="T72" fmla="*/ 867 w 1248"/>
              <a:gd name="T73" fmla="*/ 1114 h 1216"/>
              <a:gd name="T74" fmla="*/ 888 w 1248"/>
              <a:gd name="T75" fmla="*/ 1203 h 1216"/>
              <a:gd name="T76" fmla="*/ 880 w 1248"/>
              <a:gd name="T77" fmla="*/ 1216 h 1216"/>
              <a:gd name="T78" fmla="*/ 820 w 1248"/>
              <a:gd name="T79" fmla="*/ 1193 h 1216"/>
              <a:gd name="T80" fmla="*/ 743 w 1248"/>
              <a:gd name="T81" fmla="*/ 1169 h 1216"/>
              <a:gd name="T82" fmla="*/ 703 w 1248"/>
              <a:gd name="T83" fmla="*/ 1144 h 1216"/>
              <a:gd name="T84" fmla="*/ 669 w 1248"/>
              <a:gd name="T85" fmla="*/ 1071 h 1216"/>
              <a:gd name="T86" fmla="*/ 665 w 1248"/>
              <a:gd name="T87" fmla="*/ 1022 h 1216"/>
              <a:gd name="T88" fmla="*/ 618 w 1248"/>
              <a:gd name="T89" fmla="*/ 971 h 1216"/>
              <a:gd name="T90" fmla="*/ 586 w 1248"/>
              <a:gd name="T91" fmla="*/ 914 h 1216"/>
              <a:gd name="T92" fmla="*/ 556 w 1248"/>
              <a:gd name="T93" fmla="*/ 850 h 1216"/>
              <a:gd name="T94" fmla="*/ 503 w 1248"/>
              <a:gd name="T95" fmla="*/ 788 h 1216"/>
              <a:gd name="T96" fmla="*/ 465 w 1248"/>
              <a:gd name="T97" fmla="*/ 767 h 1216"/>
              <a:gd name="T98" fmla="*/ 396 w 1248"/>
              <a:gd name="T99" fmla="*/ 754 h 1216"/>
              <a:gd name="T100" fmla="*/ 356 w 1248"/>
              <a:gd name="T101" fmla="*/ 777 h 1216"/>
              <a:gd name="T102" fmla="*/ 315 w 1248"/>
              <a:gd name="T103" fmla="*/ 839 h 1216"/>
              <a:gd name="T104" fmla="*/ 273 w 1248"/>
              <a:gd name="T105" fmla="*/ 826 h 1216"/>
              <a:gd name="T106" fmla="*/ 201 w 1248"/>
              <a:gd name="T107" fmla="*/ 777 h 1216"/>
              <a:gd name="T108" fmla="*/ 166 w 1248"/>
              <a:gd name="T109" fmla="*/ 694 h 1216"/>
              <a:gd name="T110" fmla="*/ 139 w 1248"/>
              <a:gd name="T111" fmla="*/ 641 h 1216"/>
              <a:gd name="T112" fmla="*/ 64 w 1248"/>
              <a:gd name="T113" fmla="*/ 564 h 1216"/>
              <a:gd name="T114" fmla="*/ 20 w 1248"/>
              <a:gd name="T115" fmla="*/ 51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8" h="1216">
                <a:moveTo>
                  <a:pt x="9" y="507"/>
                </a:moveTo>
                <a:lnTo>
                  <a:pt x="9" y="503"/>
                </a:lnTo>
                <a:lnTo>
                  <a:pt x="5" y="498"/>
                </a:lnTo>
                <a:lnTo>
                  <a:pt x="0" y="484"/>
                </a:lnTo>
                <a:lnTo>
                  <a:pt x="0" y="481"/>
                </a:lnTo>
                <a:lnTo>
                  <a:pt x="73" y="488"/>
                </a:lnTo>
                <a:lnTo>
                  <a:pt x="164" y="496"/>
                </a:lnTo>
                <a:lnTo>
                  <a:pt x="247" y="503"/>
                </a:lnTo>
                <a:lnTo>
                  <a:pt x="330" y="509"/>
                </a:lnTo>
                <a:lnTo>
                  <a:pt x="335" y="509"/>
                </a:lnTo>
                <a:lnTo>
                  <a:pt x="341" y="501"/>
                </a:lnTo>
                <a:lnTo>
                  <a:pt x="347" y="383"/>
                </a:lnTo>
                <a:lnTo>
                  <a:pt x="356" y="281"/>
                </a:lnTo>
                <a:lnTo>
                  <a:pt x="373" y="11"/>
                </a:lnTo>
                <a:lnTo>
                  <a:pt x="375" y="2"/>
                </a:lnTo>
                <a:lnTo>
                  <a:pt x="379" y="0"/>
                </a:lnTo>
                <a:lnTo>
                  <a:pt x="501" y="9"/>
                </a:lnTo>
                <a:lnTo>
                  <a:pt x="594" y="13"/>
                </a:lnTo>
                <a:lnTo>
                  <a:pt x="631" y="13"/>
                </a:lnTo>
                <a:lnTo>
                  <a:pt x="639" y="13"/>
                </a:lnTo>
                <a:lnTo>
                  <a:pt x="648" y="17"/>
                </a:lnTo>
                <a:lnTo>
                  <a:pt x="641" y="219"/>
                </a:lnTo>
                <a:lnTo>
                  <a:pt x="639" y="230"/>
                </a:lnTo>
                <a:lnTo>
                  <a:pt x="648" y="232"/>
                </a:lnTo>
                <a:lnTo>
                  <a:pt x="654" y="236"/>
                </a:lnTo>
                <a:lnTo>
                  <a:pt x="667" y="251"/>
                </a:lnTo>
                <a:lnTo>
                  <a:pt x="673" y="256"/>
                </a:lnTo>
                <a:lnTo>
                  <a:pt x="682" y="251"/>
                </a:lnTo>
                <a:lnTo>
                  <a:pt x="688" y="254"/>
                </a:lnTo>
                <a:lnTo>
                  <a:pt x="695" y="254"/>
                </a:lnTo>
                <a:lnTo>
                  <a:pt x="699" y="245"/>
                </a:lnTo>
                <a:lnTo>
                  <a:pt x="701" y="249"/>
                </a:lnTo>
                <a:lnTo>
                  <a:pt x="707" y="254"/>
                </a:lnTo>
                <a:lnTo>
                  <a:pt x="714" y="260"/>
                </a:lnTo>
                <a:lnTo>
                  <a:pt x="714" y="266"/>
                </a:lnTo>
                <a:lnTo>
                  <a:pt x="714" y="275"/>
                </a:lnTo>
                <a:lnTo>
                  <a:pt x="722" y="275"/>
                </a:lnTo>
                <a:lnTo>
                  <a:pt x="726" y="277"/>
                </a:lnTo>
                <a:lnTo>
                  <a:pt x="733" y="275"/>
                </a:lnTo>
                <a:lnTo>
                  <a:pt x="741" y="279"/>
                </a:lnTo>
                <a:lnTo>
                  <a:pt x="754" y="283"/>
                </a:lnTo>
                <a:lnTo>
                  <a:pt x="763" y="283"/>
                </a:lnTo>
                <a:lnTo>
                  <a:pt x="769" y="283"/>
                </a:lnTo>
                <a:lnTo>
                  <a:pt x="773" y="288"/>
                </a:lnTo>
                <a:lnTo>
                  <a:pt x="778" y="292"/>
                </a:lnTo>
                <a:lnTo>
                  <a:pt x="786" y="290"/>
                </a:lnTo>
                <a:lnTo>
                  <a:pt x="792" y="285"/>
                </a:lnTo>
                <a:lnTo>
                  <a:pt x="807" y="285"/>
                </a:lnTo>
                <a:lnTo>
                  <a:pt x="816" y="285"/>
                </a:lnTo>
                <a:lnTo>
                  <a:pt x="814" y="292"/>
                </a:lnTo>
                <a:lnTo>
                  <a:pt x="818" y="300"/>
                </a:lnTo>
                <a:lnTo>
                  <a:pt x="827" y="300"/>
                </a:lnTo>
                <a:lnTo>
                  <a:pt x="829" y="305"/>
                </a:lnTo>
                <a:lnTo>
                  <a:pt x="829" y="315"/>
                </a:lnTo>
                <a:lnTo>
                  <a:pt x="835" y="317"/>
                </a:lnTo>
                <a:lnTo>
                  <a:pt x="841" y="313"/>
                </a:lnTo>
                <a:lnTo>
                  <a:pt x="854" y="303"/>
                </a:lnTo>
                <a:lnTo>
                  <a:pt x="861" y="305"/>
                </a:lnTo>
                <a:lnTo>
                  <a:pt x="863" y="313"/>
                </a:lnTo>
                <a:lnTo>
                  <a:pt x="871" y="313"/>
                </a:lnTo>
                <a:lnTo>
                  <a:pt x="873" y="320"/>
                </a:lnTo>
                <a:lnTo>
                  <a:pt x="880" y="320"/>
                </a:lnTo>
                <a:lnTo>
                  <a:pt x="893" y="315"/>
                </a:lnTo>
                <a:lnTo>
                  <a:pt x="899" y="315"/>
                </a:lnTo>
                <a:lnTo>
                  <a:pt x="897" y="322"/>
                </a:lnTo>
                <a:lnTo>
                  <a:pt x="899" y="330"/>
                </a:lnTo>
                <a:lnTo>
                  <a:pt x="901" y="332"/>
                </a:lnTo>
                <a:lnTo>
                  <a:pt x="905" y="330"/>
                </a:lnTo>
                <a:lnTo>
                  <a:pt x="910" y="317"/>
                </a:lnTo>
                <a:lnTo>
                  <a:pt x="916" y="313"/>
                </a:lnTo>
                <a:lnTo>
                  <a:pt x="918" y="307"/>
                </a:lnTo>
                <a:lnTo>
                  <a:pt x="920" y="307"/>
                </a:lnTo>
                <a:lnTo>
                  <a:pt x="927" y="309"/>
                </a:lnTo>
                <a:lnTo>
                  <a:pt x="933" y="315"/>
                </a:lnTo>
                <a:lnTo>
                  <a:pt x="939" y="317"/>
                </a:lnTo>
                <a:lnTo>
                  <a:pt x="946" y="313"/>
                </a:lnTo>
                <a:lnTo>
                  <a:pt x="952" y="313"/>
                </a:lnTo>
                <a:lnTo>
                  <a:pt x="959" y="322"/>
                </a:lnTo>
                <a:lnTo>
                  <a:pt x="965" y="326"/>
                </a:lnTo>
                <a:lnTo>
                  <a:pt x="973" y="328"/>
                </a:lnTo>
                <a:lnTo>
                  <a:pt x="980" y="334"/>
                </a:lnTo>
                <a:lnTo>
                  <a:pt x="982" y="328"/>
                </a:lnTo>
                <a:lnTo>
                  <a:pt x="990" y="328"/>
                </a:lnTo>
                <a:lnTo>
                  <a:pt x="999" y="317"/>
                </a:lnTo>
                <a:lnTo>
                  <a:pt x="1008" y="317"/>
                </a:lnTo>
                <a:lnTo>
                  <a:pt x="1014" y="313"/>
                </a:lnTo>
                <a:lnTo>
                  <a:pt x="1020" y="317"/>
                </a:lnTo>
                <a:lnTo>
                  <a:pt x="1029" y="317"/>
                </a:lnTo>
                <a:lnTo>
                  <a:pt x="1035" y="313"/>
                </a:lnTo>
                <a:lnTo>
                  <a:pt x="1048" y="307"/>
                </a:lnTo>
                <a:lnTo>
                  <a:pt x="1057" y="313"/>
                </a:lnTo>
                <a:lnTo>
                  <a:pt x="1061" y="315"/>
                </a:lnTo>
                <a:lnTo>
                  <a:pt x="1069" y="315"/>
                </a:lnTo>
                <a:lnTo>
                  <a:pt x="1074" y="313"/>
                </a:lnTo>
                <a:lnTo>
                  <a:pt x="1078" y="305"/>
                </a:lnTo>
                <a:lnTo>
                  <a:pt x="1084" y="305"/>
                </a:lnTo>
                <a:lnTo>
                  <a:pt x="1101" y="315"/>
                </a:lnTo>
                <a:lnTo>
                  <a:pt x="1114" y="326"/>
                </a:lnTo>
                <a:lnTo>
                  <a:pt x="1123" y="328"/>
                </a:lnTo>
                <a:lnTo>
                  <a:pt x="1129" y="334"/>
                </a:lnTo>
                <a:lnTo>
                  <a:pt x="1150" y="339"/>
                </a:lnTo>
                <a:lnTo>
                  <a:pt x="1152" y="341"/>
                </a:lnTo>
                <a:lnTo>
                  <a:pt x="1152" y="343"/>
                </a:lnTo>
                <a:lnTo>
                  <a:pt x="1161" y="349"/>
                </a:lnTo>
                <a:lnTo>
                  <a:pt x="1167" y="343"/>
                </a:lnTo>
                <a:lnTo>
                  <a:pt x="1191" y="347"/>
                </a:lnTo>
                <a:lnTo>
                  <a:pt x="1193" y="409"/>
                </a:lnTo>
                <a:lnTo>
                  <a:pt x="1195" y="524"/>
                </a:lnTo>
                <a:lnTo>
                  <a:pt x="1208" y="535"/>
                </a:lnTo>
                <a:lnTo>
                  <a:pt x="1214" y="541"/>
                </a:lnTo>
                <a:lnTo>
                  <a:pt x="1218" y="556"/>
                </a:lnTo>
                <a:lnTo>
                  <a:pt x="1218" y="567"/>
                </a:lnTo>
                <a:lnTo>
                  <a:pt x="1223" y="573"/>
                </a:lnTo>
                <a:lnTo>
                  <a:pt x="1227" y="582"/>
                </a:lnTo>
                <a:lnTo>
                  <a:pt x="1229" y="584"/>
                </a:lnTo>
                <a:lnTo>
                  <a:pt x="1233" y="590"/>
                </a:lnTo>
                <a:lnTo>
                  <a:pt x="1233" y="596"/>
                </a:lnTo>
                <a:lnTo>
                  <a:pt x="1244" y="611"/>
                </a:lnTo>
                <a:lnTo>
                  <a:pt x="1248" y="613"/>
                </a:lnTo>
                <a:lnTo>
                  <a:pt x="1246" y="620"/>
                </a:lnTo>
                <a:lnTo>
                  <a:pt x="1248" y="626"/>
                </a:lnTo>
                <a:lnTo>
                  <a:pt x="1246" y="633"/>
                </a:lnTo>
                <a:lnTo>
                  <a:pt x="1248" y="639"/>
                </a:lnTo>
                <a:lnTo>
                  <a:pt x="1246" y="645"/>
                </a:lnTo>
                <a:lnTo>
                  <a:pt x="1246" y="654"/>
                </a:lnTo>
                <a:lnTo>
                  <a:pt x="1242" y="660"/>
                </a:lnTo>
                <a:lnTo>
                  <a:pt x="1242" y="669"/>
                </a:lnTo>
                <a:lnTo>
                  <a:pt x="1235" y="675"/>
                </a:lnTo>
                <a:lnTo>
                  <a:pt x="1231" y="684"/>
                </a:lnTo>
                <a:lnTo>
                  <a:pt x="1233" y="697"/>
                </a:lnTo>
                <a:lnTo>
                  <a:pt x="1229" y="705"/>
                </a:lnTo>
                <a:lnTo>
                  <a:pt x="1233" y="714"/>
                </a:lnTo>
                <a:lnTo>
                  <a:pt x="1235" y="731"/>
                </a:lnTo>
                <a:lnTo>
                  <a:pt x="1233" y="739"/>
                </a:lnTo>
                <a:lnTo>
                  <a:pt x="1227" y="748"/>
                </a:lnTo>
                <a:lnTo>
                  <a:pt x="1227" y="748"/>
                </a:lnTo>
                <a:lnTo>
                  <a:pt x="1220" y="754"/>
                </a:lnTo>
                <a:lnTo>
                  <a:pt x="1212" y="767"/>
                </a:lnTo>
                <a:lnTo>
                  <a:pt x="1223" y="784"/>
                </a:lnTo>
                <a:lnTo>
                  <a:pt x="1201" y="786"/>
                </a:lnTo>
                <a:lnTo>
                  <a:pt x="1178" y="797"/>
                </a:lnTo>
                <a:lnTo>
                  <a:pt x="1157" y="807"/>
                </a:lnTo>
                <a:lnTo>
                  <a:pt x="1150" y="809"/>
                </a:lnTo>
                <a:lnTo>
                  <a:pt x="1142" y="814"/>
                </a:lnTo>
                <a:lnTo>
                  <a:pt x="1135" y="822"/>
                </a:lnTo>
                <a:lnTo>
                  <a:pt x="1133" y="822"/>
                </a:lnTo>
                <a:lnTo>
                  <a:pt x="1137" y="814"/>
                </a:lnTo>
                <a:lnTo>
                  <a:pt x="1152" y="803"/>
                </a:lnTo>
                <a:lnTo>
                  <a:pt x="1161" y="801"/>
                </a:lnTo>
                <a:lnTo>
                  <a:pt x="1163" y="799"/>
                </a:lnTo>
                <a:lnTo>
                  <a:pt x="1148" y="799"/>
                </a:lnTo>
                <a:lnTo>
                  <a:pt x="1133" y="803"/>
                </a:lnTo>
                <a:lnTo>
                  <a:pt x="1137" y="788"/>
                </a:lnTo>
                <a:lnTo>
                  <a:pt x="1137" y="777"/>
                </a:lnTo>
                <a:lnTo>
                  <a:pt x="1131" y="775"/>
                </a:lnTo>
                <a:lnTo>
                  <a:pt x="1125" y="782"/>
                </a:lnTo>
                <a:lnTo>
                  <a:pt x="1120" y="788"/>
                </a:lnTo>
                <a:lnTo>
                  <a:pt x="1110" y="782"/>
                </a:lnTo>
                <a:lnTo>
                  <a:pt x="1105" y="786"/>
                </a:lnTo>
                <a:lnTo>
                  <a:pt x="1110" y="792"/>
                </a:lnTo>
                <a:lnTo>
                  <a:pt x="1110" y="799"/>
                </a:lnTo>
                <a:lnTo>
                  <a:pt x="1116" y="805"/>
                </a:lnTo>
                <a:lnTo>
                  <a:pt x="1116" y="816"/>
                </a:lnTo>
                <a:lnTo>
                  <a:pt x="1125" y="818"/>
                </a:lnTo>
                <a:lnTo>
                  <a:pt x="1120" y="826"/>
                </a:lnTo>
                <a:lnTo>
                  <a:pt x="1114" y="831"/>
                </a:lnTo>
                <a:lnTo>
                  <a:pt x="1108" y="837"/>
                </a:lnTo>
                <a:lnTo>
                  <a:pt x="1097" y="846"/>
                </a:lnTo>
                <a:lnTo>
                  <a:pt x="1095" y="858"/>
                </a:lnTo>
                <a:lnTo>
                  <a:pt x="1082" y="871"/>
                </a:lnTo>
                <a:lnTo>
                  <a:pt x="1074" y="878"/>
                </a:lnTo>
                <a:lnTo>
                  <a:pt x="1065" y="882"/>
                </a:lnTo>
                <a:lnTo>
                  <a:pt x="1050" y="892"/>
                </a:lnTo>
                <a:lnTo>
                  <a:pt x="1037" y="892"/>
                </a:lnTo>
                <a:lnTo>
                  <a:pt x="1022" y="899"/>
                </a:lnTo>
                <a:lnTo>
                  <a:pt x="1022" y="905"/>
                </a:lnTo>
                <a:lnTo>
                  <a:pt x="1031" y="901"/>
                </a:lnTo>
                <a:lnTo>
                  <a:pt x="1037" y="899"/>
                </a:lnTo>
                <a:lnTo>
                  <a:pt x="1029" y="905"/>
                </a:lnTo>
                <a:lnTo>
                  <a:pt x="1014" y="910"/>
                </a:lnTo>
                <a:lnTo>
                  <a:pt x="993" y="922"/>
                </a:lnTo>
                <a:lnTo>
                  <a:pt x="995" y="920"/>
                </a:lnTo>
                <a:lnTo>
                  <a:pt x="1010" y="912"/>
                </a:lnTo>
                <a:lnTo>
                  <a:pt x="1012" y="905"/>
                </a:lnTo>
                <a:lnTo>
                  <a:pt x="997" y="912"/>
                </a:lnTo>
                <a:lnTo>
                  <a:pt x="1001" y="905"/>
                </a:lnTo>
                <a:lnTo>
                  <a:pt x="993" y="907"/>
                </a:lnTo>
                <a:lnTo>
                  <a:pt x="990" y="899"/>
                </a:lnTo>
                <a:lnTo>
                  <a:pt x="982" y="905"/>
                </a:lnTo>
                <a:lnTo>
                  <a:pt x="976" y="901"/>
                </a:lnTo>
                <a:lnTo>
                  <a:pt x="971" y="892"/>
                </a:lnTo>
                <a:lnTo>
                  <a:pt x="971" y="895"/>
                </a:lnTo>
                <a:lnTo>
                  <a:pt x="978" y="907"/>
                </a:lnTo>
                <a:lnTo>
                  <a:pt x="969" y="912"/>
                </a:lnTo>
                <a:lnTo>
                  <a:pt x="959" y="901"/>
                </a:lnTo>
                <a:lnTo>
                  <a:pt x="956" y="897"/>
                </a:lnTo>
                <a:lnTo>
                  <a:pt x="950" y="897"/>
                </a:lnTo>
                <a:lnTo>
                  <a:pt x="956" y="912"/>
                </a:lnTo>
                <a:lnTo>
                  <a:pt x="965" y="916"/>
                </a:lnTo>
                <a:lnTo>
                  <a:pt x="961" y="924"/>
                </a:lnTo>
                <a:lnTo>
                  <a:pt x="967" y="922"/>
                </a:lnTo>
                <a:lnTo>
                  <a:pt x="976" y="927"/>
                </a:lnTo>
                <a:lnTo>
                  <a:pt x="973" y="929"/>
                </a:lnTo>
                <a:lnTo>
                  <a:pt x="952" y="941"/>
                </a:lnTo>
                <a:lnTo>
                  <a:pt x="946" y="937"/>
                </a:lnTo>
                <a:lnTo>
                  <a:pt x="935" y="924"/>
                </a:lnTo>
                <a:lnTo>
                  <a:pt x="937" y="927"/>
                </a:lnTo>
                <a:lnTo>
                  <a:pt x="933" y="935"/>
                </a:lnTo>
                <a:lnTo>
                  <a:pt x="937" y="941"/>
                </a:lnTo>
                <a:lnTo>
                  <a:pt x="937" y="948"/>
                </a:lnTo>
                <a:lnTo>
                  <a:pt x="929" y="959"/>
                </a:lnTo>
                <a:lnTo>
                  <a:pt x="922" y="963"/>
                </a:lnTo>
                <a:lnTo>
                  <a:pt x="924" y="954"/>
                </a:lnTo>
                <a:lnTo>
                  <a:pt x="922" y="948"/>
                </a:lnTo>
                <a:lnTo>
                  <a:pt x="922" y="954"/>
                </a:lnTo>
                <a:lnTo>
                  <a:pt x="914" y="963"/>
                </a:lnTo>
                <a:lnTo>
                  <a:pt x="912" y="956"/>
                </a:lnTo>
                <a:lnTo>
                  <a:pt x="905" y="961"/>
                </a:lnTo>
                <a:lnTo>
                  <a:pt x="897" y="959"/>
                </a:lnTo>
                <a:lnTo>
                  <a:pt x="899" y="963"/>
                </a:lnTo>
                <a:lnTo>
                  <a:pt x="895" y="969"/>
                </a:lnTo>
                <a:lnTo>
                  <a:pt x="903" y="976"/>
                </a:lnTo>
                <a:lnTo>
                  <a:pt x="905" y="969"/>
                </a:lnTo>
                <a:lnTo>
                  <a:pt x="914" y="965"/>
                </a:lnTo>
                <a:lnTo>
                  <a:pt x="914" y="971"/>
                </a:lnTo>
                <a:lnTo>
                  <a:pt x="910" y="978"/>
                </a:lnTo>
                <a:lnTo>
                  <a:pt x="895" y="997"/>
                </a:lnTo>
                <a:lnTo>
                  <a:pt x="888" y="990"/>
                </a:lnTo>
                <a:lnTo>
                  <a:pt x="873" y="993"/>
                </a:lnTo>
                <a:lnTo>
                  <a:pt x="865" y="995"/>
                </a:lnTo>
                <a:lnTo>
                  <a:pt x="869" y="997"/>
                </a:lnTo>
                <a:lnTo>
                  <a:pt x="876" y="995"/>
                </a:lnTo>
                <a:lnTo>
                  <a:pt x="876" y="1001"/>
                </a:lnTo>
                <a:lnTo>
                  <a:pt x="882" y="1007"/>
                </a:lnTo>
                <a:lnTo>
                  <a:pt x="886" y="1010"/>
                </a:lnTo>
                <a:lnTo>
                  <a:pt x="888" y="1016"/>
                </a:lnTo>
                <a:lnTo>
                  <a:pt x="873" y="1052"/>
                </a:lnTo>
                <a:lnTo>
                  <a:pt x="863" y="1056"/>
                </a:lnTo>
                <a:lnTo>
                  <a:pt x="869" y="1050"/>
                </a:lnTo>
                <a:lnTo>
                  <a:pt x="863" y="1048"/>
                </a:lnTo>
                <a:lnTo>
                  <a:pt x="858" y="1050"/>
                </a:lnTo>
                <a:lnTo>
                  <a:pt x="850" y="1050"/>
                </a:lnTo>
                <a:lnTo>
                  <a:pt x="846" y="1044"/>
                </a:lnTo>
                <a:lnTo>
                  <a:pt x="837" y="1037"/>
                </a:lnTo>
                <a:lnTo>
                  <a:pt x="841" y="1046"/>
                </a:lnTo>
                <a:lnTo>
                  <a:pt x="846" y="1050"/>
                </a:lnTo>
                <a:lnTo>
                  <a:pt x="844" y="1059"/>
                </a:lnTo>
                <a:lnTo>
                  <a:pt x="858" y="1063"/>
                </a:lnTo>
                <a:lnTo>
                  <a:pt x="873" y="1059"/>
                </a:lnTo>
                <a:lnTo>
                  <a:pt x="871" y="1065"/>
                </a:lnTo>
                <a:lnTo>
                  <a:pt x="871" y="1074"/>
                </a:lnTo>
                <a:lnTo>
                  <a:pt x="867" y="1080"/>
                </a:lnTo>
                <a:lnTo>
                  <a:pt x="867" y="1088"/>
                </a:lnTo>
                <a:lnTo>
                  <a:pt x="861" y="1088"/>
                </a:lnTo>
                <a:lnTo>
                  <a:pt x="858" y="1095"/>
                </a:lnTo>
                <a:lnTo>
                  <a:pt x="867" y="1103"/>
                </a:lnTo>
                <a:lnTo>
                  <a:pt x="861" y="1101"/>
                </a:lnTo>
                <a:lnTo>
                  <a:pt x="861" y="1108"/>
                </a:lnTo>
                <a:lnTo>
                  <a:pt x="867" y="1114"/>
                </a:lnTo>
                <a:lnTo>
                  <a:pt x="871" y="1140"/>
                </a:lnTo>
                <a:lnTo>
                  <a:pt x="871" y="1148"/>
                </a:lnTo>
                <a:lnTo>
                  <a:pt x="884" y="1171"/>
                </a:lnTo>
                <a:lnTo>
                  <a:pt x="886" y="1186"/>
                </a:lnTo>
                <a:lnTo>
                  <a:pt x="890" y="1193"/>
                </a:lnTo>
                <a:lnTo>
                  <a:pt x="882" y="1193"/>
                </a:lnTo>
                <a:lnTo>
                  <a:pt x="888" y="1203"/>
                </a:lnTo>
                <a:lnTo>
                  <a:pt x="893" y="1195"/>
                </a:lnTo>
                <a:lnTo>
                  <a:pt x="893" y="1203"/>
                </a:lnTo>
                <a:lnTo>
                  <a:pt x="899" y="1195"/>
                </a:lnTo>
                <a:lnTo>
                  <a:pt x="901" y="1203"/>
                </a:lnTo>
                <a:lnTo>
                  <a:pt x="897" y="1206"/>
                </a:lnTo>
                <a:lnTo>
                  <a:pt x="880" y="1210"/>
                </a:lnTo>
                <a:lnTo>
                  <a:pt x="880" y="1216"/>
                </a:lnTo>
                <a:lnTo>
                  <a:pt x="873" y="1216"/>
                </a:lnTo>
                <a:lnTo>
                  <a:pt x="865" y="1212"/>
                </a:lnTo>
                <a:lnTo>
                  <a:pt x="863" y="1212"/>
                </a:lnTo>
                <a:lnTo>
                  <a:pt x="850" y="1197"/>
                </a:lnTo>
                <a:lnTo>
                  <a:pt x="844" y="1197"/>
                </a:lnTo>
                <a:lnTo>
                  <a:pt x="835" y="1193"/>
                </a:lnTo>
                <a:lnTo>
                  <a:pt x="820" y="1193"/>
                </a:lnTo>
                <a:lnTo>
                  <a:pt x="790" y="1191"/>
                </a:lnTo>
                <a:lnTo>
                  <a:pt x="784" y="1189"/>
                </a:lnTo>
                <a:lnTo>
                  <a:pt x="771" y="1176"/>
                </a:lnTo>
                <a:lnTo>
                  <a:pt x="763" y="1174"/>
                </a:lnTo>
                <a:lnTo>
                  <a:pt x="756" y="1171"/>
                </a:lnTo>
                <a:lnTo>
                  <a:pt x="748" y="1171"/>
                </a:lnTo>
                <a:lnTo>
                  <a:pt x="743" y="1169"/>
                </a:lnTo>
                <a:lnTo>
                  <a:pt x="739" y="1163"/>
                </a:lnTo>
                <a:lnTo>
                  <a:pt x="733" y="1157"/>
                </a:lnTo>
                <a:lnTo>
                  <a:pt x="729" y="1159"/>
                </a:lnTo>
                <a:lnTo>
                  <a:pt x="720" y="1154"/>
                </a:lnTo>
                <a:lnTo>
                  <a:pt x="707" y="1154"/>
                </a:lnTo>
                <a:lnTo>
                  <a:pt x="703" y="1152"/>
                </a:lnTo>
                <a:lnTo>
                  <a:pt x="703" y="1144"/>
                </a:lnTo>
                <a:lnTo>
                  <a:pt x="697" y="1137"/>
                </a:lnTo>
                <a:lnTo>
                  <a:pt x="695" y="1123"/>
                </a:lnTo>
                <a:lnTo>
                  <a:pt x="688" y="1108"/>
                </a:lnTo>
                <a:lnTo>
                  <a:pt x="684" y="1099"/>
                </a:lnTo>
                <a:lnTo>
                  <a:pt x="675" y="1086"/>
                </a:lnTo>
                <a:lnTo>
                  <a:pt x="669" y="1078"/>
                </a:lnTo>
                <a:lnTo>
                  <a:pt x="669" y="1071"/>
                </a:lnTo>
                <a:lnTo>
                  <a:pt x="671" y="1065"/>
                </a:lnTo>
                <a:lnTo>
                  <a:pt x="671" y="1056"/>
                </a:lnTo>
                <a:lnTo>
                  <a:pt x="663" y="1052"/>
                </a:lnTo>
                <a:lnTo>
                  <a:pt x="667" y="1044"/>
                </a:lnTo>
                <a:lnTo>
                  <a:pt x="667" y="1035"/>
                </a:lnTo>
                <a:lnTo>
                  <a:pt x="665" y="1029"/>
                </a:lnTo>
                <a:lnTo>
                  <a:pt x="665" y="1022"/>
                </a:lnTo>
                <a:lnTo>
                  <a:pt x="663" y="1018"/>
                </a:lnTo>
                <a:lnTo>
                  <a:pt x="656" y="1014"/>
                </a:lnTo>
                <a:lnTo>
                  <a:pt x="643" y="1010"/>
                </a:lnTo>
                <a:lnTo>
                  <a:pt x="631" y="990"/>
                </a:lnTo>
                <a:lnTo>
                  <a:pt x="629" y="984"/>
                </a:lnTo>
                <a:lnTo>
                  <a:pt x="624" y="976"/>
                </a:lnTo>
                <a:lnTo>
                  <a:pt x="618" y="971"/>
                </a:lnTo>
                <a:lnTo>
                  <a:pt x="616" y="965"/>
                </a:lnTo>
                <a:lnTo>
                  <a:pt x="609" y="954"/>
                </a:lnTo>
                <a:lnTo>
                  <a:pt x="601" y="950"/>
                </a:lnTo>
                <a:lnTo>
                  <a:pt x="594" y="946"/>
                </a:lnTo>
                <a:lnTo>
                  <a:pt x="588" y="931"/>
                </a:lnTo>
                <a:lnTo>
                  <a:pt x="584" y="916"/>
                </a:lnTo>
                <a:lnTo>
                  <a:pt x="586" y="914"/>
                </a:lnTo>
                <a:lnTo>
                  <a:pt x="580" y="905"/>
                </a:lnTo>
                <a:lnTo>
                  <a:pt x="575" y="899"/>
                </a:lnTo>
                <a:lnTo>
                  <a:pt x="571" y="892"/>
                </a:lnTo>
                <a:lnTo>
                  <a:pt x="571" y="890"/>
                </a:lnTo>
                <a:lnTo>
                  <a:pt x="569" y="884"/>
                </a:lnTo>
                <a:lnTo>
                  <a:pt x="560" y="867"/>
                </a:lnTo>
                <a:lnTo>
                  <a:pt x="556" y="850"/>
                </a:lnTo>
                <a:lnTo>
                  <a:pt x="550" y="841"/>
                </a:lnTo>
                <a:lnTo>
                  <a:pt x="541" y="826"/>
                </a:lnTo>
                <a:lnTo>
                  <a:pt x="522" y="812"/>
                </a:lnTo>
                <a:lnTo>
                  <a:pt x="520" y="805"/>
                </a:lnTo>
                <a:lnTo>
                  <a:pt x="514" y="801"/>
                </a:lnTo>
                <a:lnTo>
                  <a:pt x="505" y="797"/>
                </a:lnTo>
                <a:lnTo>
                  <a:pt x="503" y="788"/>
                </a:lnTo>
                <a:lnTo>
                  <a:pt x="496" y="790"/>
                </a:lnTo>
                <a:lnTo>
                  <a:pt x="494" y="784"/>
                </a:lnTo>
                <a:lnTo>
                  <a:pt x="490" y="777"/>
                </a:lnTo>
                <a:lnTo>
                  <a:pt x="486" y="771"/>
                </a:lnTo>
                <a:lnTo>
                  <a:pt x="479" y="767"/>
                </a:lnTo>
                <a:lnTo>
                  <a:pt x="473" y="763"/>
                </a:lnTo>
                <a:lnTo>
                  <a:pt x="465" y="767"/>
                </a:lnTo>
                <a:lnTo>
                  <a:pt x="445" y="763"/>
                </a:lnTo>
                <a:lnTo>
                  <a:pt x="439" y="763"/>
                </a:lnTo>
                <a:lnTo>
                  <a:pt x="430" y="760"/>
                </a:lnTo>
                <a:lnTo>
                  <a:pt x="424" y="763"/>
                </a:lnTo>
                <a:lnTo>
                  <a:pt x="416" y="760"/>
                </a:lnTo>
                <a:lnTo>
                  <a:pt x="405" y="754"/>
                </a:lnTo>
                <a:lnTo>
                  <a:pt x="396" y="754"/>
                </a:lnTo>
                <a:lnTo>
                  <a:pt x="392" y="760"/>
                </a:lnTo>
                <a:lnTo>
                  <a:pt x="386" y="763"/>
                </a:lnTo>
                <a:lnTo>
                  <a:pt x="379" y="763"/>
                </a:lnTo>
                <a:lnTo>
                  <a:pt x="371" y="765"/>
                </a:lnTo>
                <a:lnTo>
                  <a:pt x="364" y="767"/>
                </a:lnTo>
                <a:lnTo>
                  <a:pt x="360" y="769"/>
                </a:lnTo>
                <a:lnTo>
                  <a:pt x="356" y="777"/>
                </a:lnTo>
                <a:lnTo>
                  <a:pt x="343" y="807"/>
                </a:lnTo>
                <a:lnTo>
                  <a:pt x="339" y="809"/>
                </a:lnTo>
                <a:lnTo>
                  <a:pt x="337" y="818"/>
                </a:lnTo>
                <a:lnTo>
                  <a:pt x="335" y="824"/>
                </a:lnTo>
                <a:lnTo>
                  <a:pt x="328" y="826"/>
                </a:lnTo>
                <a:lnTo>
                  <a:pt x="324" y="835"/>
                </a:lnTo>
                <a:lnTo>
                  <a:pt x="315" y="839"/>
                </a:lnTo>
                <a:lnTo>
                  <a:pt x="313" y="846"/>
                </a:lnTo>
                <a:lnTo>
                  <a:pt x="303" y="846"/>
                </a:lnTo>
                <a:lnTo>
                  <a:pt x="296" y="843"/>
                </a:lnTo>
                <a:lnTo>
                  <a:pt x="294" y="841"/>
                </a:lnTo>
                <a:lnTo>
                  <a:pt x="288" y="841"/>
                </a:lnTo>
                <a:lnTo>
                  <a:pt x="281" y="835"/>
                </a:lnTo>
                <a:lnTo>
                  <a:pt x="273" y="826"/>
                </a:lnTo>
                <a:lnTo>
                  <a:pt x="254" y="818"/>
                </a:lnTo>
                <a:lnTo>
                  <a:pt x="252" y="812"/>
                </a:lnTo>
                <a:lnTo>
                  <a:pt x="237" y="807"/>
                </a:lnTo>
                <a:lnTo>
                  <a:pt x="230" y="805"/>
                </a:lnTo>
                <a:lnTo>
                  <a:pt x="213" y="790"/>
                </a:lnTo>
                <a:lnTo>
                  <a:pt x="207" y="782"/>
                </a:lnTo>
                <a:lnTo>
                  <a:pt x="201" y="777"/>
                </a:lnTo>
                <a:lnTo>
                  <a:pt x="194" y="775"/>
                </a:lnTo>
                <a:lnTo>
                  <a:pt x="183" y="765"/>
                </a:lnTo>
                <a:lnTo>
                  <a:pt x="169" y="728"/>
                </a:lnTo>
                <a:lnTo>
                  <a:pt x="169" y="716"/>
                </a:lnTo>
                <a:lnTo>
                  <a:pt x="171" y="707"/>
                </a:lnTo>
                <a:lnTo>
                  <a:pt x="171" y="701"/>
                </a:lnTo>
                <a:lnTo>
                  <a:pt x="166" y="694"/>
                </a:lnTo>
                <a:lnTo>
                  <a:pt x="160" y="679"/>
                </a:lnTo>
                <a:lnTo>
                  <a:pt x="156" y="677"/>
                </a:lnTo>
                <a:lnTo>
                  <a:pt x="154" y="662"/>
                </a:lnTo>
                <a:lnTo>
                  <a:pt x="152" y="654"/>
                </a:lnTo>
                <a:lnTo>
                  <a:pt x="147" y="652"/>
                </a:lnTo>
                <a:lnTo>
                  <a:pt x="145" y="645"/>
                </a:lnTo>
                <a:lnTo>
                  <a:pt x="139" y="641"/>
                </a:lnTo>
                <a:lnTo>
                  <a:pt x="124" y="628"/>
                </a:lnTo>
                <a:lnTo>
                  <a:pt x="117" y="624"/>
                </a:lnTo>
                <a:lnTo>
                  <a:pt x="109" y="620"/>
                </a:lnTo>
                <a:lnTo>
                  <a:pt x="96" y="605"/>
                </a:lnTo>
                <a:lnTo>
                  <a:pt x="92" y="596"/>
                </a:lnTo>
                <a:lnTo>
                  <a:pt x="79" y="584"/>
                </a:lnTo>
                <a:lnTo>
                  <a:pt x="64" y="564"/>
                </a:lnTo>
                <a:lnTo>
                  <a:pt x="58" y="558"/>
                </a:lnTo>
                <a:lnTo>
                  <a:pt x="45" y="550"/>
                </a:lnTo>
                <a:lnTo>
                  <a:pt x="37" y="545"/>
                </a:lnTo>
                <a:lnTo>
                  <a:pt x="30" y="530"/>
                </a:lnTo>
                <a:lnTo>
                  <a:pt x="30" y="524"/>
                </a:lnTo>
                <a:lnTo>
                  <a:pt x="26" y="518"/>
                </a:lnTo>
                <a:lnTo>
                  <a:pt x="20" y="511"/>
                </a:lnTo>
                <a:lnTo>
                  <a:pt x="15" y="511"/>
                </a:lnTo>
                <a:lnTo>
                  <a:pt x="15" y="509"/>
                </a:lnTo>
                <a:lnTo>
                  <a:pt x="9" y="507"/>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rgbClr val="5A5A5A"/>
              </a:solidFill>
            </a:endParaRPr>
          </a:p>
        </p:txBody>
      </p:sp>
      <p:sp>
        <p:nvSpPr>
          <p:cNvPr id="8" name="Freeform 910"/>
          <p:cNvSpPr>
            <a:spLocks noChangeAspect="1"/>
          </p:cNvSpPr>
          <p:nvPr/>
        </p:nvSpPr>
        <p:spPr bwMode="auto">
          <a:xfrm rot="625645">
            <a:off x="272385" y="3023890"/>
            <a:ext cx="1323184" cy="600334"/>
          </a:xfrm>
          <a:custGeom>
            <a:avLst/>
            <a:gdLst>
              <a:gd name="T0" fmla="*/ 21 w 756"/>
              <a:gd name="T1" fmla="*/ 264 h 343"/>
              <a:gd name="T2" fmla="*/ 47 w 756"/>
              <a:gd name="T3" fmla="*/ 233 h 343"/>
              <a:gd name="T4" fmla="*/ 100 w 756"/>
              <a:gd name="T5" fmla="*/ 198 h 343"/>
              <a:gd name="T6" fmla="*/ 121 w 756"/>
              <a:gd name="T7" fmla="*/ 179 h 343"/>
              <a:gd name="T8" fmla="*/ 141 w 756"/>
              <a:gd name="T9" fmla="*/ 173 h 343"/>
              <a:gd name="T10" fmla="*/ 162 w 756"/>
              <a:gd name="T11" fmla="*/ 152 h 343"/>
              <a:gd name="T12" fmla="*/ 194 w 756"/>
              <a:gd name="T13" fmla="*/ 128 h 343"/>
              <a:gd name="T14" fmla="*/ 209 w 756"/>
              <a:gd name="T15" fmla="*/ 98 h 343"/>
              <a:gd name="T16" fmla="*/ 326 w 756"/>
              <a:gd name="T17" fmla="*/ 75 h 343"/>
              <a:gd name="T18" fmla="*/ 709 w 756"/>
              <a:gd name="T19" fmla="*/ 7 h 343"/>
              <a:gd name="T20" fmla="*/ 737 w 756"/>
              <a:gd name="T21" fmla="*/ 39 h 343"/>
              <a:gd name="T22" fmla="*/ 722 w 756"/>
              <a:gd name="T23" fmla="*/ 34 h 343"/>
              <a:gd name="T24" fmla="*/ 698 w 756"/>
              <a:gd name="T25" fmla="*/ 32 h 343"/>
              <a:gd name="T26" fmla="*/ 705 w 756"/>
              <a:gd name="T27" fmla="*/ 49 h 343"/>
              <a:gd name="T28" fmla="*/ 686 w 756"/>
              <a:gd name="T29" fmla="*/ 51 h 343"/>
              <a:gd name="T30" fmla="*/ 662 w 756"/>
              <a:gd name="T31" fmla="*/ 69 h 343"/>
              <a:gd name="T32" fmla="*/ 656 w 756"/>
              <a:gd name="T33" fmla="*/ 43 h 343"/>
              <a:gd name="T34" fmla="*/ 654 w 756"/>
              <a:gd name="T35" fmla="*/ 58 h 343"/>
              <a:gd name="T36" fmla="*/ 673 w 756"/>
              <a:gd name="T37" fmla="*/ 79 h 343"/>
              <a:gd name="T38" fmla="*/ 703 w 756"/>
              <a:gd name="T39" fmla="*/ 69 h 343"/>
              <a:gd name="T40" fmla="*/ 724 w 756"/>
              <a:gd name="T41" fmla="*/ 79 h 343"/>
              <a:gd name="T42" fmla="*/ 724 w 756"/>
              <a:gd name="T43" fmla="*/ 100 h 343"/>
              <a:gd name="T44" fmla="*/ 739 w 756"/>
              <a:gd name="T45" fmla="*/ 71 h 343"/>
              <a:gd name="T46" fmla="*/ 754 w 756"/>
              <a:gd name="T47" fmla="*/ 75 h 343"/>
              <a:gd name="T48" fmla="*/ 743 w 756"/>
              <a:gd name="T49" fmla="*/ 100 h 343"/>
              <a:gd name="T50" fmla="*/ 711 w 756"/>
              <a:gd name="T51" fmla="*/ 137 h 343"/>
              <a:gd name="T52" fmla="*/ 692 w 756"/>
              <a:gd name="T53" fmla="*/ 132 h 343"/>
              <a:gd name="T54" fmla="*/ 684 w 756"/>
              <a:gd name="T55" fmla="*/ 130 h 343"/>
              <a:gd name="T56" fmla="*/ 660 w 756"/>
              <a:gd name="T57" fmla="*/ 137 h 343"/>
              <a:gd name="T58" fmla="*/ 677 w 756"/>
              <a:gd name="T59" fmla="*/ 145 h 343"/>
              <a:gd name="T60" fmla="*/ 690 w 756"/>
              <a:gd name="T61" fmla="*/ 160 h 343"/>
              <a:gd name="T62" fmla="*/ 684 w 756"/>
              <a:gd name="T63" fmla="*/ 186 h 343"/>
              <a:gd name="T64" fmla="*/ 656 w 756"/>
              <a:gd name="T65" fmla="*/ 179 h 343"/>
              <a:gd name="T66" fmla="*/ 681 w 756"/>
              <a:gd name="T67" fmla="*/ 194 h 343"/>
              <a:gd name="T68" fmla="*/ 705 w 756"/>
              <a:gd name="T69" fmla="*/ 181 h 343"/>
              <a:gd name="T70" fmla="*/ 709 w 756"/>
              <a:gd name="T71" fmla="*/ 186 h 343"/>
              <a:gd name="T72" fmla="*/ 724 w 756"/>
              <a:gd name="T73" fmla="*/ 184 h 343"/>
              <a:gd name="T74" fmla="*/ 707 w 756"/>
              <a:gd name="T75" fmla="*/ 211 h 343"/>
              <a:gd name="T76" fmla="*/ 688 w 756"/>
              <a:gd name="T77" fmla="*/ 213 h 343"/>
              <a:gd name="T78" fmla="*/ 654 w 756"/>
              <a:gd name="T79" fmla="*/ 224 h 343"/>
              <a:gd name="T80" fmla="*/ 632 w 756"/>
              <a:gd name="T81" fmla="*/ 243 h 343"/>
              <a:gd name="T82" fmla="*/ 630 w 756"/>
              <a:gd name="T83" fmla="*/ 245 h 343"/>
              <a:gd name="T84" fmla="*/ 603 w 756"/>
              <a:gd name="T85" fmla="*/ 294 h 343"/>
              <a:gd name="T86" fmla="*/ 592 w 756"/>
              <a:gd name="T87" fmla="*/ 299 h 343"/>
              <a:gd name="T88" fmla="*/ 588 w 756"/>
              <a:gd name="T89" fmla="*/ 333 h 343"/>
              <a:gd name="T90" fmla="*/ 543 w 756"/>
              <a:gd name="T91" fmla="*/ 343 h 343"/>
              <a:gd name="T92" fmla="*/ 322 w 756"/>
              <a:gd name="T93" fmla="*/ 273 h 343"/>
              <a:gd name="T94" fmla="*/ 300 w 756"/>
              <a:gd name="T95" fmla="*/ 250 h 343"/>
              <a:gd name="T96" fmla="*/ 175 w 756"/>
              <a:gd name="T97" fmla="*/ 256 h 343"/>
              <a:gd name="T98" fmla="*/ 134 w 756"/>
              <a:gd name="T99" fmla="*/ 27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343">
                <a:moveTo>
                  <a:pt x="0" y="305"/>
                </a:moveTo>
                <a:lnTo>
                  <a:pt x="0" y="275"/>
                </a:lnTo>
                <a:lnTo>
                  <a:pt x="15" y="273"/>
                </a:lnTo>
                <a:lnTo>
                  <a:pt x="21" y="264"/>
                </a:lnTo>
                <a:lnTo>
                  <a:pt x="21" y="256"/>
                </a:lnTo>
                <a:lnTo>
                  <a:pt x="26" y="247"/>
                </a:lnTo>
                <a:lnTo>
                  <a:pt x="32" y="241"/>
                </a:lnTo>
                <a:lnTo>
                  <a:pt x="47" y="233"/>
                </a:lnTo>
                <a:lnTo>
                  <a:pt x="60" y="233"/>
                </a:lnTo>
                <a:lnTo>
                  <a:pt x="66" y="228"/>
                </a:lnTo>
                <a:lnTo>
                  <a:pt x="87" y="209"/>
                </a:lnTo>
                <a:lnTo>
                  <a:pt x="100" y="198"/>
                </a:lnTo>
                <a:lnTo>
                  <a:pt x="107" y="198"/>
                </a:lnTo>
                <a:lnTo>
                  <a:pt x="111" y="192"/>
                </a:lnTo>
                <a:lnTo>
                  <a:pt x="115" y="177"/>
                </a:lnTo>
                <a:lnTo>
                  <a:pt x="121" y="179"/>
                </a:lnTo>
                <a:lnTo>
                  <a:pt x="124" y="173"/>
                </a:lnTo>
                <a:lnTo>
                  <a:pt x="126" y="169"/>
                </a:lnTo>
                <a:lnTo>
                  <a:pt x="134" y="164"/>
                </a:lnTo>
                <a:lnTo>
                  <a:pt x="141" y="173"/>
                </a:lnTo>
                <a:lnTo>
                  <a:pt x="145" y="173"/>
                </a:lnTo>
                <a:lnTo>
                  <a:pt x="151" y="164"/>
                </a:lnTo>
                <a:lnTo>
                  <a:pt x="156" y="158"/>
                </a:lnTo>
                <a:lnTo>
                  <a:pt x="162" y="152"/>
                </a:lnTo>
                <a:lnTo>
                  <a:pt x="175" y="147"/>
                </a:lnTo>
                <a:lnTo>
                  <a:pt x="181" y="152"/>
                </a:lnTo>
                <a:lnTo>
                  <a:pt x="190" y="143"/>
                </a:lnTo>
                <a:lnTo>
                  <a:pt x="194" y="128"/>
                </a:lnTo>
                <a:lnTo>
                  <a:pt x="200" y="122"/>
                </a:lnTo>
                <a:lnTo>
                  <a:pt x="207" y="120"/>
                </a:lnTo>
                <a:lnTo>
                  <a:pt x="209" y="105"/>
                </a:lnTo>
                <a:lnTo>
                  <a:pt x="209" y="98"/>
                </a:lnTo>
                <a:lnTo>
                  <a:pt x="213" y="88"/>
                </a:lnTo>
                <a:lnTo>
                  <a:pt x="226" y="90"/>
                </a:lnTo>
                <a:lnTo>
                  <a:pt x="256" y="86"/>
                </a:lnTo>
                <a:lnTo>
                  <a:pt x="326" y="75"/>
                </a:lnTo>
                <a:lnTo>
                  <a:pt x="522" y="39"/>
                </a:lnTo>
                <a:lnTo>
                  <a:pt x="620" y="20"/>
                </a:lnTo>
                <a:lnTo>
                  <a:pt x="707" y="0"/>
                </a:lnTo>
                <a:lnTo>
                  <a:pt x="709" y="7"/>
                </a:lnTo>
                <a:lnTo>
                  <a:pt x="716" y="13"/>
                </a:lnTo>
                <a:lnTo>
                  <a:pt x="722" y="15"/>
                </a:lnTo>
                <a:lnTo>
                  <a:pt x="722" y="20"/>
                </a:lnTo>
                <a:lnTo>
                  <a:pt x="737" y="39"/>
                </a:lnTo>
                <a:lnTo>
                  <a:pt x="737" y="47"/>
                </a:lnTo>
                <a:lnTo>
                  <a:pt x="733" y="37"/>
                </a:lnTo>
                <a:lnTo>
                  <a:pt x="718" y="26"/>
                </a:lnTo>
                <a:lnTo>
                  <a:pt x="722" y="34"/>
                </a:lnTo>
                <a:lnTo>
                  <a:pt x="728" y="41"/>
                </a:lnTo>
                <a:lnTo>
                  <a:pt x="720" y="41"/>
                </a:lnTo>
                <a:lnTo>
                  <a:pt x="705" y="32"/>
                </a:lnTo>
                <a:lnTo>
                  <a:pt x="698" y="32"/>
                </a:lnTo>
                <a:lnTo>
                  <a:pt x="705" y="34"/>
                </a:lnTo>
                <a:lnTo>
                  <a:pt x="711" y="41"/>
                </a:lnTo>
                <a:lnTo>
                  <a:pt x="711" y="47"/>
                </a:lnTo>
                <a:lnTo>
                  <a:pt x="705" y="49"/>
                </a:lnTo>
                <a:lnTo>
                  <a:pt x="698" y="47"/>
                </a:lnTo>
                <a:lnTo>
                  <a:pt x="703" y="54"/>
                </a:lnTo>
                <a:lnTo>
                  <a:pt x="692" y="51"/>
                </a:lnTo>
                <a:lnTo>
                  <a:pt x="686" y="51"/>
                </a:lnTo>
                <a:lnTo>
                  <a:pt x="694" y="58"/>
                </a:lnTo>
                <a:lnTo>
                  <a:pt x="677" y="71"/>
                </a:lnTo>
                <a:lnTo>
                  <a:pt x="671" y="66"/>
                </a:lnTo>
                <a:lnTo>
                  <a:pt x="662" y="69"/>
                </a:lnTo>
                <a:lnTo>
                  <a:pt x="656" y="54"/>
                </a:lnTo>
                <a:lnTo>
                  <a:pt x="656" y="47"/>
                </a:lnTo>
                <a:lnTo>
                  <a:pt x="656" y="45"/>
                </a:lnTo>
                <a:lnTo>
                  <a:pt x="656" y="43"/>
                </a:lnTo>
                <a:lnTo>
                  <a:pt x="652" y="39"/>
                </a:lnTo>
                <a:lnTo>
                  <a:pt x="656" y="45"/>
                </a:lnTo>
                <a:lnTo>
                  <a:pt x="652" y="51"/>
                </a:lnTo>
                <a:lnTo>
                  <a:pt x="654" y="58"/>
                </a:lnTo>
                <a:lnTo>
                  <a:pt x="658" y="66"/>
                </a:lnTo>
                <a:lnTo>
                  <a:pt x="664" y="73"/>
                </a:lnTo>
                <a:lnTo>
                  <a:pt x="664" y="81"/>
                </a:lnTo>
                <a:lnTo>
                  <a:pt x="673" y="79"/>
                </a:lnTo>
                <a:lnTo>
                  <a:pt x="679" y="77"/>
                </a:lnTo>
                <a:lnTo>
                  <a:pt x="688" y="71"/>
                </a:lnTo>
                <a:lnTo>
                  <a:pt x="703" y="75"/>
                </a:lnTo>
                <a:lnTo>
                  <a:pt x="703" y="69"/>
                </a:lnTo>
                <a:lnTo>
                  <a:pt x="713" y="64"/>
                </a:lnTo>
                <a:lnTo>
                  <a:pt x="722" y="64"/>
                </a:lnTo>
                <a:lnTo>
                  <a:pt x="724" y="71"/>
                </a:lnTo>
                <a:lnTo>
                  <a:pt x="724" y="79"/>
                </a:lnTo>
                <a:lnTo>
                  <a:pt x="720" y="88"/>
                </a:lnTo>
                <a:lnTo>
                  <a:pt x="726" y="90"/>
                </a:lnTo>
                <a:lnTo>
                  <a:pt x="722" y="96"/>
                </a:lnTo>
                <a:lnTo>
                  <a:pt x="724" y="100"/>
                </a:lnTo>
                <a:lnTo>
                  <a:pt x="733" y="94"/>
                </a:lnTo>
                <a:lnTo>
                  <a:pt x="730" y="79"/>
                </a:lnTo>
                <a:lnTo>
                  <a:pt x="730" y="71"/>
                </a:lnTo>
                <a:lnTo>
                  <a:pt x="739" y="71"/>
                </a:lnTo>
                <a:lnTo>
                  <a:pt x="741" y="64"/>
                </a:lnTo>
                <a:lnTo>
                  <a:pt x="741" y="62"/>
                </a:lnTo>
                <a:lnTo>
                  <a:pt x="747" y="69"/>
                </a:lnTo>
                <a:lnTo>
                  <a:pt x="754" y="75"/>
                </a:lnTo>
                <a:lnTo>
                  <a:pt x="754" y="90"/>
                </a:lnTo>
                <a:lnTo>
                  <a:pt x="756" y="96"/>
                </a:lnTo>
                <a:lnTo>
                  <a:pt x="750" y="103"/>
                </a:lnTo>
                <a:lnTo>
                  <a:pt x="743" y="100"/>
                </a:lnTo>
                <a:lnTo>
                  <a:pt x="743" y="107"/>
                </a:lnTo>
                <a:lnTo>
                  <a:pt x="733" y="130"/>
                </a:lnTo>
                <a:lnTo>
                  <a:pt x="728" y="137"/>
                </a:lnTo>
                <a:lnTo>
                  <a:pt x="711" y="137"/>
                </a:lnTo>
                <a:lnTo>
                  <a:pt x="705" y="135"/>
                </a:lnTo>
                <a:lnTo>
                  <a:pt x="701" y="128"/>
                </a:lnTo>
                <a:lnTo>
                  <a:pt x="701" y="135"/>
                </a:lnTo>
                <a:lnTo>
                  <a:pt x="692" y="132"/>
                </a:lnTo>
                <a:lnTo>
                  <a:pt x="686" y="126"/>
                </a:lnTo>
                <a:lnTo>
                  <a:pt x="690" y="122"/>
                </a:lnTo>
                <a:lnTo>
                  <a:pt x="681" y="124"/>
                </a:lnTo>
                <a:lnTo>
                  <a:pt x="684" y="130"/>
                </a:lnTo>
                <a:lnTo>
                  <a:pt x="686" y="137"/>
                </a:lnTo>
                <a:lnTo>
                  <a:pt x="681" y="135"/>
                </a:lnTo>
                <a:lnTo>
                  <a:pt x="673" y="139"/>
                </a:lnTo>
                <a:lnTo>
                  <a:pt x="660" y="137"/>
                </a:lnTo>
                <a:lnTo>
                  <a:pt x="645" y="132"/>
                </a:lnTo>
                <a:lnTo>
                  <a:pt x="643" y="135"/>
                </a:lnTo>
                <a:lnTo>
                  <a:pt x="645" y="137"/>
                </a:lnTo>
                <a:lnTo>
                  <a:pt x="677" y="145"/>
                </a:lnTo>
                <a:lnTo>
                  <a:pt x="686" y="145"/>
                </a:lnTo>
                <a:lnTo>
                  <a:pt x="701" y="152"/>
                </a:lnTo>
                <a:lnTo>
                  <a:pt x="698" y="158"/>
                </a:lnTo>
                <a:lnTo>
                  <a:pt x="690" y="160"/>
                </a:lnTo>
                <a:lnTo>
                  <a:pt x="688" y="167"/>
                </a:lnTo>
                <a:lnTo>
                  <a:pt x="694" y="164"/>
                </a:lnTo>
                <a:lnTo>
                  <a:pt x="694" y="171"/>
                </a:lnTo>
                <a:lnTo>
                  <a:pt x="684" y="186"/>
                </a:lnTo>
                <a:lnTo>
                  <a:pt x="679" y="188"/>
                </a:lnTo>
                <a:lnTo>
                  <a:pt x="671" y="188"/>
                </a:lnTo>
                <a:lnTo>
                  <a:pt x="662" y="181"/>
                </a:lnTo>
                <a:lnTo>
                  <a:pt x="656" y="179"/>
                </a:lnTo>
                <a:lnTo>
                  <a:pt x="650" y="175"/>
                </a:lnTo>
                <a:lnTo>
                  <a:pt x="654" y="181"/>
                </a:lnTo>
                <a:lnTo>
                  <a:pt x="667" y="192"/>
                </a:lnTo>
                <a:lnTo>
                  <a:pt x="681" y="194"/>
                </a:lnTo>
                <a:lnTo>
                  <a:pt x="696" y="186"/>
                </a:lnTo>
                <a:lnTo>
                  <a:pt x="703" y="188"/>
                </a:lnTo>
                <a:lnTo>
                  <a:pt x="701" y="181"/>
                </a:lnTo>
                <a:lnTo>
                  <a:pt x="705" y="181"/>
                </a:lnTo>
                <a:lnTo>
                  <a:pt x="705" y="179"/>
                </a:lnTo>
                <a:lnTo>
                  <a:pt x="707" y="173"/>
                </a:lnTo>
                <a:lnTo>
                  <a:pt x="711" y="179"/>
                </a:lnTo>
                <a:lnTo>
                  <a:pt x="709" y="186"/>
                </a:lnTo>
                <a:lnTo>
                  <a:pt x="716" y="186"/>
                </a:lnTo>
                <a:lnTo>
                  <a:pt x="720" y="177"/>
                </a:lnTo>
                <a:lnTo>
                  <a:pt x="722" y="177"/>
                </a:lnTo>
                <a:lnTo>
                  <a:pt x="724" y="184"/>
                </a:lnTo>
                <a:lnTo>
                  <a:pt x="722" y="190"/>
                </a:lnTo>
                <a:lnTo>
                  <a:pt x="716" y="196"/>
                </a:lnTo>
                <a:lnTo>
                  <a:pt x="709" y="211"/>
                </a:lnTo>
                <a:lnTo>
                  <a:pt x="707" y="211"/>
                </a:lnTo>
                <a:lnTo>
                  <a:pt x="698" y="207"/>
                </a:lnTo>
                <a:lnTo>
                  <a:pt x="696" y="213"/>
                </a:lnTo>
                <a:lnTo>
                  <a:pt x="692" y="207"/>
                </a:lnTo>
                <a:lnTo>
                  <a:pt x="688" y="213"/>
                </a:lnTo>
                <a:lnTo>
                  <a:pt x="686" y="218"/>
                </a:lnTo>
                <a:lnTo>
                  <a:pt x="679" y="218"/>
                </a:lnTo>
                <a:lnTo>
                  <a:pt x="662" y="226"/>
                </a:lnTo>
                <a:lnTo>
                  <a:pt x="654" y="224"/>
                </a:lnTo>
                <a:lnTo>
                  <a:pt x="647" y="237"/>
                </a:lnTo>
                <a:lnTo>
                  <a:pt x="643" y="243"/>
                </a:lnTo>
                <a:lnTo>
                  <a:pt x="641" y="245"/>
                </a:lnTo>
                <a:lnTo>
                  <a:pt x="632" y="243"/>
                </a:lnTo>
                <a:lnTo>
                  <a:pt x="639" y="237"/>
                </a:lnTo>
                <a:lnTo>
                  <a:pt x="630" y="233"/>
                </a:lnTo>
                <a:lnTo>
                  <a:pt x="635" y="239"/>
                </a:lnTo>
                <a:lnTo>
                  <a:pt x="630" y="245"/>
                </a:lnTo>
                <a:lnTo>
                  <a:pt x="635" y="252"/>
                </a:lnTo>
                <a:lnTo>
                  <a:pt x="620" y="264"/>
                </a:lnTo>
                <a:lnTo>
                  <a:pt x="609" y="279"/>
                </a:lnTo>
                <a:lnTo>
                  <a:pt x="603" y="294"/>
                </a:lnTo>
                <a:lnTo>
                  <a:pt x="601" y="303"/>
                </a:lnTo>
                <a:lnTo>
                  <a:pt x="601" y="324"/>
                </a:lnTo>
                <a:lnTo>
                  <a:pt x="596" y="305"/>
                </a:lnTo>
                <a:lnTo>
                  <a:pt x="592" y="299"/>
                </a:lnTo>
                <a:lnTo>
                  <a:pt x="592" y="299"/>
                </a:lnTo>
                <a:lnTo>
                  <a:pt x="596" y="313"/>
                </a:lnTo>
                <a:lnTo>
                  <a:pt x="594" y="328"/>
                </a:lnTo>
                <a:lnTo>
                  <a:pt x="588" y="333"/>
                </a:lnTo>
                <a:lnTo>
                  <a:pt x="575" y="333"/>
                </a:lnTo>
                <a:lnTo>
                  <a:pt x="562" y="337"/>
                </a:lnTo>
                <a:lnTo>
                  <a:pt x="547" y="343"/>
                </a:lnTo>
                <a:lnTo>
                  <a:pt x="543" y="343"/>
                </a:lnTo>
                <a:lnTo>
                  <a:pt x="539" y="341"/>
                </a:lnTo>
                <a:lnTo>
                  <a:pt x="424" y="258"/>
                </a:lnTo>
                <a:lnTo>
                  <a:pt x="324" y="275"/>
                </a:lnTo>
                <a:lnTo>
                  <a:pt x="322" y="273"/>
                </a:lnTo>
                <a:lnTo>
                  <a:pt x="322" y="267"/>
                </a:lnTo>
                <a:lnTo>
                  <a:pt x="317" y="258"/>
                </a:lnTo>
                <a:lnTo>
                  <a:pt x="307" y="247"/>
                </a:lnTo>
                <a:lnTo>
                  <a:pt x="300" y="250"/>
                </a:lnTo>
                <a:lnTo>
                  <a:pt x="292" y="243"/>
                </a:lnTo>
                <a:lnTo>
                  <a:pt x="262" y="245"/>
                </a:lnTo>
                <a:lnTo>
                  <a:pt x="181" y="254"/>
                </a:lnTo>
                <a:lnTo>
                  <a:pt x="175" y="256"/>
                </a:lnTo>
                <a:lnTo>
                  <a:pt x="166" y="260"/>
                </a:lnTo>
                <a:lnTo>
                  <a:pt x="153" y="264"/>
                </a:lnTo>
                <a:lnTo>
                  <a:pt x="141" y="275"/>
                </a:lnTo>
                <a:lnTo>
                  <a:pt x="134" y="275"/>
                </a:lnTo>
                <a:lnTo>
                  <a:pt x="111" y="288"/>
                </a:lnTo>
                <a:lnTo>
                  <a:pt x="0" y="305"/>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rgbClr val="5A5A5A"/>
              </a:solidFill>
            </a:endParaRPr>
          </a:p>
        </p:txBody>
      </p:sp>
      <p:sp>
        <p:nvSpPr>
          <p:cNvPr id="9" name="Freeform 715"/>
          <p:cNvSpPr>
            <a:spLocks noChangeAspect="1"/>
          </p:cNvSpPr>
          <p:nvPr/>
        </p:nvSpPr>
        <p:spPr bwMode="auto">
          <a:xfrm>
            <a:off x="616079" y="5443157"/>
            <a:ext cx="730030" cy="677534"/>
          </a:xfrm>
          <a:custGeom>
            <a:avLst/>
            <a:gdLst>
              <a:gd name="T0" fmla="*/ 89 w 445"/>
              <a:gd name="T1" fmla="*/ 17 h 413"/>
              <a:gd name="T2" fmla="*/ 394 w 445"/>
              <a:gd name="T3" fmla="*/ 0 h 413"/>
              <a:gd name="T4" fmla="*/ 407 w 445"/>
              <a:gd name="T5" fmla="*/ 10 h 413"/>
              <a:gd name="T6" fmla="*/ 409 w 445"/>
              <a:gd name="T7" fmla="*/ 25 h 413"/>
              <a:gd name="T8" fmla="*/ 394 w 445"/>
              <a:gd name="T9" fmla="*/ 36 h 413"/>
              <a:gd name="T10" fmla="*/ 385 w 445"/>
              <a:gd name="T11" fmla="*/ 51 h 413"/>
              <a:gd name="T12" fmla="*/ 441 w 445"/>
              <a:gd name="T13" fmla="*/ 53 h 413"/>
              <a:gd name="T14" fmla="*/ 445 w 445"/>
              <a:gd name="T15" fmla="*/ 64 h 413"/>
              <a:gd name="T16" fmla="*/ 443 w 445"/>
              <a:gd name="T17" fmla="*/ 74 h 413"/>
              <a:gd name="T18" fmla="*/ 428 w 445"/>
              <a:gd name="T19" fmla="*/ 85 h 413"/>
              <a:gd name="T20" fmla="*/ 424 w 445"/>
              <a:gd name="T21" fmla="*/ 89 h 413"/>
              <a:gd name="T22" fmla="*/ 424 w 445"/>
              <a:gd name="T23" fmla="*/ 100 h 413"/>
              <a:gd name="T24" fmla="*/ 417 w 445"/>
              <a:gd name="T25" fmla="*/ 108 h 413"/>
              <a:gd name="T26" fmla="*/ 417 w 445"/>
              <a:gd name="T27" fmla="*/ 121 h 413"/>
              <a:gd name="T28" fmla="*/ 409 w 445"/>
              <a:gd name="T29" fmla="*/ 119 h 413"/>
              <a:gd name="T30" fmla="*/ 413 w 445"/>
              <a:gd name="T31" fmla="*/ 125 h 413"/>
              <a:gd name="T32" fmla="*/ 417 w 445"/>
              <a:gd name="T33" fmla="*/ 153 h 413"/>
              <a:gd name="T34" fmla="*/ 409 w 445"/>
              <a:gd name="T35" fmla="*/ 157 h 413"/>
              <a:gd name="T36" fmla="*/ 398 w 445"/>
              <a:gd name="T37" fmla="*/ 168 h 413"/>
              <a:gd name="T38" fmla="*/ 400 w 445"/>
              <a:gd name="T39" fmla="*/ 172 h 413"/>
              <a:gd name="T40" fmla="*/ 394 w 445"/>
              <a:gd name="T41" fmla="*/ 187 h 413"/>
              <a:gd name="T42" fmla="*/ 383 w 445"/>
              <a:gd name="T43" fmla="*/ 185 h 413"/>
              <a:gd name="T44" fmla="*/ 379 w 445"/>
              <a:gd name="T45" fmla="*/ 202 h 413"/>
              <a:gd name="T46" fmla="*/ 377 w 445"/>
              <a:gd name="T47" fmla="*/ 204 h 413"/>
              <a:gd name="T48" fmla="*/ 377 w 445"/>
              <a:gd name="T49" fmla="*/ 213 h 413"/>
              <a:gd name="T50" fmla="*/ 375 w 445"/>
              <a:gd name="T51" fmla="*/ 217 h 413"/>
              <a:gd name="T52" fmla="*/ 375 w 445"/>
              <a:gd name="T53" fmla="*/ 230 h 413"/>
              <a:gd name="T54" fmla="*/ 370 w 445"/>
              <a:gd name="T55" fmla="*/ 243 h 413"/>
              <a:gd name="T56" fmla="*/ 360 w 445"/>
              <a:gd name="T57" fmla="*/ 245 h 413"/>
              <a:gd name="T58" fmla="*/ 355 w 445"/>
              <a:gd name="T59" fmla="*/ 258 h 413"/>
              <a:gd name="T60" fmla="*/ 345 w 445"/>
              <a:gd name="T61" fmla="*/ 260 h 413"/>
              <a:gd name="T62" fmla="*/ 347 w 445"/>
              <a:gd name="T63" fmla="*/ 268 h 413"/>
              <a:gd name="T64" fmla="*/ 351 w 445"/>
              <a:gd name="T65" fmla="*/ 281 h 413"/>
              <a:gd name="T66" fmla="*/ 338 w 445"/>
              <a:gd name="T67" fmla="*/ 294 h 413"/>
              <a:gd name="T68" fmla="*/ 338 w 445"/>
              <a:gd name="T69" fmla="*/ 307 h 413"/>
              <a:gd name="T70" fmla="*/ 330 w 445"/>
              <a:gd name="T71" fmla="*/ 311 h 413"/>
              <a:gd name="T72" fmla="*/ 336 w 445"/>
              <a:gd name="T73" fmla="*/ 319 h 413"/>
              <a:gd name="T74" fmla="*/ 328 w 445"/>
              <a:gd name="T75" fmla="*/ 321 h 413"/>
              <a:gd name="T76" fmla="*/ 328 w 445"/>
              <a:gd name="T77" fmla="*/ 330 h 413"/>
              <a:gd name="T78" fmla="*/ 326 w 445"/>
              <a:gd name="T79" fmla="*/ 343 h 413"/>
              <a:gd name="T80" fmla="*/ 330 w 445"/>
              <a:gd name="T81" fmla="*/ 345 h 413"/>
              <a:gd name="T82" fmla="*/ 326 w 445"/>
              <a:gd name="T83" fmla="*/ 353 h 413"/>
              <a:gd name="T84" fmla="*/ 334 w 445"/>
              <a:gd name="T85" fmla="*/ 355 h 413"/>
              <a:gd name="T86" fmla="*/ 334 w 445"/>
              <a:gd name="T87" fmla="*/ 370 h 413"/>
              <a:gd name="T88" fmla="*/ 338 w 445"/>
              <a:gd name="T89" fmla="*/ 383 h 413"/>
              <a:gd name="T90" fmla="*/ 332 w 445"/>
              <a:gd name="T91" fmla="*/ 383 h 413"/>
              <a:gd name="T92" fmla="*/ 332 w 445"/>
              <a:gd name="T93" fmla="*/ 400 h 413"/>
              <a:gd name="T94" fmla="*/ 64 w 445"/>
              <a:gd name="T95" fmla="*/ 413 h 413"/>
              <a:gd name="T96" fmla="*/ 38 w 445"/>
              <a:gd name="T97" fmla="*/ 347 h 413"/>
              <a:gd name="T98" fmla="*/ 23 w 445"/>
              <a:gd name="T99" fmla="*/ 347 h 413"/>
              <a:gd name="T100" fmla="*/ 21 w 445"/>
              <a:gd name="T101" fmla="*/ 343 h 413"/>
              <a:gd name="T102" fmla="*/ 15 w 445"/>
              <a:gd name="T103" fmla="*/ 1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 h="413">
                <a:moveTo>
                  <a:pt x="0" y="19"/>
                </a:moveTo>
                <a:lnTo>
                  <a:pt x="89" y="17"/>
                </a:lnTo>
                <a:lnTo>
                  <a:pt x="232" y="10"/>
                </a:lnTo>
                <a:lnTo>
                  <a:pt x="394" y="0"/>
                </a:lnTo>
                <a:lnTo>
                  <a:pt x="400" y="4"/>
                </a:lnTo>
                <a:lnTo>
                  <a:pt x="407" y="10"/>
                </a:lnTo>
                <a:lnTo>
                  <a:pt x="409" y="19"/>
                </a:lnTo>
                <a:lnTo>
                  <a:pt x="409" y="25"/>
                </a:lnTo>
                <a:lnTo>
                  <a:pt x="402" y="32"/>
                </a:lnTo>
                <a:lnTo>
                  <a:pt x="394" y="36"/>
                </a:lnTo>
                <a:lnTo>
                  <a:pt x="390" y="45"/>
                </a:lnTo>
                <a:lnTo>
                  <a:pt x="385" y="51"/>
                </a:lnTo>
                <a:lnTo>
                  <a:pt x="390" y="59"/>
                </a:lnTo>
                <a:lnTo>
                  <a:pt x="441" y="53"/>
                </a:lnTo>
                <a:lnTo>
                  <a:pt x="445" y="57"/>
                </a:lnTo>
                <a:lnTo>
                  <a:pt x="445" y="64"/>
                </a:lnTo>
                <a:lnTo>
                  <a:pt x="439" y="68"/>
                </a:lnTo>
                <a:lnTo>
                  <a:pt x="443" y="74"/>
                </a:lnTo>
                <a:lnTo>
                  <a:pt x="434" y="81"/>
                </a:lnTo>
                <a:lnTo>
                  <a:pt x="428" y="85"/>
                </a:lnTo>
                <a:lnTo>
                  <a:pt x="424" y="87"/>
                </a:lnTo>
                <a:lnTo>
                  <a:pt x="424" y="89"/>
                </a:lnTo>
                <a:lnTo>
                  <a:pt x="430" y="96"/>
                </a:lnTo>
                <a:lnTo>
                  <a:pt x="424" y="100"/>
                </a:lnTo>
                <a:lnTo>
                  <a:pt x="422" y="106"/>
                </a:lnTo>
                <a:lnTo>
                  <a:pt x="417" y="108"/>
                </a:lnTo>
                <a:lnTo>
                  <a:pt x="419" y="115"/>
                </a:lnTo>
                <a:lnTo>
                  <a:pt x="417" y="121"/>
                </a:lnTo>
                <a:lnTo>
                  <a:pt x="415" y="117"/>
                </a:lnTo>
                <a:lnTo>
                  <a:pt x="409" y="119"/>
                </a:lnTo>
                <a:lnTo>
                  <a:pt x="407" y="128"/>
                </a:lnTo>
                <a:lnTo>
                  <a:pt x="413" y="125"/>
                </a:lnTo>
                <a:lnTo>
                  <a:pt x="413" y="134"/>
                </a:lnTo>
                <a:lnTo>
                  <a:pt x="417" y="153"/>
                </a:lnTo>
                <a:lnTo>
                  <a:pt x="415" y="155"/>
                </a:lnTo>
                <a:lnTo>
                  <a:pt x="409" y="157"/>
                </a:lnTo>
                <a:lnTo>
                  <a:pt x="404" y="164"/>
                </a:lnTo>
                <a:lnTo>
                  <a:pt x="398" y="168"/>
                </a:lnTo>
                <a:lnTo>
                  <a:pt x="396" y="170"/>
                </a:lnTo>
                <a:lnTo>
                  <a:pt x="400" y="172"/>
                </a:lnTo>
                <a:lnTo>
                  <a:pt x="400" y="181"/>
                </a:lnTo>
                <a:lnTo>
                  <a:pt x="394" y="187"/>
                </a:lnTo>
                <a:lnTo>
                  <a:pt x="387" y="189"/>
                </a:lnTo>
                <a:lnTo>
                  <a:pt x="383" y="185"/>
                </a:lnTo>
                <a:lnTo>
                  <a:pt x="385" y="202"/>
                </a:lnTo>
                <a:lnTo>
                  <a:pt x="379" y="202"/>
                </a:lnTo>
                <a:lnTo>
                  <a:pt x="377" y="194"/>
                </a:lnTo>
                <a:lnTo>
                  <a:pt x="377" y="204"/>
                </a:lnTo>
                <a:lnTo>
                  <a:pt x="385" y="209"/>
                </a:lnTo>
                <a:lnTo>
                  <a:pt x="377" y="213"/>
                </a:lnTo>
                <a:lnTo>
                  <a:pt x="375" y="204"/>
                </a:lnTo>
                <a:lnTo>
                  <a:pt x="375" y="217"/>
                </a:lnTo>
                <a:lnTo>
                  <a:pt x="379" y="219"/>
                </a:lnTo>
                <a:lnTo>
                  <a:pt x="375" y="230"/>
                </a:lnTo>
                <a:lnTo>
                  <a:pt x="377" y="234"/>
                </a:lnTo>
                <a:lnTo>
                  <a:pt x="370" y="243"/>
                </a:lnTo>
                <a:lnTo>
                  <a:pt x="366" y="245"/>
                </a:lnTo>
                <a:lnTo>
                  <a:pt x="360" y="245"/>
                </a:lnTo>
                <a:lnTo>
                  <a:pt x="362" y="251"/>
                </a:lnTo>
                <a:lnTo>
                  <a:pt x="355" y="258"/>
                </a:lnTo>
                <a:lnTo>
                  <a:pt x="353" y="262"/>
                </a:lnTo>
                <a:lnTo>
                  <a:pt x="345" y="260"/>
                </a:lnTo>
                <a:lnTo>
                  <a:pt x="351" y="266"/>
                </a:lnTo>
                <a:lnTo>
                  <a:pt x="347" y="268"/>
                </a:lnTo>
                <a:lnTo>
                  <a:pt x="347" y="275"/>
                </a:lnTo>
                <a:lnTo>
                  <a:pt x="351" y="281"/>
                </a:lnTo>
                <a:lnTo>
                  <a:pt x="332" y="289"/>
                </a:lnTo>
                <a:lnTo>
                  <a:pt x="338" y="294"/>
                </a:lnTo>
                <a:lnTo>
                  <a:pt x="336" y="300"/>
                </a:lnTo>
                <a:lnTo>
                  <a:pt x="338" y="307"/>
                </a:lnTo>
                <a:lnTo>
                  <a:pt x="336" y="311"/>
                </a:lnTo>
                <a:lnTo>
                  <a:pt x="330" y="311"/>
                </a:lnTo>
                <a:lnTo>
                  <a:pt x="330" y="317"/>
                </a:lnTo>
                <a:lnTo>
                  <a:pt x="336" y="319"/>
                </a:lnTo>
                <a:lnTo>
                  <a:pt x="330" y="324"/>
                </a:lnTo>
                <a:lnTo>
                  <a:pt x="328" y="321"/>
                </a:lnTo>
                <a:lnTo>
                  <a:pt x="324" y="324"/>
                </a:lnTo>
                <a:lnTo>
                  <a:pt x="328" y="330"/>
                </a:lnTo>
                <a:lnTo>
                  <a:pt x="321" y="336"/>
                </a:lnTo>
                <a:lnTo>
                  <a:pt x="326" y="343"/>
                </a:lnTo>
                <a:lnTo>
                  <a:pt x="321" y="351"/>
                </a:lnTo>
                <a:lnTo>
                  <a:pt x="330" y="345"/>
                </a:lnTo>
                <a:lnTo>
                  <a:pt x="332" y="349"/>
                </a:lnTo>
                <a:lnTo>
                  <a:pt x="326" y="353"/>
                </a:lnTo>
                <a:lnTo>
                  <a:pt x="332" y="355"/>
                </a:lnTo>
                <a:lnTo>
                  <a:pt x="334" y="355"/>
                </a:lnTo>
                <a:lnTo>
                  <a:pt x="332" y="362"/>
                </a:lnTo>
                <a:lnTo>
                  <a:pt x="334" y="370"/>
                </a:lnTo>
                <a:lnTo>
                  <a:pt x="336" y="370"/>
                </a:lnTo>
                <a:lnTo>
                  <a:pt x="338" y="383"/>
                </a:lnTo>
                <a:lnTo>
                  <a:pt x="338" y="383"/>
                </a:lnTo>
                <a:lnTo>
                  <a:pt x="332" y="383"/>
                </a:lnTo>
                <a:lnTo>
                  <a:pt x="332" y="390"/>
                </a:lnTo>
                <a:lnTo>
                  <a:pt x="332" y="400"/>
                </a:lnTo>
                <a:lnTo>
                  <a:pt x="179" y="409"/>
                </a:lnTo>
                <a:lnTo>
                  <a:pt x="64" y="413"/>
                </a:lnTo>
                <a:lnTo>
                  <a:pt x="62" y="351"/>
                </a:lnTo>
                <a:lnTo>
                  <a:pt x="38" y="347"/>
                </a:lnTo>
                <a:lnTo>
                  <a:pt x="32" y="353"/>
                </a:lnTo>
                <a:lnTo>
                  <a:pt x="23" y="347"/>
                </a:lnTo>
                <a:lnTo>
                  <a:pt x="23" y="345"/>
                </a:lnTo>
                <a:lnTo>
                  <a:pt x="21" y="343"/>
                </a:lnTo>
                <a:lnTo>
                  <a:pt x="19" y="145"/>
                </a:lnTo>
                <a:lnTo>
                  <a:pt x="15" y="115"/>
                </a:lnTo>
                <a:lnTo>
                  <a:pt x="0" y="19"/>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r>
              <a:rPr lang="en-US" sz="1000" b="1" dirty="0">
                <a:solidFill>
                  <a:srgbClr val="5A5A5A"/>
                </a:solidFill>
              </a:rPr>
              <a:t>Ark.</a:t>
            </a:r>
          </a:p>
        </p:txBody>
      </p:sp>
      <p:sp>
        <p:nvSpPr>
          <p:cNvPr id="11" name="Freeform 727"/>
          <p:cNvSpPr>
            <a:spLocks noChangeAspect="1"/>
          </p:cNvSpPr>
          <p:nvPr/>
        </p:nvSpPr>
        <p:spPr bwMode="auto">
          <a:xfrm>
            <a:off x="687517" y="4097502"/>
            <a:ext cx="564358" cy="800101"/>
          </a:xfrm>
          <a:custGeom>
            <a:avLst/>
            <a:gdLst>
              <a:gd name="T0" fmla="*/ 0 w 345"/>
              <a:gd name="T1" fmla="*/ 23 h 560"/>
              <a:gd name="T2" fmla="*/ 234 w 345"/>
              <a:gd name="T3" fmla="*/ 0 h 560"/>
              <a:gd name="T4" fmla="*/ 302 w 345"/>
              <a:gd name="T5" fmla="*/ 230 h 560"/>
              <a:gd name="T6" fmla="*/ 306 w 345"/>
              <a:gd name="T7" fmla="*/ 240 h 560"/>
              <a:gd name="T8" fmla="*/ 315 w 345"/>
              <a:gd name="T9" fmla="*/ 262 h 560"/>
              <a:gd name="T10" fmla="*/ 326 w 345"/>
              <a:gd name="T11" fmla="*/ 274 h 560"/>
              <a:gd name="T12" fmla="*/ 328 w 345"/>
              <a:gd name="T13" fmla="*/ 294 h 560"/>
              <a:gd name="T14" fmla="*/ 336 w 345"/>
              <a:gd name="T15" fmla="*/ 304 h 560"/>
              <a:gd name="T16" fmla="*/ 326 w 345"/>
              <a:gd name="T17" fmla="*/ 315 h 560"/>
              <a:gd name="T18" fmla="*/ 323 w 345"/>
              <a:gd name="T19" fmla="*/ 338 h 560"/>
              <a:gd name="T20" fmla="*/ 326 w 345"/>
              <a:gd name="T21" fmla="*/ 366 h 560"/>
              <a:gd name="T22" fmla="*/ 336 w 345"/>
              <a:gd name="T23" fmla="*/ 383 h 560"/>
              <a:gd name="T24" fmla="*/ 334 w 345"/>
              <a:gd name="T25" fmla="*/ 398 h 560"/>
              <a:gd name="T26" fmla="*/ 334 w 345"/>
              <a:gd name="T27" fmla="*/ 421 h 560"/>
              <a:gd name="T28" fmla="*/ 345 w 345"/>
              <a:gd name="T29" fmla="*/ 438 h 560"/>
              <a:gd name="T30" fmla="*/ 196 w 345"/>
              <a:gd name="T31" fmla="*/ 460 h 560"/>
              <a:gd name="T32" fmla="*/ 100 w 345"/>
              <a:gd name="T33" fmla="*/ 475 h 560"/>
              <a:gd name="T34" fmla="*/ 108 w 345"/>
              <a:gd name="T35" fmla="*/ 498 h 560"/>
              <a:gd name="T36" fmla="*/ 121 w 345"/>
              <a:gd name="T37" fmla="*/ 509 h 560"/>
              <a:gd name="T38" fmla="*/ 121 w 345"/>
              <a:gd name="T39" fmla="*/ 526 h 560"/>
              <a:gd name="T40" fmla="*/ 113 w 345"/>
              <a:gd name="T41" fmla="*/ 545 h 560"/>
              <a:gd name="T42" fmla="*/ 106 w 345"/>
              <a:gd name="T43" fmla="*/ 547 h 560"/>
              <a:gd name="T44" fmla="*/ 96 w 345"/>
              <a:gd name="T45" fmla="*/ 556 h 560"/>
              <a:gd name="T46" fmla="*/ 72 w 345"/>
              <a:gd name="T47" fmla="*/ 558 h 560"/>
              <a:gd name="T48" fmla="*/ 87 w 345"/>
              <a:gd name="T49" fmla="*/ 556 h 560"/>
              <a:gd name="T50" fmla="*/ 83 w 345"/>
              <a:gd name="T51" fmla="*/ 541 h 560"/>
              <a:gd name="T52" fmla="*/ 74 w 345"/>
              <a:gd name="T53" fmla="*/ 539 h 560"/>
              <a:gd name="T54" fmla="*/ 72 w 345"/>
              <a:gd name="T55" fmla="*/ 524 h 560"/>
              <a:gd name="T56" fmla="*/ 68 w 345"/>
              <a:gd name="T57" fmla="*/ 511 h 560"/>
              <a:gd name="T58" fmla="*/ 59 w 345"/>
              <a:gd name="T59" fmla="*/ 505 h 560"/>
              <a:gd name="T60" fmla="*/ 57 w 345"/>
              <a:gd name="T61" fmla="*/ 513 h 560"/>
              <a:gd name="T62" fmla="*/ 55 w 345"/>
              <a:gd name="T63" fmla="*/ 547 h 560"/>
              <a:gd name="T64" fmla="*/ 34 w 345"/>
              <a:gd name="T65" fmla="*/ 545 h 560"/>
              <a:gd name="T66" fmla="*/ 27 w 345"/>
              <a:gd name="T67" fmla="*/ 543 h 560"/>
              <a:gd name="T68" fmla="*/ 10 w 345"/>
              <a:gd name="T69" fmla="*/ 34 h 560"/>
              <a:gd name="T70" fmla="*/ 0 w 345"/>
              <a:gd name="T71" fmla="*/ 2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 h="560">
                <a:moveTo>
                  <a:pt x="0" y="25"/>
                </a:moveTo>
                <a:lnTo>
                  <a:pt x="0" y="23"/>
                </a:lnTo>
                <a:lnTo>
                  <a:pt x="132" y="13"/>
                </a:lnTo>
                <a:lnTo>
                  <a:pt x="234" y="0"/>
                </a:lnTo>
                <a:lnTo>
                  <a:pt x="268" y="106"/>
                </a:lnTo>
                <a:lnTo>
                  <a:pt x="302" y="230"/>
                </a:lnTo>
                <a:lnTo>
                  <a:pt x="304" y="234"/>
                </a:lnTo>
                <a:lnTo>
                  <a:pt x="306" y="240"/>
                </a:lnTo>
                <a:lnTo>
                  <a:pt x="311" y="249"/>
                </a:lnTo>
                <a:lnTo>
                  <a:pt x="315" y="262"/>
                </a:lnTo>
                <a:lnTo>
                  <a:pt x="326" y="270"/>
                </a:lnTo>
                <a:lnTo>
                  <a:pt x="326" y="274"/>
                </a:lnTo>
                <a:lnTo>
                  <a:pt x="330" y="283"/>
                </a:lnTo>
                <a:lnTo>
                  <a:pt x="328" y="294"/>
                </a:lnTo>
                <a:lnTo>
                  <a:pt x="336" y="296"/>
                </a:lnTo>
                <a:lnTo>
                  <a:pt x="336" y="304"/>
                </a:lnTo>
                <a:lnTo>
                  <a:pt x="330" y="309"/>
                </a:lnTo>
                <a:lnTo>
                  <a:pt x="326" y="315"/>
                </a:lnTo>
                <a:lnTo>
                  <a:pt x="326" y="330"/>
                </a:lnTo>
                <a:lnTo>
                  <a:pt x="323" y="338"/>
                </a:lnTo>
                <a:lnTo>
                  <a:pt x="321" y="351"/>
                </a:lnTo>
                <a:lnTo>
                  <a:pt x="326" y="366"/>
                </a:lnTo>
                <a:lnTo>
                  <a:pt x="332" y="372"/>
                </a:lnTo>
                <a:lnTo>
                  <a:pt x="336" y="383"/>
                </a:lnTo>
                <a:lnTo>
                  <a:pt x="334" y="389"/>
                </a:lnTo>
                <a:lnTo>
                  <a:pt x="334" y="398"/>
                </a:lnTo>
                <a:lnTo>
                  <a:pt x="332" y="413"/>
                </a:lnTo>
                <a:lnTo>
                  <a:pt x="334" y="421"/>
                </a:lnTo>
                <a:lnTo>
                  <a:pt x="338" y="428"/>
                </a:lnTo>
                <a:lnTo>
                  <a:pt x="345" y="438"/>
                </a:lnTo>
                <a:lnTo>
                  <a:pt x="345" y="443"/>
                </a:lnTo>
                <a:lnTo>
                  <a:pt x="196" y="460"/>
                </a:lnTo>
                <a:lnTo>
                  <a:pt x="106" y="468"/>
                </a:lnTo>
                <a:lnTo>
                  <a:pt x="100" y="475"/>
                </a:lnTo>
                <a:lnTo>
                  <a:pt x="98" y="483"/>
                </a:lnTo>
                <a:lnTo>
                  <a:pt x="108" y="498"/>
                </a:lnTo>
                <a:lnTo>
                  <a:pt x="115" y="502"/>
                </a:lnTo>
                <a:lnTo>
                  <a:pt x="121" y="509"/>
                </a:lnTo>
                <a:lnTo>
                  <a:pt x="119" y="519"/>
                </a:lnTo>
                <a:lnTo>
                  <a:pt x="121" y="526"/>
                </a:lnTo>
                <a:lnTo>
                  <a:pt x="119" y="539"/>
                </a:lnTo>
                <a:lnTo>
                  <a:pt x="113" y="545"/>
                </a:lnTo>
                <a:lnTo>
                  <a:pt x="104" y="545"/>
                </a:lnTo>
                <a:lnTo>
                  <a:pt x="106" y="547"/>
                </a:lnTo>
                <a:lnTo>
                  <a:pt x="104" y="553"/>
                </a:lnTo>
                <a:lnTo>
                  <a:pt x="96" y="556"/>
                </a:lnTo>
                <a:lnTo>
                  <a:pt x="68" y="560"/>
                </a:lnTo>
                <a:lnTo>
                  <a:pt x="72" y="558"/>
                </a:lnTo>
                <a:lnTo>
                  <a:pt x="79" y="558"/>
                </a:lnTo>
                <a:lnTo>
                  <a:pt x="87" y="556"/>
                </a:lnTo>
                <a:lnTo>
                  <a:pt x="89" y="549"/>
                </a:lnTo>
                <a:lnTo>
                  <a:pt x="83" y="541"/>
                </a:lnTo>
                <a:lnTo>
                  <a:pt x="81" y="543"/>
                </a:lnTo>
                <a:lnTo>
                  <a:pt x="74" y="539"/>
                </a:lnTo>
                <a:lnTo>
                  <a:pt x="70" y="530"/>
                </a:lnTo>
                <a:lnTo>
                  <a:pt x="72" y="524"/>
                </a:lnTo>
                <a:lnTo>
                  <a:pt x="72" y="517"/>
                </a:lnTo>
                <a:lnTo>
                  <a:pt x="68" y="511"/>
                </a:lnTo>
                <a:lnTo>
                  <a:pt x="64" y="509"/>
                </a:lnTo>
                <a:lnTo>
                  <a:pt x="59" y="505"/>
                </a:lnTo>
                <a:lnTo>
                  <a:pt x="61" y="507"/>
                </a:lnTo>
                <a:lnTo>
                  <a:pt x="57" y="513"/>
                </a:lnTo>
                <a:lnTo>
                  <a:pt x="57" y="522"/>
                </a:lnTo>
                <a:lnTo>
                  <a:pt x="55" y="547"/>
                </a:lnTo>
                <a:lnTo>
                  <a:pt x="49" y="547"/>
                </a:lnTo>
                <a:lnTo>
                  <a:pt x="34" y="545"/>
                </a:lnTo>
                <a:lnTo>
                  <a:pt x="27" y="545"/>
                </a:lnTo>
                <a:lnTo>
                  <a:pt x="27" y="543"/>
                </a:lnTo>
                <a:lnTo>
                  <a:pt x="4" y="375"/>
                </a:lnTo>
                <a:lnTo>
                  <a:pt x="10" y="34"/>
                </a:lnTo>
                <a:lnTo>
                  <a:pt x="4" y="30"/>
                </a:lnTo>
                <a:lnTo>
                  <a:pt x="0" y="25"/>
                </a:lnTo>
              </a:path>
            </a:pathLst>
          </a:custGeom>
          <a:solidFill>
            <a:schemeClr val="bg2"/>
          </a:solidFill>
          <a:ln w="9525" cap="flat">
            <a:solidFill>
              <a:srgbClr val="FFFFFF"/>
            </a:solidFill>
            <a:prstDash val="solid"/>
            <a:miter lim="800000"/>
            <a:headEnd/>
            <a:tailEnd/>
          </a:ln>
        </p:spPr>
        <p:txBody>
          <a:bodyPr vert="horz" wrap="square" lIns="91440" tIns="45720" rIns="91440" bIns="45720" numCol="1" anchor="ctr" anchorCtr="0" compatLnSpc="1">
            <a:prstTxWarp prst="textNoShape">
              <a:avLst/>
            </a:prstTxWarp>
          </a:bodyPr>
          <a:lstStyle/>
          <a:p>
            <a:pPr algn="ctr"/>
            <a:endParaRPr lang="en-US" sz="1000" b="1" dirty="0">
              <a:solidFill>
                <a:srgbClr val="5A5A5A"/>
              </a:solidFill>
            </a:endParaRPr>
          </a:p>
        </p:txBody>
      </p:sp>
      <p:sp>
        <p:nvSpPr>
          <p:cNvPr id="15" name="Text Placeholder 2"/>
          <p:cNvSpPr>
            <a:spLocks noGrp="1"/>
          </p:cNvSpPr>
          <p:nvPr>
            <p:ph type="body" sz="quarter" idx="10"/>
          </p:nvPr>
        </p:nvSpPr>
        <p:spPr>
          <a:xfrm>
            <a:off x="1708679" y="1835184"/>
            <a:ext cx="6976534" cy="659341"/>
          </a:xfrm>
        </p:spPr>
        <p:txBody>
          <a:bodyPr/>
          <a:lstStyle/>
          <a:p>
            <a:pPr marL="285750" indent="-285750">
              <a:buFont typeface="Arial" panose="020B0604020202020204" pitchFamily="34" charset="0"/>
              <a:buChar char="•"/>
            </a:pPr>
            <a:r>
              <a:rPr lang="en-US" dirty="0">
                <a:solidFill>
                  <a:schemeClr val="tx1"/>
                </a:solidFill>
              </a:rPr>
              <a:t>Sen. John </a:t>
            </a:r>
            <a:r>
              <a:rPr lang="en-US" dirty="0" err="1">
                <a:solidFill>
                  <a:schemeClr val="tx1"/>
                </a:solidFill>
              </a:rPr>
              <a:t>Cornyn</a:t>
            </a:r>
            <a:r>
              <a:rPr lang="en-US" dirty="0">
                <a:solidFill>
                  <a:schemeClr val="tx1"/>
                </a:solidFill>
              </a:rPr>
              <a:t> (R) running for third term </a:t>
            </a:r>
          </a:p>
          <a:p>
            <a:pPr marL="285750" indent="-285750">
              <a:buFont typeface="Arial" panose="020B0604020202020204" pitchFamily="34" charset="0"/>
              <a:buChar char="•"/>
            </a:pPr>
            <a:r>
              <a:rPr lang="en-US" dirty="0">
                <a:solidFill>
                  <a:schemeClr val="tx1"/>
                </a:solidFill>
              </a:rPr>
              <a:t>May 26 runoff between DSCC-backed MJ </a:t>
            </a:r>
            <a:r>
              <a:rPr lang="en-US" dirty="0" err="1">
                <a:solidFill>
                  <a:schemeClr val="tx1"/>
                </a:solidFill>
              </a:rPr>
              <a:t>Hegar</a:t>
            </a:r>
            <a:r>
              <a:rPr lang="en-US" dirty="0">
                <a:solidFill>
                  <a:schemeClr val="tx1"/>
                </a:solidFill>
              </a:rPr>
              <a:t>, state Sen. Royce West</a:t>
            </a:r>
          </a:p>
        </p:txBody>
      </p:sp>
      <p:sp>
        <p:nvSpPr>
          <p:cNvPr id="17" name="Text Placeholder 2"/>
          <p:cNvSpPr>
            <a:spLocks noGrp="1"/>
          </p:cNvSpPr>
          <p:nvPr>
            <p:ph type="body" sz="quarter" idx="10"/>
          </p:nvPr>
        </p:nvSpPr>
        <p:spPr>
          <a:xfrm>
            <a:off x="1708679" y="3023890"/>
            <a:ext cx="6976534" cy="659341"/>
          </a:xfrm>
        </p:spPr>
        <p:txBody>
          <a:bodyPr/>
          <a:lstStyle/>
          <a:p>
            <a:pPr marL="285750" indent="-285750">
              <a:buFont typeface="Arial" panose="020B0604020202020204" pitchFamily="34" charset="0"/>
              <a:buChar char="•"/>
            </a:pPr>
            <a:r>
              <a:rPr lang="en-US" dirty="0">
                <a:solidFill>
                  <a:schemeClr val="tx1"/>
                </a:solidFill>
              </a:rPr>
              <a:t>Early polling shows tough race for Sen. Thom Tillis (R) </a:t>
            </a:r>
          </a:p>
          <a:p>
            <a:pPr marL="285750" indent="-285750">
              <a:buFont typeface="Arial" panose="020B0604020202020204" pitchFamily="34" charset="0"/>
              <a:buChar char="•"/>
            </a:pPr>
            <a:r>
              <a:rPr lang="en-US" dirty="0">
                <a:solidFill>
                  <a:schemeClr val="tx1"/>
                </a:solidFill>
              </a:rPr>
              <a:t>Democrats picked DSCC-backed former state Sen. Cal Cunningham</a:t>
            </a:r>
          </a:p>
        </p:txBody>
      </p:sp>
      <p:sp>
        <p:nvSpPr>
          <p:cNvPr id="18" name="Text Placeholder 2"/>
          <p:cNvSpPr>
            <a:spLocks noGrp="1"/>
          </p:cNvSpPr>
          <p:nvPr>
            <p:ph type="body" sz="quarter" idx="10"/>
          </p:nvPr>
        </p:nvSpPr>
        <p:spPr>
          <a:xfrm>
            <a:off x="1708679" y="4051370"/>
            <a:ext cx="6976534" cy="1028539"/>
          </a:xfrm>
        </p:spPr>
        <p:txBody>
          <a:bodyPr/>
          <a:lstStyle/>
          <a:p>
            <a:pPr marL="285750" indent="-285750">
              <a:buFont typeface="Arial" panose="020B0604020202020204" pitchFamily="34" charset="0"/>
              <a:buChar char="•"/>
            </a:pPr>
            <a:r>
              <a:rPr lang="en-US" dirty="0">
                <a:solidFill>
                  <a:schemeClr val="tx1"/>
                </a:solidFill>
              </a:rPr>
              <a:t>Sen. Doug Jones (D) most vulnerable incumbent</a:t>
            </a:r>
          </a:p>
          <a:p>
            <a:pPr marL="285750" indent="-285750">
              <a:buFont typeface="Arial" panose="020B0604020202020204" pitchFamily="34" charset="0"/>
              <a:buChar char="•"/>
            </a:pPr>
            <a:r>
              <a:rPr lang="en-US" dirty="0">
                <a:solidFill>
                  <a:schemeClr val="tx1"/>
                </a:solidFill>
              </a:rPr>
              <a:t>March 31 GOP runoff: former attorney general and senator Jeff Sessions vs. Trump-backed former Auburn football coach Tommy Tuberville</a:t>
            </a:r>
          </a:p>
          <a:p>
            <a:endParaRPr lang="en-US" dirty="0">
              <a:solidFill>
                <a:schemeClr val="tx1"/>
              </a:solidFill>
            </a:endParaRPr>
          </a:p>
        </p:txBody>
      </p:sp>
      <p:sp>
        <p:nvSpPr>
          <p:cNvPr id="19" name="Text Placeholder 2"/>
          <p:cNvSpPr>
            <a:spLocks noGrp="1"/>
          </p:cNvSpPr>
          <p:nvPr>
            <p:ph type="body" sz="quarter" idx="10"/>
          </p:nvPr>
        </p:nvSpPr>
        <p:spPr>
          <a:xfrm>
            <a:off x="1708679" y="5546787"/>
            <a:ext cx="6976534" cy="659341"/>
          </a:xfrm>
        </p:spPr>
        <p:txBody>
          <a:bodyPr/>
          <a:lstStyle/>
          <a:p>
            <a:pPr marL="285750" indent="-285750">
              <a:buFont typeface="Arial" panose="020B0604020202020204" pitchFamily="34" charset="0"/>
              <a:buChar char="•"/>
            </a:pPr>
            <a:r>
              <a:rPr lang="en-US" dirty="0">
                <a:solidFill>
                  <a:schemeClr val="tx1"/>
                </a:solidFill>
              </a:rPr>
              <a:t>Sen. Tom Cotton (R) unopposed in primary, Dems won’t field candidate</a:t>
            </a:r>
          </a:p>
        </p:txBody>
      </p:sp>
      <p:sp>
        <p:nvSpPr>
          <p:cNvPr id="20" name="TextBox 19"/>
          <p:cNvSpPr txBox="1"/>
          <p:nvPr/>
        </p:nvSpPr>
        <p:spPr>
          <a:xfrm>
            <a:off x="616079" y="3200166"/>
            <a:ext cx="658592" cy="287867"/>
          </a:xfrm>
          <a:prstGeom prst="rect">
            <a:avLst/>
          </a:prstGeom>
          <a:noFill/>
        </p:spPr>
        <p:txBody>
          <a:bodyPr wrap="square" lIns="0" tIns="45720" rIns="0" bIns="45720" rtlCol="0">
            <a:noAutofit/>
          </a:bodyPr>
          <a:lstStyle/>
          <a:p>
            <a:pPr algn="ctr"/>
            <a:r>
              <a:rPr lang="en-US" sz="1000" b="1" dirty="0">
                <a:solidFill>
                  <a:srgbClr val="5A5A5A"/>
                </a:solidFill>
              </a:rPr>
              <a:t>N.C.</a:t>
            </a:r>
          </a:p>
          <a:p>
            <a:pPr algn="ctr"/>
            <a:endParaRPr lang="en-US" sz="1000" b="1" dirty="0">
              <a:solidFill>
                <a:srgbClr val="5A5A5A"/>
              </a:solidFill>
            </a:endParaRPr>
          </a:p>
          <a:p>
            <a:pPr>
              <a:buClr>
                <a:srgbClr val="FFFFFF"/>
              </a:buClr>
            </a:pPr>
            <a:endParaRPr lang="en-US" sz="1400" dirty="0">
              <a:solidFill>
                <a:srgbClr val="000000"/>
              </a:solidFill>
              <a:latin typeface="Arial" pitchFamily="34" charset="0"/>
              <a:cs typeface="Arial" pitchFamily="34" charset="0"/>
            </a:endParaRPr>
          </a:p>
        </p:txBody>
      </p:sp>
      <p:sp>
        <p:nvSpPr>
          <p:cNvPr id="22" name="TextBox 21"/>
          <p:cNvSpPr txBox="1"/>
          <p:nvPr/>
        </p:nvSpPr>
        <p:spPr>
          <a:xfrm>
            <a:off x="588121" y="2129782"/>
            <a:ext cx="685516" cy="300316"/>
          </a:xfrm>
          <a:prstGeom prst="rect">
            <a:avLst/>
          </a:prstGeom>
          <a:noFill/>
        </p:spPr>
        <p:txBody>
          <a:bodyPr wrap="square" lIns="0" tIns="45720" rIns="0" bIns="45720" rtlCol="0">
            <a:noAutofit/>
          </a:bodyPr>
          <a:lstStyle/>
          <a:p>
            <a:pPr algn="ctr">
              <a:buClr>
                <a:srgbClr val="FFFFFF"/>
              </a:buClr>
            </a:pPr>
            <a:r>
              <a:rPr lang="en-US" sz="1000" b="1" dirty="0">
                <a:solidFill>
                  <a:srgbClr val="5A5A5A"/>
                </a:solidFill>
              </a:rPr>
              <a:t>Texas</a:t>
            </a:r>
          </a:p>
        </p:txBody>
      </p:sp>
      <p:sp>
        <p:nvSpPr>
          <p:cNvPr id="23" name="TextBox 22"/>
          <p:cNvSpPr txBox="1"/>
          <p:nvPr/>
        </p:nvSpPr>
        <p:spPr>
          <a:xfrm>
            <a:off x="602617" y="4311285"/>
            <a:ext cx="685516" cy="372533"/>
          </a:xfrm>
          <a:prstGeom prst="rect">
            <a:avLst/>
          </a:prstGeom>
          <a:noFill/>
        </p:spPr>
        <p:txBody>
          <a:bodyPr wrap="square" lIns="0" tIns="45720" rIns="0" bIns="45720" rtlCol="0">
            <a:noAutofit/>
          </a:bodyPr>
          <a:lstStyle/>
          <a:p>
            <a:pPr algn="ctr">
              <a:buClr>
                <a:srgbClr val="FFFFFF"/>
              </a:buClr>
            </a:pPr>
            <a:r>
              <a:rPr lang="en-US" sz="1000" b="1" dirty="0">
                <a:solidFill>
                  <a:srgbClr val="5A5A5A"/>
                </a:solidFill>
              </a:rPr>
              <a:t>Ala.</a:t>
            </a:r>
          </a:p>
        </p:txBody>
      </p:sp>
      <p:sp>
        <p:nvSpPr>
          <p:cNvPr id="3" name="Text Placeholder 2"/>
          <p:cNvSpPr>
            <a:spLocks noGrp="1"/>
          </p:cNvSpPr>
          <p:nvPr>
            <p:ph type="body" sz="quarter" idx="10"/>
          </p:nvPr>
        </p:nvSpPr>
        <p:spPr/>
        <p:txBody>
          <a:bodyPr/>
          <a:lstStyle/>
          <a:p>
            <a:r>
              <a:rPr lang="en-US" dirty="0"/>
              <a:t>Four states held Senate primaries March 3; three could determine majority </a:t>
            </a:r>
          </a:p>
        </p:txBody>
      </p:sp>
      <p:sp>
        <p:nvSpPr>
          <p:cNvPr id="16" name="Text Placeholder 3"/>
          <p:cNvSpPr>
            <a:spLocks noGrp="1"/>
          </p:cNvSpPr>
          <p:nvPr>
            <p:ph type="body" sz="quarter" idx="13"/>
          </p:nvPr>
        </p:nvSpPr>
        <p:spPr>
          <a:xfrm>
            <a:off x="457200" y="6080496"/>
            <a:ext cx="8228013" cy="274320"/>
          </a:xfrm>
        </p:spPr>
        <p:txBody>
          <a:bodyPr/>
          <a:lstStyle/>
          <a:p>
            <a:r>
              <a:rPr lang="en-US" dirty="0">
                <a:solidFill>
                  <a:schemeClr val="tx1"/>
                </a:solidFill>
              </a:rPr>
              <a:t>Note: DSCC – Democratic Senatorial Campaign Committee </a:t>
            </a:r>
            <a:endParaRPr lang="en-US" u="sng" dirty="0">
              <a:solidFill>
                <a:schemeClr val="tx1"/>
              </a:solidFill>
            </a:endParaRPr>
          </a:p>
        </p:txBody>
      </p:sp>
    </p:spTree>
    <p:extLst>
      <p:ext uri="{BB962C8B-B14F-4D97-AF65-F5344CB8AC3E}">
        <p14:creationId xmlns:p14="http://schemas.microsoft.com/office/powerpoint/2010/main" val="39809109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Senate Races To Watch</a:t>
            </a:r>
          </a:p>
        </p:txBody>
      </p:sp>
      <p:sp>
        <p:nvSpPr>
          <p:cNvPr id="3" name="Text Placeholder 2"/>
          <p:cNvSpPr>
            <a:spLocks noGrp="1"/>
          </p:cNvSpPr>
          <p:nvPr>
            <p:ph type="body" sz="quarter" idx="10"/>
          </p:nvPr>
        </p:nvSpPr>
        <p:spPr>
          <a:xfrm>
            <a:off x="457200" y="1119862"/>
            <a:ext cx="8306789" cy="5291824"/>
          </a:xfrm>
        </p:spPr>
        <p:txBody>
          <a:bodyPr/>
          <a:lstStyle/>
          <a:p>
            <a:pPr marL="0" indent="0">
              <a:buClr>
                <a:srgbClr val="0070C0"/>
              </a:buClr>
              <a:buNone/>
            </a:pPr>
            <a:r>
              <a:rPr lang="en-US" b="1" spc="-20" dirty="0"/>
              <a:t>To win Senate Democrats must unseat GOP in states that were mildly pro-Trump in 2016</a:t>
            </a:r>
            <a:endParaRPr lang="en-US" b="1" spc="-20" dirty="0">
              <a:solidFill>
                <a:schemeClr val="tx1"/>
              </a:solidFill>
            </a:endParaRPr>
          </a:p>
          <a:p>
            <a:pPr marL="0" lvl="1" indent="0">
              <a:buClr>
                <a:srgbClr val="0070C0"/>
              </a:buClr>
              <a:buNone/>
            </a:pPr>
            <a:endParaRPr lang="en-US" sz="1150" b="1" strike="sngStrike" dirty="0"/>
          </a:p>
          <a:p>
            <a:pPr lvl="1">
              <a:buClr>
                <a:srgbClr val="81DD00"/>
              </a:buClr>
            </a:pPr>
            <a:r>
              <a:rPr lang="en-US" sz="1200" b="1" dirty="0"/>
              <a:t>Maine: Susan Collins </a:t>
            </a:r>
            <a:r>
              <a:rPr lang="en-US" sz="1200" dirty="0"/>
              <a:t>(R) will face the winner of a Democratic primary that includes state House Speaker Sara Gideon; Collins is one of two GOP senators running for re-election in states won by Democrat Hillary Clinton in 2016. </a:t>
            </a:r>
          </a:p>
          <a:p>
            <a:pPr lvl="1">
              <a:buClr>
                <a:srgbClr val="81DD00"/>
              </a:buClr>
            </a:pPr>
            <a:endParaRPr lang="en-US" sz="1200" dirty="0"/>
          </a:p>
          <a:p>
            <a:pPr lvl="1">
              <a:buClr>
                <a:srgbClr val="81DD00"/>
              </a:buClr>
            </a:pPr>
            <a:r>
              <a:rPr lang="en-US" sz="1200" b="1" dirty="0"/>
              <a:t>Colorado: Cory Gardner </a:t>
            </a:r>
            <a:r>
              <a:rPr lang="en-US" sz="1200" dirty="0"/>
              <a:t>(R) awaits a Democratic opponent, likely either former Gov. John Hickenlooper, the preferred candidate of the Democratic Senatorial Campaign Committee, or former state House Speaker Andrew Romanoff</a:t>
            </a:r>
          </a:p>
          <a:p>
            <a:pPr marL="0" lvl="1" indent="0">
              <a:buClr>
                <a:srgbClr val="81DD00"/>
              </a:buClr>
              <a:buNone/>
            </a:pPr>
            <a:endParaRPr lang="en-US" sz="1200" dirty="0"/>
          </a:p>
          <a:p>
            <a:pPr lvl="1">
              <a:buClr>
                <a:srgbClr val="81DD00"/>
              </a:buClr>
            </a:pPr>
            <a:r>
              <a:rPr lang="en-US" sz="1200" b="1" dirty="0"/>
              <a:t>Arizona: Martha McSally </a:t>
            </a:r>
            <a:r>
              <a:rPr lang="en-US" sz="1200" dirty="0"/>
              <a:t>(R), who lost a 2018 Senate race and was subsequently appointed to fill John McCain’s (R) seat, is being challenged by former astronaut Mark Kelly, the husband of former Rep. Gabrielle Giffords (D), in the special election to serve the remainder of the term</a:t>
            </a:r>
          </a:p>
          <a:p>
            <a:pPr marL="0" lvl="1" indent="0">
              <a:buClr>
                <a:srgbClr val="81DD00"/>
              </a:buClr>
              <a:buNone/>
            </a:pPr>
            <a:endParaRPr lang="en-US" sz="1200" dirty="0"/>
          </a:p>
          <a:p>
            <a:pPr lvl="1">
              <a:buClr>
                <a:srgbClr val="81DD00"/>
              </a:buClr>
            </a:pPr>
            <a:r>
              <a:rPr lang="en-US" sz="1200" b="1" dirty="0"/>
              <a:t>Iowa: Joni Ernst </a:t>
            </a:r>
            <a:r>
              <a:rPr lang="en-US" sz="1200" dirty="0"/>
              <a:t>(R) is gearing up to face a potentially strong Democratic challenger, DSCC-backed businesswoman Theresa Greenfield, in a state Trump won in 2016 but chose Obama in 2012</a:t>
            </a:r>
          </a:p>
          <a:p>
            <a:pPr lvl="1">
              <a:buClr>
                <a:srgbClr val="81DD00"/>
              </a:buClr>
            </a:pPr>
            <a:endParaRPr lang="en-US" sz="1200" dirty="0"/>
          </a:p>
          <a:p>
            <a:pPr lvl="1">
              <a:buClr>
                <a:srgbClr val="81DD00"/>
              </a:buClr>
            </a:pPr>
            <a:r>
              <a:rPr lang="en-US" sz="1200" b="1" dirty="0"/>
              <a:t>Georgia: </a:t>
            </a:r>
            <a:r>
              <a:rPr lang="en-US" sz="1200" dirty="0"/>
              <a:t>Two races are on the ballot: </a:t>
            </a:r>
            <a:r>
              <a:rPr lang="en-US" sz="1200" b="1" dirty="0"/>
              <a:t>David Perdue </a:t>
            </a:r>
            <a:r>
              <a:rPr lang="en-US" sz="1200" dirty="0"/>
              <a:t>(R) is seeking a second full term; appointed Sen. </a:t>
            </a:r>
            <a:r>
              <a:rPr lang="en-US" sz="1200" b="1" dirty="0"/>
              <a:t>Kelly Loeffler </a:t>
            </a:r>
            <a:r>
              <a:rPr lang="en-US" sz="1200" dirty="0"/>
              <a:t>(R) faces Rep. Doug Collins (R), DSCC-backed Raphael Warnock and others in a special election jungle primary </a:t>
            </a:r>
          </a:p>
          <a:p>
            <a:pPr marL="0" lvl="1" indent="0">
              <a:buClr>
                <a:srgbClr val="81DD00"/>
              </a:buClr>
              <a:buNone/>
            </a:pPr>
            <a:endParaRPr lang="en-US" sz="1200" spc="-10" dirty="0"/>
          </a:p>
          <a:p>
            <a:pPr lvl="1">
              <a:buClr>
                <a:srgbClr val="81DD00"/>
              </a:buClr>
            </a:pPr>
            <a:r>
              <a:rPr lang="en-US" sz="1200" b="1" dirty="0"/>
              <a:t>Michigan: Gary Peters </a:t>
            </a:r>
            <a:r>
              <a:rPr lang="en-US" sz="1200" dirty="0"/>
              <a:t>(D) will probably face Republican John James, a veteran and businessman who staged a strong challenge in 2018 to Debbie Stabenow, the state’s other Democratic senator; Michigan backed Trump by two-tenths of one percentage point in 2016, and is a pickup opportunity for the GOP</a:t>
            </a:r>
          </a:p>
          <a:p>
            <a:pPr lvl="1">
              <a:buClr>
                <a:srgbClr val="81DD00"/>
              </a:buClr>
            </a:pPr>
            <a:endParaRPr lang="en-US" sz="1200" dirty="0"/>
          </a:p>
          <a:p>
            <a:pPr lvl="1">
              <a:buClr>
                <a:srgbClr val="81DD00"/>
              </a:buClr>
            </a:pPr>
            <a:r>
              <a:rPr lang="en-US" sz="1200" b="1" dirty="0"/>
              <a:t>Massachusetts: </a:t>
            </a:r>
            <a:r>
              <a:rPr lang="en-US" sz="1200" dirty="0"/>
              <a:t>It won’t affect Senate control, but Sen. </a:t>
            </a:r>
            <a:r>
              <a:rPr lang="en-US" sz="1200" b="1" dirty="0"/>
              <a:t>Ed Markey</a:t>
            </a:r>
            <a:r>
              <a:rPr lang="en-US" sz="1200" dirty="0"/>
              <a:t>, a veteran lawmaker, faces Rep. Joe Kennedy in the Sept. 1 Democratic primary, a closely watched and costly matchup defined by a generational contrast</a:t>
            </a:r>
            <a:endParaRPr lang="en-US" sz="1200" b="1" dirty="0"/>
          </a:p>
          <a:p>
            <a:pPr lvl="1">
              <a:buClr>
                <a:srgbClr val="81DD00"/>
              </a:buClr>
            </a:pPr>
            <a:endParaRPr lang="en-US" sz="1200" b="1" dirty="0"/>
          </a:p>
          <a:p>
            <a:pPr lvl="1">
              <a:buClr>
                <a:srgbClr val="81DD00"/>
              </a:buClr>
            </a:pPr>
            <a:r>
              <a:rPr lang="en-US" sz="1200" b="1" dirty="0"/>
              <a:t>Montana: </a:t>
            </a:r>
            <a:r>
              <a:rPr lang="en-US" sz="1200" dirty="0"/>
              <a:t>Gov. Steve Bullock (D) announced at the March 9 filing deadline he’ll challenge Sen. </a:t>
            </a:r>
            <a:r>
              <a:rPr lang="en-US" sz="1200" b="1" dirty="0"/>
              <a:t>Steve </a:t>
            </a:r>
            <a:r>
              <a:rPr lang="en-US" sz="1200" b="1" dirty="0" err="1"/>
              <a:t>Daines</a:t>
            </a:r>
            <a:r>
              <a:rPr lang="en-US" sz="1200" dirty="0"/>
              <a:t> (R), who previously appeared relatively safe for re-election</a:t>
            </a:r>
          </a:p>
        </p:txBody>
      </p:sp>
    </p:spTree>
    <p:extLst>
      <p:ext uri="{BB962C8B-B14F-4D97-AF65-F5344CB8AC3E}">
        <p14:creationId xmlns:p14="http://schemas.microsoft.com/office/powerpoint/2010/main" val="18703114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81000" y="318180"/>
            <a:ext cx="7839456" cy="487362"/>
          </a:xfrm>
        </p:spPr>
        <p:txBody>
          <a:bodyPr/>
          <a:lstStyle/>
          <a:p>
            <a:r>
              <a:rPr lang="en-US" sz="2800" dirty="0"/>
              <a:t>Senate 2020 Forecast</a:t>
            </a:r>
          </a:p>
        </p:txBody>
      </p:sp>
      <p:sp>
        <p:nvSpPr>
          <p:cNvPr id="4" name="TextBox 3"/>
          <p:cNvSpPr txBox="1"/>
          <p:nvPr/>
        </p:nvSpPr>
        <p:spPr>
          <a:xfrm>
            <a:off x="427906" y="6137397"/>
            <a:ext cx="6373738" cy="228600"/>
          </a:xfrm>
          <a:prstGeom prst="rect">
            <a:avLst/>
          </a:prstGeom>
          <a:noFill/>
        </p:spPr>
        <p:txBody>
          <a:bodyPr wrap="square" lIns="0" tIns="45720" rIns="0" bIns="45720" rtlCol="0">
            <a:noAutofit/>
          </a:bodyPr>
          <a:lstStyle/>
          <a:p>
            <a:pPr>
              <a:buClr>
                <a:srgbClr val="FFFFFF"/>
              </a:buClr>
            </a:pPr>
            <a:r>
              <a:rPr lang="en-US" sz="950" dirty="0">
                <a:solidFill>
                  <a:srgbClr val="000000"/>
                </a:solidFill>
                <a:latin typeface="Arial" pitchFamily="34" charset="0"/>
                <a:cs typeface="Arial" pitchFamily="34" charset="0"/>
              </a:rPr>
              <a:t>Source: Race ratings from </a:t>
            </a:r>
            <a:r>
              <a:rPr lang="en-US" sz="950" dirty="0">
                <a:solidFill>
                  <a:srgbClr val="000000"/>
                </a:solidFill>
                <a:latin typeface="Arial" pitchFamily="34" charset="0"/>
                <a:cs typeface="Arial" pitchFamily="34" charset="0"/>
                <a:hlinkClick r:id="rId2"/>
              </a:rPr>
              <a:t>Cook Political Report</a:t>
            </a:r>
            <a:r>
              <a:rPr lang="en-US" sz="950" dirty="0">
                <a:solidFill>
                  <a:srgbClr val="000000"/>
                </a:solidFill>
                <a:latin typeface="Arial" pitchFamily="34" charset="0"/>
                <a:cs typeface="Arial" pitchFamily="34" charset="0"/>
              </a:rPr>
              <a:t>; as of March 9</a:t>
            </a:r>
            <a:endParaRPr lang="en-US" sz="950" dirty="0">
              <a:latin typeface="Arial" pitchFamily="34" charset="0"/>
              <a:cs typeface="Arial" pitchFamily="34" charset="0"/>
            </a:endParaRPr>
          </a:p>
          <a:p>
            <a:pPr>
              <a:buClr>
                <a:srgbClr val="FFFFFF"/>
              </a:buClr>
            </a:pPr>
            <a:r>
              <a:rPr lang="en-US" sz="950" dirty="0"/>
              <a:t>Note: * Georgia’s regularly scheduled election is rated Likely R, its special election Lean R; Arizona is a special election</a:t>
            </a:r>
          </a:p>
        </p:txBody>
      </p:sp>
      <p:sp>
        <p:nvSpPr>
          <p:cNvPr id="1264" name="Freeform 670"/>
          <p:cNvSpPr>
            <a:spLocks/>
          </p:cNvSpPr>
          <p:nvPr/>
        </p:nvSpPr>
        <p:spPr bwMode="auto">
          <a:xfrm>
            <a:off x="696912" y="1759072"/>
            <a:ext cx="1131888" cy="944563"/>
          </a:xfrm>
          <a:custGeom>
            <a:avLst/>
            <a:gdLst>
              <a:gd name="T0" fmla="*/ 0 w 713"/>
              <a:gd name="T1" fmla="*/ 409 h 595"/>
              <a:gd name="T2" fmla="*/ 11 w 713"/>
              <a:gd name="T3" fmla="*/ 384 h 595"/>
              <a:gd name="T4" fmla="*/ 9 w 713"/>
              <a:gd name="T5" fmla="*/ 347 h 595"/>
              <a:gd name="T6" fmla="*/ 38 w 713"/>
              <a:gd name="T7" fmla="*/ 307 h 595"/>
              <a:gd name="T8" fmla="*/ 49 w 713"/>
              <a:gd name="T9" fmla="*/ 296 h 595"/>
              <a:gd name="T10" fmla="*/ 49 w 713"/>
              <a:gd name="T11" fmla="*/ 296 h 595"/>
              <a:gd name="T12" fmla="*/ 47 w 713"/>
              <a:gd name="T13" fmla="*/ 294 h 595"/>
              <a:gd name="T14" fmla="*/ 64 w 713"/>
              <a:gd name="T15" fmla="*/ 267 h 595"/>
              <a:gd name="T16" fmla="*/ 64 w 713"/>
              <a:gd name="T17" fmla="*/ 267 h 595"/>
              <a:gd name="T18" fmla="*/ 83 w 713"/>
              <a:gd name="T19" fmla="*/ 215 h 595"/>
              <a:gd name="T20" fmla="*/ 96 w 713"/>
              <a:gd name="T21" fmla="*/ 190 h 595"/>
              <a:gd name="T22" fmla="*/ 102 w 713"/>
              <a:gd name="T23" fmla="*/ 166 h 595"/>
              <a:gd name="T24" fmla="*/ 119 w 713"/>
              <a:gd name="T25" fmla="*/ 124 h 595"/>
              <a:gd name="T26" fmla="*/ 130 w 713"/>
              <a:gd name="T27" fmla="*/ 96 h 595"/>
              <a:gd name="T28" fmla="*/ 136 w 713"/>
              <a:gd name="T29" fmla="*/ 77 h 595"/>
              <a:gd name="T30" fmla="*/ 141 w 713"/>
              <a:gd name="T31" fmla="*/ 64 h 595"/>
              <a:gd name="T32" fmla="*/ 145 w 713"/>
              <a:gd name="T33" fmla="*/ 45 h 595"/>
              <a:gd name="T34" fmla="*/ 149 w 713"/>
              <a:gd name="T35" fmla="*/ 30 h 595"/>
              <a:gd name="T36" fmla="*/ 160 w 713"/>
              <a:gd name="T37" fmla="*/ 0 h 595"/>
              <a:gd name="T38" fmla="*/ 170 w 713"/>
              <a:gd name="T39" fmla="*/ 9 h 595"/>
              <a:gd name="T40" fmla="*/ 173 w 713"/>
              <a:gd name="T41" fmla="*/ 5 h 595"/>
              <a:gd name="T42" fmla="*/ 190 w 713"/>
              <a:gd name="T43" fmla="*/ 7 h 595"/>
              <a:gd name="T44" fmla="*/ 202 w 713"/>
              <a:gd name="T45" fmla="*/ 19 h 595"/>
              <a:gd name="T46" fmla="*/ 221 w 713"/>
              <a:gd name="T47" fmla="*/ 22 h 595"/>
              <a:gd name="T48" fmla="*/ 236 w 713"/>
              <a:gd name="T49" fmla="*/ 49 h 595"/>
              <a:gd name="T50" fmla="*/ 247 w 713"/>
              <a:gd name="T51" fmla="*/ 94 h 595"/>
              <a:gd name="T52" fmla="*/ 266 w 713"/>
              <a:gd name="T53" fmla="*/ 105 h 595"/>
              <a:gd name="T54" fmla="*/ 294 w 713"/>
              <a:gd name="T55" fmla="*/ 103 h 595"/>
              <a:gd name="T56" fmla="*/ 315 w 713"/>
              <a:gd name="T57" fmla="*/ 103 h 595"/>
              <a:gd name="T58" fmla="*/ 343 w 713"/>
              <a:gd name="T59" fmla="*/ 109 h 595"/>
              <a:gd name="T60" fmla="*/ 366 w 713"/>
              <a:gd name="T61" fmla="*/ 120 h 595"/>
              <a:gd name="T62" fmla="*/ 402 w 713"/>
              <a:gd name="T63" fmla="*/ 120 h 595"/>
              <a:gd name="T64" fmla="*/ 424 w 713"/>
              <a:gd name="T65" fmla="*/ 126 h 595"/>
              <a:gd name="T66" fmla="*/ 475 w 713"/>
              <a:gd name="T67" fmla="*/ 122 h 595"/>
              <a:gd name="T68" fmla="*/ 505 w 713"/>
              <a:gd name="T69" fmla="*/ 122 h 595"/>
              <a:gd name="T70" fmla="*/ 528 w 713"/>
              <a:gd name="T71" fmla="*/ 120 h 595"/>
              <a:gd name="T72" fmla="*/ 690 w 713"/>
              <a:gd name="T73" fmla="*/ 166 h 595"/>
              <a:gd name="T74" fmla="*/ 711 w 713"/>
              <a:gd name="T75" fmla="*/ 190 h 595"/>
              <a:gd name="T76" fmla="*/ 692 w 713"/>
              <a:gd name="T77" fmla="*/ 230 h 595"/>
              <a:gd name="T78" fmla="*/ 669 w 713"/>
              <a:gd name="T79" fmla="*/ 273 h 595"/>
              <a:gd name="T80" fmla="*/ 645 w 713"/>
              <a:gd name="T81" fmla="*/ 294 h 595"/>
              <a:gd name="T82" fmla="*/ 626 w 713"/>
              <a:gd name="T83" fmla="*/ 339 h 595"/>
              <a:gd name="T84" fmla="*/ 641 w 713"/>
              <a:gd name="T85" fmla="*/ 350 h 595"/>
              <a:gd name="T86" fmla="*/ 639 w 713"/>
              <a:gd name="T87" fmla="*/ 373 h 595"/>
              <a:gd name="T88" fmla="*/ 628 w 713"/>
              <a:gd name="T89" fmla="*/ 396 h 595"/>
              <a:gd name="T90" fmla="*/ 343 w 713"/>
              <a:gd name="T91" fmla="*/ 541 h 595"/>
              <a:gd name="T92" fmla="*/ 6 w 713"/>
              <a:gd name="T93" fmla="*/ 45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3" h="595">
                <a:moveTo>
                  <a:pt x="6" y="452"/>
                </a:moveTo>
                <a:lnTo>
                  <a:pt x="0" y="437"/>
                </a:lnTo>
                <a:lnTo>
                  <a:pt x="0" y="409"/>
                </a:lnTo>
                <a:lnTo>
                  <a:pt x="4" y="399"/>
                </a:lnTo>
                <a:lnTo>
                  <a:pt x="4" y="392"/>
                </a:lnTo>
                <a:lnTo>
                  <a:pt x="11" y="384"/>
                </a:lnTo>
                <a:lnTo>
                  <a:pt x="13" y="377"/>
                </a:lnTo>
                <a:lnTo>
                  <a:pt x="9" y="362"/>
                </a:lnTo>
                <a:lnTo>
                  <a:pt x="9" y="347"/>
                </a:lnTo>
                <a:lnTo>
                  <a:pt x="23" y="330"/>
                </a:lnTo>
                <a:lnTo>
                  <a:pt x="36" y="301"/>
                </a:lnTo>
                <a:lnTo>
                  <a:pt x="38" y="307"/>
                </a:lnTo>
                <a:lnTo>
                  <a:pt x="43" y="301"/>
                </a:lnTo>
                <a:lnTo>
                  <a:pt x="49" y="296"/>
                </a:lnTo>
                <a:lnTo>
                  <a:pt x="49" y="296"/>
                </a:lnTo>
                <a:lnTo>
                  <a:pt x="51" y="301"/>
                </a:lnTo>
                <a:lnTo>
                  <a:pt x="53" y="296"/>
                </a:lnTo>
                <a:lnTo>
                  <a:pt x="49" y="296"/>
                </a:lnTo>
                <a:lnTo>
                  <a:pt x="49" y="294"/>
                </a:lnTo>
                <a:lnTo>
                  <a:pt x="49" y="296"/>
                </a:lnTo>
                <a:lnTo>
                  <a:pt x="47" y="294"/>
                </a:lnTo>
                <a:lnTo>
                  <a:pt x="49" y="288"/>
                </a:lnTo>
                <a:lnTo>
                  <a:pt x="58" y="273"/>
                </a:lnTo>
                <a:lnTo>
                  <a:pt x="64" y="267"/>
                </a:lnTo>
                <a:lnTo>
                  <a:pt x="70" y="267"/>
                </a:lnTo>
                <a:lnTo>
                  <a:pt x="70" y="264"/>
                </a:lnTo>
                <a:lnTo>
                  <a:pt x="64" y="267"/>
                </a:lnTo>
                <a:lnTo>
                  <a:pt x="66" y="260"/>
                </a:lnTo>
                <a:lnTo>
                  <a:pt x="68" y="252"/>
                </a:lnTo>
                <a:lnTo>
                  <a:pt x="83" y="215"/>
                </a:lnTo>
                <a:lnTo>
                  <a:pt x="87" y="201"/>
                </a:lnTo>
                <a:lnTo>
                  <a:pt x="92" y="194"/>
                </a:lnTo>
                <a:lnTo>
                  <a:pt x="96" y="190"/>
                </a:lnTo>
                <a:lnTo>
                  <a:pt x="98" y="188"/>
                </a:lnTo>
                <a:lnTo>
                  <a:pt x="96" y="179"/>
                </a:lnTo>
                <a:lnTo>
                  <a:pt x="102" y="166"/>
                </a:lnTo>
                <a:lnTo>
                  <a:pt x="104" y="152"/>
                </a:lnTo>
                <a:lnTo>
                  <a:pt x="117" y="130"/>
                </a:lnTo>
                <a:lnTo>
                  <a:pt x="119" y="124"/>
                </a:lnTo>
                <a:lnTo>
                  <a:pt x="126" y="111"/>
                </a:lnTo>
                <a:lnTo>
                  <a:pt x="128" y="105"/>
                </a:lnTo>
                <a:lnTo>
                  <a:pt x="130" y="96"/>
                </a:lnTo>
                <a:lnTo>
                  <a:pt x="132" y="90"/>
                </a:lnTo>
                <a:lnTo>
                  <a:pt x="134" y="81"/>
                </a:lnTo>
                <a:lnTo>
                  <a:pt x="136" y="77"/>
                </a:lnTo>
                <a:lnTo>
                  <a:pt x="143" y="79"/>
                </a:lnTo>
                <a:lnTo>
                  <a:pt x="138" y="73"/>
                </a:lnTo>
                <a:lnTo>
                  <a:pt x="141" y="64"/>
                </a:lnTo>
                <a:lnTo>
                  <a:pt x="147" y="58"/>
                </a:lnTo>
                <a:lnTo>
                  <a:pt x="145" y="51"/>
                </a:lnTo>
                <a:lnTo>
                  <a:pt x="145" y="45"/>
                </a:lnTo>
                <a:lnTo>
                  <a:pt x="147" y="39"/>
                </a:lnTo>
                <a:lnTo>
                  <a:pt x="149" y="30"/>
                </a:lnTo>
                <a:lnTo>
                  <a:pt x="149" y="30"/>
                </a:lnTo>
                <a:lnTo>
                  <a:pt x="155" y="22"/>
                </a:lnTo>
                <a:lnTo>
                  <a:pt x="158" y="9"/>
                </a:lnTo>
                <a:lnTo>
                  <a:pt x="160" y="0"/>
                </a:lnTo>
                <a:lnTo>
                  <a:pt x="166" y="7"/>
                </a:lnTo>
                <a:lnTo>
                  <a:pt x="168" y="9"/>
                </a:lnTo>
                <a:lnTo>
                  <a:pt x="170" y="9"/>
                </a:lnTo>
                <a:lnTo>
                  <a:pt x="166" y="5"/>
                </a:lnTo>
                <a:lnTo>
                  <a:pt x="168" y="2"/>
                </a:lnTo>
                <a:lnTo>
                  <a:pt x="173" y="5"/>
                </a:lnTo>
                <a:lnTo>
                  <a:pt x="175" y="7"/>
                </a:lnTo>
                <a:lnTo>
                  <a:pt x="183" y="9"/>
                </a:lnTo>
                <a:lnTo>
                  <a:pt x="190" y="7"/>
                </a:lnTo>
                <a:lnTo>
                  <a:pt x="196" y="11"/>
                </a:lnTo>
                <a:lnTo>
                  <a:pt x="200" y="17"/>
                </a:lnTo>
                <a:lnTo>
                  <a:pt x="202" y="19"/>
                </a:lnTo>
                <a:lnTo>
                  <a:pt x="209" y="22"/>
                </a:lnTo>
                <a:lnTo>
                  <a:pt x="215" y="19"/>
                </a:lnTo>
                <a:lnTo>
                  <a:pt x="221" y="22"/>
                </a:lnTo>
                <a:lnTo>
                  <a:pt x="226" y="28"/>
                </a:lnTo>
                <a:lnTo>
                  <a:pt x="234" y="34"/>
                </a:lnTo>
                <a:lnTo>
                  <a:pt x="236" y="49"/>
                </a:lnTo>
                <a:lnTo>
                  <a:pt x="232" y="85"/>
                </a:lnTo>
                <a:lnTo>
                  <a:pt x="236" y="90"/>
                </a:lnTo>
                <a:lnTo>
                  <a:pt x="247" y="94"/>
                </a:lnTo>
                <a:lnTo>
                  <a:pt x="253" y="100"/>
                </a:lnTo>
                <a:lnTo>
                  <a:pt x="258" y="100"/>
                </a:lnTo>
                <a:lnTo>
                  <a:pt x="266" y="105"/>
                </a:lnTo>
                <a:lnTo>
                  <a:pt x="273" y="107"/>
                </a:lnTo>
                <a:lnTo>
                  <a:pt x="287" y="105"/>
                </a:lnTo>
                <a:lnTo>
                  <a:pt x="294" y="103"/>
                </a:lnTo>
                <a:lnTo>
                  <a:pt x="302" y="98"/>
                </a:lnTo>
                <a:lnTo>
                  <a:pt x="309" y="98"/>
                </a:lnTo>
                <a:lnTo>
                  <a:pt x="315" y="103"/>
                </a:lnTo>
                <a:lnTo>
                  <a:pt x="328" y="103"/>
                </a:lnTo>
                <a:lnTo>
                  <a:pt x="334" y="107"/>
                </a:lnTo>
                <a:lnTo>
                  <a:pt x="343" y="109"/>
                </a:lnTo>
                <a:lnTo>
                  <a:pt x="349" y="113"/>
                </a:lnTo>
                <a:lnTo>
                  <a:pt x="351" y="120"/>
                </a:lnTo>
                <a:lnTo>
                  <a:pt x="366" y="120"/>
                </a:lnTo>
                <a:lnTo>
                  <a:pt x="373" y="122"/>
                </a:lnTo>
                <a:lnTo>
                  <a:pt x="394" y="117"/>
                </a:lnTo>
                <a:lnTo>
                  <a:pt x="402" y="120"/>
                </a:lnTo>
                <a:lnTo>
                  <a:pt x="409" y="126"/>
                </a:lnTo>
                <a:lnTo>
                  <a:pt x="417" y="128"/>
                </a:lnTo>
                <a:lnTo>
                  <a:pt x="424" y="126"/>
                </a:lnTo>
                <a:lnTo>
                  <a:pt x="439" y="124"/>
                </a:lnTo>
                <a:lnTo>
                  <a:pt x="454" y="122"/>
                </a:lnTo>
                <a:lnTo>
                  <a:pt x="475" y="122"/>
                </a:lnTo>
                <a:lnTo>
                  <a:pt x="483" y="117"/>
                </a:lnTo>
                <a:lnTo>
                  <a:pt x="488" y="120"/>
                </a:lnTo>
                <a:lnTo>
                  <a:pt x="505" y="122"/>
                </a:lnTo>
                <a:lnTo>
                  <a:pt x="513" y="124"/>
                </a:lnTo>
                <a:lnTo>
                  <a:pt x="520" y="124"/>
                </a:lnTo>
                <a:lnTo>
                  <a:pt x="528" y="120"/>
                </a:lnTo>
                <a:lnTo>
                  <a:pt x="598" y="137"/>
                </a:lnTo>
                <a:lnTo>
                  <a:pt x="690" y="156"/>
                </a:lnTo>
                <a:lnTo>
                  <a:pt x="690" y="166"/>
                </a:lnTo>
                <a:lnTo>
                  <a:pt x="694" y="173"/>
                </a:lnTo>
                <a:lnTo>
                  <a:pt x="696" y="177"/>
                </a:lnTo>
                <a:lnTo>
                  <a:pt x="711" y="190"/>
                </a:lnTo>
                <a:lnTo>
                  <a:pt x="713" y="205"/>
                </a:lnTo>
                <a:lnTo>
                  <a:pt x="709" y="211"/>
                </a:lnTo>
                <a:lnTo>
                  <a:pt x="692" y="230"/>
                </a:lnTo>
                <a:lnTo>
                  <a:pt x="681" y="254"/>
                </a:lnTo>
                <a:lnTo>
                  <a:pt x="669" y="267"/>
                </a:lnTo>
                <a:lnTo>
                  <a:pt x="669" y="273"/>
                </a:lnTo>
                <a:lnTo>
                  <a:pt x="664" y="281"/>
                </a:lnTo>
                <a:lnTo>
                  <a:pt x="658" y="288"/>
                </a:lnTo>
                <a:lnTo>
                  <a:pt x="645" y="294"/>
                </a:lnTo>
                <a:lnTo>
                  <a:pt x="637" y="309"/>
                </a:lnTo>
                <a:lnTo>
                  <a:pt x="630" y="316"/>
                </a:lnTo>
                <a:lnTo>
                  <a:pt x="626" y="339"/>
                </a:lnTo>
                <a:lnTo>
                  <a:pt x="628" y="343"/>
                </a:lnTo>
                <a:lnTo>
                  <a:pt x="635" y="345"/>
                </a:lnTo>
                <a:lnTo>
                  <a:pt x="641" y="350"/>
                </a:lnTo>
                <a:lnTo>
                  <a:pt x="645" y="356"/>
                </a:lnTo>
                <a:lnTo>
                  <a:pt x="641" y="365"/>
                </a:lnTo>
                <a:lnTo>
                  <a:pt x="639" y="373"/>
                </a:lnTo>
                <a:lnTo>
                  <a:pt x="632" y="388"/>
                </a:lnTo>
                <a:lnTo>
                  <a:pt x="630" y="390"/>
                </a:lnTo>
                <a:lnTo>
                  <a:pt x="628" y="396"/>
                </a:lnTo>
                <a:lnTo>
                  <a:pt x="586" y="595"/>
                </a:lnTo>
                <a:lnTo>
                  <a:pt x="486" y="573"/>
                </a:lnTo>
                <a:lnTo>
                  <a:pt x="343" y="541"/>
                </a:lnTo>
                <a:lnTo>
                  <a:pt x="192" y="501"/>
                </a:lnTo>
                <a:lnTo>
                  <a:pt x="11" y="452"/>
                </a:lnTo>
                <a:lnTo>
                  <a:pt x="6" y="452"/>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265" name="Freeform 671"/>
          <p:cNvSpPr>
            <a:spLocks/>
          </p:cNvSpPr>
          <p:nvPr/>
        </p:nvSpPr>
        <p:spPr bwMode="auto">
          <a:xfrm>
            <a:off x="696912" y="1759071"/>
            <a:ext cx="1131888" cy="944563"/>
          </a:xfrm>
          <a:custGeom>
            <a:avLst/>
            <a:gdLst>
              <a:gd name="T0" fmla="*/ 0 w 713"/>
              <a:gd name="T1" fmla="*/ 409 h 595"/>
              <a:gd name="T2" fmla="*/ 11 w 713"/>
              <a:gd name="T3" fmla="*/ 384 h 595"/>
              <a:gd name="T4" fmla="*/ 9 w 713"/>
              <a:gd name="T5" fmla="*/ 347 h 595"/>
              <a:gd name="T6" fmla="*/ 38 w 713"/>
              <a:gd name="T7" fmla="*/ 307 h 595"/>
              <a:gd name="T8" fmla="*/ 49 w 713"/>
              <a:gd name="T9" fmla="*/ 296 h 595"/>
              <a:gd name="T10" fmla="*/ 49 w 713"/>
              <a:gd name="T11" fmla="*/ 296 h 595"/>
              <a:gd name="T12" fmla="*/ 47 w 713"/>
              <a:gd name="T13" fmla="*/ 294 h 595"/>
              <a:gd name="T14" fmla="*/ 64 w 713"/>
              <a:gd name="T15" fmla="*/ 267 h 595"/>
              <a:gd name="T16" fmla="*/ 64 w 713"/>
              <a:gd name="T17" fmla="*/ 267 h 595"/>
              <a:gd name="T18" fmla="*/ 83 w 713"/>
              <a:gd name="T19" fmla="*/ 215 h 595"/>
              <a:gd name="T20" fmla="*/ 96 w 713"/>
              <a:gd name="T21" fmla="*/ 190 h 595"/>
              <a:gd name="T22" fmla="*/ 102 w 713"/>
              <a:gd name="T23" fmla="*/ 166 h 595"/>
              <a:gd name="T24" fmla="*/ 119 w 713"/>
              <a:gd name="T25" fmla="*/ 124 h 595"/>
              <a:gd name="T26" fmla="*/ 130 w 713"/>
              <a:gd name="T27" fmla="*/ 96 h 595"/>
              <a:gd name="T28" fmla="*/ 136 w 713"/>
              <a:gd name="T29" fmla="*/ 77 h 595"/>
              <a:gd name="T30" fmla="*/ 141 w 713"/>
              <a:gd name="T31" fmla="*/ 64 h 595"/>
              <a:gd name="T32" fmla="*/ 145 w 713"/>
              <a:gd name="T33" fmla="*/ 45 h 595"/>
              <a:gd name="T34" fmla="*/ 149 w 713"/>
              <a:gd name="T35" fmla="*/ 30 h 595"/>
              <a:gd name="T36" fmla="*/ 160 w 713"/>
              <a:gd name="T37" fmla="*/ 0 h 595"/>
              <a:gd name="T38" fmla="*/ 170 w 713"/>
              <a:gd name="T39" fmla="*/ 9 h 595"/>
              <a:gd name="T40" fmla="*/ 173 w 713"/>
              <a:gd name="T41" fmla="*/ 5 h 595"/>
              <a:gd name="T42" fmla="*/ 190 w 713"/>
              <a:gd name="T43" fmla="*/ 7 h 595"/>
              <a:gd name="T44" fmla="*/ 202 w 713"/>
              <a:gd name="T45" fmla="*/ 19 h 595"/>
              <a:gd name="T46" fmla="*/ 221 w 713"/>
              <a:gd name="T47" fmla="*/ 22 h 595"/>
              <a:gd name="T48" fmla="*/ 236 w 713"/>
              <a:gd name="T49" fmla="*/ 49 h 595"/>
              <a:gd name="T50" fmla="*/ 247 w 713"/>
              <a:gd name="T51" fmla="*/ 94 h 595"/>
              <a:gd name="T52" fmla="*/ 266 w 713"/>
              <a:gd name="T53" fmla="*/ 105 h 595"/>
              <a:gd name="T54" fmla="*/ 294 w 713"/>
              <a:gd name="T55" fmla="*/ 103 h 595"/>
              <a:gd name="T56" fmla="*/ 315 w 713"/>
              <a:gd name="T57" fmla="*/ 103 h 595"/>
              <a:gd name="T58" fmla="*/ 343 w 713"/>
              <a:gd name="T59" fmla="*/ 109 h 595"/>
              <a:gd name="T60" fmla="*/ 366 w 713"/>
              <a:gd name="T61" fmla="*/ 120 h 595"/>
              <a:gd name="T62" fmla="*/ 402 w 713"/>
              <a:gd name="T63" fmla="*/ 120 h 595"/>
              <a:gd name="T64" fmla="*/ 424 w 713"/>
              <a:gd name="T65" fmla="*/ 126 h 595"/>
              <a:gd name="T66" fmla="*/ 475 w 713"/>
              <a:gd name="T67" fmla="*/ 122 h 595"/>
              <a:gd name="T68" fmla="*/ 505 w 713"/>
              <a:gd name="T69" fmla="*/ 122 h 595"/>
              <a:gd name="T70" fmla="*/ 528 w 713"/>
              <a:gd name="T71" fmla="*/ 120 h 595"/>
              <a:gd name="T72" fmla="*/ 690 w 713"/>
              <a:gd name="T73" fmla="*/ 166 h 595"/>
              <a:gd name="T74" fmla="*/ 711 w 713"/>
              <a:gd name="T75" fmla="*/ 190 h 595"/>
              <a:gd name="T76" fmla="*/ 692 w 713"/>
              <a:gd name="T77" fmla="*/ 230 h 595"/>
              <a:gd name="T78" fmla="*/ 669 w 713"/>
              <a:gd name="T79" fmla="*/ 273 h 595"/>
              <a:gd name="T80" fmla="*/ 645 w 713"/>
              <a:gd name="T81" fmla="*/ 294 h 595"/>
              <a:gd name="T82" fmla="*/ 626 w 713"/>
              <a:gd name="T83" fmla="*/ 339 h 595"/>
              <a:gd name="T84" fmla="*/ 641 w 713"/>
              <a:gd name="T85" fmla="*/ 350 h 595"/>
              <a:gd name="T86" fmla="*/ 639 w 713"/>
              <a:gd name="T87" fmla="*/ 373 h 595"/>
              <a:gd name="T88" fmla="*/ 628 w 713"/>
              <a:gd name="T89" fmla="*/ 396 h 595"/>
              <a:gd name="T90" fmla="*/ 343 w 713"/>
              <a:gd name="T91" fmla="*/ 541 h 595"/>
              <a:gd name="T92" fmla="*/ 6 w 713"/>
              <a:gd name="T93" fmla="*/ 452 h 5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13" h="595">
                <a:moveTo>
                  <a:pt x="6" y="452"/>
                </a:moveTo>
                <a:lnTo>
                  <a:pt x="0" y="437"/>
                </a:lnTo>
                <a:lnTo>
                  <a:pt x="0" y="409"/>
                </a:lnTo>
                <a:lnTo>
                  <a:pt x="4" y="399"/>
                </a:lnTo>
                <a:lnTo>
                  <a:pt x="4" y="392"/>
                </a:lnTo>
                <a:lnTo>
                  <a:pt x="11" y="384"/>
                </a:lnTo>
                <a:lnTo>
                  <a:pt x="13" y="377"/>
                </a:lnTo>
                <a:lnTo>
                  <a:pt x="9" y="362"/>
                </a:lnTo>
                <a:lnTo>
                  <a:pt x="9" y="347"/>
                </a:lnTo>
                <a:lnTo>
                  <a:pt x="23" y="330"/>
                </a:lnTo>
                <a:lnTo>
                  <a:pt x="36" y="301"/>
                </a:lnTo>
                <a:lnTo>
                  <a:pt x="38" y="307"/>
                </a:lnTo>
                <a:lnTo>
                  <a:pt x="43" y="301"/>
                </a:lnTo>
                <a:lnTo>
                  <a:pt x="49" y="296"/>
                </a:lnTo>
                <a:lnTo>
                  <a:pt x="49" y="296"/>
                </a:lnTo>
                <a:lnTo>
                  <a:pt x="51" y="301"/>
                </a:lnTo>
                <a:lnTo>
                  <a:pt x="53" y="296"/>
                </a:lnTo>
                <a:lnTo>
                  <a:pt x="49" y="296"/>
                </a:lnTo>
                <a:lnTo>
                  <a:pt x="49" y="294"/>
                </a:lnTo>
                <a:lnTo>
                  <a:pt x="49" y="296"/>
                </a:lnTo>
                <a:lnTo>
                  <a:pt x="47" y="294"/>
                </a:lnTo>
                <a:lnTo>
                  <a:pt x="49" y="288"/>
                </a:lnTo>
                <a:lnTo>
                  <a:pt x="58" y="273"/>
                </a:lnTo>
                <a:lnTo>
                  <a:pt x="64" y="267"/>
                </a:lnTo>
                <a:lnTo>
                  <a:pt x="70" y="267"/>
                </a:lnTo>
                <a:lnTo>
                  <a:pt x="70" y="264"/>
                </a:lnTo>
                <a:lnTo>
                  <a:pt x="64" y="267"/>
                </a:lnTo>
                <a:lnTo>
                  <a:pt x="66" y="260"/>
                </a:lnTo>
                <a:lnTo>
                  <a:pt x="68" y="252"/>
                </a:lnTo>
                <a:lnTo>
                  <a:pt x="83" y="215"/>
                </a:lnTo>
                <a:lnTo>
                  <a:pt x="87" y="201"/>
                </a:lnTo>
                <a:lnTo>
                  <a:pt x="92" y="194"/>
                </a:lnTo>
                <a:lnTo>
                  <a:pt x="96" y="190"/>
                </a:lnTo>
                <a:lnTo>
                  <a:pt x="98" y="188"/>
                </a:lnTo>
                <a:lnTo>
                  <a:pt x="96" y="179"/>
                </a:lnTo>
                <a:lnTo>
                  <a:pt x="102" y="166"/>
                </a:lnTo>
                <a:lnTo>
                  <a:pt x="104" y="152"/>
                </a:lnTo>
                <a:lnTo>
                  <a:pt x="117" y="130"/>
                </a:lnTo>
                <a:lnTo>
                  <a:pt x="119" y="124"/>
                </a:lnTo>
                <a:lnTo>
                  <a:pt x="126" y="111"/>
                </a:lnTo>
                <a:lnTo>
                  <a:pt x="128" y="105"/>
                </a:lnTo>
                <a:lnTo>
                  <a:pt x="130" y="96"/>
                </a:lnTo>
                <a:lnTo>
                  <a:pt x="132" y="90"/>
                </a:lnTo>
                <a:lnTo>
                  <a:pt x="134" y="81"/>
                </a:lnTo>
                <a:lnTo>
                  <a:pt x="136" y="77"/>
                </a:lnTo>
                <a:lnTo>
                  <a:pt x="143" y="79"/>
                </a:lnTo>
                <a:lnTo>
                  <a:pt x="138" y="73"/>
                </a:lnTo>
                <a:lnTo>
                  <a:pt x="141" y="64"/>
                </a:lnTo>
                <a:lnTo>
                  <a:pt x="147" y="58"/>
                </a:lnTo>
                <a:lnTo>
                  <a:pt x="145" y="51"/>
                </a:lnTo>
                <a:lnTo>
                  <a:pt x="145" y="45"/>
                </a:lnTo>
                <a:lnTo>
                  <a:pt x="147" y="39"/>
                </a:lnTo>
                <a:lnTo>
                  <a:pt x="149" y="30"/>
                </a:lnTo>
                <a:lnTo>
                  <a:pt x="149" y="30"/>
                </a:lnTo>
                <a:lnTo>
                  <a:pt x="155" y="22"/>
                </a:lnTo>
                <a:lnTo>
                  <a:pt x="158" y="9"/>
                </a:lnTo>
                <a:lnTo>
                  <a:pt x="160" y="0"/>
                </a:lnTo>
                <a:lnTo>
                  <a:pt x="166" y="7"/>
                </a:lnTo>
                <a:lnTo>
                  <a:pt x="168" y="9"/>
                </a:lnTo>
                <a:lnTo>
                  <a:pt x="170" y="9"/>
                </a:lnTo>
                <a:lnTo>
                  <a:pt x="166" y="5"/>
                </a:lnTo>
                <a:lnTo>
                  <a:pt x="168" y="2"/>
                </a:lnTo>
                <a:lnTo>
                  <a:pt x="173" y="5"/>
                </a:lnTo>
                <a:lnTo>
                  <a:pt x="175" y="7"/>
                </a:lnTo>
                <a:lnTo>
                  <a:pt x="183" y="9"/>
                </a:lnTo>
                <a:lnTo>
                  <a:pt x="190" y="7"/>
                </a:lnTo>
                <a:lnTo>
                  <a:pt x="196" y="11"/>
                </a:lnTo>
                <a:lnTo>
                  <a:pt x="200" y="17"/>
                </a:lnTo>
                <a:lnTo>
                  <a:pt x="202" y="19"/>
                </a:lnTo>
                <a:lnTo>
                  <a:pt x="209" y="22"/>
                </a:lnTo>
                <a:lnTo>
                  <a:pt x="215" y="19"/>
                </a:lnTo>
                <a:lnTo>
                  <a:pt x="221" y="22"/>
                </a:lnTo>
                <a:lnTo>
                  <a:pt x="226" y="28"/>
                </a:lnTo>
                <a:lnTo>
                  <a:pt x="234" y="34"/>
                </a:lnTo>
                <a:lnTo>
                  <a:pt x="236" y="49"/>
                </a:lnTo>
                <a:lnTo>
                  <a:pt x="232" y="85"/>
                </a:lnTo>
                <a:lnTo>
                  <a:pt x="236" y="90"/>
                </a:lnTo>
                <a:lnTo>
                  <a:pt x="247" y="94"/>
                </a:lnTo>
                <a:lnTo>
                  <a:pt x="253" y="100"/>
                </a:lnTo>
                <a:lnTo>
                  <a:pt x="258" y="100"/>
                </a:lnTo>
                <a:lnTo>
                  <a:pt x="266" y="105"/>
                </a:lnTo>
                <a:lnTo>
                  <a:pt x="273" y="107"/>
                </a:lnTo>
                <a:lnTo>
                  <a:pt x="287" y="105"/>
                </a:lnTo>
                <a:lnTo>
                  <a:pt x="294" y="103"/>
                </a:lnTo>
                <a:lnTo>
                  <a:pt x="302" y="98"/>
                </a:lnTo>
                <a:lnTo>
                  <a:pt x="309" y="98"/>
                </a:lnTo>
                <a:lnTo>
                  <a:pt x="315" y="103"/>
                </a:lnTo>
                <a:lnTo>
                  <a:pt x="328" y="103"/>
                </a:lnTo>
                <a:lnTo>
                  <a:pt x="334" y="107"/>
                </a:lnTo>
                <a:lnTo>
                  <a:pt x="343" y="109"/>
                </a:lnTo>
                <a:lnTo>
                  <a:pt x="349" y="113"/>
                </a:lnTo>
                <a:lnTo>
                  <a:pt x="351" y="120"/>
                </a:lnTo>
                <a:lnTo>
                  <a:pt x="366" y="120"/>
                </a:lnTo>
                <a:lnTo>
                  <a:pt x="373" y="122"/>
                </a:lnTo>
                <a:lnTo>
                  <a:pt x="394" y="117"/>
                </a:lnTo>
                <a:lnTo>
                  <a:pt x="402" y="120"/>
                </a:lnTo>
                <a:lnTo>
                  <a:pt x="409" y="126"/>
                </a:lnTo>
                <a:lnTo>
                  <a:pt x="417" y="128"/>
                </a:lnTo>
                <a:lnTo>
                  <a:pt x="424" y="126"/>
                </a:lnTo>
                <a:lnTo>
                  <a:pt x="439" y="124"/>
                </a:lnTo>
                <a:lnTo>
                  <a:pt x="454" y="122"/>
                </a:lnTo>
                <a:lnTo>
                  <a:pt x="475" y="122"/>
                </a:lnTo>
                <a:lnTo>
                  <a:pt x="483" y="117"/>
                </a:lnTo>
                <a:lnTo>
                  <a:pt x="488" y="120"/>
                </a:lnTo>
                <a:lnTo>
                  <a:pt x="505" y="122"/>
                </a:lnTo>
                <a:lnTo>
                  <a:pt x="513" y="124"/>
                </a:lnTo>
                <a:lnTo>
                  <a:pt x="520" y="124"/>
                </a:lnTo>
                <a:lnTo>
                  <a:pt x="528" y="120"/>
                </a:lnTo>
                <a:lnTo>
                  <a:pt x="598" y="137"/>
                </a:lnTo>
                <a:lnTo>
                  <a:pt x="690" y="156"/>
                </a:lnTo>
                <a:lnTo>
                  <a:pt x="690" y="166"/>
                </a:lnTo>
                <a:lnTo>
                  <a:pt x="694" y="173"/>
                </a:lnTo>
                <a:lnTo>
                  <a:pt x="696" y="177"/>
                </a:lnTo>
                <a:lnTo>
                  <a:pt x="711" y="190"/>
                </a:lnTo>
                <a:lnTo>
                  <a:pt x="713" y="205"/>
                </a:lnTo>
                <a:lnTo>
                  <a:pt x="709" y="211"/>
                </a:lnTo>
                <a:lnTo>
                  <a:pt x="692" y="230"/>
                </a:lnTo>
                <a:lnTo>
                  <a:pt x="681" y="254"/>
                </a:lnTo>
                <a:lnTo>
                  <a:pt x="669" y="267"/>
                </a:lnTo>
                <a:lnTo>
                  <a:pt x="669" y="273"/>
                </a:lnTo>
                <a:lnTo>
                  <a:pt x="664" y="281"/>
                </a:lnTo>
                <a:lnTo>
                  <a:pt x="658" y="288"/>
                </a:lnTo>
                <a:lnTo>
                  <a:pt x="645" y="294"/>
                </a:lnTo>
                <a:lnTo>
                  <a:pt x="637" y="309"/>
                </a:lnTo>
                <a:lnTo>
                  <a:pt x="630" y="316"/>
                </a:lnTo>
                <a:lnTo>
                  <a:pt x="626" y="339"/>
                </a:lnTo>
                <a:lnTo>
                  <a:pt x="628" y="343"/>
                </a:lnTo>
                <a:lnTo>
                  <a:pt x="635" y="345"/>
                </a:lnTo>
                <a:lnTo>
                  <a:pt x="641" y="350"/>
                </a:lnTo>
                <a:lnTo>
                  <a:pt x="645" y="356"/>
                </a:lnTo>
                <a:lnTo>
                  <a:pt x="641" y="365"/>
                </a:lnTo>
                <a:lnTo>
                  <a:pt x="639" y="373"/>
                </a:lnTo>
                <a:lnTo>
                  <a:pt x="632" y="388"/>
                </a:lnTo>
                <a:lnTo>
                  <a:pt x="630" y="390"/>
                </a:lnTo>
                <a:lnTo>
                  <a:pt x="628" y="396"/>
                </a:lnTo>
                <a:lnTo>
                  <a:pt x="586" y="595"/>
                </a:lnTo>
                <a:lnTo>
                  <a:pt x="486" y="573"/>
                </a:lnTo>
                <a:lnTo>
                  <a:pt x="343" y="541"/>
                </a:lnTo>
                <a:lnTo>
                  <a:pt x="192" y="501"/>
                </a:lnTo>
                <a:lnTo>
                  <a:pt x="11" y="452"/>
                </a:lnTo>
                <a:lnTo>
                  <a:pt x="6" y="45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6" name="Freeform 672"/>
          <p:cNvSpPr>
            <a:spLocks/>
          </p:cNvSpPr>
          <p:nvPr/>
        </p:nvSpPr>
        <p:spPr bwMode="auto">
          <a:xfrm>
            <a:off x="774700" y="2225796"/>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7" name="Freeform 673"/>
          <p:cNvSpPr>
            <a:spLocks/>
          </p:cNvSpPr>
          <p:nvPr/>
        </p:nvSpPr>
        <p:spPr bwMode="auto">
          <a:xfrm>
            <a:off x="774700" y="2225796"/>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68" name="Freeform 674"/>
          <p:cNvSpPr>
            <a:spLocks/>
          </p:cNvSpPr>
          <p:nvPr/>
        </p:nvSpPr>
        <p:spPr bwMode="auto">
          <a:xfrm>
            <a:off x="774700" y="2228971"/>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9" name="Freeform 675"/>
          <p:cNvSpPr>
            <a:spLocks/>
          </p:cNvSpPr>
          <p:nvPr/>
        </p:nvSpPr>
        <p:spPr bwMode="auto">
          <a:xfrm>
            <a:off x="774700" y="2228971"/>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0" name="Freeform 676"/>
          <p:cNvSpPr>
            <a:spLocks/>
          </p:cNvSpPr>
          <p:nvPr/>
        </p:nvSpPr>
        <p:spPr bwMode="auto">
          <a:xfrm>
            <a:off x="1116012" y="2617909"/>
            <a:ext cx="895350" cy="1390650"/>
          </a:xfrm>
          <a:custGeom>
            <a:avLst/>
            <a:gdLst>
              <a:gd name="T0" fmla="*/ 17 w 564"/>
              <a:gd name="T1" fmla="*/ 254 h 876"/>
              <a:gd name="T2" fmla="*/ 79 w 564"/>
              <a:gd name="T3" fmla="*/ 0 h 876"/>
              <a:gd name="T4" fmla="*/ 222 w 564"/>
              <a:gd name="T5" fmla="*/ 32 h 876"/>
              <a:gd name="T6" fmla="*/ 322 w 564"/>
              <a:gd name="T7" fmla="*/ 54 h 876"/>
              <a:gd name="T8" fmla="*/ 454 w 564"/>
              <a:gd name="T9" fmla="*/ 81 h 876"/>
              <a:gd name="T10" fmla="*/ 564 w 564"/>
              <a:gd name="T11" fmla="*/ 103 h 876"/>
              <a:gd name="T12" fmla="*/ 464 w 564"/>
              <a:gd name="T13" fmla="*/ 661 h 876"/>
              <a:gd name="T14" fmla="*/ 449 w 564"/>
              <a:gd name="T15" fmla="*/ 748 h 876"/>
              <a:gd name="T16" fmla="*/ 441 w 564"/>
              <a:gd name="T17" fmla="*/ 759 h 876"/>
              <a:gd name="T18" fmla="*/ 432 w 564"/>
              <a:gd name="T19" fmla="*/ 767 h 876"/>
              <a:gd name="T20" fmla="*/ 426 w 564"/>
              <a:gd name="T21" fmla="*/ 765 h 876"/>
              <a:gd name="T22" fmla="*/ 424 w 564"/>
              <a:gd name="T23" fmla="*/ 756 h 876"/>
              <a:gd name="T24" fmla="*/ 417 w 564"/>
              <a:gd name="T25" fmla="*/ 750 h 876"/>
              <a:gd name="T26" fmla="*/ 409 w 564"/>
              <a:gd name="T27" fmla="*/ 750 h 876"/>
              <a:gd name="T28" fmla="*/ 403 w 564"/>
              <a:gd name="T29" fmla="*/ 746 h 876"/>
              <a:gd name="T30" fmla="*/ 394 w 564"/>
              <a:gd name="T31" fmla="*/ 746 h 876"/>
              <a:gd name="T32" fmla="*/ 385 w 564"/>
              <a:gd name="T33" fmla="*/ 752 h 876"/>
              <a:gd name="T34" fmla="*/ 381 w 564"/>
              <a:gd name="T35" fmla="*/ 761 h 876"/>
              <a:gd name="T36" fmla="*/ 388 w 564"/>
              <a:gd name="T37" fmla="*/ 776 h 876"/>
              <a:gd name="T38" fmla="*/ 383 w 564"/>
              <a:gd name="T39" fmla="*/ 782 h 876"/>
              <a:gd name="T40" fmla="*/ 381 w 564"/>
              <a:gd name="T41" fmla="*/ 790 h 876"/>
              <a:gd name="T42" fmla="*/ 383 w 564"/>
              <a:gd name="T43" fmla="*/ 803 h 876"/>
              <a:gd name="T44" fmla="*/ 381 w 564"/>
              <a:gd name="T45" fmla="*/ 814 h 876"/>
              <a:gd name="T46" fmla="*/ 379 w 564"/>
              <a:gd name="T47" fmla="*/ 822 h 876"/>
              <a:gd name="T48" fmla="*/ 383 w 564"/>
              <a:gd name="T49" fmla="*/ 835 h 876"/>
              <a:gd name="T50" fmla="*/ 381 w 564"/>
              <a:gd name="T51" fmla="*/ 852 h 876"/>
              <a:gd name="T52" fmla="*/ 373 w 564"/>
              <a:gd name="T53" fmla="*/ 859 h 876"/>
              <a:gd name="T54" fmla="*/ 373 w 564"/>
              <a:gd name="T55" fmla="*/ 876 h 876"/>
              <a:gd name="T56" fmla="*/ 262 w 564"/>
              <a:gd name="T57" fmla="*/ 712 h 876"/>
              <a:gd name="T58" fmla="*/ 0 w 564"/>
              <a:gd name="T59" fmla="*/ 328 h 876"/>
              <a:gd name="T60" fmla="*/ 17 w 564"/>
              <a:gd name="T61" fmla="*/ 25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4" h="876">
                <a:moveTo>
                  <a:pt x="17" y="254"/>
                </a:moveTo>
                <a:lnTo>
                  <a:pt x="79" y="0"/>
                </a:lnTo>
                <a:lnTo>
                  <a:pt x="222" y="32"/>
                </a:lnTo>
                <a:lnTo>
                  <a:pt x="322" y="54"/>
                </a:lnTo>
                <a:lnTo>
                  <a:pt x="454" y="81"/>
                </a:lnTo>
                <a:lnTo>
                  <a:pt x="564" y="103"/>
                </a:lnTo>
                <a:lnTo>
                  <a:pt x="464" y="661"/>
                </a:lnTo>
                <a:lnTo>
                  <a:pt x="449" y="748"/>
                </a:lnTo>
                <a:lnTo>
                  <a:pt x="441" y="759"/>
                </a:lnTo>
                <a:lnTo>
                  <a:pt x="432" y="767"/>
                </a:lnTo>
                <a:lnTo>
                  <a:pt x="426" y="765"/>
                </a:lnTo>
                <a:lnTo>
                  <a:pt x="424" y="756"/>
                </a:lnTo>
                <a:lnTo>
                  <a:pt x="417" y="750"/>
                </a:lnTo>
                <a:lnTo>
                  <a:pt x="409" y="750"/>
                </a:lnTo>
                <a:lnTo>
                  <a:pt x="403" y="746"/>
                </a:lnTo>
                <a:lnTo>
                  <a:pt x="394" y="746"/>
                </a:lnTo>
                <a:lnTo>
                  <a:pt x="385" y="752"/>
                </a:lnTo>
                <a:lnTo>
                  <a:pt x="381" y="761"/>
                </a:lnTo>
                <a:lnTo>
                  <a:pt x="388" y="776"/>
                </a:lnTo>
                <a:lnTo>
                  <a:pt x="383" y="782"/>
                </a:lnTo>
                <a:lnTo>
                  <a:pt x="381" y="790"/>
                </a:lnTo>
                <a:lnTo>
                  <a:pt x="383" y="803"/>
                </a:lnTo>
                <a:lnTo>
                  <a:pt x="381" y="814"/>
                </a:lnTo>
                <a:lnTo>
                  <a:pt x="379" y="822"/>
                </a:lnTo>
                <a:lnTo>
                  <a:pt x="383" y="835"/>
                </a:lnTo>
                <a:lnTo>
                  <a:pt x="381" y="852"/>
                </a:lnTo>
                <a:lnTo>
                  <a:pt x="373" y="859"/>
                </a:lnTo>
                <a:lnTo>
                  <a:pt x="373" y="876"/>
                </a:lnTo>
                <a:lnTo>
                  <a:pt x="262" y="712"/>
                </a:lnTo>
                <a:lnTo>
                  <a:pt x="0" y="328"/>
                </a:lnTo>
                <a:lnTo>
                  <a:pt x="17" y="25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1" name="Freeform 677"/>
          <p:cNvSpPr>
            <a:spLocks/>
          </p:cNvSpPr>
          <p:nvPr/>
        </p:nvSpPr>
        <p:spPr bwMode="auto">
          <a:xfrm>
            <a:off x="1116012" y="2617909"/>
            <a:ext cx="895350" cy="1390650"/>
          </a:xfrm>
          <a:custGeom>
            <a:avLst/>
            <a:gdLst>
              <a:gd name="T0" fmla="*/ 17 w 564"/>
              <a:gd name="T1" fmla="*/ 254 h 876"/>
              <a:gd name="T2" fmla="*/ 79 w 564"/>
              <a:gd name="T3" fmla="*/ 0 h 876"/>
              <a:gd name="T4" fmla="*/ 222 w 564"/>
              <a:gd name="T5" fmla="*/ 32 h 876"/>
              <a:gd name="T6" fmla="*/ 322 w 564"/>
              <a:gd name="T7" fmla="*/ 54 h 876"/>
              <a:gd name="T8" fmla="*/ 454 w 564"/>
              <a:gd name="T9" fmla="*/ 81 h 876"/>
              <a:gd name="T10" fmla="*/ 564 w 564"/>
              <a:gd name="T11" fmla="*/ 103 h 876"/>
              <a:gd name="T12" fmla="*/ 464 w 564"/>
              <a:gd name="T13" fmla="*/ 661 h 876"/>
              <a:gd name="T14" fmla="*/ 449 w 564"/>
              <a:gd name="T15" fmla="*/ 748 h 876"/>
              <a:gd name="T16" fmla="*/ 441 w 564"/>
              <a:gd name="T17" fmla="*/ 759 h 876"/>
              <a:gd name="T18" fmla="*/ 432 w 564"/>
              <a:gd name="T19" fmla="*/ 767 h 876"/>
              <a:gd name="T20" fmla="*/ 426 w 564"/>
              <a:gd name="T21" fmla="*/ 765 h 876"/>
              <a:gd name="T22" fmla="*/ 424 w 564"/>
              <a:gd name="T23" fmla="*/ 756 h 876"/>
              <a:gd name="T24" fmla="*/ 417 w 564"/>
              <a:gd name="T25" fmla="*/ 750 h 876"/>
              <a:gd name="T26" fmla="*/ 409 w 564"/>
              <a:gd name="T27" fmla="*/ 750 h 876"/>
              <a:gd name="T28" fmla="*/ 403 w 564"/>
              <a:gd name="T29" fmla="*/ 746 h 876"/>
              <a:gd name="T30" fmla="*/ 394 w 564"/>
              <a:gd name="T31" fmla="*/ 746 h 876"/>
              <a:gd name="T32" fmla="*/ 385 w 564"/>
              <a:gd name="T33" fmla="*/ 752 h 876"/>
              <a:gd name="T34" fmla="*/ 381 w 564"/>
              <a:gd name="T35" fmla="*/ 761 h 876"/>
              <a:gd name="T36" fmla="*/ 388 w 564"/>
              <a:gd name="T37" fmla="*/ 776 h 876"/>
              <a:gd name="T38" fmla="*/ 383 w 564"/>
              <a:gd name="T39" fmla="*/ 782 h 876"/>
              <a:gd name="T40" fmla="*/ 381 w 564"/>
              <a:gd name="T41" fmla="*/ 790 h 876"/>
              <a:gd name="T42" fmla="*/ 383 w 564"/>
              <a:gd name="T43" fmla="*/ 803 h 876"/>
              <a:gd name="T44" fmla="*/ 381 w 564"/>
              <a:gd name="T45" fmla="*/ 814 h 876"/>
              <a:gd name="T46" fmla="*/ 379 w 564"/>
              <a:gd name="T47" fmla="*/ 822 h 876"/>
              <a:gd name="T48" fmla="*/ 383 w 564"/>
              <a:gd name="T49" fmla="*/ 835 h 876"/>
              <a:gd name="T50" fmla="*/ 381 w 564"/>
              <a:gd name="T51" fmla="*/ 852 h 876"/>
              <a:gd name="T52" fmla="*/ 373 w 564"/>
              <a:gd name="T53" fmla="*/ 859 h 876"/>
              <a:gd name="T54" fmla="*/ 373 w 564"/>
              <a:gd name="T55" fmla="*/ 876 h 876"/>
              <a:gd name="T56" fmla="*/ 262 w 564"/>
              <a:gd name="T57" fmla="*/ 712 h 876"/>
              <a:gd name="T58" fmla="*/ 0 w 564"/>
              <a:gd name="T59" fmla="*/ 328 h 876"/>
              <a:gd name="T60" fmla="*/ 17 w 564"/>
              <a:gd name="T61" fmla="*/ 25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564" h="876">
                <a:moveTo>
                  <a:pt x="17" y="254"/>
                </a:moveTo>
                <a:lnTo>
                  <a:pt x="79" y="0"/>
                </a:lnTo>
                <a:lnTo>
                  <a:pt x="222" y="32"/>
                </a:lnTo>
                <a:lnTo>
                  <a:pt x="322" y="54"/>
                </a:lnTo>
                <a:lnTo>
                  <a:pt x="454" y="81"/>
                </a:lnTo>
                <a:lnTo>
                  <a:pt x="564" y="103"/>
                </a:lnTo>
                <a:lnTo>
                  <a:pt x="464" y="661"/>
                </a:lnTo>
                <a:lnTo>
                  <a:pt x="449" y="748"/>
                </a:lnTo>
                <a:lnTo>
                  <a:pt x="441" y="759"/>
                </a:lnTo>
                <a:lnTo>
                  <a:pt x="432" y="767"/>
                </a:lnTo>
                <a:lnTo>
                  <a:pt x="426" y="765"/>
                </a:lnTo>
                <a:lnTo>
                  <a:pt x="424" y="756"/>
                </a:lnTo>
                <a:lnTo>
                  <a:pt x="417" y="750"/>
                </a:lnTo>
                <a:lnTo>
                  <a:pt x="409" y="750"/>
                </a:lnTo>
                <a:lnTo>
                  <a:pt x="403" y="746"/>
                </a:lnTo>
                <a:lnTo>
                  <a:pt x="394" y="746"/>
                </a:lnTo>
                <a:lnTo>
                  <a:pt x="385" y="752"/>
                </a:lnTo>
                <a:lnTo>
                  <a:pt x="381" y="761"/>
                </a:lnTo>
                <a:lnTo>
                  <a:pt x="388" y="776"/>
                </a:lnTo>
                <a:lnTo>
                  <a:pt x="383" y="782"/>
                </a:lnTo>
                <a:lnTo>
                  <a:pt x="381" y="790"/>
                </a:lnTo>
                <a:lnTo>
                  <a:pt x="383" y="803"/>
                </a:lnTo>
                <a:lnTo>
                  <a:pt x="381" y="814"/>
                </a:lnTo>
                <a:lnTo>
                  <a:pt x="379" y="822"/>
                </a:lnTo>
                <a:lnTo>
                  <a:pt x="383" y="835"/>
                </a:lnTo>
                <a:lnTo>
                  <a:pt x="381" y="852"/>
                </a:lnTo>
                <a:lnTo>
                  <a:pt x="373" y="859"/>
                </a:lnTo>
                <a:lnTo>
                  <a:pt x="373" y="876"/>
                </a:lnTo>
                <a:lnTo>
                  <a:pt x="262" y="712"/>
                </a:lnTo>
                <a:lnTo>
                  <a:pt x="0" y="328"/>
                </a:lnTo>
                <a:lnTo>
                  <a:pt x="17" y="25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2" name="Freeform 678"/>
          <p:cNvSpPr>
            <a:spLocks/>
          </p:cNvSpPr>
          <p:nvPr/>
        </p:nvSpPr>
        <p:spPr bwMode="auto">
          <a:xfrm>
            <a:off x="1600200" y="3667246"/>
            <a:ext cx="952500" cy="1114425"/>
          </a:xfrm>
          <a:custGeom>
            <a:avLst/>
            <a:gdLst>
              <a:gd name="T0" fmla="*/ 14 w 600"/>
              <a:gd name="T1" fmla="*/ 464 h 702"/>
              <a:gd name="T2" fmla="*/ 21 w 600"/>
              <a:gd name="T3" fmla="*/ 466 h 702"/>
              <a:gd name="T4" fmla="*/ 31 w 600"/>
              <a:gd name="T5" fmla="*/ 460 h 702"/>
              <a:gd name="T6" fmla="*/ 38 w 600"/>
              <a:gd name="T7" fmla="*/ 443 h 702"/>
              <a:gd name="T8" fmla="*/ 31 w 600"/>
              <a:gd name="T9" fmla="*/ 432 h 702"/>
              <a:gd name="T10" fmla="*/ 21 w 600"/>
              <a:gd name="T11" fmla="*/ 423 h 702"/>
              <a:gd name="T12" fmla="*/ 25 w 600"/>
              <a:gd name="T13" fmla="*/ 408 h 702"/>
              <a:gd name="T14" fmla="*/ 27 w 600"/>
              <a:gd name="T15" fmla="*/ 394 h 702"/>
              <a:gd name="T16" fmla="*/ 46 w 600"/>
              <a:gd name="T17" fmla="*/ 372 h 702"/>
              <a:gd name="T18" fmla="*/ 53 w 600"/>
              <a:gd name="T19" fmla="*/ 355 h 702"/>
              <a:gd name="T20" fmla="*/ 57 w 600"/>
              <a:gd name="T21" fmla="*/ 330 h 702"/>
              <a:gd name="T22" fmla="*/ 68 w 600"/>
              <a:gd name="T23" fmla="*/ 317 h 702"/>
              <a:gd name="T24" fmla="*/ 98 w 600"/>
              <a:gd name="T25" fmla="*/ 298 h 702"/>
              <a:gd name="T26" fmla="*/ 80 w 600"/>
              <a:gd name="T27" fmla="*/ 276 h 702"/>
              <a:gd name="T28" fmla="*/ 78 w 600"/>
              <a:gd name="T29" fmla="*/ 259 h 702"/>
              <a:gd name="T30" fmla="*/ 74 w 600"/>
              <a:gd name="T31" fmla="*/ 244 h 702"/>
              <a:gd name="T32" fmla="*/ 66 w 600"/>
              <a:gd name="T33" fmla="*/ 221 h 702"/>
              <a:gd name="T34" fmla="*/ 68 w 600"/>
              <a:gd name="T35" fmla="*/ 198 h 702"/>
              <a:gd name="T36" fmla="*/ 78 w 600"/>
              <a:gd name="T37" fmla="*/ 174 h 702"/>
              <a:gd name="T38" fmla="*/ 76 w 600"/>
              <a:gd name="T39" fmla="*/ 153 h 702"/>
              <a:gd name="T40" fmla="*/ 76 w 600"/>
              <a:gd name="T41" fmla="*/ 129 h 702"/>
              <a:gd name="T42" fmla="*/ 83 w 600"/>
              <a:gd name="T43" fmla="*/ 115 h 702"/>
              <a:gd name="T44" fmla="*/ 80 w 600"/>
              <a:gd name="T45" fmla="*/ 91 h 702"/>
              <a:gd name="T46" fmla="*/ 98 w 600"/>
              <a:gd name="T47" fmla="*/ 85 h 702"/>
              <a:gd name="T48" fmla="*/ 112 w 600"/>
              <a:gd name="T49" fmla="*/ 89 h 702"/>
              <a:gd name="T50" fmla="*/ 121 w 600"/>
              <a:gd name="T51" fmla="*/ 104 h 702"/>
              <a:gd name="T52" fmla="*/ 136 w 600"/>
              <a:gd name="T53" fmla="*/ 98 h 702"/>
              <a:gd name="T54" fmla="*/ 159 w 600"/>
              <a:gd name="T55" fmla="*/ 0 h 702"/>
              <a:gd name="T56" fmla="*/ 362 w 600"/>
              <a:gd name="T57" fmla="*/ 34 h 702"/>
              <a:gd name="T58" fmla="*/ 600 w 600"/>
              <a:gd name="T59" fmla="*/ 66 h 702"/>
              <a:gd name="T60" fmla="*/ 519 w 600"/>
              <a:gd name="T61" fmla="*/ 702 h 702"/>
              <a:gd name="T62" fmla="*/ 330 w 600"/>
              <a:gd name="T63" fmla="*/ 677 h 702"/>
              <a:gd name="T64" fmla="*/ 21 w 600"/>
              <a:gd name="T65" fmla="*/ 500 h 702"/>
              <a:gd name="T66" fmla="*/ 2 w 600"/>
              <a:gd name="T67" fmla="*/ 47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0" h="702">
                <a:moveTo>
                  <a:pt x="12" y="464"/>
                </a:moveTo>
                <a:lnTo>
                  <a:pt x="14" y="464"/>
                </a:lnTo>
                <a:lnTo>
                  <a:pt x="19" y="464"/>
                </a:lnTo>
                <a:lnTo>
                  <a:pt x="21" y="466"/>
                </a:lnTo>
                <a:lnTo>
                  <a:pt x="29" y="466"/>
                </a:lnTo>
                <a:lnTo>
                  <a:pt x="31" y="460"/>
                </a:lnTo>
                <a:lnTo>
                  <a:pt x="38" y="455"/>
                </a:lnTo>
                <a:lnTo>
                  <a:pt x="38" y="443"/>
                </a:lnTo>
                <a:lnTo>
                  <a:pt x="38" y="436"/>
                </a:lnTo>
                <a:lnTo>
                  <a:pt x="31" y="432"/>
                </a:lnTo>
                <a:lnTo>
                  <a:pt x="23" y="430"/>
                </a:lnTo>
                <a:lnTo>
                  <a:pt x="21" y="423"/>
                </a:lnTo>
                <a:lnTo>
                  <a:pt x="25" y="415"/>
                </a:lnTo>
                <a:lnTo>
                  <a:pt x="25" y="408"/>
                </a:lnTo>
                <a:lnTo>
                  <a:pt x="23" y="400"/>
                </a:lnTo>
                <a:lnTo>
                  <a:pt x="27" y="394"/>
                </a:lnTo>
                <a:lnTo>
                  <a:pt x="34" y="387"/>
                </a:lnTo>
                <a:lnTo>
                  <a:pt x="46" y="372"/>
                </a:lnTo>
                <a:lnTo>
                  <a:pt x="49" y="364"/>
                </a:lnTo>
                <a:lnTo>
                  <a:pt x="53" y="355"/>
                </a:lnTo>
                <a:lnTo>
                  <a:pt x="55" y="342"/>
                </a:lnTo>
                <a:lnTo>
                  <a:pt x="57" y="330"/>
                </a:lnTo>
                <a:lnTo>
                  <a:pt x="63" y="325"/>
                </a:lnTo>
                <a:lnTo>
                  <a:pt x="68" y="317"/>
                </a:lnTo>
                <a:lnTo>
                  <a:pt x="93" y="304"/>
                </a:lnTo>
                <a:lnTo>
                  <a:pt x="98" y="298"/>
                </a:lnTo>
                <a:lnTo>
                  <a:pt x="93" y="291"/>
                </a:lnTo>
                <a:lnTo>
                  <a:pt x="80" y="276"/>
                </a:lnTo>
                <a:lnTo>
                  <a:pt x="80" y="268"/>
                </a:lnTo>
                <a:lnTo>
                  <a:pt x="78" y="259"/>
                </a:lnTo>
                <a:lnTo>
                  <a:pt x="76" y="253"/>
                </a:lnTo>
                <a:lnTo>
                  <a:pt x="74" y="244"/>
                </a:lnTo>
                <a:lnTo>
                  <a:pt x="66" y="227"/>
                </a:lnTo>
                <a:lnTo>
                  <a:pt x="66" y="221"/>
                </a:lnTo>
                <a:lnTo>
                  <a:pt x="68" y="215"/>
                </a:lnTo>
                <a:lnTo>
                  <a:pt x="68" y="198"/>
                </a:lnTo>
                <a:lnTo>
                  <a:pt x="76" y="191"/>
                </a:lnTo>
                <a:lnTo>
                  <a:pt x="78" y="174"/>
                </a:lnTo>
                <a:lnTo>
                  <a:pt x="74" y="161"/>
                </a:lnTo>
                <a:lnTo>
                  <a:pt x="76" y="153"/>
                </a:lnTo>
                <a:lnTo>
                  <a:pt x="78" y="142"/>
                </a:lnTo>
                <a:lnTo>
                  <a:pt x="76" y="129"/>
                </a:lnTo>
                <a:lnTo>
                  <a:pt x="78" y="121"/>
                </a:lnTo>
                <a:lnTo>
                  <a:pt x="83" y="115"/>
                </a:lnTo>
                <a:lnTo>
                  <a:pt x="76" y="100"/>
                </a:lnTo>
                <a:lnTo>
                  <a:pt x="80" y="91"/>
                </a:lnTo>
                <a:lnTo>
                  <a:pt x="89" y="85"/>
                </a:lnTo>
                <a:lnTo>
                  <a:pt x="98" y="85"/>
                </a:lnTo>
                <a:lnTo>
                  <a:pt x="104" y="89"/>
                </a:lnTo>
                <a:lnTo>
                  <a:pt x="112" y="89"/>
                </a:lnTo>
                <a:lnTo>
                  <a:pt x="119" y="95"/>
                </a:lnTo>
                <a:lnTo>
                  <a:pt x="121" y="104"/>
                </a:lnTo>
                <a:lnTo>
                  <a:pt x="127" y="106"/>
                </a:lnTo>
                <a:lnTo>
                  <a:pt x="136" y="98"/>
                </a:lnTo>
                <a:lnTo>
                  <a:pt x="144" y="87"/>
                </a:lnTo>
                <a:lnTo>
                  <a:pt x="159" y="0"/>
                </a:lnTo>
                <a:lnTo>
                  <a:pt x="240" y="14"/>
                </a:lnTo>
                <a:lnTo>
                  <a:pt x="362" y="34"/>
                </a:lnTo>
                <a:lnTo>
                  <a:pt x="479" y="51"/>
                </a:lnTo>
                <a:lnTo>
                  <a:pt x="600" y="66"/>
                </a:lnTo>
                <a:lnTo>
                  <a:pt x="519" y="698"/>
                </a:lnTo>
                <a:lnTo>
                  <a:pt x="519" y="702"/>
                </a:lnTo>
                <a:lnTo>
                  <a:pt x="472" y="696"/>
                </a:lnTo>
                <a:lnTo>
                  <a:pt x="330" y="677"/>
                </a:lnTo>
                <a:lnTo>
                  <a:pt x="208" y="609"/>
                </a:lnTo>
                <a:lnTo>
                  <a:pt x="21" y="500"/>
                </a:lnTo>
                <a:lnTo>
                  <a:pt x="0" y="487"/>
                </a:lnTo>
                <a:lnTo>
                  <a:pt x="2" y="479"/>
                </a:lnTo>
                <a:lnTo>
                  <a:pt x="12" y="464"/>
                </a:lnTo>
                <a:close/>
              </a:path>
            </a:pathLst>
          </a:custGeom>
          <a:solidFill>
            <a:srgbClr val="FFC80B"/>
          </a:solidFill>
          <a:ln>
            <a:noFill/>
          </a:ln>
        </p:spPr>
        <p:txBody>
          <a:bodyPr vert="horz" wrap="square" lIns="91440" tIns="45720" rIns="91440" bIns="45720" numCol="1" anchor="t" anchorCtr="0" compatLnSpc="1">
            <a:prstTxWarp prst="textNoShape">
              <a:avLst/>
            </a:prstTxWarp>
          </a:bodyPr>
          <a:lstStyle/>
          <a:p>
            <a:endParaRPr lang="en-US"/>
          </a:p>
        </p:txBody>
      </p:sp>
      <p:sp>
        <p:nvSpPr>
          <p:cNvPr id="1273" name="Freeform 679"/>
          <p:cNvSpPr>
            <a:spLocks/>
          </p:cNvSpPr>
          <p:nvPr/>
        </p:nvSpPr>
        <p:spPr bwMode="auto">
          <a:xfrm>
            <a:off x="1600200" y="3667246"/>
            <a:ext cx="952500" cy="1114425"/>
          </a:xfrm>
          <a:custGeom>
            <a:avLst/>
            <a:gdLst>
              <a:gd name="T0" fmla="*/ 14 w 600"/>
              <a:gd name="T1" fmla="*/ 464 h 702"/>
              <a:gd name="T2" fmla="*/ 21 w 600"/>
              <a:gd name="T3" fmla="*/ 466 h 702"/>
              <a:gd name="T4" fmla="*/ 31 w 600"/>
              <a:gd name="T5" fmla="*/ 460 h 702"/>
              <a:gd name="T6" fmla="*/ 38 w 600"/>
              <a:gd name="T7" fmla="*/ 443 h 702"/>
              <a:gd name="T8" fmla="*/ 31 w 600"/>
              <a:gd name="T9" fmla="*/ 432 h 702"/>
              <a:gd name="T10" fmla="*/ 21 w 600"/>
              <a:gd name="T11" fmla="*/ 423 h 702"/>
              <a:gd name="T12" fmla="*/ 25 w 600"/>
              <a:gd name="T13" fmla="*/ 408 h 702"/>
              <a:gd name="T14" fmla="*/ 27 w 600"/>
              <a:gd name="T15" fmla="*/ 394 h 702"/>
              <a:gd name="T16" fmla="*/ 46 w 600"/>
              <a:gd name="T17" fmla="*/ 372 h 702"/>
              <a:gd name="T18" fmla="*/ 53 w 600"/>
              <a:gd name="T19" fmla="*/ 355 h 702"/>
              <a:gd name="T20" fmla="*/ 57 w 600"/>
              <a:gd name="T21" fmla="*/ 330 h 702"/>
              <a:gd name="T22" fmla="*/ 68 w 600"/>
              <a:gd name="T23" fmla="*/ 317 h 702"/>
              <a:gd name="T24" fmla="*/ 98 w 600"/>
              <a:gd name="T25" fmla="*/ 298 h 702"/>
              <a:gd name="T26" fmla="*/ 80 w 600"/>
              <a:gd name="T27" fmla="*/ 276 h 702"/>
              <a:gd name="T28" fmla="*/ 78 w 600"/>
              <a:gd name="T29" fmla="*/ 259 h 702"/>
              <a:gd name="T30" fmla="*/ 74 w 600"/>
              <a:gd name="T31" fmla="*/ 244 h 702"/>
              <a:gd name="T32" fmla="*/ 66 w 600"/>
              <a:gd name="T33" fmla="*/ 221 h 702"/>
              <a:gd name="T34" fmla="*/ 68 w 600"/>
              <a:gd name="T35" fmla="*/ 198 h 702"/>
              <a:gd name="T36" fmla="*/ 78 w 600"/>
              <a:gd name="T37" fmla="*/ 174 h 702"/>
              <a:gd name="T38" fmla="*/ 76 w 600"/>
              <a:gd name="T39" fmla="*/ 153 h 702"/>
              <a:gd name="T40" fmla="*/ 76 w 600"/>
              <a:gd name="T41" fmla="*/ 129 h 702"/>
              <a:gd name="T42" fmla="*/ 83 w 600"/>
              <a:gd name="T43" fmla="*/ 115 h 702"/>
              <a:gd name="T44" fmla="*/ 80 w 600"/>
              <a:gd name="T45" fmla="*/ 91 h 702"/>
              <a:gd name="T46" fmla="*/ 98 w 600"/>
              <a:gd name="T47" fmla="*/ 85 h 702"/>
              <a:gd name="T48" fmla="*/ 112 w 600"/>
              <a:gd name="T49" fmla="*/ 89 h 702"/>
              <a:gd name="T50" fmla="*/ 121 w 600"/>
              <a:gd name="T51" fmla="*/ 104 h 702"/>
              <a:gd name="T52" fmla="*/ 136 w 600"/>
              <a:gd name="T53" fmla="*/ 98 h 702"/>
              <a:gd name="T54" fmla="*/ 159 w 600"/>
              <a:gd name="T55" fmla="*/ 0 h 702"/>
              <a:gd name="T56" fmla="*/ 362 w 600"/>
              <a:gd name="T57" fmla="*/ 34 h 702"/>
              <a:gd name="T58" fmla="*/ 600 w 600"/>
              <a:gd name="T59" fmla="*/ 66 h 702"/>
              <a:gd name="T60" fmla="*/ 519 w 600"/>
              <a:gd name="T61" fmla="*/ 702 h 702"/>
              <a:gd name="T62" fmla="*/ 330 w 600"/>
              <a:gd name="T63" fmla="*/ 677 h 702"/>
              <a:gd name="T64" fmla="*/ 21 w 600"/>
              <a:gd name="T65" fmla="*/ 500 h 702"/>
              <a:gd name="T66" fmla="*/ 2 w 600"/>
              <a:gd name="T67" fmla="*/ 479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00" h="702">
                <a:moveTo>
                  <a:pt x="12" y="464"/>
                </a:moveTo>
                <a:lnTo>
                  <a:pt x="14" y="464"/>
                </a:lnTo>
                <a:lnTo>
                  <a:pt x="19" y="464"/>
                </a:lnTo>
                <a:lnTo>
                  <a:pt x="21" y="466"/>
                </a:lnTo>
                <a:lnTo>
                  <a:pt x="29" y="466"/>
                </a:lnTo>
                <a:lnTo>
                  <a:pt x="31" y="460"/>
                </a:lnTo>
                <a:lnTo>
                  <a:pt x="38" y="455"/>
                </a:lnTo>
                <a:lnTo>
                  <a:pt x="38" y="443"/>
                </a:lnTo>
                <a:lnTo>
                  <a:pt x="38" y="436"/>
                </a:lnTo>
                <a:lnTo>
                  <a:pt x="31" y="432"/>
                </a:lnTo>
                <a:lnTo>
                  <a:pt x="23" y="430"/>
                </a:lnTo>
                <a:lnTo>
                  <a:pt x="21" y="423"/>
                </a:lnTo>
                <a:lnTo>
                  <a:pt x="25" y="415"/>
                </a:lnTo>
                <a:lnTo>
                  <a:pt x="25" y="408"/>
                </a:lnTo>
                <a:lnTo>
                  <a:pt x="23" y="400"/>
                </a:lnTo>
                <a:lnTo>
                  <a:pt x="27" y="394"/>
                </a:lnTo>
                <a:lnTo>
                  <a:pt x="34" y="387"/>
                </a:lnTo>
                <a:lnTo>
                  <a:pt x="46" y="372"/>
                </a:lnTo>
                <a:lnTo>
                  <a:pt x="49" y="364"/>
                </a:lnTo>
                <a:lnTo>
                  <a:pt x="53" y="355"/>
                </a:lnTo>
                <a:lnTo>
                  <a:pt x="55" y="342"/>
                </a:lnTo>
                <a:lnTo>
                  <a:pt x="57" y="330"/>
                </a:lnTo>
                <a:lnTo>
                  <a:pt x="63" y="325"/>
                </a:lnTo>
                <a:lnTo>
                  <a:pt x="68" y="317"/>
                </a:lnTo>
                <a:lnTo>
                  <a:pt x="93" y="304"/>
                </a:lnTo>
                <a:lnTo>
                  <a:pt x="98" y="298"/>
                </a:lnTo>
                <a:lnTo>
                  <a:pt x="93" y="291"/>
                </a:lnTo>
                <a:lnTo>
                  <a:pt x="80" y="276"/>
                </a:lnTo>
                <a:lnTo>
                  <a:pt x="80" y="268"/>
                </a:lnTo>
                <a:lnTo>
                  <a:pt x="78" y="259"/>
                </a:lnTo>
                <a:lnTo>
                  <a:pt x="76" y="253"/>
                </a:lnTo>
                <a:lnTo>
                  <a:pt x="74" y="244"/>
                </a:lnTo>
                <a:lnTo>
                  <a:pt x="66" y="227"/>
                </a:lnTo>
                <a:lnTo>
                  <a:pt x="66" y="221"/>
                </a:lnTo>
                <a:lnTo>
                  <a:pt x="68" y="215"/>
                </a:lnTo>
                <a:lnTo>
                  <a:pt x="68" y="198"/>
                </a:lnTo>
                <a:lnTo>
                  <a:pt x="76" y="191"/>
                </a:lnTo>
                <a:lnTo>
                  <a:pt x="78" y="174"/>
                </a:lnTo>
                <a:lnTo>
                  <a:pt x="74" y="161"/>
                </a:lnTo>
                <a:lnTo>
                  <a:pt x="76" y="153"/>
                </a:lnTo>
                <a:lnTo>
                  <a:pt x="78" y="142"/>
                </a:lnTo>
                <a:lnTo>
                  <a:pt x="76" y="129"/>
                </a:lnTo>
                <a:lnTo>
                  <a:pt x="78" y="121"/>
                </a:lnTo>
                <a:lnTo>
                  <a:pt x="83" y="115"/>
                </a:lnTo>
                <a:lnTo>
                  <a:pt x="76" y="100"/>
                </a:lnTo>
                <a:lnTo>
                  <a:pt x="80" y="91"/>
                </a:lnTo>
                <a:lnTo>
                  <a:pt x="89" y="85"/>
                </a:lnTo>
                <a:lnTo>
                  <a:pt x="98" y="85"/>
                </a:lnTo>
                <a:lnTo>
                  <a:pt x="104" y="89"/>
                </a:lnTo>
                <a:lnTo>
                  <a:pt x="112" y="89"/>
                </a:lnTo>
                <a:lnTo>
                  <a:pt x="119" y="95"/>
                </a:lnTo>
                <a:lnTo>
                  <a:pt x="121" y="104"/>
                </a:lnTo>
                <a:lnTo>
                  <a:pt x="127" y="106"/>
                </a:lnTo>
                <a:lnTo>
                  <a:pt x="136" y="98"/>
                </a:lnTo>
                <a:lnTo>
                  <a:pt x="144" y="87"/>
                </a:lnTo>
                <a:lnTo>
                  <a:pt x="159" y="0"/>
                </a:lnTo>
                <a:lnTo>
                  <a:pt x="240" y="14"/>
                </a:lnTo>
                <a:lnTo>
                  <a:pt x="362" y="34"/>
                </a:lnTo>
                <a:lnTo>
                  <a:pt x="479" y="51"/>
                </a:lnTo>
                <a:lnTo>
                  <a:pt x="600" y="66"/>
                </a:lnTo>
                <a:lnTo>
                  <a:pt x="519" y="698"/>
                </a:lnTo>
                <a:lnTo>
                  <a:pt x="519" y="702"/>
                </a:lnTo>
                <a:lnTo>
                  <a:pt x="472" y="696"/>
                </a:lnTo>
                <a:lnTo>
                  <a:pt x="330" y="677"/>
                </a:lnTo>
                <a:lnTo>
                  <a:pt x="208" y="609"/>
                </a:lnTo>
                <a:lnTo>
                  <a:pt x="21" y="500"/>
                </a:lnTo>
                <a:lnTo>
                  <a:pt x="0" y="487"/>
                </a:lnTo>
                <a:lnTo>
                  <a:pt x="2" y="479"/>
                </a:lnTo>
                <a:lnTo>
                  <a:pt x="12" y="46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4" name="Freeform 680"/>
          <p:cNvSpPr>
            <a:spLocks/>
          </p:cNvSpPr>
          <p:nvPr/>
        </p:nvSpPr>
        <p:spPr bwMode="auto">
          <a:xfrm>
            <a:off x="1627187" y="1482846"/>
            <a:ext cx="838200" cy="1358900"/>
          </a:xfrm>
          <a:custGeom>
            <a:avLst/>
            <a:gdLst>
              <a:gd name="T0" fmla="*/ 42 w 528"/>
              <a:gd name="T1" fmla="*/ 570 h 856"/>
              <a:gd name="T2" fmla="*/ 46 w 528"/>
              <a:gd name="T3" fmla="*/ 562 h 856"/>
              <a:gd name="T4" fmla="*/ 55 w 528"/>
              <a:gd name="T5" fmla="*/ 539 h 856"/>
              <a:gd name="T6" fmla="*/ 55 w 528"/>
              <a:gd name="T7" fmla="*/ 524 h 856"/>
              <a:gd name="T8" fmla="*/ 42 w 528"/>
              <a:gd name="T9" fmla="*/ 517 h 856"/>
              <a:gd name="T10" fmla="*/ 44 w 528"/>
              <a:gd name="T11" fmla="*/ 490 h 856"/>
              <a:gd name="T12" fmla="*/ 59 w 528"/>
              <a:gd name="T13" fmla="*/ 468 h 856"/>
              <a:gd name="T14" fmla="*/ 78 w 528"/>
              <a:gd name="T15" fmla="*/ 455 h 856"/>
              <a:gd name="T16" fmla="*/ 83 w 528"/>
              <a:gd name="T17" fmla="*/ 441 h 856"/>
              <a:gd name="T18" fmla="*/ 106 w 528"/>
              <a:gd name="T19" fmla="*/ 404 h 856"/>
              <a:gd name="T20" fmla="*/ 127 w 528"/>
              <a:gd name="T21" fmla="*/ 379 h 856"/>
              <a:gd name="T22" fmla="*/ 110 w 528"/>
              <a:gd name="T23" fmla="*/ 351 h 856"/>
              <a:gd name="T24" fmla="*/ 104 w 528"/>
              <a:gd name="T25" fmla="*/ 340 h 856"/>
              <a:gd name="T26" fmla="*/ 102 w 528"/>
              <a:gd name="T27" fmla="*/ 323 h 856"/>
              <a:gd name="T28" fmla="*/ 100 w 528"/>
              <a:gd name="T29" fmla="*/ 285 h 856"/>
              <a:gd name="T30" fmla="*/ 106 w 528"/>
              <a:gd name="T31" fmla="*/ 255 h 856"/>
              <a:gd name="T32" fmla="*/ 161 w 528"/>
              <a:gd name="T33" fmla="*/ 0 h 856"/>
              <a:gd name="T34" fmla="*/ 234 w 528"/>
              <a:gd name="T35" fmla="*/ 15 h 856"/>
              <a:gd name="T36" fmla="*/ 210 w 528"/>
              <a:gd name="T37" fmla="*/ 125 h 856"/>
              <a:gd name="T38" fmla="*/ 223 w 528"/>
              <a:gd name="T39" fmla="*/ 151 h 856"/>
              <a:gd name="T40" fmla="*/ 230 w 528"/>
              <a:gd name="T41" fmla="*/ 172 h 856"/>
              <a:gd name="T42" fmla="*/ 232 w 528"/>
              <a:gd name="T43" fmla="*/ 187 h 856"/>
              <a:gd name="T44" fmla="*/ 236 w 528"/>
              <a:gd name="T45" fmla="*/ 202 h 856"/>
              <a:gd name="T46" fmla="*/ 249 w 528"/>
              <a:gd name="T47" fmla="*/ 215 h 856"/>
              <a:gd name="T48" fmla="*/ 255 w 528"/>
              <a:gd name="T49" fmla="*/ 230 h 856"/>
              <a:gd name="T50" fmla="*/ 268 w 528"/>
              <a:gd name="T51" fmla="*/ 251 h 856"/>
              <a:gd name="T52" fmla="*/ 272 w 528"/>
              <a:gd name="T53" fmla="*/ 262 h 856"/>
              <a:gd name="T54" fmla="*/ 281 w 528"/>
              <a:gd name="T55" fmla="*/ 277 h 856"/>
              <a:gd name="T56" fmla="*/ 291 w 528"/>
              <a:gd name="T57" fmla="*/ 283 h 856"/>
              <a:gd name="T58" fmla="*/ 296 w 528"/>
              <a:gd name="T59" fmla="*/ 294 h 856"/>
              <a:gd name="T60" fmla="*/ 313 w 528"/>
              <a:gd name="T61" fmla="*/ 296 h 856"/>
              <a:gd name="T62" fmla="*/ 298 w 528"/>
              <a:gd name="T63" fmla="*/ 332 h 856"/>
              <a:gd name="T64" fmla="*/ 289 w 528"/>
              <a:gd name="T65" fmla="*/ 347 h 856"/>
              <a:gd name="T66" fmla="*/ 289 w 528"/>
              <a:gd name="T67" fmla="*/ 362 h 856"/>
              <a:gd name="T68" fmla="*/ 289 w 528"/>
              <a:gd name="T69" fmla="*/ 383 h 856"/>
              <a:gd name="T70" fmla="*/ 279 w 528"/>
              <a:gd name="T71" fmla="*/ 392 h 856"/>
              <a:gd name="T72" fmla="*/ 276 w 528"/>
              <a:gd name="T73" fmla="*/ 406 h 856"/>
              <a:gd name="T74" fmla="*/ 283 w 528"/>
              <a:gd name="T75" fmla="*/ 417 h 856"/>
              <a:gd name="T76" fmla="*/ 296 w 528"/>
              <a:gd name="T77" fmla="*/ 426 h 856"/>
              <a:gd name="T78" fmla="*/ 325 w 528"/>
              <a:gd name="T79" fmla="*/ 415 h 856"/>
              <a:gd name="T80" fmla="*/ 334 w 528"/>
              <a:gd name="T81" fmla="*/ 436 h 856"/>
              <a:gd name="T82" fmla="*/ 342 w 528"/>
              <a:gd name="T83" fmla="*/ 470 h 856"/>
              <a:gd name="T84" fmla="*/ 349 w 528"/>
              <a:gd name="T85" fmla="*/ 485 h 856"/>
              <a:gd name="T86" fmla="*/ 347 w 528"/>
              <a:gd name="T87" fmla="*/ 502 h 856"/>
              <a:gd name="T88" fmla="*/ 353 w 528"/>
              <a:gd name="T89" fmla="*/ 517 h 856"/>
              <a:gd name="T90" fmla="*/ 370 w 528"/>
              <a:gd name="T91" fmla="*/ 521 h 856"/>
              <a:gd name="T92" fmla="*/ 372 w 528"/>
              <a:gd name="T93" fmla="*/ 541 h 856"/>
              <a:gd name="T94" fmla="*/ 374 w 528"/>
              <a:gd name="T95" fmla="*/ 556 h 856"/>
              <a:gd name="T96" fmla="*/ 385 w 528"/>
              <a:gd name="T97" fmla="*/ 570 h 856"/>
              <a:gd name="T98" fmla="*/ 389 w 528"/>
              <a:gd name="T99" fmla="*/ 560 h 856"/>
              <a:gd name="T100" fmla="*/ 411 w 528"/>
              <a:gd name="T101" fmla="*/ 560 h 856"/>
              <a:gd name="T102" fmla="*/ 425 w 528"/>
              <a:gd name="T103" fmla="*/ 562 h 856"/>
              <a:gd name="T104" fmla="*/ 436 w 528"/>
              <a:gd name="T105" fmla="*/ 556 h 856"/>
              <a:gd name="T106" fmla="*/ 466 w 528"/>
              <a:gd name="T107" fmla="*/ 560 h 856"/>
              <a:gd name="T108" fmla="*/ 481 w 528"/>
              <a:gd name="T109" fmla="*/ 562 h 856"/>
              <a:gd name="T110" fmla="*/ 494 w 528"/>
              <a:gd name="T111" fmla="*/ 562 h 856"/>
              <a:gd name="T112" fmla="*/ 513 w 528"/>
              <a:gd name="T113" fmla="*/ 549 h 856"/>
              <a:gd name="T114" fmla="*/ 521 w 528"/>
              <a:gd name="T115" fmla="*/ 570 h 856"/>
              <a:gd name="T116" fmla="*/ 487 w 528"/>
              <a:gd name="T117" fmla="*/ 856 h 856"/>
              <a:gd name="T118" fmla="*/ 274 w 528"/>
              <a:gd name="T119" fmla="*/ 822 h 856"/>
              <a:gd name="T120" fmla="*/ 132 w 528"/>
              <a:gd name="T121" fmla="*/ 7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856">
                <a:moveTo>
                  <a:pt x="0" y="769"/>
                </a:moveTo>
                <a:lnTo>
                  <a:pt x="42" y="570"/>
                </a:lnTo>
                <a:lnTo>
                  <a:pt x="44" y="564"/>
                </a:lnTo>
                <a:lnTo>
                  <a:pt x="46" y="562"/>
                </a:lnTo>
                <a:lnTo>
                  <a:pt x="53" y="547"/>
                </a:lnTo>
                <a:lnTo>
                  <a:pt x="55" y="539"/>
                </a:lnTo>
                <a:lnTo>
                  <a:pt x="59" y="530"/>
                </a:lnTo>
                <a:lnTo>
                  <a:pt x="55" y="524"/>
                </a:lnTo>
                <a:lnTo>
                  <a:pt x="49" y="519"/>
                </a:lnTo>
                <a:lnTo>
                  <a:pt x="42" y="517"/>
                </a:lnTo>
                <a:lnTo>
                  <a:pt x="40" y="513"/>
                </a:lnTo>
                <a:lnTo>
                  <a:pt x="44" y="490"/>
                </a:lnTo>
                <a:lnTo>
                  <a:pt x="51" y="483"/>
                </a:lnTo>
                <a:lnTo>
                  <a:pt x="59" y="468"/>
                </a:lnTo>
                <a:lnTo>
                  <a:pt x="72" y="462"/>
                </a:lnTo>
                <a:lnTo>
                  <a:pt x="78" y="455"/>
                </a:lnTo>
                <a:lnTo>
                  <a:pt x="83" y="447"/>
                </a:lnTo>
                <a:lnTo>
                  <a:pt x="83" y="441"/>
                </a:lnTo>
                <a:lnTo>
                  <a:pt x="95" y="428"/>
                </a:lnTo>
                <a:lnTo>
                  <a:pt x="106" y="404"/>
                </a:lnTo>
                <a:lnTo>
                  <a:pt x="123" y="385"/>
                </a:lnTo>
                <a:lnTo>
                  <a:pt x="127" y="379"/>
                </a:lnTo>
                <a:lnTo>
                  <a:pt x="125" y="364"/>
                </a:lnTo>
                <a:lnTo>
                  <a:pt x="110" y="351"/>
                </a:lnTo>
                <a:lnTo>
                  <a:pt x="108" y="347"/>
                </a:lnTo>
                <a:lnTo>
                  <a:pt x="104" y="340"/>
                </a:lnTo>
                <a:lnTo>
                  <a:pt x="104" y="330"/>
                </a:lnTo>
                <a:lnTo>
                  <a:pt x="102" y="323"/>
                </a:lnTo>
                <a:lnTo>
                  <a:pt x="104" y="300"/>
                </a:lnTo>
                <a:lnTo>
                  <a:pt x="100" y="285"/>
                </a:lnTo>
                <a:lnTo>
                  <a:pt x="104" y="279"/>
                </a:lnTo>
                <a:lnTo>
                  <a:pt x="106" y="255"/>
                </a:lnTo>
                <a:lnTo>
                  <a:pt x="159" y="4"/>
                </a:lnTo>
                <a:lnTo>
                  <a:pt x="161" y="0"/>
                </a:lnTo>
                <a:lnTo>
                  <a:pt x="217" y="12"/>
                </a:lnTo>
                <a:lnTo>
                  <a:pt x="234" y="15"/>
                </a:lnTo>
                <a:lnTo>
                  <a:pt x="232" y="19"/>
                </a:lnTo>
                <a:lnTo>
                  <a:pt x="210" y="125"/>
                </a:lnTo>
                <a:lnTo>
                  <a:pt x="223" y="147"/>
                </a:lnTo>
                <a:lnTo>
                  <a:pt x="223" y="151"/>
                </a:lnTo>
                <a:lnTo>
                  <a:pt x="230" y="166"/>
                </a:lnTo>
                <a:lnTo>
                  <a:pt x="230" y="172"/>
                </a:lnTo>
                <a:lnTo>
                  <a:pt x="227" y="181"/>
                </a:lnTo>
                <a:lnTo>
                  <a:pt x="232" y="187"/>
                </a:lnTo>
                <a:lnTo>
                  <a:pt x="223" y="189"/>
                </a:lnTo>
                <a:lnTo>
                  <a:pt x="236" y="202"/>
                </a:lnTo>
                <a:lnTo>
                  <a:pt x="238" y="208"/>
                </a:lnTo>
                <a:lnTo>
                  <a:pt x="249" y="215"/>
                </a:lnTo>
                <a:lnTo>
                  <a:pt x="251" y="223"/>
                </a:lnTo>
                <a:lnTo>
                  <a:pt x="255" y="230"/>
                </a:lnTo>
                <a:lnTo>
                  <a:pt x="259" y="236"/>
                </a:lnTo>
                <a:lnTo>
                  <a:pt x="268" y="251"/>
                </a:lnTo>
                <a:lnTo>
                  <a:pt x="274" y="257"/>
                </a:lnTo>
                <a:lnTo>
                  <a:pt x="272" y="262"/>
                </a:lnTo>
                <a:lnTo>
                  <a:pt x="274" y="270"/>
                </a:lnTo>
                <a:lnTo>
                  <a:pt x="281" y="277"/>
                </a:lnTo>
                <a:lnTo>
                  <a:pt x="285" y="283"/>
                </a:lnTo>
                <a:lnTo>
                  <a:pt x="291" y="283"/>
                </a:lnTo>
                <a:lnTo>
                  <a:pt x="289" y="289"/>
                </a:lnTo>
                <a:lnTo>
                  <a:pt x="296" y="294"/>
                </a:lnTo>
                <a:lnTo>
                  <a:pt x="306" y="294"/>
                </a:lnTo>
                <a:lnTo>
                  <a:pt x="313" y="296"/>
                </a:lnTo>
                <a:lnTo>
                  <a:pt x="306" y="317"/>
                </a:lnTo>
                <a:lnTo>
                  <a:pt x="298" y="332"/>
                </a:lnTo>
                <a:lnTo>
                  <a:pt x="296" y="340"/>
                </a:lnTo>
                <a:lnTo>
                  <a:pt x="289" y="347"/>
                </a:lnTo>
                <a:lnTo>
                  <a:pt x="291" y="353"/>
                </a:lnTo>
                <a:lnTo>
                  <a:pt x="289" y="362"/>
                </a:lnTo>
                <a:lnTo>
                  <a:pt x="293" y="368"/>
                </a:lnTo>
                <a:lnTo>
                  <a:pt x="289" y="383"/>
                </a:lnTo>
                <a:lnTo>
                  <a:pt x="283" y="385"/>
                </a:lnTo>
                <a:lnTo>
                  <a:pt x="279" y="392"/>
                </a:lnTo>
                <a:lnTo>
                  <a:pt x="281" y="400"/>
                </a:lnTo>
                <a:lnTo>
                  <a:pt x="276" y="406"/>
                </a:lnTo>
                <a:lnTo>
                  <a:pt x="274" y="413"/>
                </a:lnTo>
                <a:lnTo>
                  <a:pt x="283" y="417"/>
                </a:lnTo>
                <a:lnTo>
                  <a:pt x="289" y="426"/>
                </a:lnTo>
                <a:lnTo>
                  <a:pt x="296" y="426"/>
                </a:lnTo>
                <a:lnTo>
                  <a:pt x="325" y="409"/>
                </a:lnTo>
                <a:lnTo>
                  <a:pt x="325" y="415"/>
                </a:lnTo>
                <a:lnTo>
                  <a:pt x="334" y="421"/>
                </a:lnTo>
                <a:lnTo>
                  <a:pt x="334" y="436"/>
                </a:lnTo>
                <a:lnTo>
                  <a:pt x="336" y="455"/>
                </a:lnTo>
                <a:lnTo>
                  <a:pt x="342" y="470"/>
                </a:lnTo>
                <a:lnTo>
                  <a:pt x="347" y="477"/>
                </a:lnTo>
                <a:lnTo>
                  <a:pt x="349" y="485"/>
                </a:lnTo>
                <a:lnTo>
                  <a:pt x="349" y="492"/>
                </a:lnTo>
                <a:lnTo>
                  <a:pt x="347" y="502"/>
                </a:lnTo>
                <a:lnTo>
                  <a:pt x="349" y="509"/>
                </a:lnTo>
                <a:lnTo>
                  <a:pt x="353" y="517"/>
                </a:lnTo>
                <a:lnTo>
                  <a:pt x="362" y="515"/>
                </a:lnTo>
                <a:lnTo>
                  <a:pt x="370" y="521"/>
                </a:lnTo>
                <a:lnTo>
                  <a:pt x="374" y="534"/>
                </a:lnTo>
                <a:lnTo>
                  <a:pt x="372" y="541"/>
                </a:lnTo>
                <a:lnTo>
                  <a:pt x="374" y="549"/>
                </a:lnTo>
                <a:lnTo>
                  <a:pt x="374" y="556"/>
                </a:lnTo>
                <a:lnTo>
                  <a:pt x="379" y="562"/>
                </a:lnTo>
                <a:lnTo>
                  <a:pt x="385" y="570"/>
                </a:lnTo>
                <a:lnTo>
                  <a:pt x="387" y="568"/>
                </a:lnTo>
                <a:lnTo>
                  <a:pt x="389" y="560"/>
                </a:lnTo>
                <a:lnTo>
                  <a:pt x="396" y="558"/>
                </a:lnTo>
                <a:lnTo>
                  <a:pt x="411" y="560"/>
                </a:lnTo>
                <a:lnTo>
                  <a:pt x="419" y="562"/>
                </a:lnTo>
                <a:lnTo>
                  <a:pt x="425" y="562"/>
                </a:lnTo>
                <a:lnTo>
                  <a:pt x="432" y="556"/>
                </a:lnTo>
                <a:lnTo>
                  <a:pt x="436" y="556"/>
                </a:lnTo>
                <a:lnTo>
                  <a:pt x="451" y="560"/>
                </a:lnTo>
                <a:lnTo>
                  <a:pt x="466" y="560"/>
                </a:lnTo>
                <a:lnTo>
                  <a:pt x="472" y="564"/>
                </a:lnTo>
                <a:lnTo>
                  <a:pt x="481" y="562"/>
                </a:lnTo>
                <a:lnTo>
                  <a:pt x="494" y="566"/>
                </a:lnTo>
                <a:lnTo>
                  <a:pt x="494" y="562"/>
                </a:lnTo>
                <a:lnTo>
                  <a:pt x="506" y="547"/>
                </a:lnTo>
                <a:lnTo>
                  <a:pt x="513" y="549"/>
                </a:lnTo>
                <a:lnTo>
                  <a:pt x="517" y="562"/>
                </a:lnTo>
                <a:lnTo>
                  <a:pt x="521" y="570"/>
                </a:lnTo>
                <a:lnTo>
                  <a:pt x="528" y="577"/>
                </a:lnTo>
                <a:lnTo>
                  <a:pt x="487" y="856"/>
                </a:lnTo>
                <a:lnTo>
                  <a:pt x="391" y="843"/>
                </a:lnTo>
                <a:lnTo>
                  <a:pt x="274" y="822"/>
                </a:lnTo>
                <a:lnTo>
                  <a:pt x="242" y="818"/>
                </a:lnTo>
                <a:lnTo>
                  <a:pt x="132" y="796"/>
                </a:lnTo>
                <a:lnTo>
                  <a:pt x="0" y="76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75" name="Freeform 681"/>
          <p:cNvSpPr>
            <a:spLocks/>
          </p:cNvSpPr>
          <p:nvPr/>
        </p:nvSpPr>
        <p:spPr bwMode="auto">
          <a:xfrm>
            <a:off x="1627187" y="1482846"/>
            <a:ext cx="838200" cy="1358900"/>
          </a:xfrm>
          <a:custGeom>
            <a:avLst/>
            <a:gdLst>
              <a:gd name="T0" fmla="*/ 42 w 528"/>
              <a:gd name="T1" fmla="*/ 570 h 856"/>
              <a:gd name="T2" fmla="*/ 46 w 528"/>
              <a:gd name="T3" fmla="*/ 562 h 856"/>
              <a:gd name="T4" fmla="*/ 55 w 528"/>
              <a:gd name="T5" fmla="*/ 539 h 856"/>
              <a:gd name="T6" fmla="*/ 55 w 528"/>
              <a:gd name="T7" fmla="*/ 524 h 856"/>
              <a:gd name="T8" fmla="*/ 42 w 528"/>
              <a:gd name="T9" fmla="*/ 517 h 856"/>
              <a:gd name="T10" fmla="*/ 44 w 528"/>
              <a:gd name="T11" fmla="*/ 490 h 856"/>
              <a:gd name="T12" fmla="*/ 59 w 528"/>
              <a:gd name="T13" fmla="*/ 468 h 856"/>
              <a:gd name="T14" fmla="*/ 78 w 528"/>
              <a:gd name="T15" fmla="*/ 455 h 856"/>
              <a:gd name="T16" fmla="*/ 83 w 528"/>
              <a:gd name="T17" fmla="*/ 441 h 856"/>
              <a:gd name="T18" fmla="*/ 106 w 528"/>
              <a:gd name="T19" fmla="*/ 404 h 856"/>
              <a:gd name="T20" fmla="*/ 127 w 528"/>
              <a:gd name="T21" fmla="*/ 379 h 856"/>
              <a:gd name="T22" fmla="*/ 110 w 528"/>
              <a:gd name="T23" fmla="*/ 351 h 856"/>
              <a:gd name="T24" fmla="*/ 104 w 528"/>
              <a:gd name="T25" fmla="*/ 340 h 856"/>
              <a:gd name="T26" fmla="*/ 102 w 528"/>
              <a:gd name="T27" fmla="*/ 323 h 856"/>
              <a:gd name="T28" fmla="*/ 100 w 528"/>
              <a:gd name="T29" fmla="*/ 285 h 856"/>
              <a:gd name="T30" fmla="*/ 106 w 528"/>
              <a:gd name="T31" fmla="*/ 255 h 856"/>
              <a:gd name="T32" fmla="*/ 161 w 528"/>
              <a:gd name="T33" fmla="*/ 0 h 856"/>
              <a:gd name="T34" fmla="*/ 234 w 528"/>
              <a:gd name="T35" fmla="*/ 15 h 856"/>
              <a:gd name="T36" fmla="*/ 210 w 528"/>
              <a:gd name="T37" fmla="*/ 125 h 856"/>
              <a:gd name="T38" fmla="*/ 223 w 528"/>
              <a:gd name="T39" fmla="*/ 151 h 856"/>
              <a:gd name="T40" fmla="*/ 230 w 528"/>
              <a:gd name="T41" fmla="*/ 172 h 856"/>
              <a:gd name="T42" fmla="*/ 232 w 528"/>
              <a:gd name="T43" fmla="*/ 187 h 856"/>
              <a:gd name="T44" fmla="*/ 236 w 528"/>
              <a:gd name="T45" fmla="*/ 202 h 856"/>
              <a:gd name="T46" fmla="*/ 249 w 528"/>
              <a:gd name="T47" fmla="*/ 215 h 856"/>
              <a:gd name="T48" fmla="*/ 255 w 528"/>
              <a:gd name="T49" fmla="*/ 230 h 856"/>
              <a:gd name="T50" fmla="*/ 268 w 528"/>
              <a:gd name="T51" fmla="*/ 251 h 856"/>
              <a:gd name="T52" fmla="*/ 272 w 528"/>
              <a:gd name="T53" fmla="*/ 262 h 856"/>
              <a:gd name="T54" fmla="*/ 281 w 528"/>
              <a:gd name="T55" fmla="*/ 277 h 856"/>
              <a:gd name="T56" fmla="*/ 291 w 528"/>
              <a:gd name="T57" fmla="*/ 283 h 856"/>
              <a:gd name="T58" fmla="*/ 296 w 528"/>
              <a:gd name="T59" fmla="*/ 294 h 856"/>
              <a:gd name="T60" fmla="*/ 313 w 528"/>
              <a:gd name="T61" fmla="*/ 296 h 856"/>
              <a:gd name="T62" fmla="*/ 298 w 528"/>
              <a:gd name="T63" fmla="*/ 332 h 856"/>
              <a:gd name="T64" fmla="*/ 289 w 528"/>
              <a:gd name="T65" fmla="*/ 347 h 856"/>
              <a:gd name="T66" fmla="*/ 289 w 528"/>
              <a:gd name="T67" fmla="*/ 362 h 856"/>
              <a:gd name="T68" fmla="*/ 289 w 528"/>
              <a:gd name="T69" fmla="*/ 383 h 856"/>
              <a:gd name="T70" fmla="*/ 279 w 528"/>
              <a:gd name="T71" fmla="*/ 392 h 856"/>
              <a:gd name="T72" fmla="*/ 276 w 528"/>
              <a:gd name="T73" fmla="*/ 406 h 856"/>
              <a:gd name="T74" fmla="*/ 283 w 528"/>
              <a:gd name="T75" fmla="*/ 417 h 856"/>
              <a:gd name="T76" fmla="*/ 296 w 528"/>
              <a:gd name="T77" fmla="*/ 426 h 856"/>
              <a:gd name="T78" fmla="*/ 325 w 528"/>
              <a:gd name="T79" fmla="*/ 415 h 856"/>
              <a:gd name="T80" fmla="*/ 334 w 528"/>
              <a:gd name="T81" fmla="*/ 436 h 856"/>
              <a:gd name="T82" fmla="*/ 342 w 528"/>
              <a:gd name="T83" fmla="*/ 470 h 856"/>
              <a:gd name="T84" fmla="*/ 349 w 528"/>
              <a:gd name="T85" fmla="*/ 485 h 856"/>
              <a:gd name="T86" fmla="*/ 347 w 528"/>
              <a:gd name="T87" fmla="*/ 502 h 856"/>
              <a:gd name="T88" fmla="*/ 353 w 528"/>
              <a:gd name="T89" fmla="*/ 517 h 856"/>
              <a:gd name="T90" fmla="*/ 370 w 528"/>
              <a:gd name="T91" fmla="*/ 521 h 856"/>
              <a:gd name="T92" fmla="*/ 372 w 528"/>
              <a:gd name="T93" fmla="*/ 541 h 856"/>
              <a:gd name="T94" fmla="*/ 374 w 528"/>
              <a:gd name="T95" fmla="*/ 556 h 856"/>
              <a:gd name="T96" fmla="*/ 385 w 528"/>
              <a:gd name="T97" fmla="*/ 570 h 856"/>
              <a:gd name="T98" fmla="*/ 389 w 528"/>
              <a:gd name="T99" fmla="*/ 560 h 856"/>
              <a:gd name="T100" fmla="*/ 411 w 528"/>
              <a:gd name="T101" fmla="*/ 560 h 856"/>
              <a:gd name="T102" fmla="*/ 425 w 528"/>
              <a:gd name="T103" fmla="*/ 562 h 856"/>
              <a:gd name="T104" fmla="*/ 436 w 528"/>
              <a:gd name="T105" fmla="*/ 556 h 856"/>
              <a:gd name="T106" fmla="*/ 466 w 528"/>
              <a:gd name="T107" fmla="*/ 560 h 856"/>
              <a:gd name="T108" fmla="*/ 481 w 528"/>
              <a:gd name="T109" fmla="*/ 562 h 856"/>
              <a:gd name="T110" fmla="*/ 494 w 528"/>
              <a:gd name="T111" fmla="*/ 562 h 856"/>
              <a:gd name="T112" fmla="*/ 513 w 528"/>
              <a:gd name="T113" fmla="*/ 549 h 856"/>
              <a:gd name="T114" fmla="*/ 521 w 528"/>
              <a:gd name="T115" fmla="*/ 570 h 856"/>
              <a:gd name="T116" fmla="*/ 487 w 528"/>
              <a:gd name="T117" fmla="*/ 856 h 856"/>
              <a:gd name="T118" fmla="*/ 274 w 528"/>
              <a:gd name="T119" fmla="*/ 822 h 856"/>
              <a:gd name="T120" fmla="*/ 132 w 528"/>
              <a:gd name="T121" fmla="*/ 796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28" h="856">
                <a:moveTo>
                  <a:pt x="0" y="769"/>
                </a:moveTo>
                <a:lnTo>
                  <a:pt x="42" y="570"/>
                </a:lnTo>
                <a:lnTo>
                  <a:pt x="44" y="564"/>
                </a:lnTo>
                <a:lnTo>
                  <a:pt x="46" y="562"/>
                </a:lnTo>
                <a:lnTo>
                  <a:pt x="53" y="547"/>
                </a:lnTo>
                <a:lnTo>
                  <a:pt x="55" y="539"/>
                </a:lnTo>
                <a:lnTo>
                  <a:pt x="59" y="530"/>
                </a:lnTo>
                <a:lnTo>
                  <a:pt x="55" y="524"/>
                </a:lnTo>
                <a:lnTo>
                  <a:pt x="49" y="519"/>
                </a:lnTo>
                <a:lnTo>
                  <a:pt x="42" y="517"/>
                </a:lnTo>
                <a:lnTo>
                  <a:pt x="40" y="513"/>
                </a:lnTo>
                <a:lnTo>
                  <a:pt x="44" y="490"/>
                </a:lnTo>
                <a:lnTo>
                  <a:pt x="51" y="483"/>
                </a:lnTo>
                <a:lnTo>
                  <a:pt x="59" y="468"/>
                </a:lnTo>
                <a:lnTo>
                  <a:pt x="72" y="462"/>
                </a:lnTo>
                <a:lnTo>
                  <a:pt x="78" y="455"/>
                </a:lnTo>
                <a:lnTo>
                  <a:pt x="83" y="447"/>
                </a:lnTo>
                <a:lnTo>
                  <a:pt x="83" y="441"/>
                </a:lnTo>
                <a:lnTo>
                  <a:pt x="95" y="428"/>
                </a:lnTo>
                <a:lnTo>
                  <a:pt x="106" y="404"/>
                </a:lnTo>
                <a:lnTo>
                  <a:pt x="123" y="385"/>
                </a:lnTo>
                <a:lnTo>
                  <a:pt x="127" y="379"/>
                </a:lnTo>
                <a:lnTo>
                  <a:pt x="125" y="364"/>
                </a:lnTo>
                <a:lnTo>
                  <a:pt x="110" y="351"/>
                </a:lnTo>
                <a:lnTo>
                  <a:pt x="108" y="347"/>
                </a:lnTo>
                <a:lnTo>
                  <a:pt x="104" y="340"/>
                </a:lnTo>
                <a:lnTo>
                  <a:pt x="104" y="330"/>
                </a:lnTo>
                <a:lnTo>
                  <a:pt x="102" y="323"/>
                </a:lnTo>
                <a:lnTo>
                  <a:pt x="104" y="300"/>
                </a:lnTo>
                <a:lnTo>
                  <a:pt x="100" y="285"/>
                </a:lnTo>
                <a:lnTo>
                  <a:pt x="104" y="279"/>
                </a:lnTo>
                <a:lnTo>
                  <a:pt x="106" y="255"/>
                </a:lnTo>
                <a:lnTo>
                  <a:pt x="159" y="4"/>
                </a:lnTo>
                <a:lnTo>
                  <a:pt x="161" y="0"/>
                </a:lnTo>
                <a:lnTo>
                  <a:pt x="217" y="12"/>
                </a:lnTo>
                <a:lnTo>
                  <a:pt x="234" y="15"/>
                </a:lnTo>
                <a:lnTo>
                  <a:pt x="232" y="19"/>
                </a:lnTo>
                <a:lnTo>
                  <a:pt x="210" y="125"/>
                </a:lnTo>
                <a:lnTo>
                  <a:pt x="223" y="147"/>
                </a:lnTo>
                <a:lnTo>
                  <a:pt x="223" y="151"/>
                </a:lnTo>
                <a:lnTo>
                  <a:pt x="230" y="166"/>
                </a:lnTo>
                <a:lnTo>
                  <a:pt x="230" y="172"/>
                </a:lnTo>
                <a:lnTo>
                  <a:pt x="227" y="181"/>
                </a:lnTo>
                <a:lnTo>
                  <a:pt x="232" y="187"/>
                </a:lnTo>
                <a:lnTo>
                  <a:pt x="223" y="189"/>
                </a:lnTo>
                <a:lnTo>
                  <a:pt x="236" y="202"/>
                </a:lnTo>
                <a:lnTo>
                  <a:pt x="238" y="208"/>
                </a:lnTo>
                <a:lnTo>
                  <a:pt x="249" y="215"/>
                </a:lnTo>
                <a:lnTo>
                  <a:pt x="251" y="223"/>
                </a:lnTo>
                <a:lnTo>
                  <a:pt x="255" y="230"/>
                </a:lnTo>
                <a:lnTo>
                  <a:pt x="259" y="236"/>
                </a:lnTo>
                <a:lnTo>
                  <a:pt x="268" y="251"/>
                </a:lnTo>
                <a:lnTo>
                  <a:pt x="274" y="257"/>
                </a:lnTo>
                <a:lnTo>
                  <a:pt x="272" y="262"/>
                </a:lnTo>
                <a:lnTo>
                  <a:pt x="274" y="270"/>
                </a:lnTo>
                <a:lnTo>
                  <a:pt x="281" y="277"/>
                </a:lnTo>
                <a:lnTo>
                  <a:pt x="285" y="283"/>
                </a:lnTo>
                <a:lnTo>
                  <a:pt x="291" y="283"/>
                </a:lnTo>
                <a:lnTo>
                  <a:pt x="289" y="289"/>
                </a:lnTo>
                <a:lnTo>
                  <a:pt x="296" y="294"/>
                </a:lnTo>
                <a:lnTo>
                  <a:pt x="306" y="294"/>
                </a:lnTo>
                <a:lnTo>
                  <a:pt x="313" y="296"/>
                </a:lnTo>
                <a:lnTo>
                  <a:pt x="306" y="317"/>
                </a:lnTo>
                <a:lnTo>
                  <a:pt x="298" y="332"/>
                </a:lnTo>
                <a:lnTo>
                  <a:pt x="296" y="340"/>
                </a:lnTo>
                <a:lnTo>
                  <a:pt x="289" y="347"/>
                </a:lnTo>
                <a:lnTo>
                  <a:pt x="291" y="353"/>
                </a:lnTo>
                <a:lnTo>
                  <a:pt x="289" y="362"/>
                </a:lnTo>
                <a:lnTo>
                  <a:pt x="293" y="368"/>
                </a:lnTo>
                <a:lnTo>
                  <a:pt x="289" y="383"/>
                </a:lnTo>
                <a:lnTo>
                  <a:pt x="283" y="385"/>
                </a:lnTo>
                <a:lnTo>
                  <a:pt x="279" y="392"/>
                </a:lnTo>
                <a:lnTo>
                  <a:pt x="281" y="400"/>
                </a:lnTo>
                <a:lnTo>
                  <a:pt x="276" y="406"/>
                </a:lnTo>
                <a:lnTo>
                  <a:pt x="274" y="413"/>
                </a:lnTo>
                <a:lnTo>
                  <a:pt x="283" y="417"/>
                </a:lnTo>
                <a:lnTo>
                  <a:pt x="289" y="426"/>
                </a:lnTo>
                <a:lnTo>
                  <a:pt x="296" y="426"/>
                </a:lnTo>
                <a:lnTo>
                  <a:pt x="325" y="409"/>
                </a:lnTo>
                <a:lnTo>
                  <a:pt x="325" y="415"/>
                </a:lnTo>
                <a:lnTo>
                  <a:pt x="334" y="421"/>
                </a:lnTo>
                <a:lnTo>
                  <a:pt x="334" y="436"/>
                </a:lnTo>
                <a:lnTo>
                  <a:pt x="336" y="455"/>
                </a:lnTo>
                <a:lnTo>
                  <a:pt x="342" y="470"/>
                </a:lnTo>
                <a:lnTo>
                  <a:pt x="347" y="477"/>
                </a:lnTo>
                <a:lnTo>
                  <a:pt x="349" y="485"/>
                </a:lnTo>
                <a:lnTo>
                  <a:pt x="349" y="492"/>
                </a:lnTo>
                <a:lnTo>
                  <a:pt x="347" y="502"/>
                </a:lnTo>
                <a:lnTo>
                  <a:pt x="349" y="509"/>
                </a:lnTo>
                <a:lnTo>
                  <a:pt x="353" y="517"/>
                </a:lnTo>
                <a:lnTo>
                  <a:pt x="362" y="515"/>
                </a:lnTo>
                <a:lnTo>
                  <a:pt x="370" y="521"/>
                </a:lnTo>
                <a:lnTo>
                  <a:pt x="374" y="534"/>
                </a:lnTo>
                <a:lnTo>
                  <a:pt x="372" y="541"/>
                </a:lnTo>
                <a:lnTo>
                  <a:pt x="374" y="549"/>
                </a:lnTo>
                <a:lnTo>
                  <a:pt x="374" y="556"/>
                </a:lnTo>
                <a:lnTo>
                  <a:pt x="379" y="562"/>
                </a:lnTo>
                <a:lnTo>
                  <a:pt x="385" y="570"/>
                </a:lnTo>
                <a:lnTo>
                  <a:pt x="387" y="568"/>
                </a:lnTo>
                <a:lnTo>
                  <a:pt x="389" y="560"/>
                </a:lnTo>
                <a:lnTo>
                  <a:pt x="396" y="558"/>
                </a:lnTo>
                <a:lnTo>
                  <a:pt x="411" y="560"/>
                </a:lnTo>
                <a:lnTo>
                  <a:pt x="419" y="562"/>
                </a:lnTo>
                <a:lnTo>
                  <a:pt x="425" y="562"/>
                </a:lnTo>
                <a:lnTo>
                  <a:pt x="432" y="556"/>
                </a:lnTo>
                <a:lnTo>
                  <a:pt x="436" y="556"/>
                </a:lnTo>
                <a:lnTo>
                  <a:pt x="451" y="560"/>
                </a:lnTo>
                <a:lnTo>
                  <a:pt x="466" y="560"/>
                </a:lnTo>
                <a:lnTo>
                  <a:pt x="472" y="564"/>
                </a:lnTo>
                <a:lnTo>
                  <a:pt x="481" y="562"/>
                </a:lnTo>
                <a:lnTo>
                  <a:pt x="494" y="566"/>
                </a:lnTo>
                <a:lnTo>
                  <a:pt x="494" y="562"/>
                </a:lnTo>
                <a:lnTo>
                  <a:pt x="506" y="547"/>
                </a:lnTo>
                <a:lnTo>
                  <a:pt x="513" y="549"/>
                </a:lnTo>
                <a:lnTo>
                  <a:pt x="517" y="562"/>
                </a:lnTo>
                <a:lnTo>
                  <a:pt x="521" y="570"/>
                </a:lnTo>
                <a:lnTo>
                  <a:pt x="528" y="577"/>
                </a:lnTo>
                <a:lnTo>
                  <a:pt x="487" y="856"/>
                </a:lnTo>
                <a:lnTo>
                  <a:pt x="391" y="843"/>
                </a:lnTo>
                <a:lnTo>
                  <a:pt x="274" y="822"/>
                </a:lnTo>
                <a:lnTo>
                  <a:pt x="242" y="818"/>
                </a:lnTo>
                <a:lnTo>
                  <a:pt x="132" y="796"/>
                </a:lnTo>
                <a:lnTo>
                  <a:pt x="0" y="76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6" name="Freeform 682"/>
          <p:cNvSpPr>
            <a:spLocks/>
          </p:cNvSpPr>
          <p:nvPr/>
        </p:nvSpPr>
        <p:spPr bwMode="auto">
          <a:xfrm>
            <a:off x="1852612" y="2781421"/>
            <a:ext cx="787400" cy="990600"/>
          </a:xfrm>
          <a:custGeom>
            <a:avLst/>
            <a:gdLst>
              <a:gd name="T0" fmla="*/ 0 w 496"/>
              <a:gd name="T1" fmla="*/ 558 h 624"/>
              <a:gd name="T2" fmla="*/ 100 w 496"/>
              <a:gd name="T3" fmla="*/ 0 h 624"/>
              <a:gd name="T4" fmla="*/ 132 w 496"/>
              <a:gd name="T5" fmla="*/ 4 h 624"/>
              <a:gd name="T6" fmla="*/ 249 w 496"/>
              <a:gd name="T7" fmla="*/ 25 h 624"/>
              <a:gd name="T8" fmla="*/ 345 w 496"/>
              <a:gd name="T9" fmla="*/ 38 h 624"/>
              <a:gd name="T10" fmla="*/ 328 w 496"/>
              <a:gd name="T11" fmla="*/ 151 h 624"/>
              <a:gd name="T12" fmla="*/ 496 w 496"/>
              <a:gd name="T13" fmla="*/ 174 h 624"/>
              <a:gd name="T14" fmla="*/ 441 w 496"/>
              <a:gd name="T15" fmla="*/ 624 h 624"/>
              <a:gd name="T16" fmla="*/ 320 w 496"/>
              <a:gd name="T17" fmla="*/ 609 h 624"/>
              <a:gd name="T18" fmla="*/ 203 w 496"/>
              <a:gd name="T19" fmla="*/ 592 h 624"/>
              <a:gd name="T20" fmla="*/ 81 w 496"/>
              <a:gd name="T21" fmla="*/ 572 h 624"/>
              <a:gd name="T22" fmla="*/ 0 w 496"/>
              <a:gd name="T23" fmla="*/ 55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6" h="624">
                <a:moveTo>
                  <a:pt x="0" y="558"/>
                </a:moveTo>
                <a:lnTo>
                  <a:pt x="100" y="0"/>
                </a:lnTo>
                <a:lnTo>
                  <a:pt x="132" y="4"/>
                </a:lnTo>
                <a:lnTo>
                  <a:pt x="249" y="25"/>
                </a:lnTo>
                <a:lnTo>
                  <a:pt x="345" y="38"/>
                </a:lnTo>
                <a:lnTo>
                  <a:pt x="328" y="151"/>
                </a:lnTo>
                <a:lnTo>
                  <a:pt x="496" y="174"/>
                </a:lnTo>
                <a:lnTo>
                  <a:pt x="441" y="624"/>
                </a:lnTo>
                <a:lnTo>
                  <a:pt x="320" y="609"/>
                </a:lnTo>
                <a:lnTo>
                  <a:pt x="203" y="592"/>
                </a:lnTo>
                <a:lnTo>
                  <a:pt x="81" y="572"/>
                </a:lnTo>
                <a:lnTo>
                  <a:pt x="0" y="55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77" name="Freeform 683"/>
          <p:cNvSpPr>
            <a:spLocks/>
          </p:cNvSpPr>
          <p:nvPr/>
        </p:nvSpPr>
        <p:spPr bwMode="auto">
          <a:xfrm>
            <a:off x="1852612" y="2781421"/>
            <a:ext cx="787400" cy="990600"/>
          </a:xfrm>
          <a:custGeom>
            <a:avLst/>
            <a:gdLst>
              <a:gd name="T0" fmla="*/ 0 w 496"/>
              <a:gd name="T1" fmla="*/ 558 h 624"/>
              <a:gd name="T2" fmla="*/ 100 w 496"/>
              <a:gd name="T3" fmla="*/ 0 h 624"/>
              <a:gd name="T4" fmla="*/ 132 w 496"/>
              <a:gd name="T5" fmla="*/ 4 h 624"/>
              <a:gd name="T6" fmla="*/ 249 w 496"/>
              <a:gd name="T7" fmla="*/ 25 h 624"/>
              <a:gd name="T8" fmla="*/ 345 w 496"/>
              <a:gd name="T9" fmla="*/ 38 h 624"/>
              <a:gd name="T10" fmla="*/ 328 w 496"/>
              <a:gd name="T11" fmla="*/ 151 h 624"/>
              <a:gd name="T12" fmla="*/ 496 w 496"/>
              <a:gd name="T13" fmla="*/ 174 h 624"/>
              <a:gd name="T14" fmla="*/ 441 w 496"/>
              <a:gd name="T15" fmla="*/ 624 h 624"/>
              <a:gd name="T16" fmla="*/ 320 w 496"/>
              <a:gd name="T17" fmla="*/ 609 h 624"/>
              <a:gd name="T18" fmla="*/ 203 w 496"/>
              <a:gd name="T19" fmla="*/ 592 h 624"/>
              <a:gd name="T20" fmla="*/ 81 w 496"/>
              <a:gd name="T21" fmla="*/ 572 h 624"/>
              <a:gd name="T22" fmla="*/ 0 w 496"/>
              <a:gd name="T23" fmla="*/ 558 h 6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96" h="624">
                <a:moveTo>
                  <a:pt x="0" y="558"/>
                </a:moveTo>
                <a:lnTo>
                  <a:pt x="100" y="0"/>
                </a:lnTo>
                <a:lnTo>
                  <a:pt x="132" y="4"/>
                </a:lnTo>
                <a:lnTo>
                  <a:pt x="249" y="25"/>
                </a:lnTo>
                <a:lnTo>
                  <a:pt x="345" y="38"/>
                </a:lnTo>
                <a:lnTo>
                  <a:pt x="328" y="151"/>
                </a:lnTo>
                <a:lnTo>
                  <a:pt x="496" y="174"/>
                </a:lnTo>
                <a:lnTo>
                  <a:pt x="441" y="624"/>
                </a:lnTo>
                <a:lnTo>
                  <a:pt x="320" y="609"/>
                </a:lnTo>
                <a:lnTo>
                  <a:pt x="203" y="592"/>
                </a:lnTo>
                <a:lnTo>
                  <a:pt x="81" y="572"/>
                </a:lnTo>
                <a:lnTo>
                  <a:pt x="0" y="55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78" name="Freeform 684"/>
          <p:cNvSpPr>
            <a:spLocks/>
          </p:cNvSpPr>
          <p:nvPr/>
        </p:nvSpPr>
        <p:spPr bwMode="auto">
          <a:xfrm>
            <a:off x="1960562" y="1506659"/>
            <a:ext cx="1450975" cy="901700"/>
          </a:xfrm>
          <a:custGeom>
            <a:avLst/>
            <a:gdLst>
              <a:gd name="T0" fmla="*/ 20 w 914"/>
              <a:gd name="T1" fmla="*/ 157 h 568"/>
              <a:gd name="T2" fmla="*/ 13 w 914"/>
              <a:gd name="T3" fmla="*/ 136 h 568"/>
              <a:gd name="T4" fmla="*/ 0 w 914"/>
              <a:gd name="T5" fmla="*/ 110 h 568"/>
              <a:gd name="T6" fmla="*/ 24 w 914"/>
              <a:gd name="T7" fmla="*/ 0 h 568"/>
              <a:gd name="T8" fmla="*/ 324 w 914"/>
              <a:gd name="T9" fmla="*/ 55 h 568"/>
              <a:gd name="T10" fmla="*/ 601 w 914"/>
              <a:gd name="T11" fmla="*/ 91 h 568"/>
              <a:gd name="T12" fmla="*/ 861 w 914"/>
              <a:gd name="T13" fmla="*/ 119 h 568"/>
              <a:gd name="T14" fmla="*/ 914 w 914"/>
              <a:gd name="T15" fmla="*/ 125 h 568"/>
              <a:gd name="T16" fmla="*/ 884 w 914"/>
              <a:gd name="T17" fmla="*/ 560 h 568"/>
              <a:gd name="T18" fmla="*/ 775 w 914"/>
              <a:gd name="T19" fmla="*/ 560 h 568"/>
              <a:gd name="T20" fmla="*/ 477 w 914"/>
              <a:gd name="T21" fmla="*/ 528 h 568"/>
              <a:gd name="T22" fmla="*/ 326 w 914"/>
              <a:gd name="T23" fmla="*/ 513 h 568"/>
              <a:gd name="T24" fmla="*/ 311 w 914"/>
              <a:gd name="T25" fmla="*/ 555 h 568"/>
              <a:gd name="T26" fmla="*/ 303 w 914"/>
              <a:gd name="T27" fmla="*/ 534 h 568"/>
              <a:gd name="T28" fmla="*/ 284 w 914"/>
              <a:gd name="T29" fmla="*/ 547 h 568"/>
              <a:gd name="T30" fmla="*/ 271 w 914"/>
              <a:gd name="T31" fmla="*/ 547 h 568"/>
              <a:gd name="T32" fmla="*/ 256 w 914"/>
              <a:gd name="T33" fmla="*/ 545 h 568"/>
              <a:gd name="T34" fmla="*/ 226 w 914"/>
              <a:gd name="T35" fmla="*/ 541 h 568"/>
              <a:gd name="T36" fmla="*/ 215 w 914"/>
              <a:gd name="T37" fmla="*/ 547 h 568"/>
              <a:gd name="T38" fmla="*/ 201 w 914"/>
              <a:gd name="T39" fmla="*/ 545 h 568"/>
              <a:gd name="T40" fmla="*/ 179 w 914"/>
              <a:gd name="T41" fmla="*/ 545 h 568"/>
              <a:gd name="T42" fmla="*/ 175 w 914"/>
              <a:gd name="T43" fmla="*/ 555 h 568"/>
              <a:gd name="T44" fmla="*/ 164 w 914"/>
              <a:gd name="T45" fmla="*/ 541 h 568"/>
              <a:gd name="T46" fmla="*/ 162 w 914"/>
              <a:gd name="T47" fmla="*/ 526 h 568"/>
              <a:gd name="T48" fmla="*/ 160 w 914"/>
              <a:gd name="T49" fmla="*/ 506 h 568"/>
              <a:gd name="T50" fmla="*/ 143 w 914"/>
              <a:gd name="T51" fmla="*/ 502 h 568"/>
              <a:gd name="T52" fmla="*/ 137 w 914"/>
              <a:gd name="T53" fmla="*/ 487 h 568"/>
              <a:gd name="T54" fmla="*/ 139 w 914"/>
              <a:gd name="T55" fmla="*/ 470 h 568"/>
              <a:gd name="T56" fmla="*/ 132 w 914"/>
              <a:gd name="T57" fmla="*/ 455 h 568"/>
              <a:gd name="T58" fmla="*/ 124 w 914"/>
              <a:gd name="T59" fmla="*/ 421 h 568"/>
              <a:gd name="T60" fmla="*/ 115 w 914"/>
              <a:gd name="T61" fmla="*/ 400 h 568"/>
              <a:gd name="T62" fmla="*/ 86 w 914"/>
              <a:gd name="T63" fmla="*/ 411 h 568"/>
              <a:gd name="T64" fmla="*/ 73 w 914"/>
              <a:gd name="T65" fmla="*/ 402 h 568"/>
              <a:gd name="T66" fmla="*/ 66 w 914"/>
              <a:gd name="T67" fmla="*/ 391 h 568"/>
              <a:gd name="T68" fmla="*/ 69 w 914"/>
              <a:gd name="T69" fmla="*/ 377 h 568"/>
              <a:gd name="T70" fmla="*/ 79 w 914"/>
              <a:gd name="T71" fmla="*/ 368 h 568"/>
              <a:gd name="T72" fmla="*/ 79 w 914"/>
              <a:gd name="T73" fmla="*/ 347 h 568"/>
              <a:gd name="T74" fmla="*/ 79 w 914"/>
              <a:gd name="T75" fmla="*/ 332 h 568"/>
              <a:gd name="T76" fmla="*/ 88 w 914"/>
              <a:gd name="T77" fmla="*/ 317 h 568"/>
              <a:gd name="T78" fmla="*/ 103 w 914"/>
              <a:gd name="T79" fmla="*/ 281 h 568"/>
              <a:gd name="T80" fmla="*/ 86 w 914"/>
              <a:gd name="T81" fmla="*/ 279 h 568"/>
              <a:gd name="T82" fmla="*/ 81 w 914"/>
              <a:gd name="T83" fmla="*/ 268 h 568"/>
              <a:gd name="T84" fmla="*/ 71 w 914"/>
              <a:gd name="T85" fmla="*/ 262 h 568"/>
              <a:gd name="T86" fmla="*/ 62 w 914"/>
              <a:gd name="T87" fmla="*/ 247 h 568"/>
              <a:gd name="T88" fmla="*/ 58 w 914"/>
              <a:gd name="T89" fmla="*/ 236 h 568"/>
              <a:gd name="T90" fmla="*/ 45 w 914"/>
              <a:gd name="T91" fmla="*/ 215 h 568"/>
              <a:gd name="T92" fmla="*/ 39 w 914"/>
              <a:gd name="T93" fmla="*/ 200 h 568"/>
              <a:gd name="T94" fmla="*/ 26 w 914"/>
              <a:gd name="T95" fmla="*/ 187 h 568"/>
              <a:gd name="T96" fmla="*/ 22 w 914"/>
              <a:gd name="T97" fmla="*/ 172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4" h="568">
                <a:moveTo>
                  <a:pt x="17" y="166"/>
                </a:moveTo>
                <a:lnTo>
                  <a:pt x="20" y="157"/>
                </a:lnTo>
                <a:lnTo>
                  <a:pt x="20" y="151"/>
                </a:lnTo>
                <a:lnTo>
                  <a:pt x="13" y="136"/>
                </a:lnTo>
                <a:lnTo>
                  <a:pt x="13" y="132"/>
                </a:lnTo>
                <a:lnTo>
                  <a:pt x="0" y="110"/>
                </a:lnTo>
                <a:lnTo>
                  <a:pt x="22" y="4"/>
                </a:lnTo>
                <a:lnTo>
                  <a:pt x="24" y="0"/>
                </a:lnTo>
                <a:lnTo>
                  <a:pt x="132" y="21"/>
                </a:lnTo>
                <a:lnTo>
                  <a:pt x="324" y="55"/>
                </a:lnTo>
                <a:lnTo>
                  <a:pt x="492" y="78"/>
                </a:lnTo>
                <a:lnTo>
                  <a:pt x="601" y="91"/>
                </a:lnTo>
                <a:lnTo>
                  <a:pt x="716" y="104"/>
                </a:lnTo>
                <a:lnTo>
                  <a:pt x="861" y="119"/>
                </a:lnTo>
                <a:lnTo>
                  <a:pt x="914" y="121"/>
                </a:lnTo>
                <a:lnTo>
                  <a:pt x="914" y="125"/>
                </a:lnTo>
                <a:lnTo>
                  <a:pt x="890" y="462"/>
                </a:lnTo>
                <a:lnTo>
                  <a:pt x="884" y="560"/>
                </a:lnTo>
                <a:lnTo>
                  <a:pt x="882" y="568"/>
                </a:lnTo>
                <a:lnTo>
                  <a:pt x="775" y="560"/>
                </a:lnTo>
                <a:lnTo>
                  <a:pt x="618" y="545"/>
                </a:lnTo>
                <a:lnTo>
                  <a:pt x="477" y="528"/>
                </a:lnTo>
                <a:lnTo>
                  <a:pt x="333" y="509"/>
                </a:lnTo>
                <a:lnTo>
                  <a:pt x="326" y="513"/>
                </a:lnTo>
                <a:lnTo>
                  <a:pt x="318" y="562"/>
                </a:lnTo>
                <a:lnTo>
                  <a:pt x="311" y="555"/>
                </a:lnTo>
                <a:lnTo>
                  <a:pt x="307" y="547"/>
                </a:lnTo>
                <a:lnTo>
                  <a:pt x="303" y="534"/>
                </a:lnTo>
                <a:lnTo>
                  <a:pt x="296" y="532"/>
                </a:lnTo>
                <a:lnTo>
                  <a:pt x="284" y="547"/>
                </a:lnTo>
                <a:lnTo>
                  <a:pt x="284" y="551"/>
                </a:lnTo>
                <a:lnTo>
                  <a:pt x="271" y="547"/>
                </a:lnTo>
                <a:lnTo>
                  <a:pt x="262" y="549"/>
                </a:lnTo>
                <a:lnTo>
                  <a:pt x="256" y="545"/>
                </a:lnTo>
                <a:lnTo>
                  <a:pt x="241" y="545"/>
                </a:lnTo>
                <a:lnTo>
                  <a:pt x="226" y="541"/>
                </a:lnTo>
                <a:lnTo>
                  <a:pt x="222" y="541"/>
                </a:lnTo>
                <a:lnTo>
                  <a:pt x="215" y="547"/>
                </a:lnTo>
                <a:lnTo>
                  <a:pt x="209" y="547"/>
                </a:lnTo>
                <a:lnTo>
                  <a:pt x="201" y="545"/>
                </a:lnTo>
                <a:lnTo>
                  <a:pt x="186" y="543"/>
                </a:lnTo>
                <a:lnTo>
                  <a:pt x="179" y="545"/>
                </a:lnTo>
                <a:lnTo>
                  <a:pt x="177" y="553"/>
                </a:lnTo>
                <a:lnTo>
                  <a:pt x="175" y="555"/>
                </a:lnTo>
                <a:lnTo>
                  <a:pt x="169" y="547"/>
                </a:lnTo>
                <a:lnTo>
                  <a:pt x="164" y="541"/>
                </a:lnTo>
                <a:lnTo>
                  <a:pt x="164" y="534"/>
                </a:lnTo>
                <a:lnTo>
                  <a:pt x="162" y="526"/>
                </a:lnTo>
                <a:lnTo>
                  <a:pt x="164" y="519"/>
                </a:lnTo>
                <a:lnTo>
                  <a:pt x="160" y="506"/>
                </a:lnTo>
                <a:lnTo>
                  <a:pt x="152" y="500"/>
                </a:lnTo>
                <a:lnTo>
                  <a:pt x="143" y="502"/>
                </a:lnTo>
                <a:lnTo>
                  <a:pt x="139" y="494"/>
                </a:lnTo>
                <a:lnTo>
                  <a:pt x="137" y="487"/>
                </a:lnTo>
                <a:lnTo>
                  <a:pt x="139" y="477"/>
                </a:lnTo>
                <a:lnTo>
                  <a:pt x="139" y="470"/>
                </a:lnTo>
                <a:lnTo>
                  <a:pt x="137" y="462"/>
                </a:lnTo>
                <a:lnTo>
                  <a:pt x="132" y="455"/>
                </a:lnTo>
                <a:lnTo>
                  <a:pt x="126" y="440"/>
                </a:lnTo>
                <a:lnTo>
                  <a:pt x="124" y="421"/>
                </a:lnTo>
                <a:lnTo>
                  <a:pt x="124" y="406"/>
                </a:lnTo>
                <a:lnTo>
                  <a:pt x="115" y="400"/>
                </a:lnTo>
                <a:lnTo>
                  <a:pt x="115" y="394"/>
                </a:lnTo>
                <a:lnTo>
                  <a:pt x="86" y="411"/>
                </a:lnTo>
                <a:lnTo>
                  <a:pt x="79" y="411"/>
                </a:lnTo>
                <a:lnTo>
                  <a:pt x="73" y="402"/>
                </a:lnTo>
                <a:lnTo>
                  <a:pt x="64" y="398"/>
                </a:lnTo>
                <a:lnTo>
                  <a:pt x="66" y="391"/>
                </a:lnTo>
                <a:lnTo>
                  <a:pt x="71" y="385"/>
                </a:lnTo>
                <a:lnTo>
                  <a:pt x="69" y="377"/>
                </a:lnTo>
                <a:lnTo>
                  <a:pt x="73" y="370"/>
                </a:lnTo>
                <a:lnTo>
                  <a:pt x="79" y="368"/>
                </a:lnTo>
                <a:lnTo>
                  <a:pt x="83" y="353"/>
                </a:lnTo>
                <a:lnTo>
                  <a:pt x="79" y="347"/>
                </a:lnTo>
                <a:lnTo>
                  <a:pt x="81" y="338"/>
                </a:lnTo>
                <a:lnTo>
                  <a:pt x="79" y="332"/>
                </a:lnTo>
                <a:lnTo>
                  <a:pt x="86" y="325"/>
                </a:lnTo>
                <a:lnTo>
                  <a:pt x="88" y="317"/>
                </a:lnTo>
                <a:lnTo>
                  <a:pt x="96" y="302"/>
                </a:lnTo>
                <a:lnTo>
                  <a:pt x="103" y="281"/>
                </a:lnTo>
                <a:lnTo>
                  <a:pt x="96" y="279"/>
                </a:lnTo>
                <a:lnTo>
                  <a:pt x="86" y="279"/>
                </a:lnTo>
                <a:lnTo>
                  <a:pt x="79" y="274"/>
                </a:lnTo>
                <a:lnTo>
                  <a:pt x="81" y="268"/>
                </a:lnTo>
                <a:lnTo>
                  <a:pt x="75" y="268"/>
                </a:lnTo>
                <a:lnTo>
                  <a:pt x="71" y="262"/>
                </a:lnTo>
                <a:lnTo>
                  <a:pt x="64" y="255"/>
                </a:lnTo>
                <a:lnTo>
                  <a:pt x="62" y="247"/>
                </a:lnTo>
                <a:lnTo>
                  <a:pt x="64" y="242"/>
                </a:lnTo>
                <a:lnTo>
                  <a:pt x="58" y="236"/>
                </a:lnTo>
                <a:lnTo>
                  <a:pt x="49" y="221"/>
                </a:lnTo>
                <a:lnTo>
                  <a:pt x="45" y="215"/>
                </a:lnTo>
                <a:lnTo>
                  <a:pt x="41" y="208"/>
                </a:lnTo>
                <a:lnTo>
                  <a:pt x="39" y="200"/>
                </a:lnTo>
                <a:lnTo>
                  <a:pt x="28" y="193"/>
                </a:lnTo>
                <a:lnTo>
                  <a:pt x="26" y="187"/>
                </a:lnTo>
                <a:lnTo>
                  <a:pt x="13" y="174"/>
                </a:lnTo>
                <a:lnTo>
                  <a:pt x="22" y="172"/>
                </a:lnTo>
                <a:lnTo>
                  <a:pt x="17" y="166"/>
                </a:lnTo>
                <a:close/>
              </a:path>
            </a:pathLst>
          </a:custGeom>
          <a:solidFill>
            <a:srgbClr val="FFC9C9"/>
          </a:solidFill>
          <a:ln>
            <a:noFill/>
          </a:ln>
        </p:spPr>
        <p:txBody>
          <a:bodyPr vert="horz" wrap="square" lIns="91440" tIns="45720" rIns="91440" bIns="45720" numCol="1" anchor="t" anchorCtr="0" compatLnSpc="1">
            <a:prstTxWarp prst="textNoShape">
              <a:avLst/>
            </a:prstTxWarp>
          </a:bodyPr>
          <a:lstStyle/>
          <a:p>
            <a:endParaRPr lang="en-US"/>
          </a:p>
        </p:txBody>
      </p:sp>
      <p:sp>
        <p:nvSpPr>
          <p:cNvPr id="1279" name="Freeform 685"/>
          <p:cNvSpPr>
            <a:spLocks/>
          </p:cNvSpPr>
          <p:nvPr/>
        </p:nvSpPr>
        <p:spPr bwMode="auto">
          <a:xfrm>
            <a:off x="1960562" y="1506659"/>
            <a:ext cx="1450975" cy="901700"/>
          </a:xfrm>
          <a:custGeom>
            <a:avLst/>
            <a:gdLst>
              <a:gd name="T0" fmla="*/ 20 w 914"/>
              <a:gd name="T1" fmla="*/ 157 h 568"/>
              <a:gd name="T2" fmla="*/ 13 w 914"/>
              <a:gd name="T3" fmla="*/ 136 h 568"/>
              <a:gd name="T4" fmla="*/ 0 w 914"/>
              <a:gd name="T5" fmla="*/ 110 h 568"/>
              <a:gd name="T6" fmla="*/ 24 w 914"/>
              <a:gd name="T7" fmla="*/ 0 h 568"/>
              <a:gd name="T8" fmla="*/ 324 w 914"/>
              <a:gd name="T9" fmla="*/ 55 h 568"/>
              <a:gd name="T10" fmla="*/ 601 w 914"/>
              <a:gd name="T11" fmla="*/ 91 h 568"/>
              <a:gd name="T12" fmla="*/ 861 w 914"/>
              <a:gd name="T13" fmla="*/ 119 h 568"/>
              <a:gd name="T14" fmla="*/ 914 w 914"/>
              <a:gd name="T15" fmla="*/ 125 h 568"/>
              <a:gd name="T16" fmla="*/ 884 w 914"/>
              <a:gd name="T17" fmla="*/ 560 h 568"/>
              <a:gd name="T18" fmla="*/ 775 w 914"/>
              <a:gd name="T19" fmla="*/ 560 h 568"/>
              <a:gd name="T20" fmla="*/ 477 w 914"/>
              <a:gd name="T21" fmla="*/ 528 h 568"/>
              <a:gd name="T22" fmla="*/ 326 w 914"/>
              <a:gd name="T23" fmla="*/ 513 h 568"/>
              <a:gd name="T24" fmla="*/ 311 w 914"/>
              <a:gd name="T25" fmla="*/ 555 h 568"/>
              <a:gd name="T26" fmla="*/ 303 w 914"/>
              <a:gd name="T27" fmla="*/ 534 h 568"/>
              <a:gd name="T28" fmla="*/ 284 w 914"/>
              <a:gd name="T29" fmla="*/ 547 h 568"/>
              <a:gd name="T30" fmla="*/ 271 w 914"/>
              <a:gd name="T31" fmla="*/ 547 h 568"/>
              <a:gd name="T32" fmla="*/ 256 w 914"/>
              <a:gd name="T33" fmla="*/ 545 h 568"/>
              <a:gd name="T34" fmla="*/ 226 w 914"/>
              <a:gd name="T35" fmla="*/ 541 h 568"/>
              <a:gd name="T36" fmla="*/ 215 w 914"/>
              <a:gd name="T37" fmla="*/ 547 h 568"/>
              <a:gd name="T38" fmla="*/ 201 w 914"/>
              <a:gd name="T39" fmla="*/ 545 h 568"/>
              <a:gd name="T40" fmla="*/ 179 w 914"/>
              <a:gd name="T41" fmla="*/ 545 h 568"/>
              <a:gd name="T42" fmla="*/ 175 w 914"/>
              <a:gd name="T43" fmla="*/ 555 h 568"/>
              <a:gd name="T44" fmla="*/ 164 w 914"/>
              <a:gd name="T45" fmla="*/ 541 h 568"/>
              <a:gd name="T46" fmla="*/ 162 w 914"/>
              <a:gd name="T47" fmla="*/ 526 h 568"/>
              <a:gd name="T48" fmla="*/ 160 w 914"/>
              <a:gd name="T49" fmla="*/ 506 h 568"/>
              <a:gd name="T50" fmla="*/ 143 w 914"/>
              <a:gd name="T51" fmla="*/ 502 h 568"/>
              <a:gd name="T52" fmla="*/ 137 w 914"/>
              <a:gd name="T53" fmla="*/ 487 h 568"/>
              <a:gd name="T54" fmla="*/ 139 w 914"/>
              <a:gd name="T55" fmla="*/ 470 h 568"/>
              <a:gd name="T56" fmla="*/ 132 w 914"/>
              <a:gd name="T57" fmla="*/ 455 h 568"/>
              <a:gd name="T58" fmla="*/ 124 w 914"/>
              <a:gd name="T59" fmla="*/ 421 h 568"/>
              <a:gd name="T60" fmla="*/ 115 w 914"/>
              <a:gd name="T61" fmla="*/ 400 h 568"/>
              <a:gd name="T62" fmla="*/ 86 w 914"/>
              <a:gd name="T63" fmla="*/ 411 h 568"/>
              <a:gd name="T64" fmla="*/ 73 w 914"/>
              <a:gd name="T65" fmla="*/ 402 h 568"/>
              <a:gd name="T66" fmla="*/ 66 w 914"/>
              <a:gd name="T67" fmla="*/ 391 h 568"/>
              <a:gd name="T68" fmla="*/ 69 w 914"/>
              <a:gd name="T69" fmla="*/ 377 h 568"/>
              <a:gd name="T70" fmla="*/ 79 w 914"/>
              <a:gd name="T71" fmla="*/ 368 h 568"/>
              <a:gd name="T72" fmla="*/ 79 w 914"/>
              <a:gd name="T73" fmla="*/ 347 h 568"/>
              <a:gd name="T74" fmla="*/ 79 w 914"/>
              <a:gd name="T75" fmla="*/ 332 h 568"/>
              <a:gd name="T76" fmla="*/ 88 w 914"/>
              <a:gd name="T77" fmla="*/ 317 h 568"/>
              <a:gd name="T78" fmla="*/ 103 w 914"/>
              <a:gd name="T79" fmla="*/ 281 h 568"/>
              <a:gd name="T80" fmla="*/ 86 w 914"/>
              <a:gd name="T81" fmla="*/ 279 h 568"/>
              <a:gd name="T82" fmla="*/ 81 w 914"/>
              <a:gd name="T83" fmla="*/ 268 h 568"/>
              <a:gd name="T84" fmla="*/ 71 w 914"/>
              <a:gd name="T85" fmla="*/ 262 h 568"/>
              <a:gd name="T86" fmla="*/ 62 w 914"/>
              <a:gd name="T87" fmla="*/ 247 h 568"/>
              <a:gd name="T88" fmla="*/ 58 w 914"/>
              <a:gd name="T89" fmla="*/ 236 h 568"/>
              <a:gd name="T90" fmla="*/ 45 w 914"/>
              <a:gd name="T91" fmla="*/ 215 h 568"/>
              <a:gd name="T92" fmla="*/ 39 w 914"/>
              <a:gd name="T93" fmla="*/ 200 h 568"/>
              <a:gd name="T94" fmla="*/ 26 w 914"/>
              <a:gd name="T95" fmla="*/ 187 h 568"/>
              <a:gd name="T96" fmla="*/ 22 w 914"/>
              <a:gd name="T97" fmla="*/ 172 h 5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14" h="568">
                <a:moveTo>
                  <a:pt x="17" y="166"/>
                </a:moveTo>
                <a:lnTo>
                  <a:pt x="20" y="157"/>
                </a:lnTo>
                <a:lnTo>
                  <a:pt x="20" y="151"/>
                </a:lnTo>
                <a:lnTo>
                  <a:pt x="13" y="136"/>
                </a:lnTo>
                <a:lnTo>
                  <a:pt x="13" y="132"/>
                </a:lnTo>
                <a:lnTo>
                  <a:pt x="0" y="110"/>
                </a:lnTo>
                <a:lnTo>
                  <a:pt x="22" y="4"/>
                </a:lnTo>
                <a:lnTo>
                  <a:pt x="24" y="0"/>
                </a:lnTo>
                <a:lnTo>
                  <a:pt x="132" y="21"/>
                </a:lnTo>
                <a:lnTo>
                  <a:pt x="324" y="55"/>
                </a:lnTo>
                <a:lnTo>
                  <a:pt x="492" y="78"/>
                </a:lnTo>
                <a:lnTo>
                  <a:pt x="601" y="91"/>
                </a:lnTo>
                <a:lnTo>
                  <a:pt x="716" y="104"/>
                </a:lnTo>
                <a:lnTo>
                  <a:pt x="861" y="119"/>
                </a:lnTo>
                <a:lnTo>
                  <a:pt x="914" y="121"/>
                </a:lnTo>
                <a:lnTo>
                  <a:pt x="914" y="125"/>
                </a:lnTo>
                <a:lnTo>
                  <a:pt x="890" y="462"/>
                </a:lnTo>
                <a:lnTo>
                  <a:pt x="884" y="560"/>
                </a:lnTo>
                <a:lnTo>
                  <a:pt x="882" y="568"/>
                </a:lnTo>
                <a:lnTo>
                  <a:pt x="775" y="560"/>
                </a:lnTo>
                <a:lnTo>
                  <a:pt x="618" y="545"/>
                </a:lnTo>
                <a:lnTo>
                  <a:pt x="477" y="528"/>
                </a:lnTo>
                <a:lnTo>
                  <a:pt x="333" y="509"/>
                </a:lnTo>
                <a:lnTo>
                  <a:pt x="326" y="513"/>
                </a:lnTo>
                <a:lnTo>
                  <a:pt x="318" y="562"/>
                </a:lnTo>
                <a:lnTo>
                  <a:pt x="311" y="555"/>
                </a:lnTo>
                <a:lnTo>
                  <a:pt x="307" y="547"/>
                </a:lnTo>
                <a:lnTo>
                  <a:pt x="303" y="534"/>
                </a:lnTo>
                <a:lnTo>
                  <a:pt x="296" y="532"/>
                </a:lnTo>
                <a:lnTo>
                  <a:pt x="284" y="547"/>
                </a:lnTo>
                <a:lnTo>
                  <a:pt x="284" y="551"/>
                </a:lnTo>
                <a:lnTo>
                  <a:pt x="271" y="547"/>
                </a:lnTo>
                <a:lnTo>
                  <a:pt x="262" y="549"/>
                </a:lnTo>
                <a:lnTo>
                  <a:pt x="256" y="545"/>
                </a:lnTo>
                <a:lnTo>
                  <a:pt x="241" y="545"/>
                </a:lnTo>
                <a:lnTo>
                  <a:pt x="226" y="541"/>
                </a:lnTo>
                <a:lnTo>
                  <a:pt x="222" y="541"/>
                </a:lnTo>
                <a:lnTo>
                  <a:pt x="215" y="547"/>
                </a:lnTo>
                <a:lnTo>
                  <a:pt x="209" y="547"/>
                </a:lnTo>
                <a:lnTo>
                  <a:pt x="201" y="545"/>
                </a:lnTo>
                <a:lnTo>
                  <a:pt x="186" y="543"/>
                </a:lnTo>
                <a:lnTo>
                  <a:pt x="179" y="545"/>
                </a:lnTo>
                <a:lnTo>
                  <a:pt x="177" y="553"/>
                </a:lnTo>
                <a:lnTo>
                  <a:pt x="175" y="555"/>
                </a:lnTo>
                <a:lnTo>
                  <a:pt x="169" y="547"/>
                </a:lnTo>
                <a:lnTo>
                  <a:pt x="164" y="541"/>
                </a:lnTo>
                <a:lnTo>
                  <a:pt x="164" y="534"/>
                </a:lnTo>
                <a:lnTo>
                  <a:pt x="162" y="526"/>
                </a:lnTo>
                <a:lnTo>
                  <a:pt x="164" y="519"/>
                </a:lnTo>
                <a:lnTo>
                  <a:pt x="160" y="506"/>
                </a:lnTo>
                <a:lnTo>
                  <a:pt x="152" y="500"/>
                </a:lnTo>
                <a:lnTo>
                  <a:pt x="143" y="502"/>
                </a:lnTo>
                <a:lnTo>
                  <a:pt x="139" y="494"/>
                </a:lnTo>
                <a:lnTo>
                  <a:pt x="137" y="487"/>
                </a:lnTo>
                <a:lnTo>
                  <a:pt x="139" y="477"/>
                </a:lnTo>
                <a:lnTo>
                  <a:pt x="139" y="470"/>
                </a:lnTo>
                <a:lnTo>
                  <a:pt x="137" y="462"/>
                </a:lnTo>
                <a:lnTo>
                  <a:pt x="132" y="455"/>
                </a:lnTo>
                <a:lnTo>
                  <a:pt x="126" y="440"/>
                </a:lnTo>
                <a:lnTo>
                  <a:pt x="124" y="421"/>
                </a:lnTo>
                <a:lnTo>
                  <a:pt x="124" y="406"/>
                </a:lnTo>
                <a:lnTo>
                  <a:pt x="115" y="400"/>
                </a:lnTo>
                <a:lnTo>
                  <a:pt x="115" y="394"/>
                </a:lnTo>
                <a:lnTo>
                  <a:pt x="86" y="411"/>
                </a:lnTo>
                <a:lnTo>
                  <a:pt x="79" y="411"/>
                </a:lnTo>
                <a:lnTo>
                  <a:pt x="73" y="402"/>
                </a:lnTo>
                <a:lnTo>
                  <a:pt x="64" y="398"/>
                </a:lnTo>
                <a:lnTo>
                  <a:pt x="66" y="391"/>
                </a:lnTo>
                <a:lnTo>
                  <a:pt x="71" y="385"/>
                </a:lnTo>
                <a:lnTo>
                  <a:pt x="69" y="377"/>
                </a:lnTo>
                <a:lnTo>
                  <a:pt x="73" y="370"/>
                </a:lnTo>
                <a:lnTo>
                  <a:pt x="79" y="368"/>
                </a:lnTo>
                <a:lnTo>
                  <a:pt x="83" y="353"/>
                </a:lnTo>
                <a:lnTo>
                  <a:pt x="79" y="347"/>
                </a:lnTo>
                <a:lnTo>
                  <a:pt x="81" y="338"/>
                </a:lnTo>
                <a:lnTo>
                  <a:pt x="79" y="332"/>
                </a:lnTo>
                <a:lnTo>
                  <a:pt x="86" y="325"/>
                </a:lnTo>
                <a:lnTo>
                  <a:pt x="88" y="317"/>
                </a:lnTo>
                <a:lnTo>
                  <a:pt x="96" y="302"/>
                </a:lnTo>
                <a:lnTo>
                  <a:pt x="103" y="281"/>
                </a:lnTo>
                <a:lnTo>
                  <a:pt x="96" y="279"/>
                </a:lnTo>
                <a:lnTo>
                  <a:pt x="86" y="279"/>
                </a:lnTo>
                <a:lnTo>
                  <a:pt x="79" y="274"/>
                </a:lnTo>
                <a:lnTo>
                  <a:pt x="81" y="268"/>
                </a:lnTo>
                <a:lnTo>
                  <a:pt x="75" y="268"/>
                </a:lnTo>
                <a:lnTo>
                  <a:pt x="71" y="262"/>
                </a:lnTo>
                <a:lnTo>
                  <a:pt x="64" y="255"/>
                </a:lnTo>
                <a:lnTo>
                  <a:pt x="62" y="247"/>
                </a:lnTo>
                <a:lnTo>
                  <a:pt x="64" y="242"/>
                </a:lnTo>
                <a:lnTo>
                  <a:pt x="58" y="236"/>
                </a:lnTo>
                <a:lnTo>
                  <a:pt x="49" y="221"/>
                </a:lnTo>
                <a:lnTo>
                  <a:pt x="45" y="215"/>
                </a:lnTo>
                <a:lnTo>
                  <a:pt x="41" y="208"/>
                </a:lnTo>
                <a:lnTo>
                  <a:pt x="39" y="200"/>
                </a:lnTo>
                <a:lnTo>
                  <a:pt x="28" y="193"/>
                </a:lnTo>
                <a:lnTo>
                  <a:pt x="26" y="187"/>
                </a:lnTo>
                <a:lnTo>
                  <a:pt x="13" y="174"/>
                </a:lnTo>
                <a:lnTo>
                  <a:pt x="22" y="172"/>
                </a:lnTo>
                <a:lnTo>
                  <a:pt x="17" y="16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0" name="Freeform 686"/>
          <p:cNvSpPr>
            <a:spLocks/>
          </p:cNvSpPr>
          <p:nvPr/>
        </p:nvSpPr>
        <p:spPr bwMode="auto">
          <a:xfrm>
            <a:off x="2373312" y="2314696"/>
            <a:ext cx="987425" cy="808038"/>
          </a:xfrm>
          <a:custGeom>
            <a:avLst/>
            <a:gdLst>
              <a:gd name="T0" fmla="*/ 17 w 622"/>
              <a:gd name="T1" fmla="*/ 332 h 509"/>
              <a:gd name="T2" fmla="*/ 58 w 622"/>
              <a:gd name="T3" fmla="*/ 53 h 509"/>
              <a:gd name="T4" fmla="*/ 66 w 622"/>
              <a:gd name="T5" fmla="*/ 4 h 509"/>
              <a:gd name="T6" fmla="*/ 73 w 622"/>
              <a:gd name="T7" fmla="*/ 0 h 509"/>
              <a:gd name="T8" fmla="*/ 217 w 622"/>
              <a:gd name="T9" fmla="*/ 19 h 509"/>
              <a:gd name="T10" fmla="*/ 358 w 622"/>
              <a:gd name="T11" fmla="*/ 36 h 509"/>
              <a:gd name="T12" fmla="*/ 515 w 622"/>
              <a:gd name="T13" fmla="*/ 51 h 509"/>
              <a:gd name="T14" fmla="*/ 622 w 622"/>
              <a:gd name="T15" fmla="*/ 59 h 509"/>
              <a:gd name="T16" fmla="*/ 605 w 622"/>
              <a:gd name="T17" fmla="*/ 283 h 509"/>
              <a:gd name="T18" fmla="*/ 590 w 622"/>
              <a:gd name="T19" fmla="*/ 509 h 509"/>
              <a:gd name="T20" fmla="*/ 458 w 622"/>
              <a:gd name="T21" fmla="*/ 500 h 509"/>
              <a:gd name="T22" fmla="*/ 386 w 622"/>
              <a:gd name="T23" fmla="*/ 492 h 509"/>
              <a:gd name="T24" fmla="*/ 249 w 622"/>
              <a:gd name="T25" fmla="*/ 477 h 509"/>
              <a:gd name="T26" fmla="*/ 168 w 622"/>
              <a:gd name="T27" fmla="*/ 468 h 509"/>
              <a:gd name="T28" fmla="*/ 0 w 622"/>
              <a:gd name="T29" fmla="*/ 445 h 509"/>
              <a:gd name="T30" fmla="*/ 17 w 622"/>
              <a:gd name="T31" fmla="*/ 33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2" h="509">
                <a:moveTo>
                  <a:pt x="17" y="332"/>
                </a:moveTo>
                <a:lnTo>
                  <a:pt x="58" y="53"/>
                </a:lnTo>
                <a:lnTo>
                  <a:pt x="66" y="4"/>
                </a:lnTo>
                <a:lnTo>
                  <a:pt x="73" y="0"/>
                </a:lnTo>
                <a:lnTo>
                  <a:pt x="217" y="19"/>
                </a:lnTo>
                <a:lnTo>
                  <a:pt x="358" y="36"/>
                </a:lnTo>
                <a:lnTo>
                  <a:pt x="515" y="51"/>
                </a:lnTo>
                <a:lnTo>
                  <a:pt x="622" y="59"/>
                </a:lnTo>
                <a:lnTo>
                  <a:pt x="605" y="283"/>
                </a:lnTo>
                <a:lnTo>
                  <a:pt x="590" y="509"/>
                </a:lnTo>
                <a:lnTo>
                  <a:pt x="458" y="500"/>
                </a:lnTo>
                <a:lnTo>
                  <a:pt x="386" y="492"/>
                </a:lnTo>
                <a:lnTo>
                  <a:pt x="249" y="477"/>
                </a:lnTo>
                <a:lnTo>
                  <a:pt x="168" y="468"/>
                </a:lnTo>
                <a:lnTo>
                  <a:pt x="0" y="445"/>
                </a:lnTo>
                <a:lnTo>
                  <a:pt x="17" y="332"/>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1" name="Freeform 687"/>
          <p:cNvSpPr>
            <a:spLocks/>
          </p:cNvSpPr>
          <p:nvPr/>
        </p:nvSpPr>
        <p:spPr bwMode="auto">
          <a:xfrm>
            <a:off x="2373312" y="2314696"/>
            <a:ext cx="987425" cy="808038"/>
          </a:xfrm>
          <a:custGeom>
            <a:avLst/>
            <a:gdLst>
              <a:gd name="T0" fmla="*/ 17 w 622"/>
              <a:gd name="T1" fmla="*/ 332 h 509"/>
              <a:gd name="T2" fmla="*/ 58 w 622"/>
              <a:gd name="T3" fmla="*/ 53 h 509"/>
              <a:gd name="T4" fmla="*/ 66 w 622"/>
              <a:gd name="T5" fmla="*/ 4 h 509"/>
              <a:gd name="T6" fmla="*/ 73 w 622"/>
              <a:gd name="T7" fmla="*/ 0 h 509"/>
              <a:gd name="T8" fmla="*/ 217 w 622"/>
              <a:gd name="T9" fmla="*/ 19 h 509"/>
              <a:gd name="T10" fmla="*/ 358 w 622"/>
              <a:gd name="T11" fmla="*/ 36 h 509"/>
              <a:gd name="T12" fmla="*/ 515 w 622"/>
              <a:gd name="T13" fmla="*/ 51 h 509"/>
              <a:gd name="T14" fmla="*/ 622 w 622"/>
              <a:gd name="T15" fmla="*/ 59 h 509"/>
              <a:gd name="T16" fmla="*/ 605 w 622"/>
              <a:gd name="T17" fmla="*/ 283 h 509"/>
              <a:gd name="T18" fmla="*/ 590 w 622"/>
              <a:gd name="T19" fmla="*/ 509 h 509"/>
              <a:gd name="T20" fmla="*/ 458 w 622"/>
              <a:gd name="T21" fmla="*/ 500 h 509"/>
              <a:gd name="T22" fmla="*/ 386 w 622"/>
              <a:gd name="T23" fmla="*/ 492 h 509"/>
              <a:gd name="T24" fmla="*/ 249 w 622"/>
              <a:gd name="T25" fmla="*/ 477 h 509"/>
              <a:gd name="T26" fmla="*/ 168 w 622"/>
              <a:gd name="T27" fmla="*/ 468 h 509"/>
              <a:gd name="T28" fmla="*/ 0 w 622"/>
              <a:gd name="T29" fmla="*/ 445 h 509"/>
              <a:gd name="T30" fmla="*/ 17 w 622"/>
              <a:gd name="T31" fmla="*/ 33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22" h="509">
                <a:moveTo>
                  <a:pt x="17" y="332"/>
                </a:moveTo>
                <a:lnTo>
                  <a:pt x="58" y="53"/>
                </a:lnTo>
                <a:lnTo>
                  <a:pt x="66" y="4"/>
                </a:lnTo>
                <a:lnTo>
                  <a:pt x="73" y="0"/>
                </a:lnTo>
                <a:lnTo>
                  <a:pt x="217" y="19"/>
                </a:lnTo>
                <a:lnTo>
                  <a:pt x="358" y="36"/>
                </a:lnTo>
                <a:lnTo>
                  <a:pt x="515" y="51"/>
                </a:lnTo>
                <a:lnTo>
                  <a:pt x="622" y="59"/>
                </a:lnTo>
                <a:lnTo>
                  <a:pt x="605" y="283"/>
                </a:lnTo>
                <a:lnTo>
                  <a:pt x="590" y="509"/>
                </a:lnTo>
                <a:lnTo>
                  <a:pt x="458" y="500"/>
                </a:lnTo>
                <a:lnTo>
                  <a:pt x="386" y="492"/>
                </a:lnTo>
                <a:lnTo>
                  <a:pt x="249" y="477"/>
                </a:lnTo>
                <a:lnTo>
                  <a:pt x="168" y="468"/>
                </a:lnTo>
                <a:lnTo>
                  <a:pt x="0" y="445"/>
                </a:lnTo>
                <a:lnTo>
                  <a:pt x="17" y="33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2" name="Freeform 688"/>
          <p:cNvSpPr>
            <a:spLocks/>
          </p:cNvSpPr>
          <p:nvPr/>
        </p:nvSpPr>
        <p:spPr bwMode="auto">
          <a:xfrm>
            <a:off x="2424112" y="3772021"/>
            <a:ext cx="976313" cy="1023938"/>
          </a:xfrm>
          <a:custGeom>
            <a:avLst/>
            <a:gdLst>
              <a:gd name="T0" fmla="*/ 0 w 615"/>
              <a:gd name="T1" fmla="*/ 636 h 645"/>
              <a:gd name="T2" fmla="*/ 0 w 615"/>
              <a:gd name="T3" fmla="*/ 632 h 645"/>
              <a:gd name="T4" fmla="*/ 81 w 615"/>
              <a:gd name="T5" fmla="*/ 0 h 645"/>
              <a:gd name="T6" fmla="*/ 228 w 615"/>
              <a:gd name="T7" fmla="*/ 17 h 645"/>
              <a:gd name="T8" fmla="*/ 358 w 615"/>
              <a:gd name="T9" fmla="*/ 32 h 645"/>
              <a:gd name="T10" fmla="*/ 515 w 615"/>
              <a:gd name="T11" fmla="*/ 44 h 645"/>
              <a:gd name="T12" fmla="*/ 615 w 615"/>
              <a:gd name="T13" fmla="*/ 51 h 645"/>
              <a:gd name="T14" fmla="*/ 613 w 615"/>
              <a:gd name="T15" fmla="*/ 106 h 645"/>
              <a:gd name="T16" fmla="*/ 609 w 615"/>
              <a:gd name="T17" fmla="*/ 108 h 645"/>
              <a:gd name="T18" fmla="*/ 607 w 615"/>
              <a:gd name="T19" fmla="*/ 117 h 645"/>
              <a:gd name="T20" fmla="*/ 590 w 615"/>
              <a:gd name="T21" fmla="*/ 387 h 645"/>
              <a:gd name="T22" fmla="*/ 581 w 615"/>
              <a:gd name="T23" fmla="*/ 489 h 645"/>
              <a:gd name="T24" fmla="*/ 575 w 615"/>
              <a:gd name="T25" fmla="*/ 607 h 645"/>
              <a:gd name="T26" fmla="*/ 569 w 615"/>
              <a:gd name="T27" fmla="*/ 615 h 645"/>
              <a:gd name="T28" fmla="*/ 564 w 615"/>
              <a:gd name="T29" fmla="*/ 615 h 645"/>
              <a:gd name="T30" fmla="*/ 481 w 615"/>
              <a:gd name="T31" fmla="*/ 609 h 645"/>
              <a:gd name="T32" fmla="*/ 398 w 615"/>
              <a:gd name="T33" fmla="*/ 602 h 645"/>
              <a:gd name="T34" fmla="*/ 307 w 615"/>
              <a:gd name="T35" fmla="*/ 594 h 645"/>
              <a:gd name="T36" fmla="*/ 234 w 615"/>
              <a:gd name="T37" fmla="*/ 587 h 645"/>
              <a:gd name="T38" fmla="*/ 234 w 615"/>
              <a:gd name="T39" fmla="*/ 590 h 645"/>
              <a:gd name="T40" fmla="*/ 239 w 615"/>
              <a:gd name="T41" fmla="*/ 604 h 645"/>
              <a:gd name="T42" fmla="*/ 243 w 615"/>
              <a:gd name="T43" fmla="*/ 609 h 645"/>
              <a:gd name="T44" fmla="*/ 243 w 615"/>
              <a:gd name="T45" fmla="*/ 613 h 645"/>
              <a:gd name="T46" fmla="*/ 241 w 615"/>
              <a:gd name="T47" fmla="*/ 613 h 645"/>
              <a:gd name="T48" fmla="*/ 87 w 615"/>
              <a:gd name="T49" fmla="*/ 596 h 645"/>
              <a:gd name="T50" fmla="*/ 83 w 615"/>
              <a:gd name="T51" fmla="*/ 604 h 645"/>
              <a:gd name="T52" fmla="*/ 81 w 615"/>
              <a:gd name="T53" fmla="*/ 643 h 645"/>
              <a:gd name="T54" fmla="*/ 73 w 615"/>
              <a:gd name="T55" fmla="*/ 645 h 645"/>
              <a:gd name="T56" fmla="*/ 0 w 615"/>
              <a:gd name="T57" fmla="*/ 63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5" h="645">
                <a:moveTo>
                  <a:pt x="0" y="636"/>
                </a:moveTo>
                <a:lnTo>
                  <a:pt x="0" y="632"/>
                </a:lnTo>
                <a:lnTo>
                  <a:pt x="81" y="0"/>
                </a:lnTo>
                <a:lnTo>
                  <a:pt x="228" y="17"/>
                </a:lnTo>
                <a:lnTo>
                  <a:pt x="358" y="32"/>
                </a:lnTo>
                <a:lnTo>
                  <a:pt x="515" y="44"/>
                </a:lnTo>
                <a:lnTo>
                  <a:pt x="615" y="51"/>
                </a:lnTo>
                <a:lnTo>
                  <a:pt x="613" y="106"/>
                </a:lnTo>
                <a:lnTo>
                  <a:pt x="609" y="108"/>
                </a:lnTo>
                <a:lnTo>
                  <a:pt x="607" y="117"/>
                </a:lnTo>
                <a:lnTo>
                  <a:pt x="590" y="387"/>
                </a:lnTo>
                <a:lnTo>
                  <a:pt x="581" y="489"/>
                </a:lnTo>
                <a:lnTo>
                  <a:pt x="575" y="607"/>
                </a:lnTo>
                <a:lnTo>
                  <a:pt x="569" y="615"/>
                </a:lnTo>
                <a:lnTo>
                  <a:pt x="564" y="615"/>
                </a:lnTo>
                <a:lnTo>
                  <a:pt x="481" y="609"/>
                </a:lnTo>
                <a:lnTo>
                  <a:pt x="398" y="602"/>
                </a:lnTo>
                <a:lnTo>
                  <a:pt x="307" y="594"/>
                </a:lnTo>
                <a:lnTo>
                  <a:pt x="234" y="587"/>
                </a:lnTo>
                <a:lnTo>
                  <a:pt x="234" y="590"/>
                </a:lnTo>
                <a:lnTo>
                  <a:pt x="239" y="604"/>
                </a:lnTo>
                <a:lnTo>
                  <a:pt x="243" y="609"/>
                </a:lnTo>
                <a:lnTo>
                  <a:pt x="243" y="613"/>
                </a:lnTo>
                <a:lnTo>
                  <a:pt x="241" y="613"/>
                </a:lnTo>
                <a:lnTo>
                  <a:pt x="87" y="596"/>
                </a:lnTo>
                <a:lnTo>
                  <a:pt x="83" y="604"/>
                </a:lnTo>
                <a:lnTo>
                  <a:pt x="81" y="643"/>
                </a:lnTo>
                <a:lnTo>
                  <a:pt x="73" y="645"/>
                </a:lnTo>
                <a:lnTo>
                  <a:pt x="0" y="636"/>
                </a:lnTo>
                <a:close/>
              </a:path>
            </a:pathLst>
          </a:custGeom>
          <a:solidFill>
            <a:srgbClr val="21A0FF"/>
          </a:solidFill>
          <a:ln>
            <a:noFill/>
          </a:ln>
        </p:spPr>
        <p:txBody>
          <a:bodyPr vert="horz" wrap="square" lIns="91440" tIns="45720" rIns="91440" bIns="45720" numCol="1" anchor="t" anchorCtr="0" compatLnSpc="1">
            <a:prstTxWarp prst="textNoShape">
              <a:avLst/>
            </a:prstTxWarp>
          </a:bodyPr>
          <a:lstStyle/>
          <a:p>
            <a:endParaRPr lang="en-US"/>
          </a:p>
        </p:txBody>
      </p:sp>
      <p:sp>
        <p:nvSpPr>
          <p:cNvPr id="1283" name="Freeform 689"/>
          <p:cNvSpPr>
            <a:spLocks/>
          </p:cNvSpPr>
          <p:nvPr/>
        </p:nvSpPr>
        <p:spPr bwMode="auto">
          <a:xfrm>
            <a:off x="2424112" y="3772021"/>
            <a:ext cx="976313" cy="1023938"/>
          </a:xfrm>
          <a:custGeom>
            <a:avLst/>
            <a:gdLst>
              <a:gd name="T0" fmla="*/ 0 w 615"/>
              <a:gd name="T1" fmla="*/ 636 h 645"/>
              <a:gd name="T2" fmla="*/ 0 w 615"/>
              <a:gd name="T3" fmla="*/ 632 h 645"/>
              <a:gd name="T4" fmla="*/ 81 w 615"/>
              <a:gd name="T5" fmla="*/ 0 h 645"/>
              <a:gd name="T6" fmla="*/ 228 w 615"/>
              <a:gd name="T7" fmla="*/ 17 h 645"/>
              <a:gd name="T8" fmla="*/ 358 w 615"/>
              <a:gd name="T9" fmla="*/ 32 h 645"/>
              <a:gd name="T10" fmla="*/ 515 w 615"/>
              <a:gd name="T11" fmla="*/ 44 h 645"/>
              <a:gd name="T12" fmla="*/ 615 w 615"/>
              <a:gd name="T13" fmla="*/ 51 h 645"/>
              <a:gd name="T14" fmla="*/ 613 w 615"/>
              <a:gd name="T15" fmla="*/ 106 h 645"/>
              <a:gd name="T16" fmla="*/ 609 w 615"/>
              <a:gd name="T17" fmla="*/ 108 h 645"/>
              <a:gd name="T18" fmla="*/ 607 w 615"/>
              <a:gd name="T19" fmla="*/ 117 h 645"/>
              <a:gd name="T20" fmla="*/ 590 w 615"/>
              <a:gd name="T21" fmla="*/ 387 h 645"/>
              <a:gd name="T22" fmla="*/ 581 w 615"/>
              <a:gd name="T23" fmla="*/ 489 h 645"/>
              <a:gd name="T24" fmla="*/ 575 w 615"/>
              <a:gd name="T25" fmla="*/ 607 h 645"/>
              <a:gd name="T26" fmla="*/ 569 w 615"/>
              <a:gd name="T27" fmla="*/ 615 h 645"/>
              <a:gd name="T28" fmla="*/ 564 w 615"/>
              <a:gd name="T29" fmla="*/ 615 h 645"/>
              <a:gd name="T30" fmla="*/ 481 w 615"/>
              <a:gd name="T31" fmla="*/ 609 h 645"/>
              <a:gd name="T32" fmla="*/ 398 w 615"/>
              <a:gd name="T33" fmla="*/ 602 h 645"/>
              <a:gd name="T34" fmla="*/ 307 w 615"/>
              <a:gd name="T35" fmla="*/ 594 h 645"/>
              <a:gd name="T36" fmla="*/ 234 w 615"/>
              <a:gd name="T37" fmla="*/ 587 h 645"/>
              <a:gd name="T38" fmla="*/ 234 w 615"/>
              <a:gd name="T39" fmla="*/ 590 h 645"/>
              <a:gd name="T40" fmla="*/ 239 w 615"/>
              <a:gd name="T41" fmla="*/ 604 h 645"/>
              <a:gd name="T42" fmla="*/ 243 w 615"/>
              <a:gd name="T43" fmla="*/ 609 h 645"/>
              <a:gd name="T44" fmla="*/ 243 w 615"/>
              <a:gd name="T45" fmla="*/ 613 h 645"/>
              <a:gd name="T46" fmla="*/ 241 w 615"/>
              <a:gd name="T47" fmla="*/ 613 h 645"/>
              <a:gd name="T48" fmla="*/ 87 w 615"/>
              <a:gd name="T49" fmla="*/ 596 h 645"/>
              <a:gd name="T50" fmla="*/ 83 w 615"/>
              <a:gd name="T51" fmla="*/ 604 h 645"/>
              <a:gd name="T52" fmla="*/ 81 w 615"/>
              <a:gd name="T53" fmla="*/ 643 h 645"/>
              <a:gd name="T54" fmla="*/ 73 w 615"/>
              <a:gd name="T55" fmla="*/ 645 h 645"/>
              <a:gd name="T56" fmla="*/ 0 w 615"/>
              <a:gd name="T57" fmla="*/ 636 h 6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615" h="645">
                <a:moveTo>
                  <a:pt x="0" y="636"/>
                </a:moveTo>
                <a:lnTo>
                  <a:pt x="0" y="632"/>
                </a:lnTo>
                <a:lnTo>
                  <a:pt x="81" y="0"/>
                </a:lnTo>
                <a:lnTo>
                  <a:pt x="228" y="17"/>
                </a:lnTo>
                <a:lnTo>
                  <a:pt x="358" y="32"/>
                </a:lnTo>
                <a:lnTo>
                  <a:pt x="515" y="44"/>
                </a:lnTo>
                <a:lnTo>
                  <a:pt x="615" y="51"/>
                </a:lnTo>
                <a:lnTo>
                  <a:pt x="613" y="106"/>
                </a:lnTo>
                <a:lnTo>
                  <a:pt x="609" y="108"/>
                </a:lnTo>
                <a:lnTo>
                  <a:pt x="607" y="117"/>
                </a:lnTo>
                <a:lnTo>
                  <a:pt x="590" y="387"/>
                </a:lnTo>
                <a:lnTo>
                  <a:pt x="581" y="489"/>
                </a:lnTo>
                <a:lnTo>
                  <a:pt x="575" y="607"/>
                </a:lnTo>
                <a:lnTo>
                  <a:pt x="569" y="615"/>
                </a:lnTo>
                <a:lnTo>
                  <a:pt x="564" y="615"/>
                </a:lnTo>
                <a:lnTo>
                  <a:pt x="481" y="609"/>
                </a:lnTo>
                <a:lnTo>
                  <a:pt x="398" y="602"/>
                </a:lnTo>
                <a:lnTo>
                  <a:pt x="307" y="594"/>
                </a:lnTo>
                <a:lnTo>
                  <a:pt x="234" y="587"/>
                </a:lnTo>
                <a:lnTo>
                  <a:pt x="234" y="590"/>
                </a:lnTo>
                <a:lnTo>
                  <a:pt x="239" y="604"/>
                </a:lnTo>
                <a:lnTo>
                  <a:pt x="243" y="609"/>
                </a:lnTo>
                <a:lnTo>
                  <a:pt x="243" y="613"/>
                </a:lnTo>
                <a:lnTo>
                  <a:pt x="241" y="613"/>
                </a:lnTo>
                <a:lnTo>
                  <a:pt x="87" y="596"/>
                </a:lnTo>
                <a:lnTo>
                  <a:pt x="83" y="604"/>
                </a:lnTo>
                <a:lnTo>
                  <a:pt x="81" y="643"/>
                </a:lnTo>
                <a:lnTo>
                  <a:pt x="73" y="645"/>
                </a:lnTo>
                <a:lnTo>
                  <a:pt x="0" y="63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4" name="Freeform 690"/>
          <p:cNvSpPr>
            <a:spLocks/>
          </p:cNvSpPr>
          <p:nvPr/>
        </p:nvSpPr>
        <p:spPr bwMode="auto">
          <a:xfrm>
            <a:off x="2552700" y="3057646"/>
            <a:ext cx="1023938" cy="801688"/>
          </a:xfrm>
          <a:custGeom>
            <a:avLst/>
            <a:gdLst>
              <a:gd name="T0" fmla="*/ 0 w 645"/>
              <a:gd name="T1" fmla="*/ 450 h 505"/>
              <a:gd name="T2" fmla="*/ 55 w 645"/>
              <a:gd name="T3" fmla="*/ 0 h 505"/>
              <a:gd name="T4" fmla="*/ 136 w 645"/>
              <a:gd name="T5" fmla="*/ 9 h 505"/>
              <a:gd name="T6" fmla="*/ 273 w 645"/>
              <a:gd name="T7" fmla="*/ 24 h 505"/>
              <a:gd name="T8" fmla="*/ 345 w 645"/>
              <a:gd name="T9" fmla="*/ 32 h 505"/>
              <a:gd name="T10" fmla="*/ 477 w 645"/>
              <a:gd name="T11" fmla="*/ 41 h 505"/>
              <a:gd name="T12" fmla="*/ 554 w 645"/>
              <a:gd name="T13" fmla="*/ 47 h 505"/>
              <a:gd name="T14" fmla="*/ 637 w 645"/>
              <a:gd name="T15" fmla="*/ 51 h 505"/>
              <a:gd name="T16" fmla="*/ 645 w 645"/>
              <a:gd name="T17" fmla="*/ 56 h 505"/>
              <a:gd name="T18" fmla="*/ 639 w 645"/>
              <a:gd name="T19" fmla="*/ 164 h 505"/>
              <a:gd name="T20" fmla="*/ 622 w 645"/>
              <a:gd name="T21" fmla="*/ 505 h 505"/>
              <a:gd name="T22" fmla="*/ 534 w 645"/>
              <a:gd name="T23" fmla="*/ 501 h 505"/>
              <a:gd name="T24" fmla="*/ 434 w 645"/>
              <a:gd name="T25" fmla="*/ 494 h 505"/>
              <a:gd name="T26" fmla="*/ 277 w 645"/>
              <a:gd name="T27" fmla="*/ 482 h 505"/>
              <a:gd name="T28" fmla="*/ 147 w 645"/>
              <a:gd name="T29" fmla="*/ 467 h 505"/>
              <a:gd name="T30" fmla="*/ 0 w 645"/>
              <a:gd name="T31" fmla="*/ 4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5" h="505">
                <a:moveTo>
                  <a:pt x="0" y="450"/>
                </a:moveTo>
                <a:lnTo>
                  <a:pt x="55" y="0"/>
                </a:lnTo>
                <a:lnTo>
                  <a:pt x="136" y="9"/>
                </a:lnTo>
                <a:lnTo>
                  <a:pt x="273" y="24"/>
                </a:lnTo>
                <a:lnTo>
                  <a:pt x="345" y="32"/>
                </a:lnTo>
                <a:lnTo>
                  <a:pt x="477" y="41"/>
                </a:lnTo>
                <a:lnTo>
                  <a:pt x="554" y="47"/>
                </a:lnTo>
                <a:lnTo>
                  <a:pt x="637" y="51"/>
                </a:lnTo>
                <a:lnTo>
                  <a:pt x="645" y="56"/>
                </a:lnTo>
                <a:lnTo>
                  <a:pt x="639" y="164"/>
                </a:lnTo>
                <a:lnTo>
                  <a:pt x="622" y="505"/>
                </a:lnTo>
                <a:lnTo>
                  <a:pt x="534" y="501"/>
                </a:lnTo>
                <a:lnTo>
                  <a:pt x="434" y="494"/>
                </a:lnTo>
                <a:lnTo>
                  <a:pt x="277" y="482"/>
                </a:lnTo>
                <a:lnTo>
                  <a:pt x="147" y="467"/>
                </a:lnTo>
                <a:lnTo>
                  <a:pt x="0" y="450"/>
                </a:lnTo>
                <a:close/>
              </a:path>
            </a:pathLst>
          </a:custGeom>
          <a:solidFill>
            <a:srgbClr val="FFC80B"/>
          </a:solidFill>
          <a:ln>
            <a:noFill/>
          </a:ln>
        </p:spPr>
        <p:txBody>
          <a:bodyPr vert="horz" wrap="square" lIns="91440" tIns="45720" rIns="91440" bIns="45720" numCol="1" anchor="t" anchorCtr="0" compatLnSpc="1">
            <a:prstTxWarp prst="textNoShape">
              <a:avLst/>
            </a:prstTxWarp>
          </a:bodyPr>
          <a:lstStyle/>
          <a:p>
            <a:endParaRPr lang="en-US"/>
          </a:p>
        </p:txBody>
      </p:sp>
      <p:sp>
        <p:nvSpPr>
          <p:cNvPr id="1285" name="Freeform 691"/>
          <p:cNvSpPr>
            <a:spLocks/>
          </p:cNvSpPr>
          <p:nvPr/>
        </p:nvSpPr>
        <p:spPr bwMode="auto">
          <a:xfrm>
            <a:off x="2552700" y="3057646"/>
            <a:ext cx="1023938" cy="801688"/>
          </a:xfrm>
          <a:custGeom>
            <a:avLst/>
            <a:gdLst>
              <a:gd name="T0" fmla="*/ 0 w 645"/>
              <a:gd name="T1" fmla="*/ 450 h 505"/>
              <a:gd name="T2" fmla="*/ 55 w 645"/>
              <a:gd name="T3" fmla="*/ 0 h 505"/>
              <a:gd name="T4" fmla="*/ 136 w 645"/>
              <a:gd name="T5" fmla="*/ 9 h 505"/>
              <a:gd name="T6" fmla="*/ 273 w 645"/>
              <a:gd name="T7" fmla="*/ 24 h 505"/>
              <a:gd name="T8" fmla="*/ 345 w 645"/>
              <a:gd name="T9" fmla="*/ 32 h 505"/>
              <a:gd name="T10" fmla="*/ 477 w 645"/>
              <a:gd name="T11" fmla="*/ 41 h 505"/>
              <a:gd name="T12" fmla="*/ 554 w 645"/>
              <a:gd name="T13" fmla="*/ 47 h 505"/>
              <a:gd name="T14" fmla="*/ 637 w 645"/>
              <a:gd name="T15" fmla="*/ 51 h 505"/>
              <a:gd name="T16" fmla="*/ 645 w 645"/>
              <a:gd name="T17" fmla="*/ 56 h 505"/>
              <a:gd name="T18" fmla="*/ 639 w 645"/>
              <a:gd name="T19" fmla="*/ 164 h 505"/>
              <a:gd name="T20" fmla="*/ 622 w 645"/>
              <a:gd name="T21" fmla="*/ 505 h 505"/>
              <a:gd name="T22" fmla="*/ 534 w 645"/>
              <a:gd name="T23" fmla="*/ 501 h 505"/>
              <a:gd name="T24" fmla="*/ 434 w 645"/>
              <a:gd name="T25" fmla="*/ 494 h 505"/>
              <a:gd name="T26" fmla="*/ 277 w 645"/>
              <a:gd name="T27" fmla="*/ 482 h 505"/>
              <a:gd name="T28" fmla="*/ 147 w 645"/>
              <a:gd name="T29" fmla="*/ 467 h 505"/>
              <a:gd name="T30" fmla="*/ 0 w 645"/>
              <a:gd name="T31" fmla="*/ 450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45" h="505">
                <a:moveTo>
                  <a:pt x="0" y="450"/>
                </a:moveTo>
                <a:lnTo>
                  <a:pt x="55" y="0"/>
                </a:lnTo>
                <a:lnTo>
                  <a:pt x="136" y="9"/>
                </a:lnTo>
                <a:lnTo>
                  <a:pt x="273" y="24"/>
                </a:lnTo>
                <a:lnTo>
                  <a:pt x="345" y="32"/>
                </a:lnTo>
                <a:lnTo>
                  <a:pt x="477" y="41"/>
                </a:lnTo>
                <a:lnTo>
                  <a:pt x="554" y="47"/>
                </a:lnTo>
                <a:lnTo>
                  <a:pt x="637" y="51"/>
                </a:lnTo>
                <a:lnTo>
                  <a:pt x="645" y="56"/>
                </a:lnTo>
                <a:lnTo>
                  <a:pt x="639" y="164"/>
                </a:lnTo>
                <a:lnTo>
                  <a:pt x="622" y="505"/>
                </a:lnTo>
                <a:lnTo>
                  <a:pt x="534" y="501"/>
                </a:lnTo>
                <a:lnTo>
                  <a:pt x="434" y="494"/>
                </a:lnTo>
                <a:lnTo>
                  <a:pt x="277" y="482"/>
                </a:lnTo>
                <a:lnTo>
                  <a:pt x="147" y="467"/>
                </a:lnTo>
                <a:lnTo>
                  <a:pt x="0" y="45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6" name="Freeform 692"/>
          <p:cNvSpPr>
            <a:spLocks/>
          </p:cNvSpPr>
          <p:nvPr/>
        </p:nvSpPr>
        <p:spPr bwMode="auto">
          <a:xfrm>
            <a:off x="3309937" y="2763959"/>
            <a:ext cx="1166813" cy="574675"/>
          </a:xfrm>
          <a:custGeom>
            <a:avLst/>
            <a:gdLst>
              <a:gd name="T0" fmla="*/ 15 w 735"/>
              <a:gd name="T1" fmla="*/ 0 h 362"/>
              <a:gd name="T2" fmla="*/ 241 w 735"/>
              <a:gd name="T3" fmla="*/ 15 h 362"/>
              <a:gd name="T4" fmla="*/ 468 w 735"/>
              <a:gd name="T5" fmla="*/ 21 h 362"/>
              <a:gd name="T6" fmla="*/ 509 w 735"/>
              <a:gd name="T7" fmla="*/ 47 h 362"/>
              <a:gd name="T8" fmla="*/ 522 w 735"/>
              <a:gd name="T9" fmla="*/ 36 h 362"/>
              <a:gd name="T10" fmla="*/ 569 w 735"/>
              <a:gd name="T11" fmla="*/ 36 h 362"/>
              <a:gd name="T12" fmla="*/ 588 w 735"/>
              <a:gd name="T13" fmla="*/ 47 h 362"/>
              <a:gd name="T14" fmla="*/ 596 w 735"/>
              <a:gd name="T15" fmla="*/ 51 h 362"/>
              <a:gd name="T16" fmla="*/ 609 w 735"/>
              <a:gd name="T17" fmla="*/ 57 h 362"/>
              <a:gd name="T18" fmla="*/ 620 w 735"/>
              <a:gd name="T19" fmla="*/ 68 h 362"/>
              <a:gd name="T20" fmla="*/ 635 w 735"/>
              <a:gd name="T21" fmla="*/ 77 h 362"/>
              <a:gd name="T22" fmla="*/ 641 w 735"/>
              <a:gd name="T23" fmla="*/ 87 h 362"/>
              <a:gd name="T24" fmla="*/ 645 w 735"/>
              <a:gd name="T25" fmla="*/ 100 h 362"/>
              <a:gd name="T26" fmla="*/ 645 w 735"/>
              <a:gd name="T27" fmla="*/ 113 h 362"/>
              <a:gd name="T28" fmla="*/ 654 w 735"/>
              <a:gd name="T29" fmla="*/ 128 h 362"/>
              <a:gd name="T30" fmla="*/ 662 w 735"/>
              <a:gd name="T31" fmla="*/ 147 h 362"/>
              <a:gd name="T32" fmla="*/ 669 w 735"/>
              <a:gd name="T33" fmla="*/ 162 h 362"/>
              <a:gd name="T34" fmla="*/ 666 w 735"/>
              <a:gd name="T35" fmla="*/ 177 h 362"/>
              <a:gd name="T36" fmla="*/ 669 w 735"/>
              <a:gd name="T37" fmla="*/ 185 h 362"/>
              <a:gd name="T38" fmla="*/ 675 w 735"/>
              <a:gd name="T39" fmla="*/ 194 h 362"/>
              <a:gd name="T40" fmla="*/ 681 w 735"/>
              <a:gd name="T41" fmla="*/ 204 h 362"/>
              <a:gd name="T42" fmla="*/ 684 w 735"/>
              <a:gd name="T43" fmla="*/ 221 h 362"/>
              <a:gd name="T44" fmla="*/ 688 w 735"/>
              <a:gd name="T45" fmla="*/ 234 h 362"/>
              <a:gd name="T46" fmla="*/ 690 w 735"/>
              <a:gd name="T47" fmla="*/ 260 h 362"/>
              <a:gd name="T48" fmla="*/ 694 w 735"/>
              <a:gd name="T49" fmla="*/ 285 h 362"/>
              <a:gd name="T50" fmla="*/ 696 w 735"/>
              <a:gd name="T51" fmla="*/ 300 h 362"/>
              <a:gd name="T52" fmla="*/ 707 w 735"/>
              <a:gd name="T53" fmla="*/ 321 h 362"/>
              <a:gd name="T54" fmla="*/ 720 w 735"/>
              <a:gd name="T55" fmla="*/ 332 h 362"/>
              <a:gd name="T56" fmla="*/ 728 w 735"/>
              <a:gd name="T57" fmla="*/ 347 h 362"/>
              <a:gd name="T58" fmla="*/ 735 w 735"/>
              <a:gd name="T59" fmla="*/ 360 h 362"/>
              <a:gd name="T60" fmla="*/ 481 w 735"/>
              <a:gd name="T61" fmla="*/ 362 h 362"/>
              <a:gd name="T62" fmla="*/ 162 w 735"/>
              <a:gd name="T63" fmla="*/ 349 h 362"/>
              <a:gd name="T64" fmla="*/ 160 w 735"/>
              <a:gd name="T65" fmla="*/ 236 h 362"/>
              <a:gd name="T66" fmla="*/ 0 w 735"/>
              <a:gd name="T67" fmla="*/ 22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5" h="362">
                <a:moveTo>
                  <a:pt x="0" y="226"/>
                </a:moveTo>
                <a:lnTo>
                  <a:pt x="15" y="0"/>
                </a:lnTo>
                <a:lnTo>
                  <a:pt x="100" y="6"/>
                </a:lnTo>
                <a:lnTo>
                  <a:pt x="241" y="15"/>
                </a:lnTo>
                <a:lnTo>
                  <a:pt x="379" y="19"/>
                </a:lnTo>
                <a:lnTo>
                  <a:pt x="468" y="21"/>
                </a:lnTo>
                <a:lnTo>
                  <a:pt x="479" y="30"/>
                </a:lnTo>
                <a:lnTo>
                  <a:pt x="509" y="47"/>
                </a:lnTo>
                <a:lnTo>
                  <a:pt x="515" y="45"/>
                </a:lnTo>
                <a:lnTo>
                  <a:pt x="522" y="36"/>
                </a:lnTo>
                <a:lnTo>
                  <a:pt x="537" y="38"/>
                </a:lnTo>
                <a:lnTo>
                  <a:pt x="569" y="36"/>
                </a:lnTo>
                <a:lnTo>
                  <a:pt x="579" y="45"/>
                </a:lnTo>
                <a:lnTo>
                  <a:pt x="588" y="47"/>
                </a:lnTo>
                <a:lnTo>
                  <a:pt x="594" y="49"/>
                </a:lnTo>
                <a:lnTo>
                  <a:pt x="596" y="51"/>
                </a:lnTo>
                <a:lnTo>
                  <a:pt x="603" y="51"/>
                </a:lnTo>
                <a:lnTo>
                  <a:pt x="609" y="57"/>
                </a:lnTo>
                <a:lnTo>
                  <a:pt x="618" y="62"/>
                </a:lnTo>
                <a:lnTo>
                  <a:pt x="620" y="68"/>
                </a:lnTo>
                <a:lnTo>
                  <a:pt x="628" y="74"/>
                </a:lnTo>
                <a:lnTo>
                  <a:pt x="635" y="77"/>
                </a:lnTo>
                <a:lnTo>
                  <a:pt x="641" y="79"/>
                </a:lnTo>
                <a:lnTo>
                  <a:pt x="641" y="87"/>
                </a:lnTo>
                <a:lnTo>
                  <a:pt x="641" y="91"/>
                </a:lnTo>
                <a:lnTo>
                  <a:pt x="645" y="100"/>
                </a:lnTo>
                <a:lnTo>
                  <a:pt x="647" y="106"/>
                </a:lnTo>
                <a:lnTo>
                  <a:pt x="645" y="113"/>
                </a:lnTo>
                <a:lnTo>
                  <a:pt x="652" y="121"/>
                </a:lnTo>
                <a:lnTo>
                  <a:pt x="654" y="128"/>
                </a:lnTo>
                <a:lnTo>
                  <a:pt x="662" y="140"/>
                </a:lnTo>
                <a:lnTo>
                  <a:pt x="662" y="147"/>
                </a:lnTo>
                <a:lnTo>
                  <a:pt x="666" y="155"/>
                </a:lnTo>
                <a:lnTo>
                  <a:pt x="669" y="162"/>
                </a:lnTo>
                <a:lnTo>
                  <a:pt x="666" y="168"/>
                </a:lnTo>
                <a:lnTo>
                  <a:pt x="666" y="177"/>
                </a:lnTo>
                <a:lnTo>
                  <a:pt x="669" y="183"/>
                </a:lnTo>
                <a:lnTo>
                  <a:pt x="669" y="185"/>
                </a:lnTo>
                <a:lnTo>
                  <a:pt x="675" y="185"/>
                </a:lnTo>
                <a:lnTo>
                  <a:pt x="675" y="194"/>
                </a:lnTo>
                <a:lnTo>
                  <a:pt x="681" y="196"/>
                </a:lnTo>
                <a:lnTo>
                  <a:pt x="681" y="204"/>
                </a:lnTo>
                <a:lnTo>
                  <a:pt x="686" y="211"/>
                </a:lnTo>
                <a:lnTo>
                  <a:pt x="684" y="221"/>
                </a:lnTo>
                <a:lnTo>
                  <a:pt x="688" y="228"/>
                </a:lnTo>
                <a:lnTo>
                  <a:pt x="688" y="234"/>
                </a:lnTo>
                <a:lnTo>
                  <a:pt x="688" y="245"/>
                </a:lnTo>
                <a:lnTo>
                  <a:pt x="690" y="260"/>
                </a:lnTo>
                <a:lnTo>
                  <a:pt x="688" y="281"/>
                </a:lnTo>
                <a:lnTo>
                  <a:pt x="694" y="285"/>
                </a:lnTo>
                <a:lnTo>
                  <a:pt x="696" y="292"/>
                </a:lnTo>
                <a:lnTo>
                  <a:pt x="696" y="300"/>
                </a:lnTo>
                <a:lnTo>
                  <a:pt x="703" y="307"/>
                </a:lnTo>
                <a:lnTo>
                  <a:pt x="707" y="321"/>
                </a:lnTo>
                <a:lnTo>
                  <a:pt x="713" y="328"/>
                </a:lnTo>
                <a:lnTo>
                  <a:pt x="720" y="332"/>
                </a:lnTo>
                <a:lnTo>
                  <a:pt x="722" y="341"/>
                </a:lnTo>
                <a:lnTo>
                  <a:pt x="728" y="347"/>
                </a:lnTo>
                <a:lnTo>
                  <a:pt x="726" y="353"/>
                </a:lnTo>
                <a:lnTo>
                  <a:pt x="735" y="360"/>
                </a:lnTo>
                <a:lnTo>
                  <a:pt x="592" y="362"/>
                </a:lnTo>
                <a:lnTo>
                  <a:pt x="481" y="362"/>
                </a:lnTo>
                <a:lnTo>
                  <a:pt x="270" y="356"/>
                </a:lnTo>
                <a:lnTo>
                  <a:pt x="162" y="349"/>
                </a:lnTo>
                <a:lnTo>
                  <a:pt x="168" y="241"/>
                </a:lnTo>
                <a:lnTo>
                  <a:pt x="160" y="236"/>
                </a:lnTo>
                <a:lnTo>
                  <a:pt x="77" y="232"/>
                </a:lnTo>
                <a:lnTo>
                  <a:pt x="0" y="226"/>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7" name="Freeform 693"/>
          <p:cNvSpPr>
            <a:spLocks/>
          </p:cNvSpPr>
          <p:nvPr/>
        </p:nvSpPr>
        <p:spPr bwMode="auto">
          <a:xfrm>
            <a:off x="3309937" y="2763959"/>
            <a:ext cx="1166813" cy="574675"/>
          </a:xfrm>
          <a:custGeom>
            <a:avLst/>
            <a:gdLst>
              <a:gd name="T0" fmla="*/ 15 w 735"/>
              <a:gd name="T1" fmla="*/ 0 h 362"/>
              <a:gd name="T2" fmla="*/ 241 w 735"/>
              <a:gd name="T3" fmla="*/ 15 h 362"/>
              <a:gd name="T4" fmla="*/ 468 w 735"/>
              <a:gd name="T5" fmla="*/ 21 h 362"/>
              <a:gd name="T6" fmla="*/ 509 w 735"/>
              <a:gd name="T7" fmla="*/ 47 h 362"/>
              <a:gd name="T8" fmla="*/ 522 w 735"/>
              <a:gd name="T9" fmla="*/ 36 h 362"/>
              <a:gd name="T10" fmla="*/ 569 w 735"/>
              <a:gd name="T11" fmla="*/ 36 h 362"/>
              <a:gd name="T12" fmla="*/ 588 w 735"/>
              <a:gd name="T13" fmla="*/ 47 h 362"/>
              <a:gd name="T14" fmla="*/ 596 w 735"/>
              <a:gd name="T15" fmla="*/ 51 h 362"/>
              <a:gd name="T16" fmla="*/ 609 w 735"/>
              <a:gd name="T17" fmla="*/ 57 h 362"/>
              <a:gd name="T18" fmla="*/ 620 w 735"/>
              <a:gd name="T19" fmla="*/ 68 h 362"/>
              <a:gd name="T20" fmla="*/ 635 w 735"/>
              <a:gd name="T21" fmla="*/ 77 h 362"/>
              <a:gd name="T22" fmla="*/ 641 w 735"/>
              <a:gd name="T23" fmla="*/ 87 h 362"/>
              <a:gd name="T24" fmla="*/ 645 w 735"/>
              <a:gd name="T25" fmla="*/ 100 h 362"/>
              <a:gd name="T26" fmla="*/ 645 w 735"/>
              <a:gd name="T27" fmla="*/ 113 h 362"/>
              <a:gd name="T28" fmla="*/ 654 w 735"/>
              <a:gd name="T29" fmla="*/ 128 h 362"/>
              <a:gd name="T30" fmla="*/ 662 w 735"/>
              <a:gd name="T31" fmla="*/ 147 h 362"/>
              <a:gd name="T32" fmla="*/ 669 w 735"/>
              <a:gd name="T33" fmla="*/ 162 h 362"/>
              <a:gd name="T34" fmla="*/ 666 w 735"/>
              <a:gd name="T35" fmla="*/ 177 h 362"/>
              <a:gd name="T36" fmla="*/ 669 w 735"/>
              <a:gd name="T37" fmla="*/ 185 h 362"/>
              <a:gd name="T38" fmla="*/ 675 w 735"/>
              <a:gd name="T39" fmla="*/ 194 h 362"/>
              <a:gd name="T40" fmla="*/ 681 w 735"/>
              <a:gd name="T41" fmla="*/ 204 h 362"/>
              <a:gd name="T42" fmla="*/ 684 w 735"/>
              <a:gd name="T43" fmla="*/ 221 h 362"/>
              <a:gd name="T44" fmla="*/ 688 w 735"/>
              <a:gd name="T45" fmla="*/ 234 h 362"/>
              <a:gd name="T46" fmla="*/ 690 w 735"/>
              <a:gd name="T47" fmla="*/ 260 h 362"/>
              <a:gd name="T48" fmla="*/ 694 w 735"/>
              <a:gd name="T49" fmla="*/ 285 h 362"/>
              <a:gd name="T50" fmla="*/ 696 w 735"/>
              <a:gd name="T51" fmla="*/ 300 h 362"/>
              <a:gd name="T52" fmla="*/ 707 w 735"/>
              <a:gd name="T53" fmla="*/ 321 h 362"/>
              <a:gd name="T54" fmla="*/ 720 w 735"/>
              <a:gd name="T55" fmla="*/ 332 h 362"/>
              <a:gd name="T56" fmla="*/ 728 w 735"/>
              <a:gd name="T57" fmla="*/ 347 h 362"/>
              <a:gd name="T58" fmla="*/ 735 w 735"/>
              <a:gd name="T59" fmla="*/ 360 h 362"/>
              <a:gd name="T60" fmla="*/ 481 w 735"/>
              <a:gd name="T61" fmla="*/ 362 h 362"/>
              <a:gd name="T62" fmla="*/ 162 w 735"/>
              <a:gd name="T63" fmla="*/ 349 h 362"/>
              <a:gd name="T64" fmla="*/ 160 w 735"/>
              <a:gd name="T65" fmla="*/ 236 h 362"/>
              <a:gd name="T66" fmla="*/ 0 w 735"/>
              <a:gd name="T67" fmla="*/ 226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35" h="362">
                <a:moveTo>
                  <a:pt x="0" y="226"/>
                </a:moveTo>
                <a:lnTo>
                  <a:pt x="15" y="0"/>
                </a:lnTo>
                <a:lnTo>
                  <a:pt x="100" y="6"/>
                </a:lnTo>
                <a:lnTo>
                  <a:pt x="241" y="15"/>
                </a:lnTo>
                <a:lnTo>
                  <a:pt x="379" y="19"/>
                </a:lnTo>
                <a:lnTo>
                  <a:pt x="468" y="21"/>
                </a:lnTo>
                <a:lnTo>
                  <a:pt x="479" y="30"/>
                </a:lnTo>
                <a:lnTo>
                  <a:pt x="509" y="47"/>
                </a:lnTo>
                <a:lnTo>
                  <a:pt x="515" y="45"/>
                </a:lnTo>
                <a:lnTo>
                  <a:pt x="522" y="36"/>
                </a:lnTo>
                <a:lnTo>
                  <a:pt x="537" y="38"/>
                </a:lnTo>
                <a:lnTo>
                  <a:pt x="569" y="36"/>
                </a:lnTo>
                <a:lnTo>
                  <a:pt x="579" y="45"/>
                </a:lnTo>
                <a:lnTo>
                  <a:pt x="588" y="47"/>
                </a:lnTo>
                <a:lnTo>
                  <a:pt x="594" y="49"/>
                </a:lnTo>
                <a:lnTo>
                  <a:pt x="596" y="51"/>
                </a:lnTo>
                <a:lnTo>
                  <a:pt x="603" y="51"/>
                </a:lnTo>
                <a:lnTo>
                  <a:pt x="609" y="57"/>
                </a:lnTo>
                <a:lnTo>
                  <a:pt x="618" y="62"/>
                </a:lnTo>
                <a:lnTo>
                  <a:pt x="620" y="68"/>
                </a:lnTo>
                <a:lnTo>
                  <a:pt x="628" y="74"/>
                </a:lnTo>
                <a:lnTo>
                  <a:pt x="635" y="77"/>
                </a:lnTo>
                <a:lnTo>
                  <a:pt x="641" y="79"/>
                </a:lnTo>
                <a:lnTo>
                  <a:pt x="641" y="87"/>
                </a:lnTo>
                <a:lnTo>
                  <a:pt x="641" y="91"/>
                </a:lnTo>
                <a:lnTo>
                  <a:pt x="645" y="100"/>
                </a:lnTo>
                <a:lnTo>
                  <a:pt x="647" y="106"/>
                </a:lnTo>
                <a:lnTo>
                  <a:pt x="645" y="113"/>
                </a:lnTo>
                <a:lnTo>
                  <a:pt x="652" y="121"/>
                </a:lnTo>
                <a:lnTo>
                  <a:pt x="654" y="128"/>
                </a:lnTo>
                <a:lnTo>
                  <a:pt x="662" y="140"/>
                </a:lnTo>
                <a:lnTo>
                  <a:pt x="662" y="147"/>
                </a:lnTo>
                <a:lnTo>
                  <a:pt x="666" y="155"/>
                </a:lnTo>
                <a:lnTo>
                  <a:pt x="669" y="162"/>
                </a:lnTo>
                <a:lnTo>
                  <a:pt x="666" y="168"/>
                </a:lnTo>
                <a:lnTo>
                  <a:pt x="666" y="177"/>
                </a:lnTo>
                <a:lnTo>
                  <a:pt x="669" y="183"/>
                </a:lnTo>
                <a:lnTo>
                  <a:pt x="669" y="185"/>
                </a:lnTo>
                <a:lnTo>
                  <a:pt x="675" y="185"/>
                </a:lnTo>
                <a:lnTo>
                  <a:pt x="675" y="194"/>
                </a:lnTo>
                <a:lnTo>
                  <a:pt x="681" y="196"/>
                </a:lnTo>
                <a:lnTo>
                  <a:pt x="681" y="204"/>
                </a:lnTo>
                <a:lnTo>
                  <a:pt x="686" y="211"/>
                </a:lnTo>
                <a:lnTo>
                  <a:pt x="684" y="221"/>
                </a:lnTo>
                <a:lnTo>
                  <a:pt x="688" y="228"/>
                </a:lnTo>
                <a:lnTo>
                  <a:pt x="688" y="234"/>
                </a:lnTo>
                <a:lnTo>
                  <a:pt x="688" y="245"/>
                </a:lnTo>
                <a:lnTo>
                  <a:pt x="690" y="260"/>
                </a:lnTo>
                <a:lnTo>
                  <a:pt x="688" y="281"/>
                </a:lnTo>
                <a:lnTo>
                  <a:pt x="694" y="285"/>
                </a:lnTo>
                <a:lnTo>
                  <a:pt x="696" y="292"/>
                </a:lnTo>
                <a:lnTo>
                  <a:pt x="696" y="300"/>
                </a:lnTo>
                <a:lnTo>
                  <a:pt x="703" y="307"/>
                </a:lnTo>
                <a:lnTo>
                  <a:pt x="707" y="321"/>
                </a:lnTo>
                <a:lnTo>
                  <a:pt x="713" y="328"/>
                </a:lnTo>
                <a:lnTo>
                  <a:pt x="720" y="332"/>
                </a:lnTo>
                <a:lnTo>
                  <a:pt x="722" y="341"/>
                </a:lnTo>
                <a:lnTo>
                  <a:pt x="728" y="347"/>
                </a:lnTo>
                <a:lnTo>
                  <a:pt x="726" y="353"/>
                </a:lnTo>
                <a:lnTo>
                  <a:pt x="735" y="360"/>
                </a:lnTo>
                <a:lnTo>
                  <a:pt x="592" y="362"/>
                </a:lnTo>
                <a:lnTo>
                  <a:pt x="481" y="362"/>
                </a:lnTo>
                <a:lnTo>
                  <a:pt x="270" y="356"/>
                </a:lnTo>
                <a:lnTo>
                  <a:pt x="162" y="349"/>
                </a:lnTo>
                <a:lnTo>
                  <a:pt x="168" y="241"/>
                </a:lnTo>
                <a:lnTo>
                  <a:pt x="160" y="236"/>
                </a:lnTo>
                <a:lnTo>
                  <a:pt x="77" y="232"/>
                </a:lnTo>
                <a:lnTo>
                  <a:pt x="0" y="22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88" name="Freeform 694"/>
          <p:cNvSpPr>
            <a:spLocks/>
          </p:cNvSpPr>
          <p:nvPr/>
        </p:nvSpPr>
        <p:spPr bwMode="auto">
          <a:xfrm>
            <a:off x="3333750" y="2240084"/>
            <a:ext cx="987425" cy="646113"/>
          </a:xfrm>
          <a:custGeom>
            <a:avLst/>
            <a:gdLst>
              <a:gd name="T0" fmla="*/ 0 w 622"/>
              <a:gd name="T1" fmla="*/ 330 h 407"/>
              <a:gd name="T2" fmla="*/ 17 w 622"/>
              <a:gd name="T3" fmla="*/ 106 h 407"/>
              <a:gd name="T4" fmla="*/ 19 w 622"/>
              <a:gd name="T5" fmla="*/ 98 h 407"/>
              <a:gd name="T6" fmla="*/ 25 w 622"/>
              <a:gd name="T7" fmla="*/ 0 h 407"/>
              <a:gd name="T8" fmla="*/ 166 w 622"/>
              <a:gd name="T9" fmla="*/ 10 h 407"/>
              <a:gd name="T10" fmla="*/ 321 w 622"/>
              <a:gd name="T11" fmla="*/ 17 h 407"/>
              <a:gd name="T12" fmla="*/ 464 w 622"/>
              <a:gd name="T13" fmla="*/ 19 h 407"/>
              <a:gd name="T14" fmla="*/ 611 w 622"/>
              <a:gd name="T15" fmla="*/ 21 h 407"/>
              <a:gd name="T16" fmla="*/ 607 w 622"/>
              <a:gd name="T17" fmla="*/ 36 h 407"/>
              <a:gd name="T18" fmla="*/ 603 w 622"/>
              <a:gd name="T19" fmla="*/ 42 h 407"/>
              <a:gd name="T20" fmla="*/ 596 w 622"/>
              <a:gd name="T21" fmla="*/ 47 h 407"/>
              <a:gd name="T22" fmla="*/ 590 w 622"/>
              <a:gd name="T23" fmla="*/ 53 h 407"/>
              <a:gd name="T24" fmla="*/ 588 w 622"/>
              <a:gd name="T25" fmla="*/ 59 h 407"/>
              <a:gd name="T26" fmla="*/ 592 w 622"/>
              <a:gd name="T27" fmla="*/ 66 h 407"/>
              <a:gd name="T28" fmla="*/ 600 w 622"/>
              <a:gd name="T29" fmla="*/ 81 h 407"/>
              <a:gd name="T30" fmla="*/ 609 w 622"/>
              <a:gd name="T31" fmla="*/ 81 h 407"/>
              <a:gd name="T32" fmla="*/ 615 w 622"/>
              <a:gd name="T33" fmla="*/ 85 h 407"/>
              <a:gd name="T34" fmla="*/ 620 w 622"/>
              <a:gd name="T35" fmla="*/ 93 h 407"/>
              <a:gd name="T36" fmla="*/ 622 w 622"/>
              <a:gd name="T37" fmla="*/ 296 h 407"/>
              <a:gd name="T38" fmla="*/ 609 w 622"/>
              <a:gd name="T39" fmla="*/ 296 h 407"/>
              <a:gd name="T40" fmla="*/ 611 w 622"/>
              <a:gd name="T41" fmla="*/ 304 h 407"/>
              <a:gd name="T42" fmla="*/ 615 w 622"/>
              <a:gd name="T43" fmla="*/ 311 h 407"/>
              <a:gd name="T44" fmla="*/ 613 w 622"/>
              <a:gd name="T45" fmla="*/ 317 h 407"/>
              <a:gd name="T46" fmla="*/ 611 w 622"/>
              <a:gd name="T47" fmla="*/ 319 h 407"/>
              <a:gd name="T48" fmla="*/ 613 w 622"/>
              <a:gd name="T49" fmla="*/ 328 h 407"/>
              <a:gd name="T50" fmla="*/ 620 w 622"/>
              <a:gd name="T51" fmla="*/ 334 h 407"/>
              <a:gd name="T52" fmla="*/ 620 w 622"/>
              <a:gd name="T53" fmla="*/ 341 h 407"/>
              <a:gd name="T54" fmla="*/ 615 w 622"/>
              <a:gd name="T55" fmla="*/ 347 h 407"/>
              <a:gd name="T56" fmla="*/ 617 w 622"/>
              <a:gd name="T57" fmla="*/ 355 h 407"/>
              <a:gd name="T58" fmla="*/ 613 w 622"/>
              <a:gd name="T59" fmla="*/ 370 h 407"/>
              <a:gd name="T60" fmla="*/ 611 w 622"/>
              <a:gd name="T61" fmla="*/ 370 h 407"/>
              <a:gd name="T62" fmla="*/ 607 w 622"/>
              <a:gd name="T63" fmla="*/ 377 h 407"/>
              <a:gd name="T64" fmla="*/ 609 w 622"/>
              <a:gd name="T65" fmla="*/ 385 h 407"/>
              <a:gd name="T66" fmla="*/ 615 w 622"/>
              <a:gd name="T67" fmla="*/ 392 h 407"/>
              <a:gd name="T68" fmla="*/ 620 w 622"/>
              <a:gd name="T69" fmla="*/ 407 h 407"/>
              <a:gd name="T70" fmla="*/ 613 w 622"/>
              <a:gd name="T71" fmla="*/ 404 h 407"/>
              <a:gd name="T72" fmla="*/ 605 w 622"/>
              <a:gd name="T73" fmla="*/ 398 h 407"/>
              <a:gd name="T74" fmla="*/ 603 w 622"/>
              <a:gd name="T75" fmla="*/ 392 h 407"/>
              <a:gd name="T76" fmla="*/ 594 w 622"/>
              <a:gd name="T77" fmla="*/ 387 h 407"/>
              <a:gd name="T78" fmla="*/ 588 w 622"/>
              <a:gd name="T79" fmla="*/ 381 h 407"/>
              <a:gd name="T80" fmla="*/ 581 w 622"/>
              <a:gd name="T81" fmla="*/ 381 h 407"/>
              <a:gd name="T82" fmla="*/ 579 w 622"/>
              <a:gd name="T83" fmla="*/ 379 h 407"/>
              <a:gd name="T84" fmla="*/ 573 w 622"/>
              <a:gd name="T85" fmla="*/ 377 h 407"/>
              <a:gd name="T86" fmla="*/ 564 w 622"/>
              <a:gd name="T87" fmla="*/ 375 h 407"/>
              <a:gd name="T88" fmla="*/ 554 w 622"/>
              <a:gd name="T89" fmla="*/ 366 h 407"/>
              <a:gd name="T90" fmla="*/ 522 w 622"/>
              <a:gd name="T91" fmla="*/ 368 h 407"/>
              <a:gd name="T92" fmla="*/ 507 w 622"/>
              <a:gd name="T93" fmla="*/ 366 h 407"/>
              <a:gd name="T94" fmla="*/ 500 w 622"/>
              <a:gd name="T95" fmla="*/ 375 h 407"/>
              <a:gd name="T96" fmla="*/ 494 w 622"/>
              <a:gd name="T97" fmla="*/ 377 h 407"/>
              <a:gd name="T98" fmla="*/ 464 w 622"/>
              <a:gd name="T99" fmla="*/ 360 h 407"/>
              <a:gd name="T100" fmla="*/ 453 w 622"/>
              <a:gd name="T101" fmla="*/ 351 h 407"/>
              <a:gd name="T102" fmla="*/ 364 w 622"/>
              <a:gd name="T103" fmla="*/ 349 h 407"/>
              <a:gd name="T104" fmla="*/ 226 w 622"/>
              <a:gd name="T105" fmla="*/ 345 h 407"/>
              <a:gd name="T106" fmla="*/ 85 w 622"/>
              <a:gd name="T107" fmla="*/ 336 h 407"/>
              <a:gd name="T108" fmla="*/ 0 w 622"/>
              <a:gd name="T109" fmla="*/ 3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2" h="407">
                <a:moveTo>
                  <a:pt x="0" y="330"/>
                </a:moveTo>
                <a:lnTo>
                  <a:pt x="17" y="106"/>
                </a:lnTo>
                <a:lnTo>
                  <a:pt x="19" y="98"/>
                </a:lnTo>
                <a:lnTo>
                  <a:pt x="25" y="0"/>
                </a:lnTo>
                <a:lnTo>
                  <a:pt x="166" y="10"/>
                </a:lnTo>
                <a:lnTo>
                  <a:pt x="321" y="17"/>
                </a:lnTo>
                <a:lnTo>
                  <a:pt x="464" y="19"/>
                </a:lnTo>
                <a:lnTo>
                  <a:pt x="611" y="21"/>
                </a:lnTo>
                <a:lnTo>
                  <a:pt x="607" y="36"/>
                </a:lnTo>
                <a:lnTo>
                  <a:pt x="603" y="42"/>
                </a:lnTo>
                <a:lnTo>
                  <a:pt x="596" y="47"/>
                </a:lnTo>
                <a:lnTo>
                  <a:pt x="590" y="53"/>
                </a:lnTo>
                <a:lnTo>
                  <a:pt x="588" y="59"/>
                </a:lnTo>
                <a:lnTo>
                  <a:pt x="592" y="66"/>
                </a:lnTo>
                <a:lnTo>
                  <a:pt x="600" y="81"/>
                </a:lnTo>
                <a:lnTo>
                  <a:pt x="609" y="81"/>
                </a:lnTo>
                <a:lnTo>
                  <a:pt x="615" y="85"/>
                </a:lnTo>
                <a:lnTo>
                  <a:pt x="620" y="93"/>
                </a:lnTo>
                <a:lnTo>
                  <a:pt x="622" y="296"/>
                </a:lnTo>
                <a:lnTo>
                  <a:pt x="609" y="296"/>
                </a:lnTo>
                <a:lnTo>
                  <a:pt x="611" y="304"/>
                </a:lnTo>
                <a:lnTo>
                  <a:pt x="615" y="311"/>
                </a:lnTo>
                <a:lnTo>
                  <a:pt x="613" y="317"/>
                </a:lnTo>
                <a:lnTo>
                  <a:pt x="611" y="319"/>
                </a:lnTo>
                <a:lnTo>
                  <a:pt x="613" y="328"/>
                </a:lnTo>
                <a:lnTo>
                  <a:pt x="620" y="334"/>
                </a:lnTo>
                <a:lnTo>
                  <a:pt x="620" y="341"/>
                </a:lnTo>
                <a:lnTo>
                  <a:pt x="615" y="347"/>
                </a:lnTo>
                <a:lnTo>
                  <a:pt x="617" y="355"/>
                </a:lnTo>
                <a:lnTo>
                  <a:pt x="613" y="370"/>
                </a:lnTo>
                <a:lnTo>
                  <a:pt x="611" y="370"/>
                </a:lnTo>
                <a:lnTo>
                  <a:pt x="607" y="377"/>
                </a:lnTo>
                <a:lnTo>
                  <a:pt x="609" y="385"/>
                </a:lnTo>
                <a:lnTo>
                  <a:pt x="615" y="392"/>
                </a:lnTo>
                <a:lnTo>
                  <a:pt x="620" y="407"/>
                </a:lnTo>
                <a:lnTo>
                  <a:pt x="613" y="404"/>
                </a:lnTo>
                <a:lnTo>
                  <a:pt x="605" y="398"/>
                </a:lnTo>
                <a:lnTo>
                  <a:pt x="603" y="392"/>
                </a:lnTo>
                <a:lnTo>
                  <a:pt x="594" y="387"/>
                </a:lnTo>
                <a:lnTo>
                  <a:pt x="588" y="381"/>
                </a:lnTo>
                <a:lnTo>
                  <a:pt x="581" y="381"/>
                </a:lnTo>
                <a:lnTo>
                  <a:pt x="579" y="379"/>
                </a:lnTo>
                <a:lnTo>
                  <a:pt x="573" y="377"/>
                </a:lnTo>
                <a:lnTo>
                  <a:pt x="564" y="375"/>
                </a:lnTo>
                <a:lnTo>
                  <a:pt x="554" y="366"/>
                </a:lnTo>
                <a:lnTo>
                  <a:pt x="522" y="368"/>
                </a:lnTo>
                <a:lnTo>
                  <a:pt x="507" y="366"/>
                </a:lnTo>
                <a:lnTo>
                  <a:pt x="500" y="375"/>
                </a:lnTo>
                <a:lnTo>
                  <a:pt x="494" y="377"/>
                </a:lnTo>
                <a:lnTo>
                  <a:pt x="464" y="360"/>
                </a:lnTo>
                <a:lnTo>
                  <a:pt x="453" y="351"/>
                </a:lnTo>
                <a:lnTo>
                  <a:pt x="364" y="349"/>
                </a:lnTo>
                <a:lnTo>
                  <a:pt x="226" y="345"/>
                </a:lnTo>
                <a:lnTo>
                  <a:pt x="85" y="336"/>
                </a:lnTo>
                <a:lnTo>
                  <a:pt x="0" y="330"/>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89" name="Freeform 695"/>
          <p:cNvSpPr>
            <a:spLocks/>
          </p:cNvSpPr>
          <p:nvPr/>
        </p:nvSpPr>
        <p:spPr bwMode="auto">
          <a:xfrm>
            <a:off x="3333750" y="2240084"/>
            <a:ext cx="987425" cy="646113"/>
          </a:xfrm>
          <a:custGeom>
            <a:avLst/>
            <a:gdLst>
              <a:gd name="T0" fmla="*/ 0 w 622"/>
              <a:gd name="T1" fmla="*/ 330 h 407"/>
              <a:gd name="T2" fmla="*/ 17 w 622"/>
              <a:gd name="T3" fmla="*/ 106 h 407"/>
              <a:gd name="T4" fmla="*/ 19 w 622"/>
              <a:gd name="T5" fmla="*/ 98 h 407"/>
              <a:gd name="T6" fmla="*/ 25 w 622"/>
              <a:gd name="T7" fmla="*/ 0 h 407"/>
              <a:gd name="T8" fmla="*/ 166 w 622"/>
              <a:gd name="T9" fmla="*/ 10 h 407"/>
              <a:gd name="T10" fmla="*/ 321 w 622"/>
              <a:gd name="T11" fmla="*/ 17 h 407"/>
              <a:gd name="T12" fmla="*/ 464 w 622"/>
              <a:gd name="T13" fmla="*/ 19 h 407"/>
              <a:gd name="T14" fmla="*/ 611 w 622"/>
              <a:gd name="T15" fmla="*/ 21 h 407"/>
              <a:gd name="T16" fmla="*/ 607 w 622"/>
              <a:gd name="T17" fmla="*/ 36 h 407"/>
              <a:gd name="T18" fmla="*/ 603 w 622"/>
              <a:gd name="T19" fmla="*/ 42 h 407"/>
              <a:gd name="T20" fmla="*/ 596 w 622"/>
              <a:gd name="T21" fmla="*/ 47 h 407"/>
              <a:gd name="T22" fmla="*/ 590 w 622"/>
              <a:gd name="T23" fmla="*/ 53 h 407"/>
              <a:gd name="T24" fmla="*/ 588 w 622"/>
              <a:gd name="T25" fmla="*/ 59 h 407"/>
              <a:gd name="T26" fmla="*/ 592 w 622"/>
              <a:gd name="T27" fmla="*/ 66 h 407"/>
              <a:gd name="T28" fmla="*/ 600 w 622"/>
              <a:gd name="T29" fmla="*/ 81 h 407"/>
              <a:gd name="T30" fmla="*/ 609 w 622"/>
              <a:gd name="T31" fmla="*/ 81 h 407"/>
              <a:gd name="T32" fmla="*/ 615 w 622"/>
              <a:gd name="T33" fmla="*/ 85 h 407"/>
              <a:gd name="T34" fmla="*/ 620 w 622"/>
              <a:gd name="T35" fmla="*/ 93 h 407"/>
              <a:gd name="T36" fmla="*/ 622 w 622"/>
              <a:gd name="T37" fmla="*/ 296 h 407"/>
              <a:gd name="T38" fmla="*/ 609 w 622"/>
              <a:gd name="T39" fmla="*/ 296 h 407"/>
              <a:gd name="T40" fmla="*/ 611 w 622"/>
              <a:gd name="T41" fmla="*/ 304 h 407"/>
              <a:gd name="T42" fmla="*/ 615 w 622"/>
              <a:gd name="T43" fmla="*/ 311 h 407"/>
              <a:gd name="T44" fmla="*/ 613 w 622"/>
              <a:gd name="T45" fmla="*/ 317 h 407"/>
              <a:gd name="T46" fmla="*/ 611 w 622"/>
              <a:gd name="T47" fmla="*/ 319 h 407"/>
              <a:gd name="T48" fmla="*/ 613 w 622"/>
              <a:gd name="T49" fmla="*/ 328 h 407"/>
              <a:gd name="T50" fmla="*/ 620 w 622"/>
              <a:gd name="T51" fmla="*/ 334 h 407"/>
              <a:gd name="T52" fmla="*/ 620 w 622"/>
              <a:gd name="T53" fmla="*/ 341 h 407"/>
              <a:gd name="T54" fmla="*/ 615 w 622"/>
              <a:gd name="T55" fmla="*/ 347 h 407"/>
              <a:gd name="T56" fmla="*/ 617 w 622"/>
              <a:gd name="T57" fmla="*/ 355 h 407"/>
              <a:gd name="T58" fmla="*/ 613 w 622"/>
              <a:gd name="T59" fmla="*/ 370 h 407"/>
              <a:gd name="T60" fmla="*/ 611 w 622"/>
              <a:gd name="T61" fmla="*/ 370 h 407"/>
              <a:gd name="T62" fmla="*/ 607 w 622"/>
              <a:gd name="T63" fmla="*/ 377 h 407"/>
              <a:gd name="T64" fmla="*/ 609 w 622"/>
              <a:gd name="T65" fmla="*/ 385 h 407"/>
              <a:gd name="T66" fmla="*/ 615 w 622"/>
              <a:gd name="T67" fmla="*/ 392 h 407"/>
              <a:gd name="T68" fmla="*/ 620 w 622"/>
              <a:gd name="T69" fmla="*/ 407 h 407"/>
              <a:gd name="T70" fmla="*/ 613 w 622"/>
              <a:gd name="T71" fmla="*/ 404 h 407"/>
              <a:gd name="T72" fmla="*/ 605 w 622"/>
              <a:gd name="T73" fmla="*/ 398 h 407"/>
              <a:gd name="T74" fmla="*/ 603 w 622"/>
              <a:gd name="T75" fmla="*/ 392 h 407"/>
              <a:gd name="T76" fmla="*/ 594 w 622"/>
              <a:gd name="T77" fmla="*/ 387 h 407"/>
              <a:gd name="T78" fmla="*/ 588 w 622"/>
              <a:gd name="T79" fmla="*/ 381 h 407"/>
              <a:gd name="T80" fmla="*/ 581 w 622"/>
              <a:gd name="T81" fmla="*/ 381 h 407"/>
              <a:gd name="T82" fmla="*/ 579 w 622"/>
              <a:gd name="T83" fmla="*/ 379 h 407"/>
              <a:gd name="T84" fmla="*/ 573 w 622"/>
              <a:gd name="T85" fmla="*/ 377 h 407"/>
              <a:gd name="T86" fmla="*/ 564 w 622"/>
              <a:gd name="T87" fmla="*/ 375 h 407"/>
              <a:gd name="T88" fmla="*/ 554 w 622"/>
              <a:gd name="T89" fmla="*/ 366 h 407"/>
              <a:gd name="T90" fmla="*/ 522 w 622"/>
              <a:gd name="T91" fmla="*/ 368 h 407"/>
              <a:gd name="T92" fmla="*/ 507 w 622"/>
              <a:gd name="T93" fmla="*/ 366 h 407"/>
              <a:gd name="T94" fmla="*/ 500 w 622"/>
              <a:gd name="T95" fmla="*/ 375 h 407"/>
              <a:gd name="T96" fmla="*/ 494 w 622"/>
              <a:gd name="T97" fmla="*/ 377 h 407"/>
              <a:gd name="T98" fmla="*/ 464 w 622"/>
              <a:gd name="T99" fmla="*/ 360 h 407"/>
              <a:gd name="T100" fmla="*/ 453 w 622"/>
              <a:gd name="T101" fmla="*/ 351 h 407"/>
              <a:gd name="T102" fmla="*/ 364 w 622"/>
              <a:gd name="T103" fmla="*/ 349 h 407"/>
              <a:gd name="T104" fmla="*/ 226 w 622"/>
              <a:gd name="T105" fmla="*/ 345 h 407"/>
              <a:gd name="T106" fmla="*/ 85 w 622"/>
              <a:gd name="T107" fmla="*/ 336 h 407"/>
              <a:gd name="T108" fmla="*/ 0 w 622"/>
              <a:gd name="T109" fmla="*/ 330 h 4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22" h="407">
                <a:moveTo>
                  <a:pt x="0" y="330"/>
                </a:moveTo>
                <a:lnTo>
                  <a:pt x="17" y="106"/>
                </a:lnTo>
                <a:lnTo>
                  <a:pt x="19" y="98"/>
                </a:lnTo>
                <a:lnTo>
                  <a:pt x="25" y="0"/>
                </a:lnTo>
                <a:lnTo>
                  <a:pt x="166" y="10"/>
                </a:lnTo>
                <a:lnTo>
                  <a:pt x="321" y="17"/>
                </a:lnTo>
                <a:lnTo>
                  <a:pt x="464" y="19"/>
                </a:lnTo>
                <a:lnTo>
                  <a:pt x="611" y="21"/>
                </a:lnTo>
                <a:lnTo>
                  <a:pt x="607" y="36"/>
                </a:lnTo>
                <a:lnTo>
                  <a:pt x="603" y="42"/>
                </a:lnTo>
                <a:lnTo>
                  <a:pt x="596" y="47"/>
                </a:lnTo>
                <a:lnTo>
                  <a:pt x="590" y="53"/>
                </a:lnTo>
                <a:lnTo>
                  <a:pt x="588" y="59"/>
                </a:lnTo>
                <a:lnTo>
                  <a:pt x="592" y="66"/>
                </a:lnTo>
                <a:lnTo>
                  <a:pt x="600" y="81"/>
                </a:lnTo>
                <a:lnTo>
                  <a:pt x="609" y="81"/>
                </a:lnTo>
                <a:lnTo>
                  <a:pt x="615" y="85"/>
                </a:lnTo>
                <a:lnTo>
                  <a:pt x="620" y="93"/>
                </a:lnTo>
                <a:lnTo>
                  <a:pt x="622" y="296"/>
                </a:lnTo>
                <a:lnTo>
                  <a:pt x="609" y="296"/>
                </a:lnTo>
                <a:lnTo>
                  <a:pt x="611" y="304"/>
                </a:lnTo>
                <a:lnTo>
                  <a:pt x="615" y="311"/>
                </a:lnTo>
                <a:lnTo>
                  <a:pt x="613" y="317"/>
                </a:lnTo>
                <a:lnTo>
                  <a:pt x="611" y="319"/>
                </a:lnTo>
                <a:lnTo>
                  <a:pt x="613" y="328"/>
                </a:lnTo>
                <a:lnTo>
                  <a:pt x="620" y="334"/>
                </a:lnTo>
                <a:lnTo>
                  <a:pt x="620" y="341"/>
                </a:lnTo>
                <a:lnTo>
                  <a:pt x="615" y="347"/>
                </a:lnTo>
                <a:lnTo>
                  <a:pt x="617" y="355"/>
                </a:lnTo>
                <a:lnTo>
                  <a:pt x="613" y="370"/>
                </a:lnTo>
                <a:lnTo>
                  <a:pt x="611" y="370"/>
                </a:lnTo>
                <a:lnTo>
                  <a:pt x="607" y="377"/>
                </a:lnTo>
                <a:lnTo>
                  <a:pt x="609" y="385"/>
                </a:lnTo>
                <a:lnTo>
                  <a:pt x="615" y="392"/>
                </a:lnTo>
                <a:lnTo>
                  <a:pt x="620" y="407"/>
                </a:lnTo>
                <a:lnTo>
                  <a:pt x="613" y="404"/>
                </a:lnTo>
                <a:lnTo>
                  <a:pt x="605" y="398"/>
                </a:lnTo>
                <a:lnTo>
                  <a:pt x="603" y="392"/>
                </a:lnTo>
                <a:lnTo>
                  <a:pt x="594" y="387"/>
                </a:lnTo>
                <a:lnTo>
                  <a:pt x="588" y="381"/>
                </a:lnTo>
                <a:lnTo>
                  <a:pt x="581" y="381"/>
                </a:lnTo>
                <a:lnTo>
                  <a:pt x="579" y="379"/>
                </a:lnTo>
                <a:lnTo>
                  <a:pt x="573" y="377"/>
                </a:lnTo>
                <a:lnTo>
                  <a:pt x="564" y="375"/>
                </a:lnTo>
                <a:lnTo>
                  <a:pt x="554" y="366"/>
                </a:lnTo>
                <a:lnTo>
                  <a:pt x="522" y="368"/>
                </a:lnTo>
                <a:lnTo>
                  <a:pt x="507" y="366"/>
                </a:lnTo>
                <a:lnTo>
                  <a:pt x="500" y="375"/>
                </a:lnTo>
                <a:lnTo>
                  <a:pt x="494" y="377"/>
                </a:lnTo>
                <a:lnTo>
                  <a:pt x="464" y="360"/>
                </a:lnTo>
                <a:lnTo>
                  <a:pt x="453" y="351"/>
                </a:lnTo>
                <a:lnTo>
                  <a:pt x="364" y="349"/>
                </a:lnTo>
                <a:lnTo>
                  <a:pt x="226" y="345"/>
                </a:lnTo>
                <a:lnTo>
                  <a:pt x="85" y="336"/>
                </a:lnTo>
                <a:lnTo>
                  <a:pt x="0" y="33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0" name="Freeform 696"/>
          <p:cNvSpPr>
            <a:spLocks/>
          </p:cNvSpPr>
          <p:nvPr/>
        </p:nvSpPr>
        <p:spPr bwMode="auto">
          <a:xfrm>
            <a:off x="3373437" y="1698746"/>
            <a:ext cx="930275" cy="574675"/>
          </a:xfrm>
          <a:custGeom>
            <a:avLst/>
            <a:gdLst>
              <a:gd name="T0" fmla="*/ 0 w 586"/>
              <a:gd name="T1" fmla="*/ 341 h 362"/>
              <a:gd name="T2" fmla="*/ 24 w 586"/>
              <a:gd name="T3" fmla="*/ 4 h 362"/>
              <a:gd name="T4" fmla="*/ 24 w 586"/>
              <a:gd name="T5" fmla="*/ 0 h 362"/>
              <a:gd name="T6" fmla="*/ 141 w 586"/>
              <a:gd name="T7" fmla="*/ 8 h 362"/>
              <a:gd name="T8" fmla="*/ 318 w 586"/>
              <a:gd name="T9" fmla="*/ 17 h 362"/>
              <a:gd name="T10" fmla="*/ 469 w 586"/>
              <a:gd name="T11" fmla="*/ 19 h 362"/>
              <a:gd name="T12" fmla="*/ 535 w 586"/>
              <a:gd name="T13" fmla="*/ 19 h 362"/>
              <a:gd name="T14" fmla="*/ 533 w 586"/>
              <a:gd name="T15" fmla="*/ 23 h 362"/>
              <a:gd name="T16" fmla="*/ 533 w 586"/>
              <a:gd name="T17" fmla="*/ 23 h 362"/>
              <a:gd name="T18" fmla="*/ 537 w 586"/>
              <a:gd name="T19" fmla="*/ 30 h 362"/>
              <a:gd name="T20" fmla="*/ 541 w 586"/>
              <a:gd name="T21" fmla="*/ 51 h 362"/>
              <a:gd name="T22" fmla="*/ 543 w 586"/>
              <a:gd name="T23" fmla="*/ 57 h 362"/>
              <a:gd name="T24" fmla="*/ 539 w 586"/>
              <a:gd name="T25" fmla="*/ 70 h 362"/>
              <a:gd name="T26" fmla="*/ 541 w 586"/>
              <a:gd name="T27" fmla="*/ 85 h 362"/>
              <a:gd name="T28" fmla="*/ 541 w 586"/>
              <a:gd name="T29" fmla="*/ 92 h 362"/>
              <a:gd name="T30" fmla="*/ 541 w 586"/>
              <a:gd name="T31" fmla="*/ 96 h 362"/>
              <a:gd name="T32" fmla="*/ 541 w 586"/>
              <a:gd name="T33" fmla="*/ 109 h 362"/>
              <a:gd name="T34" fmla="*/ 543 w 586"/>
              <a:gd name="T35" fmla="*/ 117 h 362"/>
              <a:gd name="T36" fmla="*/ 552 w 586"/>
              <a:gd name="T37" fmla="*/ 141 h 362"/>
              <a:gd name="T38" fmla="*/ 550 w 586"/>
              <a:gd name="T39" fmla="*/ 145 h 362"/>
              <a:gd name="T40" fmla="*/ 558 w 586"/>
              <a:gd name="T41" fmla="*/ 166 h 362"/>
              <a:gd name="T42" fmla="*/ 563 w 586"/>
              <a:gd name="T43" fmla="*/ 181 h 362"/>
              <a:gd name="T44" fmla="*/ 563 w 586"/>
              <a:gd name="T45" fmla="*/ 190 h 362"/>
              <a:gd name="T46" fmla="*/ 560 w 586"/>
              <a:gd name="T47" fmla="*/ 196 h 362"/>
              <a:gd name="T48" fmla="*/ 563 w 586"/>
              <a:gd name="T49" fmla="*/ 202 h 362"/>
              <a:gd name="T50" fmla="*/ 563 w 586"/>
              <a:gd name="T51" fmla="*/ 217 h 362"/>
              <a:gd name="T52" fmla="*/ 565 w 586"/>
              <a:gd name="T53" fmla="*/ 232 h 362"/>
              <a:gd name="T54" fmla="*/ 565 w 586"/>
              <a:gd name="T55" fmla="*/ 243 h 362"/>
              <a:gd name="T56" fmla="*/ 569 w 586"/>
              <a:gd name="T57" fmla="*/ 251 h 362"/>
              <a:gd name="T58" fmla="*/ 567 w 586"/>
              <a:gd name="T59" fmla="*/ 258 h 362"/>
              <a:gd name="T60" fmla="*/ 569 w 586"/>
              <a:gd name="T61" fmla="*/ 285 h 362"/>
              <a:gd name="T62" fmla="*/ 571 w 586"/>
              <a:gd name="T63" fmla="*/ 292 h 362"/>
              <a:gd name="T64" fmla="*/ 571 w 586"/>
              <a:gd name="T65" fmla="*/ 298 h 362"/>
              <a:gd name="T66" fmla="*/ 573 w 586"/>
              <a:gd name="T67" fmla="*/ 307 h 362"/>
              <a:gd name="T68" fmla="*/ 582 w 586"/>
              <a:gd name="T69" fmla="*/ 317 h 362"/>
              <a:gd name="T70" fmla="*/ 584 w 586"/>
              <a:gd name="T71" fmla="*/ 326 h 362"/>
              <a:gd name="T72" fmla="*/ 584 w 586"/>
              <a:gd name="T73" fmla="*/ 332 h 362"/>
              <a:gd name="T74" fmla="*/ 586 w 586"/>
              <a:gd name="T75" fmla="*/ 347 h 362"/>
              <a:gd name="T76" fmla="*/ 586 w 586"/>
              <a:gd name="T77" fmla="*/ 354 h 362"/>
              <a:gd name="T78" fmla="*/ 586 w 586"/>
              <a:gd name="T79" fmla="*/ 362 h 362"/>
              <a:gd name="T80" fmla="*/ 439 w 586"/>
              <a:gd name="T81" fmla="*/ 360 h 362"/>
              <a:gd name="T82" fmla="*/ 296 w 586"/>
              <a:gd name="T83" fmla="*/ 358 h 362"/>
              <a:gd name="T84" fmla="*/ 141 w 586"/>
              <a:gd name="T85" fmla="*/ 351 h 362"/>
              <a:gd name="T86" fmla="*/ 0 w 586"/>
              <a:gd name="T87" fmla="*/ 34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6" h="362">
                <a:moveTo>
                  <a:pt x="0" y="341"/>
                </a:moveTo>
                <a:lnTo>
                  <a:pt x="24" y="4"/>
                </a:lnTo>
                <a:lnTo>
                  <a:pt x="24" y="0"/>
                </a:lnTo>
                <a:lnTo>
                  <a:pt x="141" y="8"/>
                </a:lnTo>
                <a:lnTo>
                  <a:pt x="318" y="17"/>
                </a:lnTo>
                <a:lnTo>
                  <a:pt x="469" y="19"/>
                </a:lnTo>
                <a:lnTo>
                  <a:pt x="535" y="19"/>
                </a:lnTo>
                <a:lnTo>
                  <a:pt x="533" y="23"/>
                </a:lnTo>
                <a:lnTo>
                  <a:pt x="533" y="23"/>
                </a:lnTo>
                <a:lnTo>
                  <a:pt x="537" y="30"/>
                </a:lnTo>
                <a:lnTo>
                  <a:pt x="541" y="51"/>
                </a:lnTo>
                <a:lnTo>
                  <a:pt x="543" y="57"/>
                </a:lnTo>
                <a:lnTo>
                  <a:pt x="539" y="70"/>
                </a:lnTo>
                <a:lnTo>
                  <a:pt x="541" y="85"/>
                </a:lnTo>
                <a:lnTo>
                  <a:pt x="541" y="92"/>
                </a:lnTo>
                <a:lnTo>
                  <a:pt x="541" y="96"/>
                </a:lnTo>
                <a:lnTo>
                  <a:pt x="541" y="109"/>
                </a:lnTo>
                <a:lnTo>
                  <a:pt x="543" y="117"/>
                </a:lnTo>
                <a:lnTo>
                  <a:pt x="552" y="141"/>
                </a:lnTo>
                <a:lnTo>
                  <a:pt x="550" y="145"/>
                </a:lnTo>
                <a:lnTo>
                  <a:pt x="558" y="166"/>
                </a:lnTo>
                <a:lnTo>
                  <a:pt x="563" y="181"/>
                </a:lnTo>
                <a:lnTo>
                  <a:pt x="563" y="190"/>
                </a:lnTo>
                <a:lnTo>
                  <a:pt x="560" y="196"/>
                </a:lnTo>
                <a:lnTo>
                  <a:pt x="563" y="202"/>
                </a:lnTo>
                <a:lnTo>
                  <a:pt x="563" y="217"/>
                </a:lnTo>
                <a:lnTo>
                  <a:pt x="565" y="232"/>
                </a:lnTo>
                <a:lnTo>
                  <a:pt x="565" y="243"/>
                </a:lnTo>
                <a:lnTo>
                  <a:pt x="569" y="251"/>
                </a:lnTo>
                <a:lnTo>
                  <a:pt x="567" y="258"/>
                </a:lnTo>
                <a:lnTo>
                  <a:pt x="569" y="285"/>
                </a:lnTo>
                <a:lnTo>
                  <a:pt x="571" y="292"/>
                </a:lnTo>
                <a:lnTo>
                  <a:pt x="571" y="298"/>
                </a:lnTo>
                <a:lnTo>
                  <a:pt x="573" y="307"/>
                </a:lnTo>
                <a:lnTo>
                  <a:pt x="582" y="317"/>
                </a:lnTo>
                <a:lnTo>
                  <a:pt x="584" y="326"/>
                </a:lnTo>
                <a:lnTo>
                  <a:pt x="584" y="332"/>
                </a:lnTo>
                <a:lnTo>
                  <a:pt x="586" y="347"/>
                </a:lnTo>
                <a:lnTo>
                  <a:pt x="586" y="354"/>
                </a:lnTo>
                <a:lnTo>
                  <a:pt x="586" y="362"/>
                </a:lnTo>
                <a:lnTo>
                  <a:pt x="439" y="360"/>
                </a:lnTo>
                <a:lnTo>
                  <a:pt x="296" y="358"/>
                </a:lnTo>
                <a:lnTo>
                  <a:pt x="141" y="351"/>
                </a:lnTo>
                <a:lnTo>
                  <a:pt x="0" y="34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1" name="Freeform 697"/>
          <p:cNvSpPr>
            <a:spLocks/>
          </p:cNvSpPr>
          <p:nvPr/>
        </p:nvSpPr>
        <p:spPr bwMode="auto">
          <a:xfrm>
            <a:off x="3373437" y="1698746"/>
            <a:ext cx="930275" cy="574675"/>
          </a:xfrm>
          <a:custGeom>
            <a:avLst/>
            <a:gdLst>
              <a:gd name="T0" fmla="*/ 0 w 586"/>
              <a:gd name="T1" fmla="*/ 341 h 362"/>
              <a:gd name="T2" fmla="*/ 24 w 586"/>
              <a:gd name="T3" fmla="*/ 4 h 362"/>
              <a:gd name="T4" fmla="*/ 24 w 586"/>
              <a:gd name="T5" fmla="*/ 0 h 362"/>
              <a:gd name="T6" fmla="*/ 141 w 586"/>
              <a:gd name="T7" fmla="*/ 8 h 362"/>
              <a:gd name="T8" fmla="*/ 318 w 586"/>
              <a:gd name="T9" fmla="*/ 17 h 362"/>
              <a:gd name="T10" fmla="*/ 469 w 586"/>
              <a:gd name="T11" fmla="*/ 19 h 362"/>
              <a:gd name="T12" fmla="*/ 535 w 586"/>
              <a:gd name="T13" fmla="*/ 19 h 362"/>
              <a:gd name="T14" fmla="*/ 533 w 586"/>
              <a:gd name="T15" fmla="*/ 23 h 362"/>
              <a:gd name="T16" fmla="*/ 533 w 586"/>
              <a:gd name="T17" fmla="*/ 23 h 362"/>
              <a:gd name="T18" fmla="*/ 537 w 586"/>
              <a:gd name="T19" fmla="*/ 30 h 362"/>
              <a:gd name="T20" fmla="*/ 541 w 586"/>
              <a:gd name="T21" fmla="*/ 51 h 362"/>
              <a:gd name="T22" fmla="*/ 543 w 586"/>
              <a:gd name="T23" fmla="*/ 57 h 362"/>
              <a:gd name="T24" fmla="*/ 539 w 586"/>
              <a:gd name="T25" fmla="*/ 70 h 362"/>
              <a:gd name="T26" fmla="*/ 541 w 586"/>
              <a:gd name="T27" fmla="*/ 85 h 362"/>
              <a:gd name="T28" fmla="*/ 541 w 586"/>
              <a:gd name="T29" fmla="*/ 92 h 362"/>
              <a:gd name="T30" fmla="*/ 541 w 586"/>
              <a:gd name="T31" fmla="*/ 96 h 362"/>
              <a:gd name="T32" fmla="*/ 541 w 586"/>
              <a:gd name="T33" fmla="*/ 109 h 362"/>
              <a:gd name="T34" fmla="*/ 543 w 586"/>
              <a:gd name="T35" fmla="*/ 117 h 362"/>
              <a:gd name="T36" fmla="*/ 552 w 586"/>
              <a:gd name="T37" fmla="*/ 141 h 362"/>
              <a:gd name="T38" fmla="*/ 550 w 586"/>
              <a:gd name="T39" fmla="*/ 145 h 362"/>
              <a:gd name="T40" fmla="*/ 558 w 586"/>
              <a:gd name="T41" fmla="*/ 166 h 362"/>
              <a:gd name="T42" fmla="*/ 563 w 586"/>
              <a:gd name="T43" fmla="*/ 181 h 362"/>
              <a:gd name="T44" fmla="*/ 563 w 586"/>
              <a:gd name="T45" fmla="*/ 190 h 362"/>
              <a:gd name="T46" fmla="*/ 560 w 586"/>
              <a:gd name="T47" fmla="*/ 196 h 362"/>
              <a:gd name="T48" fmla="*/ 563 w 586"/>
              <a:gd name="T49" fmla="*/ 202 h 362"/>
              <a:gd name="T50" fmla="*/ 563 w 586"/>
              <a:gd name="T51" fmla="*/ 217 h 362"/>
              <a:gd name="T52" fmla="*/ 565 w 586"/>
              <a:gd name="T53" fmla="*/ 232 h 362"/>
              <a:gd name="T54" fmla="*/ 565 w 586"/>
              <a:gd name="T55" fmla="*/ 243 h 362"/>
              <a:gd name="T56" fmla="*/ 569 w 586"/>
              <a:gd name="T57" fmla="*/ 251 h 362"/>
              <a:gd name="T58" fmla="*/ 567 w 586"/>
              <a:gd name="T59" fmla="*/ 258 h 362"/>
              <a:gd name="T60" fmla="*/ 569 w 586"/>
              <a:gd name="T61" fmla="*/ 285 h 362"/>
              <a:gd name="T62" fmla="*/ 571 w 586"/>
              <a:gd name="T63" fmla="*/ 292 h 362"/>
              <a:gd name="T64" fmla="*/ 571 w 586"/>
              <a:gd name="T65" fmla="*/ 298 h 362"/>
              <a:gd name="T66" fmla="*/ 573 w 586"/>
              <a:gd name="T67" fmla="*/ 307 h 362"/>
              <a:gd name="T68" fmla="*/ 582 w 586"/>
              <a:gd name="T69" fmla="*/ 317 h 362"/>
              <a:gd name="T70" fmla="*/ 584 w 586"/>
              <a:gd name="T71" fmla="*/ 326 h 362"/>
              <a:gd name="T72" fmla="*/ 584 w 586"/>
              <a:gd name="T73" fmla="*/ 332 h 362"/>
              <a:gd name="T74" fmla="*/ 586 w 586"/>
              <a:gd name="T75" fmla="*/ 347 h 362"/>
              <a:gd name="T76" fmla="*/ 586 w 586"/>
              <a:gd name="T77" fmla="*/ 354 h 362"/>
              <a:gd name="T78" fmla="*/ 586 w 586"/>
              <a:gd name="T79" fmla="*/ 362 h 362"/>
              <a:gd name="T80" fmla="*/ 439 w 586"/>
              <a:gd name="T81" fmla="*/ 360 h 362"/>
              <a:gd name="T82" fmla="*/ 296 w 586"/>
              <a:gd name="T83" fmla="*/ 358 h 362"/>
              <a:gd name="T84" fmla="*/ 141 w 586"/>
              <a:gd name="T85" fmla="*/ 351 h 362"/>
              <a:gd name="T86" fmla="*/ 0 w 586"/>
              <a:gd name="T87" fmla="*/ 341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86" h="362">
                <a:moveTo>
                  <a:pt x="0" y="341"/>
                </a:moveTo>
                <a:lnTo>
                  <a:pt x="24" y="4"/>
                </a:lnTo>
                <a:lnTo>
                  <a:pt x="24" y="0"/>
                </a:lnTo>
                <a:lnTo>
                  <a:pt x="141" y="8"/>
                </a:lnTo>
                <a:lnTo>
                  <a:pt x="318" y="17"/>
                </a:lnTo>
                <a:lnTo>
                  <a:pt x="469" y="19"/>
                </a:lnTo>
                <a:lnTo>
                  <a:pt x="535" y="19"/>
                </a:lnTo>
                <a:lnTo>
                  <a:pt x="533" y="23"/>
                </a:lnTo>
                <a:lnTo>
                  <a:pt x="533" y="23"/>
                </a:lnTo>
                <a:lnTo>
                  <a:pt x="537" y="30"/>
                </a:lnTo>
                <a:lnTo>
                  <a:pt x="541" y="51"/>
                </a:lnTo>
                <a:lnTo>
                  <a:pt x="543" y="57"/>
                </a:lnTo>
                <a:lnTo>
                  <a:pt x="539" y="70"/>
                </a:lnTo>
                <a:lnTo>
                  <a:pt x="541" y="85"/>
                </a:lnTo>
                <a:lnTo>
                  <a:pt x="541" y="92"/>
                </a:lnTo>
                <a:lnTo>
                  <a:pt x="541" y="96"/>
                </a:lnTo>
                <a:lnTo>
                  <a:pt x="541" y="109"/>
                </a:lnTo>
                <a:lnTo>
                  <a:pt x="543" y="117"/>
                </a:lnTo>
                <a:lnTo>
                  <a:pt x="552" y="141"/>
                </a:lnTo>
                <a:lnTo>
                  <a:pt x="550" y="145"/>
                </a:lnTo>
                <a:lnTo>
                  <a:pt x="558" y="166"/>
                </a:lnTo>
                <a:lnTo>
                  <a:pt x="563" y="181"/>
                </a:lnTo>
                <a:lnTo>
                  <a:pt x="563" y="190"/>
                </a:lnTo>
                <a:lnTo>
                  <a:pt x="560" y="196"/>
                </a:lnTo>
                <a:lnTo>
                  <a:pt x="563" y="202"/>
                </a:lnTo>
                <a:lnTo>
                  <a:pt x="563" y="217"/>
                </a:lnTo>
                <a:lnTo>
                  <a:pt x="565" y="232"/>
                </a:lnTo>
                <a:lnTo>
                  <a:pt x="565" y="243"/>
                </a:lnTo>
                <a:lnTo>
                  <a:pt x="569" y="251"/>
                </a:lnTo>
                <a:lnTo>
                  <a:pt x="567" y="258"/>
                </a:lnTo>
                <a:lnTo>
                  <a:pt x="569" y="285"/>
                </a:lnTo>
                <a:lnTo>
                  <a:pt x="571" y="292"/>
                </a:lnTo>
                <a:lnTo>
                  <a:pt x="571" y="298"/>
                </a:lnTo>
                <a:lnTo>
                  <a:pt x="573" y="307"/>
                </a:lnTo>
                <a:lnTo>
                  <a:pt x="582" y="317"/>
                </a:lnTo>
                <a:lnTo>
                  <a:pt x="584" y="326"/>
                </a:lnTo>
                <a:lnTo>
                  <a:pt x="584" y="332"/>
                </a:lnTo>
                <a:lnTo>
                  <a:pt x="586" y="347"/>
                </a:lnTo>
                <a:lnTo>
                  <a:pt x="586" y="354"/>
                </a:lnTo>
                <a:lnTo>
                  <a:pt x="586" y="362"/>
                </a:lnTo>
                <a:lnTo>
                  <a:pt x="439" y="360"/>
                </a:lnTo>
                <a:lnTo>
                  <a:pt x="296" y="358"/>
                </a:lnTo>
                <a:lnTo>
                  <a:pt x="141" y="351"/>
                </a:lnTo>
                <a:lnTo>
                  <a:pt x="0" y="34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2" name="Freeform 698"/>
          <p:cNvSpPr>
            <a:spLocks/>
          </p:cNvSpPr>
          <p:nvPr/>
        </p:nvSpPr>
        <p:spPr bwMode="auto">
          <a:xfrm>
            <a:off x="3397250" y="3852984"/>
            <a:ext cx="1223963" cy="625475"/>
          </a:xfrm>
          <a:custGeom>
            <a:avLst/>
            <a:gdLst>
              <a:gd name="T0" fmla="*/ 2 w 771"/>
              <a:gd name="T1" fmla="*/ 0 h 394"/>
              <a:gd name="T2" fmla="*/ 232 w 771"/>
              <a:gd name="T3" fmla="*/ 10 h 394"/>
              <a:gd name="T4" fmla="*/ 637 w 771"/>
              <a:gd name="T5" fmla="*/ 15 h 394"/>
              <a:gd name="T6" fmla="*/ 750 w 771"/>
              <a:gd name="T7" fmla="*/ 70 h 394"/>
              <a:gd name="T8" fmla="*/ 769 w 771"/>
              <a:gd name="T9" fmla="*/ 196 h 394"/>
              <a:gd name="T10" fmla="*/ 750 w 771"/>
              <a:gd name="T11" fmla="*/ 389 h 394"/>
              <a:gd name="T12" fmla="*/ 735 w 771"/>
              <a:gd name="T13" fmla="*/ 381 h 394"/>
              <a:gd name="T14" fmla="*/ 705 w 771"/>
              <a:gd name="T15" fmla="*/ 360 h 394"/>
              <a:gd name="T16" fmla="*/ 695 w 771"/>
              <a:gd name="T17" fmla="*/ 368 h 394"/>
              <a:gd name="T18" fmla="*/ 682 w 771"/>
              <a:gd name="T19" fmla="*/ 370 h 394"/>
              <a:gd name="T20" fmla="*/ 669 w 771"/>
              <a:gd name="T21" fmla="*/ 362 h 394"/>
              <a:gd name="T22" fmla="*/ 650 w 771"/>
              <a:gd name="T23" fmla="*/ 372 h 394"/>
              <a:gd name="T24" fmla="*/ 635 w 771"/>
              <a:gd name="T25" fmla="*/ 368 h 394"/>
              <a:gd name="T26" fmla="*/ 620 w 771"/>
              <a:gd name="T27" fmla="*/ 372 h 394"/>
              <a:gd name="T28" fmla="*/ 603 w 771"/>
              <a:gd name="T29" fmla="*/ 383 h 394"/>
              <a:gd name="T30" fmla="*/ 594 w 771"/>
              <a:gd name="T31" fmla="*/ 383 h 394"/>
              <a:gd name="T32" fmla="*/ 580 w 771"/>
              <a:gd name="T33" fmla="*/ 377 h 394"/>
              <a:gd name="T34" fmla="*/ 567 w 771"/>
              <a:gd name="T35" fmla="*/ 368 h 394"/>
              <a:gd name="T36" fmla="*/ 554 w 771"/>
              <a:gd name="T37" fmla="*/ 370 h 394"/>
              <a:gd name="T38" fmla="*/ 541 w 771"/>
              <a:gd name="T39" fmla="*/ 362 h 394"/>
              <a:gd name="T40" fmla="*/ 537 w 771"/>
              <a:gd name="T41" fmla="*/ 368 h 394"/>
              <a:gd name="T42" fmla="*/ 526 w 771"/>
              <a:gd name="T43" fmla="*/ 385 h 394"/>
              <a:gd name="T44" fmla="*/ 520 w 771"/>
              <a:gd name="T45" fmla="*/ 385 h 394"/>
              <a:gd name="T46" fmla="*/ 520 w 771"/>
              <a:gd name="T47" fmla="*/ 370 h 394"/>
              <a:gd name="T48" fmla="*/ 501 w 771"/>
              <a:gd name="T49" fmla="*/ 375 h 394"/>
              <a:gd name="T50" fmla="*/ 492 w 771"/>
              <a:gd name="T51" fmla="*/ 368 h 394"/>
              <a:gd name="T52" fmla="*/ 482 w 771"/>
              <a:gd name="T53" fmla="*/ 360 h 394"/>
              <a:gd name="T54" fmla="*/ 462 w 771"/>
              <a:gd name="T55" fmla="*/ 368 h 394"/>
              <a:gd name="T56" fmla="*/ 450 w 771"/>
              <a:gd name="T57" fmla="*/ 370 h 394"/>
              <a:gd name="T58" fmla="*/ 448 w 771"/>
              <a:gd name="T59" fmla="*/ 355 h 394"/>
              <a:gd name="T60" fmla="*/ 435 w 771"/>
              <a:gd name="T61" fmla="*/ 347 h 394"/>
              <a:gd name="T62" fmla="*/ 428 w 771"/>
              <a:gd name="T63" fmla="*/ 340 h 394"/>
              <a:gd name="T64" fmla="*/ 407 w 771"/>
              <a:gd name="T65" fmla="*/ 345 h 394"/>
              <a:gd name="T66" fmla="*/ 394 w 771"/>
              <a:gd name="T67" fmla="*/ 343 h 394"/>
              <a:gd name="T68" fmla="*/ 384 w 771"/>
              <a:gd name="T69" fmla="*/ 338 h 394"/>
              <a:gd name="T70" fmla="*/ 362 w 771"/>
              <a:gd name="T71" fmla="*/ 334 h 394"/>
              <a:gd name="T72" fmla="*/ 347 w 771"/>
              <a:gd name="T73" fmla="*/ 332 h 394"/>
              <a:gd name="T74" fmla="*/ 335 w 771"/>
              <a:gd name="T75" fmla="*/ 330 h 394"/>
              <a:gd name="T76" fmla="*/ 335 w 771"/>
              <a:gd name="T77" fmla="*/ 315 h 394"/>
              <a:gd name="T78" fmla="*/ 322 w 771"/>
              <a:gd name="T79" fmla="*/ 304 h 394"/>
              <a:gd name="T80" fmla="*/ 316 w 771"/>
              <a:gd name="T81" fmla="*/ 309 h 394"/>
              <a:gd name="T82" fmla="*/ 303 w 771"/>
              <a:gd name="T83" fmla="*/ 306 h 394"/>
              <a:gd name="T84" fmla="*/ 288 w 771"/>
              <a:gd name="T85" fmla="*/ 306 h 394"/>
              <a:gd name="T86" fmla="*/ 269 w 771"/>
              <a:gd name="T87" fmla="*/ 287 h 394"/>
              <a:gd name="T88" fmla="*/ 262 w 771"/>
              <a:gd name="T89" fmla="*/ 274 h 394"/>
              <a:gd name="T90" fmla="*/ 260 w 771"/>
              <a:gd name="T91" fmla="*/ 68 h 394"/>
              <a:gd name="T92" fmla="*/ 215 w 771"/>
              <a:gd name="T93" fmla="*/ 68 h 394"/>
              <a:gd name="T94" fmla="*/ 0 w 771"/>
              <a:gd name="T95" fmla="*/ 5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1" h="394">
                <a:moveTo>
                  <a:pt x="0" y="55"/>
                </a:moveTo>
                <a:lnTo>
                  <a:pt x="2" y="0"/>
                </a:lnTo>
                <a:lnTo>
                  <a:pt x="90" y="4"/>
                </a:lnTo>
                <a:lnTo>
                  <a:pt x="232" y="10"/>
                </a:lnTo>
                <a:lnTo>
                  <a:pt x="435" y="15"/>
                </a:lnTo>
                <a:lnTo>
                  <a:pt x="637" y="15"/>
                </a:lnTo>
                <a:lnTo>
                  <a:pt x="748" y="15"/>
                </a:lnTo>
                <a:lnTo>
                  <a:pt x="750" y="70"/>
                </a:lnTo>
                <a:lnTo>
                  <a:pt x="765" y="166"/>
                </a:lnTo>
                <a:lnTo>
                  <a:pt x="769" y="196"/>
                </a:lnTo>
                <a:lnTo>
                  <a:pt x="771" y="394"/>
                </a:lnTo>
                <a:lnTo>
                  <a:pt x="750" y="389"/>
                </a:lnTo>
                <a:lnTo>
                  <a:pt x="744" y="383"/>
                </a:lnTo>
                <a:lnTo>
                  <a:pt x="735" y="381"/>
                </a:lnTo>
                <a:lnTo>
                  <a:pt x="722" y="370"/>
                </a:lnTo>
                <a:lnTo>
                  <a:pt x="705" y="360"/>
                </a:lnTo>
                <a:lnTo>
                  <a:pt x="699" y="360"/>
                </a:lnTo>
                <a:lnTo>
                  <a:pt x="695" y="368"/>
                </a:lnTo>
                <a:lnTo>
                  <a:pt x="690" y="370"/>
                </a:lnTo>
                <a:lnTo>
                  <a:pt x="682" y="370"/>
                </a:lnTo>
                <a:lnTo>
                  <a:pt x="678" y="368"/>
                </a:lnTo>
                <a:lnTo>
                  <a:pt x="669" y="362"/>
                </a:lnTo>
                <a:lnTo>
                  <a:pt x="656" y="368"/>
                </a:lnTo>
                <a:lnTo>
                  <a:pt x="650" y="372"/>
                </a:lnTo>
                <a:lnTo>
                  <a:pt x="641" y="372"/>
                </a:lnTo>
                <a:lnTo>
                  <a:pt x="635" y="368"/>
                </a:lnTo>
                <a:lnTo>
                  <a:pt x="629" y="372"/>
                </a:lnTo>
                <a:lnTo>
                  <a:pt x="620" y="372"/>
                </a:lnTo>
                <a:lnTo>
                  <a:pt x="611" y="383"/>
                </a:lnTo>
                <a:lnTo>
                  <a:pt x="603" y="383"/>
                </a:lnTo>
                <a:lnTo>
                  <a:pt x="601" y="389"/>
                </a:lnTo>
                <a:lnTo>
                  <a:pt x="594" y="383"/>
                </a:lnTo>
                <a:lnTo>
                  <a:pt x="586" y="381"/>
                </a:lnTo>
                <a:lnTo>
                  <a:pt x="580" y="377"/>
                </a:lnTo>
                <a:lnTo>
                  <a:pt x="573" y="368"/>
                </a:lnTo>
                <a:lnTo>
                  <a:pt x="567" y="368"/>
                </a:lnTo>
                <a:lnTo>
                  <a:pt x="560" y="372"/>
                </a:lnTo>
                <a:lnTo>
                  <a:pt x="554" y="370"/>
                </a:lnTo>
                <a:lnTo>
                  <a:pt x="548" y="364"/>
                </a:lnTo>
                <a:lnTo>
                  <a:pt x="541" y="362"/>
                </a:lnTo>
                <a:lnTo>
                  <a:pt x="539" y="362"/>
                </a:lnTo>
                <a:lnTo>
                  <a:pt x="537" y="368"/>
                </a:lnTo>
                <a:lnTo>
                  <a:pt x="531" y="372"/>
                </a:lnTo>
                <a:lnTo>
                  <a:pt x="526" y="385"/>
                </a:lnTo>
                <a:lnTo>
                  <a:pt x="522" y="387"/>
                </a:lnTo>
                <a:lnTo>
                  <a:pt x="520" y="385"/>
                </a:lnTo>
                <a:lnTo>
                  <a:pt x="518" y="377"/>
                </a:lnTo>
                <a:lnTo>
                  <a:pt x="520" y="370"/>
                </a:lnTo>
                <a:lnTo>
                  <a:pt x="514" y="370"/>
                </a:lnTo>
                <a:lnTo>
                  <a:pt x="501" y="375"/>
                </a:lnTo>
                <a:lnTo>
                  <a:pt x="494" y="375"/>
                </a:lnTo>
                <a:lnTo>
                  <a:pt x="492" y="368"/>
                </a:lnTo>
                <a:lnTo>
                  <a:pt x="484" y="368"/>
                </a:lnTo>
                <a:lnTo>
                  <a:pt x="482" y="360"/>
                </a:lnTo>
                <a:lnTo>
                  <a:pt x="475" y="358"/>
                </a:lnTo>
                <a:lnTo>
                  <a:pt x="462" y="368"/>
                </a:lnTo>
                <a:lnTo>
                  <a:pt x="456" y="372"/>
                </a:lnTo>
                <a:lnTo>
                  <a:pt x="450" y="370"/>
                </a:lnTo>
                <a:lnTo>
                  <a:pt x="450" y="360"/>
                </a:lnTo>
                <a:lnTo>
                  <a:pt x="448" y="355"/>
                </a:lnTo>
                <a:lnTo>
                  <a:pt x="439" y="355"/>
                </a:lnTo>
                <a:lnTo>
                  <a:pt x="435" y="347"/>
                </a:lnTo>
                <a:lnTo>
                  <a:pt x="437" y="340"/>
                </a:lnTo>
                <a:lnTo>
                  <a:pt x="428" y="340"/>
                </a:lnTo>
                <a:lnTo>
                  <a:pt x="413" y="340"/>
                </a:lnTo>
                <a:lnTo>
                  <a:pt x="407" y="345"/>
                </a:lnTo>
                <a:lnTo>
                  <a:pt x="399" y="347"/>
                </a:lnTo>
                <a:lnTo>
                  <a:pt x="394" y="343"/>
                </a:lnTo>
                <a:lnTo>
                  <a:pt x="390" y="338"/>
                </a:lnTo>
                <a:lnTo>
                  <a:pt x="384" y="338"/>
                </a:lnTo>
                <a:lnTo>
                  <a:pt x="375" y="338"/>
                </a:lnTo>
                <a:lnTo>
                  <a:pt x="362" y="334"/>
                </a:lnTo>
                <a:lnTo>
                  <a:pt x="354" y="330"/>
                </a:lnTo>
                <a:lnTo>
                  <a:pt x="347" y="332"/>
                </a:lnTo>
                <a:lnTo>
                  <a:pt x="343" y="330"/>
                </a:lnTo>
                <a:lnTo>
                  <a:pt x="335" y="330"/>
                </a:lnTo>
                <a:lnTo>
                  <a:pt x="335" y="321"/>
                </a:lnTo>
                <a:lnTo>
                  <a:pt x="335" y="315"/>
                </a:lnTo>
                <a:lnTo>
                  <a:pt x="328" y="309"/>
                </a:lnTo>
                <a:lnTo>
                  <a:pt x="322" y="304"/>
                </a:lnTo>
                <a:lnTo>
                  <a:pt x="320" y="300"/>
                </a:lnTo>
                <a:lnTo>
                  <a:pt x="316" y="309"/>
                </a:lnTo>
                <a:lnTo>
                  <a:pt x="309" y="309"/>
                </a:lnTo>
                <a:lnTo>
                  <a:pt x="303" y="306"/>
                </a:lnTo>
                <a:lnTo>
                  <a:pt x="294" y="311"/>
                </a:lnTo>
                <a:lnTo>
                  <a:pt x="288" y="306"/>
                </a:lnTo>
                <a:lnTo>
                  <a:pt x="275" y="291"/>
                </a:lnTo>
                <a:lnTo>
                  <a:pt x="269" y="287"/>
                </a:lnTo>
                <a:lnTo>
                  <a:pt x="260" y="285"/>
                </a:lnTo>
                <a:lnTo>
                  <a:pt x="262" y="274"/>
                </a:lnTo>
                <a:lnTo>
                  <a:pt x="269" y="72"/>
                </a:lnTo>
                <a:lnTo>
                  <a:pt x="260" y="68"/>
                </a:lnTo>
                <a:lnTo>
                  <a:pt x="252" y="68"/>
                </a:lnTo>
                <a:lnTo>
                  <a:pt x="215" y="68"/>
                </a:lnTo>
                <a:lnTo>
                  <a:pt x="122" y="64"/>
                </a:lnTo>
                <a:lnTo>
                  <a:pt x="0" y="55"/>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293" name="Freeform 699"/>
          <p:cNvSpPr>
            <a:spLocks/>
          </p:cNvSpPr>
          <p:nvPr/>
        </p:nvSpPr>
        <p:spPr bwMode="auto">
          <a:xfrm>
            <a:off x="3397250" y="3852984"/>
            <a:ext cx="1223963" cy="625475"/>
          </a:xfrm>
          <a:custGeom>
            <a:avLst/>
            <a:gdLst>
              <a:gd name="T0" fmla="*/ 2 w 771"/>
              <a:gd name="T1" fmla="*/ 0 h 394"/>
              <a:gd name="T2" fmla="*/ 232 w 771"/>
              <a:gd name="T3" fmla="*/ 10 h 394"/>
              <a:gd name="T4" fmla="*/ 637 w 771"/>
              <a:gd name="T5" fmla="*/ 15 h 394"/>
              <a:gd name="T6" fmla="*/ 750 w 771"/>
              <a:gd name="T7" fmla="*/ 70 h 394"/>
              <a:gd name="T8" fmla="*/ 769 w 771"/>
              <a:gd name="T9" fmla="*/ 196 h 394"/>
              <a:gd name="T10" fmla="*/ 750 w 771"/>
              <a:gd name="T11" fmla="*/ 389 h 394"/>
              <a:gd name="T12" fmla="*/ 735 w 771"/>
              <a:gd name="T13" fmla="*/ 381 h 394"/>
              <a:gd name="T14" fmla="*/ 705 w 771"/>
              <a:gd name="T15" fmla="*/ 360 h 394"/>
              <a:gd name="T16" fmla="*/ 695 w 771"/>
              <a:gd name="T17" fmla="*/ 368 h 394"/>
              <a:gd name="T18" fmla="*/ 682 w 771"/>
              <a:gd name="T19" fmla="*/ 370 h 394"/>
              <a:gd name="T20" fmla="*/ 669 w 771"/>
              <a:gd name="T21" fmla="*/ 362 h 394"/>
              <a:gd name="T22" fmla="*/ 650 w 771"/>
              <a:gd name="T23" fmla="*/ 372 h 394"/>
              <a:gd name="T24" fmla="*/ 635 w 771"/>
              <a:gd name="T25" fmla="*/ 368 h 394"/>
              <a:gd name="T26" fmla="*/ 620 w 771"/>
              <a:gd name="T27" fmla="*/ 372 h 394"/>
              <a:gd name="T28" fmla="*/ 603 w 771"/>
              <a:gd name="T29" fmla="*/ 383 h 394"/>
              <a:gd name="T30" fmla="*/ 594 w 771"/>
              <a:gd name="T31" fmla="*/ 383 h 394"/>
              <a:gd name="T32" fmla="*/ 580 w 771"/>
              <a:gd name="T33" fmla="*/ 377 h 394"/>
              <a:gd name="T34" fmla="*/ 567 w 771"/>
              <a:gd name="T35" fmla="*/ 368 h 394"/>
              <a:gd name="T36" fmla="*/ 554 w 771"/>
              <a:gd name="T37" fmla="*/ 370 h 394"/>
              <a:gd name="T38" fmla="*/ 541 w 771"/>
              <a:gd name="T39" fmla="*/ 362 h 394"/>
              <a:gd name="T40" fmla="*/ 537 w 771"/>
              <a:gd name="T41" fmla="*/ 368 h 394"/>
              <a:gd name="T42" fmla="*/ 526 w 771"/>
              <a:gd name="T43" fmla="*/ 385 h 394"/>
              <a:gd name="T44" fmla="*/ 520 w 771"/>
              <a:gd name="T45" fmla="*/ 385 h 394"/>
              <a:gd name="T46" fmla="*/ 520 w 771"/>
              <a:gd name="T47" fmla="*/ 370 h 394"/>
              <a:gd name="T48" fmla="*/ 501 w 771"/>
              <a:gd name="T49" fmla="*/ 375 h 394"/>
              <a:gd name="T50" fmla="*/ 492 w 771"/>
              <a:gd name="T51" fmla="*/ 368 h 394"/>
              <a:gd name="T52" fmla="*/ 482 w 771"/>
              <a:gd name="T53" fmla="*/ 360 h 394"/>
              <a:gd name="T54" fmla="*/ 462 w 771"/>
              <a:gd name="T55" fmla="*/ 368 h 394"/>
              <a:gd name="T56" fmla="*/ 450 w 771"/>
              <a:gd name="T57" fmla="*/ 370 h 394"/>
              <a:gd name="T58" fmla="*/ 448 w 771"/>
              <a:gd name="T59" fmla="*/ 355 h 394"/>
              <a:gd name="T60" fmla="*/ 435 w 771"/>
              <a:gd name="T61" fmla="*/ 347 h 394"/>
              <a:gd name="T62" fmla="*/ 428 w 771"/>
              <a:gd name="T63" fmla="*/ 340 h 394"/>
              <a:gd name="T64" fmla="*/ 407 w 771"/>
              <a:gd name="T65" fmla="*/ 345 h 394"/>
              <a:gd name="T66" fmla="*/ 394 w 771"/>
              <a:gd name="T67" fmla="*/ 343 h 394"/>
              <a:gd name="T68" fmla="*/ 384 w 771"/>
              <a:gd name="T69" fmla="*/ 338 h 394"/>
              <a:gd name="T70" fmla="*/ 362 w 771"/>
              <a:gd name="T71" fmla="*/ 334 h 394"/>
              <a:gd name="T72" fmla="*/ 347 w 771"/>
              <a:gd name="T73" fmla="*/ 332 h 394"/>
              <a:gd name="T74" fmla="*/ 335 w 771"/>
              <a:gd name="T75" fmla="*/ 330 h 394"/>
              <a:gd name="T76" fmla="*/ 335 w 771"/>
              <a:gd name="T77" fmla="*/ 315 h 394"/>
              <a:gd name="T78" fmla="*/ 322 w 771"/>
              <a:gd name="T79" fmla="*/ 304 h 394"/>
              <a:gd name="T80" fmla="*/ 316 w 771"/>
              <a:gd name="T81" fmla="*/ 309 h 394"/>
              <a:gd name="T82" fmla="*/ 303 w 771"/>
              <a:gd name="T83" fmla="*/ 306 h 394"/>
              <a:gd name="T84" fmla="*/ 288 w 771"/>
              <a:gd name="T85" fmla="*/ 306 h 394"/>
              <a:gd name="T86" fmla="*/ 269 w 771"/>
              <a:gd name="T87" fmla="*/ 287 h 394"/>
              <a:gd name="T88" fmla="*/ 262 w 771"/>
              <a:gd name="T89" fmla="*/ 274 h 394"/>
              <a:gd name="T90" fmla="*/ 260 w 771"/>
              <a:gd name="T91" fmla="*/ 68 h 394"/>
              <a:gd name="T92" fmla="*/ 215 w 771"/>
              <a:gd name="T93" fmla="*/ 68 h 394"/>
              <a:gd name="T94" fmla="*/ 0 w 771"/>
              <a:gd name="T95" fmla="*/ 55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71" h="394">
                <a:moveTo>
                  <a:pt x="0" y="55"/>
                </a:moveTo>
                <a:lnTo>
                  <a:pt x="2" y="0"/>
                </a:lnTo>
                <a:lnTo>
                  <a:pt x="90" y="4"/>
                </a:lnTo>
                <a:lnTo>
                  <a:pt x="232" y="10"/>
                </a:lnTo>
                <a:lnTo>
                  <a:pt x="435" y="15"/>
                </a:lnTo>
                <a:lnTo>
                  <a:pt x="637" y="15"/>
                </a:lnTo>
                <a:lnTo>
                  <a:pt x="748" y="15"/>
                </a:lnTo>
                <a:lnTo>
                  <a:pt x="750" y="70"/>
                </a:lnTo>
                <a:lnTo>
                  <a:pt x="765" y="166"/>
                </a:lnTo>
                <a:lnTo>
                  <a:pt x="769" y="196"/>
                </a:lnTo>
                <a:lnTo>
                  <a:pt x="771" y="394"/>
                </a:lnTo>
                <a:lnTo>
                  <a:pt x="750" y="389"/>
                </a:lnTo>
                <a:lnTo>
                  <a:pt x="744" y="383"/>
                </a:lnTo>
                <a:lnTo>
                  <a:pt x="735" y="381"/>
                </a:lnTo>
                <a:lnTo>
                  <a:pt x="722" y="370"/>
                </a:lnTo>
                <a:lnTo>
                  <a:pt x="705" y="360"/>
                </a:lnTo>
                <a:lnTo>
                  <a:pt x="699" y="360"/>
                </a:lnTo>
                <a:lnTo>
                  <a:pt x="695" y="368"/>
                </a:lnTo>
                <a:lnTo>
                  <a:pt x="690" y="370"/>
                </a:lnTo>
                <a:lnTo>
                  <a:pt x="682" y="370"/>
                </a:lnTo>
                <a:lnTo>
                  <a:pt x="678" y="368"/>
                </a:lnTo>
                <a:lnTo>
                  <a:pt x="669" y="362"/>
                </a:lnTo>
                <a:lnTo>
                  <a:pt x="656" y="368"/>
                </a:lnTo>
                <a:lnTo>
                  <a:pt x="650" y="372"/>
                </a:lnTo>
                <a:lnTo>
                  <a:pt x="641" y="372"/>
                </a:lnTo>
                <a:lnTo>
                  <a:pt x="635" y="368"/>
                </a:lnTo>
                <a:lnTo>
                  <a:pt x="629" y="372"/>
                </a:lnTo>
                <a:lnTo>
                  <a:pt x="620" y="372"/>
                </a:lnTo>
                <a:lnTo>
                  <a:pt x="611" y="383"/>
                </a:lnTo>
                <a:lnTo>
                  <a:pt x="603" y="383"/>
                </a:lnTo>
                <a:lnTo>
                  <a:pt x="601" y="389"/>
                </a:lnTo>
                <a:lnTo>
                  <a:pt x="594" y="383"/>
                </a:lnTo>
                <a:lnTo>
                  <a:pt x="586" y="381"/>
                </a:lnTo>
                <a:lnTo>
                  <a:pt x="580" y="377"/>
                </a:lnTo>
                <a:lnTo>
                  <a:pt x="573" y="368"/>
                </a:lnTo>
                <a:lnTo>
                  <a:pt x="567" y="368"/>
                </a:lnTo>
                <a:lnTo>
                  <a:pt x="560" y="372"/>
                </a:lnTo>
                <a:lnTo>
                  <a:pt x="554" y="370"/>
                </a:lnTo>
                <a:lnTo>
                  <a:pt x="548" y="364"/>
                </a:lnTo>
                <a:lnTo>
                  <a:pt x="541" y="362"/>
                </a:lnTo>
                <a:lnTo>
                  <a:pt x="539" y="362"/>
                </a:lnTo>
                <a:lnTo>
                  <a:pt x="537" y="368"/>
                </a:lnTo>
                <a:lnTo>
                  <a:pt x="531" y="372"/>
                </a:lnTo>
                <a:lnTo>
                  <a:pt x="526" y="385"/>
                </a:lnTo>
                <a:lnTo>
                  <a:pt x="522" y="387"/>
                </a:lnTo>
                <a:lnTo>
                  <a:pt x="520" y="385"/>
                </a:lnTo>
                <a:lnTo>
                  <a:pt x="518" y="377"/>
                </a:lnTo>
                <a:lnTo>
                  <a:pt x="520" y="370"/>
                </a:lnTo>
                <a:lnTo>
                  <a:pt x="514" y="370"/>
                </a:lnTo>
                <a:lnTo>
                  <a:pt x="501" y="375"/>
                </a:lnTo>
                <a:lnTo>
                  <a:pt x="494" y="375"/>
                </a:lnTo>
                <a:lnTo>
                  <a:pt x="492" y="368"/>
                </a:lnTo>
                <a:lnTo>
                  <a:pt x="484" y="368"/>
                </a:lnTo>
                <a:lnTo>
                  <a:pt x="482" y="360"/>
                </a:lnTo>
                <a:lnTo>
                  <a:pt x="475" y="358"/>
                </a:lnTo>
                <a:lnTo>
                  <a:pt x="462" y="368"/>
                </a:lnTo>
                <a:lnTo>
                  <a:pt x="456" y="372"/>
                </a:lnTo>
                <a:lnTo>
                  <a:pt x="450" y="370"/>
                </a:lnTo>
                <a:lnTo>
                  <a:pt x="450" y="360"/>
                </a:lnTo>
                <a:lnTo>
                  <a:pt x="448" y="355"/>
                </a:lnTo>
                <a:lnTo>
                  <a:pt x="439" y="355"/>
                </a:lnTo>
                <a:lnTo>
                  <a:pt x="435" y="347"/>
                </a:lnTo>
                <a:lnTo>
                  <a:pt x="437" y="340"/>
                </a:lnTo>
                <a:lnTo>
                  <a:pt x="428" y="340"/>
                </a:lnTo>
                <a:lnTo>
                  <a:pt x="413" y="340"/>
                </a:lnTo>
                <a:lnTo>
                  <a:pt x="407" y="345"/>
                </a:lnTo>
                <a:lnTo>
                  <a:pt x="399" y="347"/>
                </a:lnTo>
                <a:lnTo>
                  <a:pt x="394" y="343"/>
                </a:lnTo>
                <a:lnTo>
                  <a:pt x="390" y="338"/>
                </a:lnTo>
                <a:lnTo>
                  <a:pt x="384" y="338"/>
                </a:lnTo>
                <a:lnTo>
                  <a:pt x="375" y="338"/>
                </a:lnTo>
                <a:lnTo>
                  <a:pt x="362" y="334"/>
                </a:lnTo>
                <a:lnTo>
                  <a:pt x="354" y="330"/>
                </a:lnTo>
                <a:lnTo>
                  <a:pt x="347" y="332"/>
                </a:lnTo>
                <a:lnTo>
                  <a:pt x="343" y="330"/>
                </a:lnTo>
                <a:lnTo>
                  <a:pt x="335" y="330"/>
                </a:lnTo>
                <a:lnTo>
                  <a:pt x="335" y="321"/>
                </a:lnTo>
                <a:lnTo>
                  <a:pt x="335" y="315"/>
                </a:lnTo>
                <a:lnTo>
                  <a:pt x="328" y="309"/>
                </a:lnTo>
                <a:lnTo>
                  <a:pt x="322" y="304"/>
                </a:lnTo>
                <a:lnTo>
                  <a:pt x="320" y="300"/>
                </a:lnTo>
                <a:lnTo>
                  <a:pt x="316" y="309"/>
                </a:lnTo>
                <a:lnTo>
                  <a:pt x="309" y="309"/>
                </a:lnTo>
                <a:lnTo>
                  <a:pt x="303" y="306"/>
                </a:lnTo>
                <a:lnTo>
                  <a:pt x="294" y="311"/>
                </a:lnTo>
                <a:lnTo>
                  <a:pt x="288" y="306"/>
                </a:lnTo>
                <a:lnTo>
                  <a:pt x="275" y="291"/>
                </a:lnTo>
                <a:lnTo>
                  <a:pt x="269" y="287"/>
                </a:lnTo>
                <a:lnTo>
                  <a:pt x="260" y="285"/>
                </a:lnTo>
                <a:lnTo>
                  <a:pt x="262" y="274"/>
                </a:lnTo>
                <a:lnTo>
                  <a:pt x="269" y="72"/>
                </a:lnTo>
                <a:lnTo>
                  <a:pt x="260" y="68"/>
                </a:lnTo>
                <a:lnTo>
                  <a:pt x="252" y="68"/>
                </a:lnTo>
                <a:lnTo>
                  <a:pt x="215" y="68"/>
                </a:lnTo>
                <a:lnTo>
                  <a:pt x="122" y="64"/>
                </a:lnTo>
                <a:lnTo>
                  <a:pt x="0" y="5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4" name="Freeform 700"/>
          <p:cNvSpPr>
            <a:spLocks/>
          </p:cNvSpPr>
          <p:nvPr/>
        </p:nvSpPr>
        <p:spPr bwMode="auto">
          <a:xfrm>
            <a:off x="3540125" y="3317996"/>
            <a:ext cx="1044575" cy="558800"/>
          </a:xfrm>
          <a:custGeom>
            <a:avLst/>
            <a:gdLst>
              <a:gd name="T0" fmla="*/ 0 w 658"/>
              <a:gd name="T1" fmla="*/ 341 h 352"/>
              <a:gd name="T2" fmla="*/ 17 w 658"/>
              <a:gd name="T3" fmla="*/ 0 h 352"/>
              <a:gd name="T4" fmla="*/ 125 w 658"/>
              <a:gd name="T5" fmla="*/ 7 h 352"/>
              <a:gd name="T6" fmla="*/ 336 w 658"/>
              <a:gd name="T7" fmla="*/ 13 h 352"/>
              <a:gd name="T8" fmla="*/ 447 w 658"/>
              <a:gd name="T9" fmla="*/ 13 h 352"/>
              <a:gd name="T10" fmla="*/ 590 w 658"/>
              <a:gd name="T11" fmla="*/ 11 h 352"/>
              <a:gd name="T12" fmla="*/ 611 w 658"/>
              <a:gd name="T13" fmla="*/ 26 h 352"/>
              <a:gd name="T14" fmla="*/ 617 w 658"/>
              <a:gd name="T15" fmla="*/ 21 h 352"/>
              <a:gd name="T16" fmla="*/ 624 w 658"/>
              <a:gd name="T17" fmla="*/ 24 h 352"/>
              <a:gd name="T18" fmla="*/ 628 w 658"/>
              <a:gd name="T19" fmla="*/ 32 h 352"/>
              <a:gd name="T20" fmla="*/ 630 w 658"/>
              <a:gd name="T21" fmla="*/ 39 h 352"/>
              <a:gd name="T22" fmla="*/ 628 w 658"/>
              <a:gd name="T23" fmla="*/ 41 h 352"/>
              <a:gd name="T24" fmla="*/ 622 w 658"/>
              <a:gd name="T25" fmla="*/ 41 h 352"/>
              <a:gd name="T26" fmla="*/ 617 w 658"/>
              <a:gd name="T27" fmla="*/ 47 h 352"/>
              <a:gd name="T28" fmla="*/ 609 w 658"/>
              <a:gd name="T29" fmla="*/ 60 h 352"/>
              <a:gd name="T30" fmla="*/ 613 w 658"/>
              <a:gd name="T31" fmla="*/ 66 h 352"/>
              <a:gd name="T32" fmla="*/ 619 w 658"/>
              <a:gd name="T33" fmla="*/ 75 h 352"/>
              <a:gd name="T34" fmla="*/ 628 w 658"/>
              <a:gd name="T35" fmla="*/ 81 h 352"/>
              <a:gd name="T36" fmla="*/ 628 w 658"/>
              <a:gd name="T37" fmla="*/ 87 h 352"/>
              <a:gd name="T38" fmla="*/ 639 w 658"/>
              <a:gd name="T39" fmla="*/ 102 h 352"/>
              <a:gd name="T40" fmla="*/ 645 w 658"/>
              <a:gd name="T41" fmla="*/ 105 h 352"/>
              <a:gd name="T42" fmla="*/ 654 w 658"/>
              <a:gd name="T43" fmla="*/ 111 h 352"/>
              <a:gd name="T44" fmla="*/ 658 w 658"/>
              <a:gd name="T45" fmla="*/ 352 h 352"/>
              <a:gd name="T46" fmla="*/ 547 w 658"/>
              <a:gd name="T47" fmla="*/ 352 h 352"/>
              <a:gd name="T48" fmla="*/ 345 w 658"/>
              <a:gd name="T49" fmla="*/ 352 h 352"/>
              <a:gd name="T50" fmla="*/ 142 w 658"/>
              <a:gd name="T51" fmla="*/ 347 h 352"/>
              <a:gd name="T52" fmla="*/ 0 w 658"/>
              <a:gd name="T53" fmla="*/ 34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8" h="352">
                <a:moveTo>
                  <a:pt x="0" y="341"/>
                </a:moveTo>
                <a:lnTo>
                  <a:pt x="17" y="0"/>
                </a:lnTo>
                <a:lnTo>
                  <a:pt x="125" y="7"/>
                </a:lnTo>
                <a:lnTo>
                  <a:pt x="336" y="13"/>
                </a:lnTo>
                <a:lnTo>
                  <a:pt x="447" y="13"/>
                </a:lnTo>
                <a:lnTo>
                  <a:pt x="590" y="11"/>
                </a:lnTo>
                <a:lnTo>
                  <a:pt x="611" y="26"/>
                </a:lnTo>
                <a:lnTo>
                  <a:pt x="617" y="21"/>
                </a:lnTo>
                <a:lnTo>
                  <a:pt x="624" y="24"/>
                </a:lnTo>
                <a:lnTo>
                  <a:pt x="628" y="32"/>
                </a:lnTo>
                <a:lnTo>
                  <a:pt x="630" y="39"/>
                </a:lnTo>
                <a:lnTo>
                  <a:pt x="628" y="41"/>
                </a:lnTo>
                <a:lnTo>
                  <a:pt x="622" y="41"/>
                </a:lnTo>
                <a:lnTo>
                  <a:pt x="617" y="47"/>
                </a:lnTo>
                <a:lnTo>
                  <a:pt x="609" y="60"/>
                </a:lnTo>
                <a:lnTo>
                  <a:pt x="613" y="66"/>
                </a:lnTo>
                <a:lnTo>
                  <a:pt x="619" y="75"/>
                </a:lnTo>
                <a:lnTo>
                  <a:pt x="628" y="81"/>
                </a:lnTo>
                <a:lnTo>
                  <a:pt x="628" y="87"/>
                </a:lnTo>
                <a:lnTo>
                  <a:pt x="639" y="102"/>
                </a:lnTo>
                <a:lnTo>
                  <a:pt x="645" y="105"/>
                </a:lnTo>
                <a:lnTo>
                  <a:pt x="654" y="111"/>
                </a:lnTo>
                <a:lnTo>
                  <a:pt x="658" y="352"/>
                </a:lnTo>
                <a:lnTo>
                  <a:pt x="547" y="352"/>
                </a:lnTo>
                <a:lnTo>
                  <a:pt x="345" y="352"/>
                </a:lnTo>
                <a:lnTo>
                  <a:pt x="142" y="347"/>
                </a:lnTo>
                <a:lnTo>
                  <a:pt x="0" y="341"/>
                </a:lnTo>
                <a:close/>
              </a:path>
            </a:pathLst>
          </a:custGeom>
          <a:solidFill>
            <a:srgbClr val="FFC9C9"/>
          </a:solidFill>
          <a:ln>
            <a:noFill/>
          </a:ln>
        </p:spPr>
        <p:txBody>
          <a:bodyPr vert="horz" wrap="square" lIns="91440" tIns="45720" rIns="91440" bIns="45720" numCol="1" anchor="t" anchorCtr="0" compatLnSpc="1">
            <a:prstTxWarp prst="textNoShape">
              <a:avLst/>
            </a:prstTxWarp>
          </a:bodyPr>
          <a:lstStyle/>
          <a:p>
            <a:endParaRPr lang="en-US"/>
          </a:p>
        </p:txBody>
      </p:sp>
      <p:sp>
        <p:nvSpPr>
          <p:cNvPr id="1295" name="Freeform 701"/>
          <p:cNvSpPr>
            <a:spLocks/>
          </p:cNvSpPr>
          <p:nvPr/>
        </p:nvSpPr>
        <p:spPr bwMode="auto">
          <a:xfrm>
            <a:off x="3540125" y="3317996"/>
            <a:ext cx="1044575" cy="558800"/>
          </a:xfrm>
          <a:custGeom>
            <a:avLst/>
            <a:gdLst>
              <a:gd name="T0" fmla="*/ 0 w 658"/>
              <a:gd name="T1" fmla="*/ 341 h 352"/>
              <a:gd name="T2" fmla="*/ 17 w 658"/>
              <a:gd name="T3" fmla="*/ 0 h 352"/>
              <a:gd name="T4" fmla="*/ 125 w 658"/>
              <a:gd name="T5" fmla="*/ 7 h 352"/>
              <a:gd name="T6" fmla="*/ 336 w 658"/>
              <a:gd name="T7" fmla="*/ 13 h 352"/>
              <a:gd name="T8" fmla="*/ 447 w 658"/>
              <a:gd name="T9" fmla="*/ 13 h 352"/>
              <a:gd name="T10" fmla="*/ 590 w 658"/>
              <a:gd name="T11" fmla="*/ 11 h 352"/>
              <a:gd name="T12" fmla="*/ 611 w 658"/>
              <a:gd name="T13" fmla="*/ 26 h 352"/>
              <a:gd name="T14" fmla="*/ 617 w 658"/>
              <a:gd name="T15" fmla="*/ 21 h 352"/>
              <a:gd name="T16" fmla="*/ 624 w 658"/>
              <a:gd name="T17" fmla="*/ 24 h 352"/>
              <a:gd name="T18" fmla="*/ 628 w 658"/>
              <a:gd name="T19" fmla="*/ 32 h 352"/>
              <a:gd name="T20" fmla="*/ 630 w 658"/>
              <a:gd name="T21" fmla="*/ 39 h 352"/>
              <a:gd name="T22" fmla="*/ 628 w 658"/>
              <a:gd name="T23" fmla="*/ 41 h 352"/>
              <a:gd name="T24" fmla="*/ 622 w 658"/>
              <a:gd name="T25" fmla="*/ 41 h 352"/>
              <a:gd name="T26" fmla="*/ 617 w 658"/>
              <a:gd name="T27" fmla="*/ 47 h 352"/>
              <a:gd name="T28" fmla="*/ 609 w 658"/>
              <a:gd name="T29" fmla="*/ 60 h 352"/>
              <a:gd name="T30" fmla="*/ 613 w 658"/>
              <a:gd name="T31" fmla="*/ 66 h 352"/>
              <a:gd name="T32" fmla="*/ 619 w 658"/>
              <a:gd name="T33" fmla="*/ 75 h 352"/>
              <a:gd name="T34" fmla="*/ 628 w 658"/>
              <a:gd name="T35" fmla="*/ 81 h 352"/>
              <a:gd name="T36" fmla="*/ 628 w 658"/>
              <a:gd name="T37" fmla="*/ 87 h 352"/>
              <a:gd name="T38" fmla="*/ 639 w 658"/>
              <a:gd name="T39" fmla="*/ 102 h 352"/>
              <a:gd name="T40" fmla="*/ 645 w 658"/>
              <a:gd name="T41" fmla="*/ 105 h 352"/>
              <a:gd name="T42" fmla="*/ 654 w 658"/>
              <a:gd name="T43" fmla="*/ 111 h 352"/>
              <a:gd name="T44" fmla="*/ 658 w 658"/>
              <a:gd name="T45" fmla="*/ 352 h 352"/>
              <a:gd name="T46" fmla="*/ 547 w 658"/>
              <a:gd name="T47" fmla="*/ 352 h 352"/>
              <a:gd name="T48" fmla="*/ 345 w 658"/>
              <a:gd name="T49" fmla="*/ 352 h 352"/>
              <a:gd name="T50" fmla="*/ 142 w 658"/>
              <a:gd name="T51" fmla="*/ 347 h 352"/>
              <a:gd name="T52" fmla="*/ 0 w 658"/>
              <a:gd name="T53" fmla="*/ 341 h 3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58" h="352">
                <a:moveTo>
                  <a:pt x="0" y="341"/>
                </a:moveTo>
                <a:lnTo>
                  <a:pt x="17" y="0"/>
                </a:lnTo>
                <a:lnTo>
                  <a:pt x="125" y="7"/>
                </a:lnTo>
                <a:lnTo>
                  <a:pt x="336" y="13"/>
                </a:lnTo>
                <a:lnTo>
                  <a:pt x="447" y="13"/>
                </a:lnTo>
                <a:lnTo>
                  <a:pt x="590" y="11"/>
                </a:lnTo>
                <a:lnTo>
                  <a:pt x="611" y="26"/>
                </a:lnTo>
                <a:lnTo>
                  <a:pt x="617" y="21"/>
                </a:lnTo>
                <a:lnTo>
                  <a:pt x="624" y="24"/>
                </a:lnTo>
                <a:lnTo>
                  <a:pt x="628" y="32"/>
                </a:lnTo>
                <a:lnTo>
                  <a:pt x="630" y="39"/>
                </a:lnTo>
                <a:lnTo>
                  <a:pt x="628" y="41"/>
                </a:lnTo>
                <a:lnTo>
                  <a:pt x="622" y="41"/>
                </a:lnTo>
                <a:lnTo>
                  <a:pt x="617" y="47"/>
                </a:lnTo>
                <a:lnTo>
                  <a:pt x="609" y="60"/>
                </a:lnTo>
                <a:lnTo>
                  <a:pt x="613" y="66"/>
                </a:lnTo>
                <a:lnTo>
                  <a:pt x="619" y="75"/>
                </a:lnTo>
                <a:lnTo>
                  <a:pt x="628" y="81"/>
                </a:lnTo>
                <a:lnTo>
                  <a:pt x="628" y="87"/>
                </a:lnTo>
                <a:lnTo>
                  <a:pt x="639" y="102"/>
                </a:lnTo>
                <a:lnTo>
                  <a:pt x="645" y="105"/>
                </a:lnTo>
                <a:lnTo>
                  <a:pt x="654" y="111"/>
                </a:lnTo>
                <a:lnTo>
                  <a:pt x="658" y="352"/>
                </a:lnTo>
                <a:lnTo>
                  <a:pt x="547" y="352"/>
                </a:lnTo>
                <a:lnTo>
                  <a:pt x="345" y="352"/>
                </a:lnTo>
                <a:lnTo>
                  <a:pt x="142" y="347"/>
                </a:lnTo>
                <a:lnTo>
                  <a:pt x="0" y="34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6" name="Freeform 702"/>
          <p:cNvSpPr>
            <a:spLocks/>
          </p:cNvSpPr>
          <p:nvPr/>
        </p:nvSpPr>
        <p:spPr bwMode="auto">
          <a:xfrm>
            <a:off x="6091237" y="5056309"/>
            <a:ext cx="58738" cy="36513"/>
          </a:xfrm>
          <a:custGeom>
            <a:avLst/>
            <a:gdLst>
              <a:gd name="T0" fmla="*/ 0 w 37"/>
              <a:gd name="T1" fmla="*/ 19 h 23"/>
              <a:gd name="T2" fmla="*/ 5 w 37"/>
              <a:gd name="T3" fmla="*/ 23 h 23"/>
              <a:gd name="T4" fmla="*/ 13 w 37"/>
              <a:gd name="T5" fmla="*/ 19 h 23"/>
              <a:gd name="T6" fmla="*/ 15 w 37"/>
              <a:gd name="T7" fmla="*/ 17 h 23"/>
              <a:gd name="T8" fmla="*/ 30 w 37"/>
              <a:gd name="T9" fmla="*/ 6 h 23"/>
              <a:gd name="T10" fmla="*/ 37 w 37"/>
              <a:gd name="T11" fmla="*/ 0 h 23"/>
              <a:gd name="T12" fmla="*/ 28 w 37"/>
              <a:gd name="T13" fmla="*/ 6 h 23"/>
              <a:gd name="T14" fmla="*/ 28 w 37"/>
              <a:gd name="T15" fmla="*/ 8 h 23"/>
              <a:gd name="T16" fmla="*/ 22 w 37"/>
              <a:gd name="T17" fmla="*/ 11 h 23"/>
              <a:gd name="T18" fmla="*/ 13 w 37"/>
              <a:gd name="T19" fmla="*/ 17 h 23"/>
              <a:gd name="T20" fmla="*/ 7 w 37"/>
              <a:gd name="T21" fmla="*/ 21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5" y="23"/>
                </a:lnTo>
                <a:lnTo>
                  <a:pt x="13" y="19"/>
                </a:lnTo>
                <a:lnTo>
                  <a:pt x="15" y="17"/>
                </a:lnTo>
                <a:lnTo>
                  <a:pt x="30" y="6"/>
                </a:lnTo>
                <a:lnTo>
                  <a:pt x="37" y="0"/>
                </a:lnTo>
                <a:lnTo>
                  <a:pt x="28" y="6"/>
                </a:lnTo>
                <a:lnTo>
                  <a:pt x="28" y="8"/>
                </a:lnTo>
                <a:lnTo>
                  <a:pt x="22" y="11"/>
                </a:lnTo>
                <a:lnTo>
                  <a:pt x="13" y="17"/>
                </a:lnTo>
                <a:lnTo>
                  <a:pt x="7" y="21"/>
                </a:lnTo>
                <a:lnTo>
                  <a:pt x="0" y="1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7" name="Freeform 703"/>
          <p:cNvSpPr>
            <a:spLocks/>
          </p:cNvSpPr>
          <p:nvPr/>
        </p:nvSpPr>
        <p:spPr bwMode="auto">
          <a:xfrm>
            <a:off x="6091237" y="5056309"/>
            <a:ext cx="58738" cy="36513"/>
          </a:xfrm>
          <a:custGeom>
            <a:avLst/>
            <a:gdLst>
              <a:gd name="T0" fmla="*/ 0 w 37"/>
              <a:gd name="T1" fmla="*/ 19 h 23"/>
              <a:gd name="T2" fmla="*/ 5 w 37"/>
              <a:gd name="T3" fmla="*/ 23 h 23"/>
              <a:gd name="T4" fmla="*/ 13 w 37"/>
              <a:gd name="T5" fmla="*/ 19 h 23"/>
              <a:gd name="T6" fmla="*/ 15 w 37"/>
              <a:gd name="T7" fmla="*/ 17 h 23"/>
              <a:gd name="T8" fmla="*/ 30 w 37"/>
              <a:gd name="T9" fmla="*/ 6 h 23"/>
              <a:gd name="T10" fmla="*/ 37 w 37"/>
              <a:gd name="T11" fmla="*/ 0 h 23"/>
              <a:gd name="T12" fmla="*/ 28 w 37"/>
              <a:gd name="T13" fmla="*/ 6 h 23"/>
              <a:gd name="T14" fmla="*/ 28 w 37"/>
              <a:gd name="T15" fmla="*/ 8 h 23"/>
              <a:gd name="T16" fmla="*/ 22 w 37"/>
              <a:gd name="T17" fmla="*/ 11 h 23"/>
              <a:gd name="T18" fmla="*/ 13 w 37"/>
              <a:gd name="T19" fmla="*/ 17 h 23"/>
              <a:gd name="T20" fmla="*/ 7 w 37"/>
              <a:gd name="T21" fmla="*/ 21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5" y="23"/>
                </a:lnTo>
                <a:lnTo>
                  <a:pt x="13" y="19"/>
                </a:lnTo>
                <a:lnTo>
                  <a:pt x="15" y="17"/>
                </a:lnTo>
                <a:lnTo>
                  <a:pt x="30" y="6"/>
                </a:lnTo>
                <a:lnTo>
                  <a:pt x="37" y="0"/>
                </a:lnTo>
                <a:lnTo>
                  <a:pt x="28" y="6"/>
                </a:lnTo>
                <a:lnTo>
                  <a:pt x="28" y="8"/>
                </a:lnTo>
                <a:lnTo>
                  <a:pt x="22" y="11"/>
                </a:lnTo>
                <a:lnTo>
                  <a:pt x="13" y="17"/>
                </a:lnTo>
                <a:lnTo>
                  <a:pt x="7" y="21"/>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298" name="Freeform 704"/>
          <p:cNvSpPr>
            <a:spLocks/>
          </p:cNvSpPr>
          <p:nvPr/>
        </p:nvSpPr>
        <p:spPr bwMode="auto">
          <a:xfrm>
            <a:off x="7308850" y="2706809"/>
            <a:ext cx="254000" cy="158750"/>
          </a:xfrm>
          <a:custGeom>
            <a:avLst/>
            <a:gdLst>
              <a:gd name="T0" fmla="*/ 51 w 160"/>
              <a:gd name="T1" fmla="*/ 78 h 100"/>
              <a:gd name="T2" fmla="*/ 53 w 160"/>
              <a:gd name="T3" fmla="*/ 78 h 100"/>
              <a:gd name="T4" fmla="*/ 62 w 160"/>
              <a:gd name="T5" fmla="*/ 72 h 100"/>
              <a:gd name="T6" fmla="*/ 68 w 160"/>
              <a:gd name="T7" fmla="*/ 68 h 100"/>
              <a:gd name="T8" fmla="*/ 83 w 160"/>
              <a:gd name="T9" fmla="*/ 59 h 100"/>
              <a:gd name="T10" fmla="*/ 92 w 160"/>
              <a:gd name="T11" fmla="*/ 57 h 100"/>
              <a:gd name="T12" fmla="*/ 98 w 160"/>
              <a:gd name="T13" fmla="*/ 51 h 100"/>
              <a:gd name="T14" fmla="*/ 106 w 160"/>
              <a:gd name="T15" fmla="*/ 51 h 100"/>
              <a:gd name="T16" fmla="*/ 119 w 160"/>
              <a:gd name="T17" fmla="*/ 40 h 100"/>
              <a:gd name="T18" fmla="*/ 121 w 160"/>
              <a:gd name="T19" fmla="*/ 34 h 100"/>
              <a:gd name="T20" fmla="*/ 130 w 160"/>
              <a:gd name="T21" fmla="*/ 34 h 100"/>
              <a:gd name="T22" fmla="*/ 143 w 160"/>
              <a:gd name="T23" fmla="*/ 21 h 100"/>
              <a:gd name="T24" fmla="*/ 151 w 160"/>
              <a:gd name="T25" fmla="*/ 17 h 100"/>
              <a:gd name="T26" fmla="*/ 160 w 160"/>
              <a:gd name="T27" fmla="*/ 4 h 100"/>
              <a:gd name="T28" fmla="*/ 153 w 160"/>
              <a:gd name="T29" fmla="*/ 10 h 100"/>
              <a:gd name="T30" fmla="*/ 145 w 160"/>
              <a:gd name="T31" fmla="*/ 12 h 100"/>
              <a:gd name="T32" fmla="*/ 143 w 160"/>
              <a:gd name="T33" fmla="*/ 10 h 100"/>
              <a:gd name="T34" fmla="*/ 136 w 160"/>
              <a:gd name="T35" fmla="*/ 12 h 100"/>
              <a:gd name="T36" fmla="*/ 130 w 160"/>
              <a:gd name="T37" fmla="*/ 17 h 100"/>
              <a:gd name="T38" fmla="*/ 119 w 160"/>
              <a:gd name="T39" fmla="*/ 32 h 100"/>
              <a:gd name="T40" fmla="*/ 115 w 160"/>
              <a:gd name="T41" fmla="*/ 34 h 100"/>
              <a:gd name="T42" fmla="*/ 109 w 160"/>
              <a:gd name="T43" fmla="*/ 34 h 100"/>
              <a:gd name="T44" fmla="*/ 113 w 160"/>
              <a:gd name="T45" fmla="*/ 27 h 100"/>
              <a:gd name="T46" fmla="*/ 121 w 160"/>
              <a:gd name="T47" fmla="*/ 21 h 100"/>
              <a:gd name="T48" fmla="*/ 121 w 160"/>
              <a:gd name="T49" fmla="*/ 12 h 100"/>
              <a:gd name="T50" fmla="*/ 128 w 160"/>
              <a:gd name="T51" fmla="*/ 0 h 100"/>
              <a:gd name="T52" fmla="*/ 106 w 160"/>
              <a:gd name="T53" fmla="*/ 25 h 100"/>
              <a:gd name="T54" fmla="*/ 92 w 160"/>
              <a:gd name="T55" fmla="*/ 32 h 100"/>
              <a:gd name="T56" fmla="*/ 70 w 160"/>
              <a:gd name="T57" fmla="*/ 38 h 100"/>
              <a:gd name="T58" fmla="*/ 64 w 160"/>
              <a:gd name="T59" fmla="*/ 40 h 100"/>
              <a:gd name="T60" fmla="*/ 60 w 160"/>
              <a:gd name="T61" fmla="*/ 47 h 100"/>
              <a:gd name="T62" fmla="*/ 53 w 160"/>
              <a:gd name="T63" fmla="*/ 47 h 100"/>
              <a:gd name="T64" fmla="*/ 38 w 160"/>
              <a:gd name="T65" fmla="*/ 55 h 100"/>
              <a:gd name="T66" fmla="*/ 32 w 160"/>
              <a:gd name="T67" fmla="*/ 53 h 100"/>
              <a:gd name="T68" fmla="*/ 26 w 160"/>
              <a:gd name="T69" fmla="*/ 59 h 100"/>
              <a:gd name="T70" fmla="*/ 26 w 160"/>
              <a:gd name="T71" fmla="*/ 66 h 100"/>
              <a:gd name="T72" fmla="*/ 19 w 160"/>
              <a:gd name="T73" fmla="*/ 64 h 100"/>
              <a:gd name="T74" fmla="*/ 17 w 160"/>
              <a:gd name="T75" fmla="*/ 72 h 100"/>
              <a:gd name="T76" fmla="*/ 4 w 160"/>
              <a:gd name="T77" fmla="*/ 81 h 100"/>
              <a:gd name="T78" fmla="*/ 0 w 160"/>
              <a:gd name="T79" fmla="*/ 89 h 100"/>
              <a:gd name="T80" fmla="*/ 0 w 160"/>
              <a:gd name="T81" fmla="*/ 96 h 100"/>
              <a:gd name="T82" fmla="*/ 2 w 160"/>
              <a:gd name="T83" fmla="*/ 98 h 100"/>
              <a:gd name="T84" fmla="*/ 17 w 160"/>
              <a:gd name="T85" fmla="*/ 93 h 100"/>
              <a:gd name="T86" fmla="*/ 11 w 160"/>
              <a:gd name="T87" fmla="*/ 100 h 100"/>
              <a:gd name="T88" fmla="*/ 23 w 160"/>
              <a:gd name="T89" fmla="*/ 93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53" y="78"/>
                </a:lnTo>
                <a:lnTo>
                  <a:pt x="62" y="72"/>
                </a:lnTo>
                <a:lnTo>
                  <a:pt x="68" y="68"/>
                </a:lnTo>
                <a:lnTo>
                  <a:pt x="83" y="59"/>
                </a:lnTo>
                <a:lnTo>
                  <a:pt x="92" y="57"/>
                </a:lnTo>
                <a:lnTo>
                  <a:pt x="98" y="51"/>
                </a:lnTo>
                <a:lnTo>
                  <a:pt x="106" y="51"/>
                </a:lnTo>
                <a:lnTo>
                  <a:pt x="119" y="40"/>
                </a:lnTo>
                <a:lnTo>
                  <a:pt x="121" y="34"/>
                </a:lnTo>
                <a:lnTo>
                  <a:pt x="130" y="34"/>
                </a:lnTo>
                <a:lnTo>
                  <a:pt x="143" y="21"/>
                </a:lnTo>
                <a:lnTo>
                  <a:pt x="151" y="17"/>
                </a:lnTo>
                <a:lnTo>
                  <a:pt x="160" y="4"/>
                </a:lnTo>
                <a:lnTo>
                  <a:pt x="153" y="10"/>
                </a:lnTo>
                <a:lnTo>
                  <a:pt x="145" y="12"/>
                </a:lnTo>
                <a:lnTo>
                  <a:pt x="143" y="10"/>
                </a:lnTo>
                <a:lnTo>
                  <a:pt x="136" y="12"/>
                </a:lnTo>
                <a:lnTo>
                  <a:pt x="130" y="17"/>
                </a:lnTo>
                <a:lnTo>
                  <a:pt x="119" y="32"/>
                </a:lnTo>
                <a:lnTo>
                  <a:pt x="115" y="34"/>
                </a:lnTo>
                <a:lnTo>
                  <a:pt x="109" y="34"/>
                </a:lnTo>
                <a:lnTo>
                  <a:pt x="113" y="27"/>
                </a:lnTo>
                <a:lnTo>
                  <a:pt x="121" y="21"/>
                </a:lnTo>
                <a:lnTo>
                  <a:pt x="121" y="12"/>
                </a:lnTo>
                <a:lnTo>
                  <a:pt x="128" y="0"/>
                </a:lnTo>
                <a:lnTo>
                  <a:pt x="106" y="25"/>
                </a:lnTo>
                <a:lnTo>
                  <a:pt x="92" y="32"/>
                </a:lnTo>
                <a:lnTo>
                  <a:pt x="70" y="38"/>
                </a:lnTo>
                <a:lnTo>
                  <a:pt x="64" y="40"/>
                </a:lnTo>
                <a:lnTo>
                  <a:pt x="60" y="47"/>
                </a:lnTo>
                <a:lnTo>
                  <a:pt x="53" y="47"/>
                </a:lnTo>
                <a:lnTo>
                  <a:pt x="38" y="55"/>
                </a:lnTo>
                <a:lnTo>
                  <a:pt x="32" y="53"/>
                </a:lnTo>
                <a:lnTo>
                  <a:pt x="26" y="59"/>
                </a:lnTo>
                <a:lnTo>
                  <a:pt x="26" y="66"/>
                </a:lnTo>
                <a:lnTo>
                  <a:pt x="19" y="64"/>
                </a:lnTo>
                <a:lnTo>
                  <a:pt x="17" y="72"/>
                </a:lnTo>
                <a:lnTo>
                  <a:pt x="4" y="81"/>
                </a:lnTo>
                <a:lnTo>
                  <a:pt x="0" y="89"/>
                </a:lnTo>
                <a:lnTo>
                  <a:pt x="0" y="96"/>
                </a:lnTo>
                <a:lnTo>
                  <a:pt x="2" y="98"/>
                </a:lnTo>
                <a:lnTo>
                  <a:pt x="17" y="93"/>
                </a:lnTo>
                <a:lnTo>
                  <a:pt x="11" y="100"/>
                </a:lnTo>
                <a:lnTo>
                  <a:pt x="23" y="93"/>
                </a:lnTo>
                <a:lnTo>
                  <a:pt x="51" y="7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99" name="Freeform 705"/>
          <p:cNvSpPr>
            <a:spLocks/>
          </p:cNvSpPr>
          <p:nvPr/>
        </p:nvSpPr>
        <p:spPr bwMode="auto">
          <a:xfrm>
            <a:off x="7308850" y="2706809"/>
            <a:ext cx="254000" cy="158750"/>
          </a:xfrm>
          <a:custGeom>
            <a:avLst/>
            <a:gdLst>
              <a:gd name="T0" fmla="*/ 51 w 160"/>
              <a:gd name="T1" fmla="*/ 78 h 100"/>
              <a:gd name="T2" fmla="*/ 53 w 160"/>
              <a:gd name="T3" fmla="*/ 78 h 100"/>
              <a:gd name="T4" fmla="*/ 62 w 160"/>
              <a:gd name="T5" fmla="*/ 72 h 100"/>
              <a:gd name="T6" fmla="*/ 68 w 160"/>
              <a:gd name="T7" fmla="*/ 68 h 100"/>
              <a:gd name="T8" fmla="*/ 83 w 160"/>
              <a:gd name="T9" fmla="*/ 59 h 100"/>
              <a:gd name="T10" fmla="*/ 92 w 160"/>
              <a:gd name="T11" fmla="*/ 57 h 100"/>
              <a:gd name="T12" fmla="*/ 98 w 160"/>
              <a:gd name="T13" fmla="*/ 51 h 100"/>
              <a:gd name="T14" fmla="*/ 106 w 160"/>
              <a:gd name="T15" fmla="*/ 51 h 100"/>
              <a:gd name="T16" fmla="*/ 119 w 160"/>
              <a:gd name="T17" fmla="*/ 40 h 100"/>
              <a:gd name="T18" fmla="*/ 121 w 160"/>
              <a:gd name="T19" fmla="*/ 34 h 100"/>
              <a:gd name="T20" fmla="*/ 130 w 160"/>
              <a:gd name="T21" fmla="*/ 34 h 100"/>
              <a:gd name="T22" fmla="*/ 143 w 160"/>
              <a:gd name="T23" fmla="*/ 21 h 100"/>
              <a:gd name="T24" fmla="*/ 151 w 160"/>
              <a:gd name="T25" fmla="*/ 17 h 100"/>
              <a:gd name="T26" fmla="*/ 160 w 160"/>
              <a:gd name="T27" fmla="*/ 4 h 100"/>
              <a:gd name="T28" fmla="*/ 153 w 160"/>
              <a:gd name="T29" fmla="*/ 10 h 100"/>
              <a:gd name="T30" fmla="*/ 145 w 160"/>
              <a:gd name="T31" fmla="*/ 12 h 100"/>
              <a:gd name="T32" fmla="*/ 143 w 160"/>
              <a:gd name="T33" fmla="*/ 10 h 100"/>
              <a:gd name="T34" fmla="*/ 136 w 160"/>
              <a:gd name="T35" fmla="*/ 12 h 100"/>
              <a:gd name="T36" fmla="*/ 130 w 160"/>
              <a:gd name="T37" fmla="*/ 17 h 100"/>
              <a:gd name="T38" fmla="*/ 119 w 160"/>
              <a:gd name="T39" fmla="*/ 32 h 100"/>
              <a:gd name="T40" fmla="*/ 115 w 160"/>
              <a:gd name="T41" fmla="*/ 34 h 100"/>
              <a:gd name="T42" fmla="*/ 109 w 160"/>
              <a:gd name="T43" fmla="*/ 34 h 100"/>
              <a:gd name="T44" fmla="*/ 113 w 160"/>
              <a:gd name="T45" fmla="*/ 27 h 100"/>
              <a:gd name="T46" fmla="*/ 121 w 160"/>
              <a:gd name="T47" fmla="*/ 21 h 100"/>
              <a:gd name="T48" fmla="*/ 121 w 160"/>
              <a:gd name="T49" fmla="*/ 12 h 100"/>
              <a:gd name="T50" fmla="*/ 128 w 160"/>
              <a:gd name="T51" fmla="*/ 0 h 100"/>
              <a:gd name="T52" fmla="*/ 106 w 160"/>
              <a:gd name="T53" fmla="*/ 25 h 100"/>
              <a:gd name="T54" fmla="*/ 92 w 160"/>
              <a:gd name="T55" fmla="*/ 32 h 100"/>
              <a:gd name="T56" fmla="*/ 70 w 160"/>
              <a:gd name="T57" fmla="*/ 38 h 100"/>
              <a:gd name="T58" fmla="*/ 64 w 160"/>
              <a:gd name="T59" fmla="*/ 40 h 100"/>
              <a:gd name="T60" fmla="*/ 60 w 160"/>
              <a:gd name="T61" fmla="*/ 47 h 100"/>
              <a:gd name="T62" fmla="*/ 53 w 160"/>
              <a:gd name="T63" fmla="*/ 47 h 100"/>
              <a:gd name="T64" fmla="*/ 38 w 160"/>
              <a:gd name="T65" fmla="*/ 55 h 100"/>
              <a:gd name="T66" fmla="*/ 32 w 160"/>
              <a:gd name="T67" fmla="*/ 53 h 100"/>
              <a:gd name="T68" fmla="*/ 26 w 160"/>
              <a:gd name="T69" fmla="*/ 59 h 100"/>
              <a:gd name="T70" fmla="*/ 26 w 160"/>
              <a:gd name="T71" fmla="*/ 66 h 100"/>
              <a:gd name="T72" fmla="*/ 19 w 160"/>
              <a:gd name="T73" fmla="*/ 64 h 100"/>
              <a:gd name="T74" fmla="*/ 17 w 160"/>
              <a:gd name="T75" fmla="*/ 72 h 100"/>
              <a:gd name="T76" fmla="*/ 4 w 160"/>
              <a:gd name="T77" fmla="*/ 81 h 100"/>
              <a:gd name="T78" fmla="*/ 0 w 160"/>
              <a:gd name="T79" fmla="*/ 89 h 100"/>
              <a:gd name="T80" fmla="*/ 0 w 160"/>
              <a:gd name="T81" fmla="*/ 96 h 100"/>
              <a:gd name="T82" fmla="*/ 2 w 160"/>
              <a:gd name="T83" fmla="*/ 98 h 100"/>
              <a:gd name="T84" fmla="*/ 17 w 160"/>
              <a:gd name="T85" fmla="*/ 93 h 100"/>
              <a:gd name="T86" fmla="*/ 11 w 160"/>
              <a:gd name="T87" fmla="*/ 100 h 100"/>
              <a:gd name="T88" fmla="*/ 23 w 160"/>
              <a:gd name="T89" fmla="*/ 93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53" y="78"/>
                </a:lnTo>
                <a:lnTo>
                  <a:pt x="62" y="72"/>
                </a:lnTo>
                <a:lnTo>
                  <a:pt x="68" y="68"/>
                </a:lnTo>
                <a:lnTo>
                  <a:pt x="83" y="59"/>
                </a:lnTo>
                <a:lnTo>
                  <a:pt x="92" y="57"/>
                </a:lnTo>
                <a:lnTo>
                  <a:pt x="98" y="51"/>
                </a:lnTo>
                <a:lnTo>
                  <a:pt x="106" y="51"/>
                </a:lnTo>
                <a:lnTo>
                  <a:pt x="119" y="40"/>
                </a:lnTo>
                <a:lnTo>
                  <a:pt x="121" y="34"/>
                </a:lnTo>
                <a:lnTo>
                  <a:pt x="130" y="34"/>
                </a:lnTo>
                <a:lnTo>
                  <a:pt x="143" y="21"/>
                </a:lnTo>
                <a:lnTo>
                  <a:pt x="151" y="17"/>
                </a:lnTo>
                <a:lnTo>
                  <a:pt x="160" y="4"/>
                </a:lnTo>
                <a:lnTo>
                  <a:pt x="153" y="10"/>
                </a:lnTo>
                <a:lnTo>
                  <a:pt x="145" y="12"/>
                </a:lnTo>
                <a:lnTo>
                  <a:pt x="143" y="10"/>
                </a:lnTo>
                <a:lnTo>
                  <a:pt x="136" y="12"/>
                </a:lnTo>
                <a:lnTo>
                  <a:pt x="130" y="17"/>
                </a:lnTo>
                <a:lnTo>
                  <a:pt x="119" y="32"/>
                </a:lnTo>
                <a:lnTo>
                  <a:pt x="115" y="34"/>
                </a:lnTo>
                <a:lnTo>
                  <a:pt x="109" y="34"/>
                </a:lnTo>
                <a:lnTo>
                  <a:pt x="113" y="27"/>
                </a:lnTo>
                <a:lnTo>
                  <a:pt x="121" y="21"/>
                </a:lnTo>
                <a:lnTo>
                  <a:pt x="121" y="12"/>
                </a:lnTo>
                <a:lnTo>
                  <a:pt x="128" y="0"/>
                </a:lnTo>
                <a:lnTo>
                  <a:pt x="106" y="25"/>
                </a:lnTo>
                <a:lnTo>
                  <a:pt x="92" y="32"/>
                </a:lnTo>
                <a:lnTo>
                  <a:pt x="70" y="38"/>
                </a:lnTo>
                <a:lnTo>
                  <a:pt x="64" y="40"/>
                </a:lnTo>
                <a:lnTo>
                  <a:pt x="60" y="47"/>
                </a:lnTo>
                <a:lnTo>
                  <a:pt x="53" y="47"/>
                </a:lnTo>
                <a:lnTo>
                  <a:pt x="38" y="55"/>
                </a:lnTo>
                <a:lnTo>
                  <a:pt x="32" y="53"/>
                </a:lnTo>
                <a:lnTo>
                  <a:pt x="26" y="59"/>
                </a:lnTo>
                <a:lnTo>
                  <a:pt x="26" y="66"/>
                </a:lnTo>
                <a:lnTo>
                  <a:pt x="19" y="64"/>
                </a:lnTo>
                <a:lnTo>
                  <a:pt x="17" y="72"/>
                </a:lnTo>
                <a:lnTo>
                  <a:pt x="4" y="81"/>
                </a:lnTo>
                <a:lnTo>
                  <a:pt x="0" y="89"/>
                </a:lnTo>
                <a:lnTo>
                  <a:pt x="0" y="96"/>
                </a:lnTo>
                <a:lnTo>
                  <a:pt x="2" y="98"/>
                </a:lnTo>
                <a:lnTo>
                  <a:pt x="17" y="93"/>
                </a:lnTo>
                <a:lnTo>
                  <a:pt x="11" y="100"/>
                </a:lnTo>
                <a:lnTo>
                  <a:pt x="23" y="93"/>
                </a:lnTo>
                <a:lnTo>
                  <a:pt x="51" y="7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0" name="Freeform 706"/>
          <p:cNvSpPr>
            <a:spLocks/>
          </p:cNvSpPr>
          <p:nvPr/>
        </p:nvSpPr>
        <p:spPr bwMode="auto">
          <a:xfrm>
            <a:off x="7326312" y="3021134"/>
            <a:ext cx="9525" cy="33338"/>
          </a:xfrm>
          <a:custGeom>
            <a:avLst/>
            <a:gdLst>
              <a:gd name="T0" fmla="*/ 0 w 6"/>
              <a:gd name="T1" fmla="*/ 21 h 21"/>
              <a:gd name="T2" fmla="*/ 6 w 6"/>
              <a:gd name="T3" fmla="*/ 6 h 21"/>
              <a:gd name="T4" fmla="*/ 6 w 6"/>
              <a:gd name="T5" fmla="*/ 0 h 21"/>
              <a:gd name="T6" fmla="*/ 0 w 6"/>
              <a:gd name="T7" fmla="*/ 21 h 21"/>
            </a:gdLst>
            <a:ahLst/>
            <a:cxnLst>
              <a:cxn ang="0">
                <a:pos x="T0" y="T1"/>
              </a:cxn>
              <a:cxn ang="0">
                <a:pos x="T2" y="T3"/>
              </a:cxn>
              <a:cxn ang="0">
                <a:pos x="T4" y="T5"/>
              </a:cxn>
              <a:cxn ang="0">
                <a:pos x="T6" y="T7"/>
              </a:cxn>
            </a:cxnLst>
            <a:rect l="0" t="0" r="r" b="b"/>
            <a:pathLst>
              <a:path w="6" h="21">
                <a:moveTo>
                  <a:pt x="0" y="21"/>
                </a:moveTo>
                <a:lnTo>
                  <a:pt x="6" y="6"/>
                </a:lnTo>
                <a:lnTo>
                  <a:pt x="6" y="0"/>
                </a:lnTo>
                <a:lnTo>
                  <a:pt x="0" y="2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1" name="Freeform 707"/>
          <p:cNvSpPr>
            <a:spLocks/>
          </p:cNvSpPr>
          <p:nvPr/>
        </p:nvSpPr>
        <p:spPr bwMode="auto">
          <a:xfrm>
            <a:off x="7326312" y="3021134"/>
            <a:ext cx="9525" cy="33338"/>
          </a:xfrm>
          <a:custGeom>
            <a:avLst/>
            <a:gdLst>
              <a:gd name="T0" fmla="*/ 0 w 6"/>
              <a:gd name="T1" fmla="*/ 21 h 21"/>
              <a:gd name="T2" fmla="*/ 6 w 6"/>
              <a:gd name="T3" fmla="*/ 6 h 21"/>
              <a:gd name="T4" fmla="*/ 6 w 6"/>
              <a:gd name="T5" fmla="*/ 0 h 21"/>
              <a:gd name="T6" fmla="*/ 0 w 6"/>
              <a:gd name="T7" fmla="*/ 21 h 21"/>
            </a:gdLst>
            <a:ahLst/>
            <a:cxnLst>
              <a:cxn ang="0">
                <a:pos x="T0" y="T1"/>
              </a:cxn>
              <a:cxn ang="0">
                <a:pos x="T2" y="T3"/>
              </a:cxn>
              <a:cxn ang="0">
                <a:pos x="T4" y="T5"/>
              </a:cxn>
              <a:cxn ang="0">
                <a:pos x="T6" y="T7"/>
              </a:cxn>
            </a:cxnLst>
            <a:rect l="0" t="0" r="r" b="b"/>
            <a:pathLst>
              <a:path w="6" h="21">
                <a:moveTo>
                  <a:pt x="0" y="21"/>
                </a:moveTo>
                <a:lnTo>
                  <a:pt x="6" y="6"/>
                </a:lnTo>
                <a:lnTo>
                  <a:pt x="6" y="0"/>
                </a:lnTo>
                <a:lnTo>
                  <a:pt x="0" y="2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2" name="Freeform 708"/>
          <p:cNvSpPr>
            <a:spLocks/>
          </p:cNvSpPr>
          <p:nvPr/>
        </p:nvSpPr>
        <p:spPr bwMode="auto">
          <a:xfrm>
            <a:off x="4219575" y="1662234"/>
            <a:ext cx="925513" cy="1047750"/>
          </a:xfrm>
          <a:custGeom>
            <a:avLst/>
            <a:gdLst>
              <a:gd name="T0" fmla="*/ 155 w 583"/>
              <a:gd name="T1" fmla="*/ 42 h 660"/>
              <a:gd name="T2" fmla="*/ 162 w 583"/>
              <a:gd name="T3" fmla="*/ 2 h 660"/>
              <a:gd name="T4" fmla="*/ 185 w 583"/>
              <a:gd name="T5" fmla="*/ 31 h 660"/>
              <a:gd name="T6" fmla="*/ 198 w 583"/>
              <a:gd name="T7" fmla="*/ 70 h 660"/>
              <a:gd name="T8" fmla="*/ 226 w 583"/>
              <a:gd name="T9" fmla="*/ 78 h 660"/>
              <a:gd name="T10" fmla="*/ 266 w 583"/>
              <a:gd name="T11" fmla="*/ 93 h 660"/>
              <a:gd name="T12" fmla="*/ 294 w 583"/>
              <a:gd name="T13" fmla="*/ 80 h 660"/>
              <a:gd name="T14" fmla="*/ 304 w 583"/>
              <a:gd name="T15" fmla="*/ 78 h 660"/>
              <a:gd name="T16" fmla="*/ 347 w 583"/>
              <a:gd name="T17" fmla="*/ 98 h 660"/>
              <a:gd name="T18" fmla="*/ 362 w 583"/>
              <a:gd name="T19" fmla="*/ 110 h 660"/>
              <a:gd name="T20" fmla="*/ 377 w 583"/>
              <a:gd name="T21" fmla="*/ 108 h 660"/>
              <a:gd name="T22" fmla="*/ 398 w 583"/>
              <a:gd name="T23" fmla="*/ 115 h 660"/>
              <a:gd name="T24" fmla="*/ 434 w 583"/>
              <a:gd name="T25" fmla="*/ 136 h 660"/>
              <a:gd name="T26" fmla="*/ 464 w 583"/>
              <a:gd name="T27" fmla="*/ 123 h 660"/>
              <a:gd name="T28" fmla="*/ 485 w 583"/>
              <a:gd name="T29" fmla="*/ 119 h 660"/>
              <a:gd name="T30" fmla="*/ 498 w 583"/>
              <a:gd name="T31" fmla="*/ 127 h 660"/>
              <a:gd name="T32" fmla="*/ 528 w 583"/>
              <a:gd name="T33" fmla="*/ 123 h 660"/>
              <a:gd name="T34" fmla="*/ 551 w 583"/>
              <a:gd name="T35" fmla="*/ 132 h 660"/>
              <a:gd name="T36" fmla="*/ 583 w 583"/>
              <a:gd name="T37" fmla="*/ 132 h 660"/>
              <a:gd name="T38" fmla="*/ 562 w 583"/>
              <a:gd name="T39" fmla="*/ 146 h 660"/>
              <a:gd name="T40" fmla="*/ 517 w 583"/>
              <a:gd name="T41" fmla="*/ 168 h 660"/>
              <a:gd name="T42" fmla="*/ 460 w 583"/>
              <a:gd name="T43" fmla="*/ 219 h 660"/>
              <a:gd name="T44" fmla="*/ 430 w 583"/>
              <a:gd name="T45" fmla="*/ 253 h 660"/>
              <a:gd name="T46" fmla="*/ 398 w 583"/>
              <a:gd name="T47" fmla="*/ 283 h 660"/>
              <a:gd name="T48" fmla="*/ 389 w 583"/>
              <a:gd name="T49" fmla="*/ 293 h 660"/>
              <a:gd name="T50" fmla="*/ 385 w 583"/>
              <a:gd name="T51" fmla="*/ 359 h 660"/>
              <a:gd name="T52" fmla="*/ 353 w 583"/>
              <a:gd name="T53" fmla="*/ 383 h 660"/>
              <a:gd name="T54" fmla="*/ 343 w 583"/>
              <a:gd name="T55" fmla="*/ 404 h 660"/>
              <a:gd name="T56" fmla="*/ 353 w 583"/>
              <a:gd name="T57" fmla="*/ 421 h 660"/>
              <a:gd name="T58" fmla="*/ 355 w 583"/>
              <a:gd name="T59" fmla="*/ 468 h 660"/>
              <a:gd name="T60" fmla="*/ 355 w 583"/>
              <a:gd name="T61" fmla="*/ 502 h 660"/>
              <a:gd name="T62" fmla="*/ 370 w 583"/>
              <a:gd name="T63" fmla="*/ 526 h 660"/>
              <a:gd name="T64" fmla="*/ 396 w 583"/>
              <a:gd name="T65" fmla="*/ 538 h 660"/>
              <a:gd name="T66" fmla="*/ 424 w 583"/>
              <a:gd name="T67" fmla="*/ 553 h 660"/>
              <a:gd name="T68" fmla="*/ 453 w 583"/>
              <a:gd name="T69" fmla="*/ 585 h 660"/>
              <a:gd name="T70" fmla="*/ 475 w 583"/>
              <a:gd name="T71" fmla="*/ 598 h 660"/>
              <a:gd name="T72" fmla="*/ 485 w 583"/>
              <a:gd name="T73" fmla="*/ 634 h 660"/>
              <a:gd name="T74" fmla="*/ 404 w 583"/>
              <a:gd name="T75" fmla="*/ 649 h 660"/>
              <a:gd name="T76" fmla="*/ 64 w 583"/>
              <a:gd name="T77" fmla="*/ 660 h 660"/>
              <a:gd name="T78" fmla="*/ 51 w 583"/>
              <a:gd name="T79" fmla="*/ 445 h 660"/>
              <a:gd name="T80" fmla="*/ 30 w 583"/>
              <a:gd name="T81" fmla="*/ 423 h 660"/>
              <a:gd name="T82" fmla="*/ 45 w 583"/>
              <a:gd name="T83" fmla="*/ 406 h 660"/>
              <a:gd name="T84" fmla="*/ 53 w 583"/>
              <a:gd name="T85" fmla="*/ 377 h 660"/>
              <a:gd name="T86" fmla="*/ 51 w 583"/>
              <a:gd name="T87" fmla="*/ 349 h 660"/>
              <a:gd name="T88" fmla="*/ 38 w 583"/>
              <a:gd name="T89" fmla="*/ 321 h 660"/>
              <a:gd name="T90" fmla="*/ 34 w 583"/>
              <a:gd name="T91" fmla="*/ 281 h 660"/>
              <a:gd name="T92" fmla="*/ 32 w 583"/>
              <a:gd name="T93" fmla="*/ 255 h 660"/>
              <a:gd name="T94" fmla="*/ 27 w 583"/>
              <a:gd name="T95" fmla="*/ 219 h 660"/>
              <a:gd name="T96" fmla="*/ 25 w 583"/>
              <a:gd name="T97" fmla="*/ 189 h 660"/>
              <a:gd name="T98" fmla="*/ 10 w 583"/>
              <a:gd name="T99" fmla="*/ 140 h 660"/>
              <a:gd name="T100" fmla="*/ 8 w 583"/>
              <a:gd name="T101" fmla="*/ 115 h 660"/>
              <a:gd name="T102" fmla="*/ 10 w 583"/>
              <a:gd name="T103" fmla="*/ 80 h 660"/>
              <a:gd name="T104" fmla="*/ 0 w 583"/>
              <a:gd name="T105" fmla="*/ 4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3" h="660">
                <a:moveTo>
                  <a:pt x="2" y="42"/>
                </a:moveTo>
                <a:lnTo>
                  <a:pt x="98" y="42"/>
                </a:lnTo>
                <a:lnTo>
                  <a:pt x="155" y="42"/>
                </a:lnTo>
                <a:lnTo>
                  <a:pt x="157" y="34"/>
                </a:lnTo>
                <a:lnTo>
                  <a:pt x="155" y="0"/>
                </a:lnTo>
                <a:lnTo>
                  <a:pt x="162" y="2"/>
                </a:lnTo>
                <a:lnTo>
                  <a:pt x="174" y="4"/>
                </a:lnTo>
                <a:lnTo>
                  <a:pt x="181" y="10"/>
                </a:lnTo>
                <a:lnTo>
                  <a:pt x="185" y="31"/>
                </a:lnTo>
                <a:lnTo>
                  <a:pt x="191" y="53"/>
                </a:lnTo>
                <a:lnTo>
                  <a:pt x="191" y="63"/>
                </a:lnTo>
                <a:lnTo>
                  <a:pt x="198" y="70"/>
                </a:lnTo>
                <a:lnTo>
                  <a:pt x="204" y="74"/>
                </a:lnTo>
                <a:lnTo>
                  <a:pt x="219" y="74"/>
                </a:lnTo>
                <a:lnTo>
                  <a:pt x="226" y="78"/>
                </a:lnTo>
                <a:lnTo>
                  <a:pt x="257" y="83"/>
                </a:lnTo>
                <a:lnTo>
                  <a:pt x="260" y="89"/>
                </a:lnTo>
                <a:lnTo>
                  <a:pt x="266" y="93"/>
                </a:lnTo>
                <a:lnTo>
                  <a:pt x="285" y="89"/>
                </a:lnTo>
                <a:lnTo>
                  <a:pt x="289" y="83"/>
                </a:lnTo>
                <a:lnTo>
                  <a:pt x="294" y="80"/>
                </a:lnTo>
                <a:lnTo>
                  <a:pt x="296" y="80"/>
                </a:lnTo>
                <a:lnTo>
                  <a:pt x="298" y="78"/>
                </a:lnTo>
                <a:lnTo>
                  <a:pt x="304" y="78"/>
                </a:lnTo>
                <a:lnTo>
                  <a:pt x="321" y="78"/>
                </a:lnTo>
                <a:lnTo>
                  <a:pt x="349" y="89"/>
                </a:lnTo>
                <a:lnTo>
                  <a:pt x="347" y="98"/>
                </a:lnTo>
                <a:lnTo>
                  <a:pt x="355" y="98"/>
                </a:lnTo>
                <a:lnTo>
                  <a:pt x="362" y="104"/>
                </a:lnTo>
                <a:lnTo>
                  <a:pt x="362" y="110"/>
                </a:lnTo>
                <a:lnTo>
                  <a:pt x="366" y="115"/>
                </a:lnTo>
                <a:lnTo>
                  <a:pt x="375" y="119"/>
                </a:lnTo>
                <a:lnTo>
                  <a:pt x="377" y="108"/>
                </a:lnTo>
                <a:lnTo>
                  <a:pt x="387" y="106"/>
                </a:lnTo>
                <a:lnTo>
                  <a:pt x="396" y="108"/>
                </a:lnTo>
                <a:lnTo>
                  <a:pt x="398" y="115"/>
                </a:lnTo>
                <a:lnTo>
                  <a:pt x="419" y="123"/>
                </a:lnTo>
                <a:lnTo>
                  <a:pt x="419" y="129"/>
                </a:lnTo>
                <a:lnTo>
                  <a:pt x="434" y="136"/>
                </a:lnTo>
                <a:lnTo>
                  <a:pt x="443" y="138"/>
                </a:lnTo>
                <a:lnTo>
                  <a:pt x="458" y="132"/>
                </a:lnTo>
                <a:lnTo>
                  <a:pt x="464" y="123"/>
                </a:lnTo>
                <a:lnTo>
                  <a:pt x="479" y="115"/>
                </a:lnTo>
                <a:lnTo>
                  <a:pt x="485" y="112"/>
                </a:lnTo>
                <a:lnTo>
                  <a:pt x="485" y="119"/>
                </a:lnTo>
                <a:lnTo>
                  <a:pt x="490" y="121"/>
                </a:lnTo>
                <a:lnTo>
                  <a:pt x="492" y="127"/>
                </a:lnTo>
                <a:lnTo>
                  <a:pt x="498" y="127"/>
                </a:lnTo>
                <a:lnTo>
                  <a:pt x="507" y="125"/>
                </a:lnTo>
                <a:lnTo>
                  <a:pt x="521" y="125"/>
                </a:lnTo>
                <a:lnTo>
                  <a:pt x="528" y="123"/>
                </a:lnTo>
                <a:lnTo>
                  <a:pt x="543" y="123"/>
                </a:lnTo>
                <a:lnTo>
                  <a:pt x="549" y="129"/>
                </a:lnTo>
                <a:lnTo>
                  <a:pt x="551" y="132"/>
                </a:lnTo>
                <a:lnTo>
                  <a:pt x="558" y="136"/>
                </a:lnTo>
                <a:lnTo>
                  <a:pt x="564" y="132"/>
                </a:lnTo>
                <a:lnTo>
                  <a:pt x="583" y="132"/>
                </a:lnTo>
                <a:lnTo>
                  <a:pt x="575" y="136"/>
                </a:lnTo>
                <a:lnTo>
                  <a:pt x="568" y="142"/>
                </a:lnTo>
                <a:lnTo>
                  <a:pt x="562" y="146"/>
                </a:lnTo>
                <a:lnTo>
                  <a:pt x="539" y="159"/>
                </a:lnTo>
                <a:lnTo>
                  <a:pt x="530" y="161"/>
                </a:lnTo>
                <a:lnTo>
                  <a:pt x="517" y="168"/>
                </a:lnTo>
                <a:lnTo>
                  <a:pt x="494" y="181"/>
                </a:lnTo>
                <a:lnTo>
                  <a:pt x="468" y="208"/>
                </a:lnTo>
                <a:lnTo>
                  <a:pt x="460" y="219"/>
                </a:lnTo>
                <a:lnTo>
                  <a:pt x="441" y="240"/>
                </a:lnTo>
                <a:lnTo>
                  <a:pt x="434" y="247"/>
                </a:lnTo>
                <a:lnTo>
                  <a:pt x="430" y="253"/>
                </a:lnTo>
                <a:lnTo>
                  <a:pt x="421" y="259"/>
                </a:lnTo>
                <a:lnTo>
                  <a:pt x="400" y="276"/>
                </a:lnTo>
                <a:lnTo>
                  <a:pt x="398" y="283"/>
                </a:lnTo>
                <a:lnTo>
                  <a:pt x="394" y="285"/>
                </a:lnTo>
                <a:lnTo>
                  <a:pt x="394" y="287"/>
                </a:lnTo>
                <a:lnTo>
                  <a:pt x="389" y="293"/>
                </a:lnTo>
                <a:lnTo>
                  <a:pt x="383" y="293"/>
                </a:lnTo>
                <a:lnTo>
                  <a:pt x="387" y="351"/>
                </a:lnTo>
                <a:lnTo>
                  <a:pt x="385" y="359"/>
                </a:lnTo>
                <a:lnTo>
                  <a:pt x="381" y="366"/>
                </a:lnTo>
                <a:lnTo>
                  <a:pt x="368" y="374"/>
                </a:lnTo>
                <a:lnTo>
                  <a:pt x="353" y="383"/>
                </a:lnTo>
                <a:lnTo>
                  <a:pt x="351" y="391"/>
                </a:lnTo>
                <a:lnTo>
                  <a:pt x="347" y="398"/>
                </a:lnTo>
                <a:lnTo>
                  <a:pt x="343" y="404"/>
                </a:lnTo>
                <a:lnTo>
                  <a:pt x="343" y="413"/>
                </a:lnTo>
                <a:lnTo>
                  <a:pt x="347" y="419"/>
                </a:lnTo>
                <a:lnTo>
                  <a:pt x="353" y="421"/>
                </a:lnTo>
                <a:lnTo>
                  <a:pt x="362" y="436"/>
                </a:lnTo>
                <a:lnTo>
                  <a:pt x="353" y="453"/>
                </a:lnTo>
                <a:lnTo>
                  <a:pt x="355" y="468"/>
                </a:lnTo>
                <a:lnTo>
                  <a:pt x="353" y="474"/>
                </a:lnTo>
                <a:lnTo>
                  <a:pt x="355" y="492"/>
                </a:lnTo>
                <a:lnTo>
                  <a:pt x="355" y="502"/>
                </a:lnTo>
                <a:lnTo>
                  <a:pt x="353" y="511"/>
                </a:lnTo>
                <a:lnTo>
                  <a:pt x="364" y="519"/>
                </a:lnTo>
                <a:lnTo>
                  <a:pt x="370" y="526"/>
                </a:lnTo>
                <a:lnTo>
                  <a:pt x="379" y="530"/>
                </a:lnTo>
                <a:lnTo>
                  <a:pt x="392" y="532"/>
                </a:lnTo>
                <a:lnTo>
                  <a:pt x="396" y="538"/>
                </a:lnTo>
                <a:lnTo>
                  <a:pt x="402" y="543"/>
                </a:lnTo>
                <a:lnTo>
                  <a:pt x="413" y="547"/>
                </a:lnTo>
                <a:lnTo>
                  <a:pt x="424" y="553"/>
                </a:lnTo>
                <a:lnTo>
                  <a:pt x="432" y="568"/>
                </a:lnTo>
                <a:lnTo>
                  <a:pt x="447" y="581"/>
                </a:lnTo>
                <a:lnTo>
                  <a:pt x="453" y="585"/>
                </a:lnTo>
                <a:lnTo>
                  <a:pt x="462" y="587"/>
                </a:lnTo>
                <a:lnTo>
                  <a:pt x="468" y="592"/>
                </a:lnTo>
                <a:lnTo>
                  <a:pt x="475" y="598"/>
                </a:lnTo>
                <a:lnTo>
                  <a:pt x="481" y="609"/>
                </a:lnTo>
                <a:lnTo>
                  <a:pt x="483" y="628"/>
                </a:lnTo>
                <a:lnTo>
                  <a:pt x="485" y="634"/>
                </a:lnTo>
                <a:lnTo>
                  <a:pt x="485" y="638"/>
                </a:lnTo>
                <a:lnTo>
                  <a:pt x="487" y="645"/>
                </a:lnTo>
                <a:lnTo>
                  <a:pt x="404" y="649"/>
                </a:lnTo>
                <a:lnTo>
                  <a:pt x="287" y="656"/>
                </a:lnTo>
                <a:lnTo>
                  <a:pt x="147" y="658"/>
                </a:lnTo>
                <a:lnTo>
                  <a:pt x="64" y="660"/>
                </a:lnTo>
                <a:lnTo>
                  <a:pt x="62" y="457"/>
                </a:lnTo>
                <a:lnTo>
                  <a:pt x="57" y="449"/>
                </a:lnTo>
                <a:lnTo>
                  <a:pt x="51" y="445"/>
                </a:lnTo>
                <a:lnTo>
                  <a:pt x="42" y="445"/>
                </a:lnTo>
                <a:lnTo>
                  <a:pt x="34" y="430"/>
                </a:lnTo>
                <a:lnTo>
                  <a:pt x="30" y="423"/>
                </a:lnTo>
                <a:lnTo>
                  <a:pt x="32" y="417"/>
                </a:lnTo>
                <a:lnTo>
                  <a:pt x="38" y="411"/>
                </a:lnTo>
                <a:lnTo>
                  <a:pt x="45" y="406"/>
                </a:lnTo>
                <a:lnTo>
                  <a:pt x="49" y="400"/>
                </a:lnTo>
                <a:lnTo>
                  <a:pt x="53" y="385"/>
                </a:lnTo>
                <a:lnTo>
                  <a:pt x="53" y="377"/>
                </a:lnTo>
                <a:lnTo>
                  <a:pt x="53" y="370"/>
                </a:lnTo>
                <a:lnTo>
                  <a:pt x="51" y="355"/>
                </a:lnTo>
                <a:lnTo>
                  <a:pt x="51" y="349"/>
                </a:lnTo>
                <a:lnTo>
                  <a:pt x="49" y="340"/>
                </a:lnTo>
                <a:lnTo>
                  <a:pt x="40" y="330"/>
                </a:lnTo>
                <a:lnTo>
                  <a:pt x="38" y="321"/>
                </a:lnTo>
                <a:lnTo>
                  <a:pt x="38" y="315"/>
                </a:lnTo>
                <a:lnTo>
                  <a:pt x="36" y="308"/>
                </a:lnTo>
                <a:lnTo>
                  <a:pt x="34" y="281"/>
                </a:lnTo>
                <a:lnTo>
                  <a:pt x="36" y="274"/>
                </a:lnTo>
                <a:lnTo>
                  <a:pt x="32" y="266"/>
                </a:lnTo>
                <a:lnTo>
                  <a:pt x="32" y="255"/>
                </a:lnTo>
                <a:lnTo>
                  <a:pt x="30" y="240"/>
                </a:lnTo>
                <a:lnTo>
                  <a:pt x="30" y="225"/>
                </a:lnTo>
                <a:lnTo>
                  <a:pt x="27" y="219"/>
                </a:lnTo>
                <a:lnTo>
                  <a:pt x="30" y="213"/>
                </a:lnTo>
                <a:lnTo>
                  <a:pt x="30" y="204"/>
                </a:lnTo>
                <a:lnTo>
                  <a:pt x="25" y="189"/>
                </a:lnTo>
                <a:lnTo>
                  <a:pt x="17" y="168"/>
                </a:lnTo>
                <a:lnTo>
                  <a:pt x="19" y="164"/>
                </a:lnTo>
                <a:lnTo>
                  <a:pt x="10" y="140"/>
                </a:lnTo>
                <a:lnTo>
                  <a:pt x="8" y="132"/>
                </a:lnTo>
                <a:lnTo>
                  <a:pt x="8" y="119"/>
                </a:lnTo>
                <a:lnTo>
                  <a:pt x="8" y="115"/>
                </a:lnTo>
                <a:lnTo>
                  <a:pt x="8" y="108"/>
                </a:lnTo>
                <a:lnTo>
                  <a:pt x="6" y="93"/>
                </a:lnTo>
                <a:lnTo>
                  <a:pt x="10" y="80"/>
                </a:lnTo>
                <a:lnTo>
                  <a:pt x="8" y="74"/>
                </a:lnTo>
                <a:lnTo>
                  <a:pt x="4" y="53"/>
                </a:lnTo>
                <a:lnTo>
                  <a:pt x="0" y="46"/>
                </a:lnTo>
                <a:lnTo>
                  <a:pt x="0" y="46"/>
                </a:lnTo>
                <a:lnTo>
                  <a:pt x="2" y="42"/>
                </a:lnTo>
                <a:close/>
              </a:path>
            </a:pathLst>
          </a:custGeom>
          <a:solidFill>
            <a:srgbClr val="21A0FF"/>
          </a:solidFill>
          <a:ln>
            <a:noFill/>
          </a:ln>
        </p:spPr>
        <p:txBody>
          <a:bodyPr vert="horz" wrap="square" lIns="91440" tIns="45720" rIns="91440" bIns="45720" numCol="1" anchor="t" anchorCtr="0" compatLnSpc="1">
            <a:prstTxWarp prst="textNoShape">
              <a:avLst/>
            </a:prstTxWarp>
          </a:bodyPr>
          <a:lstStyle/>
          <a:p>
            <a:endParaRPr lang="en-US"/>
          </a:p>
        </p:txBody>
      </p:sp>
      <p:sp>
        <p:nvSpPr>
          <p:cNvPr id="1303" name="Freeform 709"/>
          <p:cNvSpPr>
            <a:spLocks/>
          </p:cNvSpPr>
          <p:nvPr/>
        </p:nvSpPr>
        <p:spPr bwMode="auto">
          <a:xfrm>
            <a:off x="4219575" y="1662234"/>
            <a:ext cx="925513" cy="1047750"/>
          </a:xfrm>
          <a:custGeom>
            <a:avLst/>
            <a:gdLst>
              <a:gd name="T0" fmla="*/ 155 w 583"/>
              <a:gd name="T1" fmla="*/ 42 h 660"/>
              <a:gd name="T2" fmla="*/ 162 w 583"/>
              <a:gd name="T3" fmla="*/ 2 h 660"/>
              <a:gd name="T4" fmla="*/ 185 w 583"/>
              <a:gd name="T5" fmla="*/ 31 h 660"/>
              <a:gd name="T6" fmla="*/ 198 w 583"/>
              <a:gd name="T7" fmla="*/ 70 h 660"/>
              <a:gd name="T8" fmla="*/ 226 w 583"/>
              <a:gd name="T9" fmla="*/ 78 h 660"/>
              <a:gd name="T10" fmla="*/ 266 w 583"/>
              <a:gd name="T11" fmla="*/ 93 h 660"/>
              <a:gd name="T12" fmla="*/ 294 w 583"/>
              <a:gd name="T13" fmla="*/ 80 h 660"/>
              <a:gd name="T14" fmla="*/ 304 w 583"/>
              <a:gd name="T15" fmla="*/ 78 h 660"/>
              <a:gd name="T16" fmla="*/ 347 w 583"/>
              <a:gd name="T17" fmla="*/ 98 h 660"/>
              <a:gd name="T18" fmla="*/ 362 w 583"/>
              <a:gd name="T19" fmla="*/ 110 h 660"/>
              <a:gd name="T20" fmla="*/ 377 w 583"/>
              <a:gd name="T21" fmla="*/ 108 h 660"/>
              <a:gd name="T22" fmla="*/ 398 w 583"/>
              <a:gd name="T23" fmla="*/ 115 h 660"/>
              <a:gd name="T24" fmla="*/ 434 w 583"/>
              <a:gd name="T25" fmla="*/ 136 h 660"/>
              <a:gd name="T26" fmla="*/ 464 w 583"/>
              <a:gd name="T27" fmla="*/ 123 h 660"/>
              <a:gd name="T28" fmla="*/ 485 w 583"/>
              <a:gd name="T29" fmla="*/ 119 h 660"/>
              <a:gd name="T30" fmla="*/ 498 w 583"/>
              <a:gd name="T31" fmla="*/ 127 h 660"/>
              <a:gd name="T32" fmla="*/ 528 w 583"/>
              <a:gd name="T33" fmla="*/ 123 h 660"/>
              <a:gd name="T34" fmla="*/ 551 w 583"/>
              <a:gd name="T35" fmla="*/ 132 h 660"/>
              <a:gd name="T36" fmla="*/ 583 w 583"/>
              <a:gd name="T37" fmla="*/ 132 h 660"/>
              <a:gd name="T38" fmla="*/ 562 w 583"/>
              <a:gd name="T39" fmla="*/ 146 h 660"/>
              <a:gd name="T40" fmla="*/ 517 w 583"/>
              <a:gd name="T41" fmla="*/ 168 h 660"/>
              <a:gd name="T42" fmla="*/ 460 w 583"/>
              <a:gd name="T43" fmla="*/ 219 h 660"/>
              <a:gd name="T44" fmla="*/ 430 w 583"/>
              <a:gd name="T45" fmla="*/ 253 h 660"/>
              <a:gd name="T46" fmla="*/ 398 w 583"/>
              <a:gd name="T47" fmla="*/ 283 h 660"/>
              <a:gd name="T48" fmla="*/ 389 w 583"/>
              <a:gd name="T49" fmla="*/ 293 h 660"/>
              <a:gd name="T50" fmla="*/ 385 w 583"/>
              <a:gd name="T51" fmla="*/ 359 h 660"/>
              <a:gd name="T52" fmla="*/ 353 w 583"/>
              <a:gd name="T53" fmla="*/ 383 h 660"/>
              <a:gd name="T54" fmla="*/ 343 w 583"/>
              <a:gd name="T55" fmla="*/ 404 h 660"/>
              <a:gd name="T56" fmla="*/ 353 w 583"/>
              <a:gd name="T57" fmla="*/ 421 h 660"/>
              <a:gd name="T58" fmla="*/ 355 w 583"/>
              <a:gd name="T59" fmla="*/ 468 h 660"/>
              <a:gd name="T60" fmla="*/ 355 w 583"/>
              <a:gd name="T61" fmla="*/ 502 h 660"/>
              <a:gd name="T62" fmla="*/ 370 w 583"/>
              <a:gd name="T63" fmla="*/ 526 h 660"/>
              <a:gd name="T64" fmla="*/ 396 w 583"/>
              <a:gd name="T65" fmla="*/ 538 h 660"/>
              <a:gd name="T66" fmla="*/ 424 w 583"/>
              <a:gd name="T67" fmla="*/ 553 h 660"/>
              <a:gd name="T68" fmla="*/ 453 w 583"/>
              <a:gd name="T69" fmla="*/ 585 h 660"/>
              <a:gd name="T70" fmla="*/ 475 w 583"/>
              <a:gd name="T71" fmla="*/ 598 h 660"/>
              <a:gd name="T72" fmla="*/ 485 w 583"/>
              <a:gd name="T73" fmla="*/ 634 h 660"/>
              <a:gd name="T74" fmla="*/ 404 w 583"/>
              <a:gd name="T75" fmla="*/ 649 h 660"/>
              <a:gd name="T76" fmla="*/ 64 w 583"/>
              <a:gd name="T77" fmla="*/ 660 h 660"/>
              <a:gd name="T78" fmla="*/ 51 w 583"/>
              <a:gd name="T79" fmla="*/ 445 h 660"/>
              <a:gd name="T80" fmla="*/ 30 w 583"/>
              <a:gd name="T81" fmla="*/ 423 h 660"/>
              <a:gd name="T82" fmla="*/ 45 w 583"/>
              <a:gd name="T83" fmla="*/ 406 h 660"/>
              <a:gd name="T84" fmla="*/ 53 w 583"/>
              <a:gd name="T85" fmla="*/ 377 h 660"/>
              <a:gd name="T86" fmla="*/ 51 w 583"/>
              <a:gd name="T87" fmla="*/ 349 h 660"/>
              <a:gd name="T88" fmla="*/ 38 w 583"/>
              <a:gd name="T89" fmla="*/ 321 h 660"/>
              <a:gd name="T90" fmla="*/ 34 w 583"/>
              <a:gd name="T91" fmla="*/ 281 h 660"/>
              <a:gd name="T92" fmla="*/ 32 w 583"/>
              <a:gd name="T93" fmla="*/ 255 h 660"/>
              <a:gd name="T94" fmla="*/ 27 w 583"/>
              <a:gd name="T95" fmla="*/ 219 h 660"/>
              <a:gd name="T96" fmla="*/ 25 w 583"/>
              <a:gd name="T97" fmla="*/ 189 h 660"/>
              <a:gd name="T98" fmla="*/ 10 w 583"/>
              <a:gd name="T99" fmla="*/ 140 h 660"/>
              <a:gd name="T100" fmla="*/ 8 w 583"/>
              <a:gd name="T101" fmla="*/ 115 h 660"/>
              <a:gd name="T102" fmla="*/ 10 w 583"/>
              <a:gd name="T103" fmla="*/ 80 h 660"/>
              <a:gd name="T104" fmla="*/ 0 w 583"/>
              <a:gd name="T105" fmla="*/ 46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3" h="660">
                <a:moveTo>
                  <a:pt x="2" y="42"/>
                </a:moveTo>
                <a:lnTo>
                  <a:pt x="98" y="42"/>
                </a:lnTo>
                <a:lnTo>
                  <a:pt x="155" y="42"/>
                </a:lnTo>
                <a:lnTo>
                  <a:pt x="157" y="34"/>
                </a:lnTo>
                <a:lnTo>
                  <a:pt x="155" y="0"/>
                </a:lnTo>
                <a:lnTo>
                  <a:pt x="162" y="2"/>
                </a:lnTo>
                <a:lnTo>
                  <a:pt x="174" y="4"/>
                </a:lnTo>
                <a:lnTo>
                  <a:pt x="181" y="10"/>
                </a:lnTo>
                <a:lnTo>
                  <a:pt x="185" y="31"/>
                </a:lnTo>
                <a:lnTo>
                  <a:pt x="191" y="53"/>
                </a:lnTo>
                <a:lnTo>
                  <a:pt x="191" y="63"/>
                </a:lnTo>
                <a:lnTo>
                  <a:pt x="198" y="70"/>
                </a:lnTo>
                <a:lnTo>
                  <a:pt x="204" y="74"/>
                </a:lnTo>
                <a:lnTo>
                  <a:pt x="219" y="74"/>
                </a:lnTo>
                <a:lnTo>
                  <a:pt x="226" y="78"/>
                </a:lnTo>
                <a:lnTo>
                  <a:pt x="257" y="83"/>
                </a:lnTo>
                <a:lnTo>
                  <a:pt x="260" y="89"/>
                </a:lnTo>
                <a:lnTo>
                  <a:pt x="266" y="93"/>
                </a:lnTo>
                <a:lnTo>
                  <a:pt x="285" y="89"/>
                </a:lnTo>
                <a:lnTo>
                  <a:pt x="289" y="83"/>
                </a:lnTo>
                <a:lnTo>
                  <a:pt x="294" y="80"/>
                </a:lnTo>
                <a:lnTo>
                  <a:pt x="296" y="80"/>
                </a:lnTo>
                <a:lnTo>
                  <a:pt x="298" y="78"/>
                </a:lnTo>
                <a:lnTo>
                  <a:pt x="304" y="78"/>
                </a:lnTo>
                <a:lnTo>
                  <a:pt x="321" y="78"/>
                </a:lnTo>
                <a:lnTo>
                  <a:pt x="349" y="89"/>
                </a:lnTo>
                <a:lnTo>
                  <a:pt x="347" y="98"/>
                </a:lnTo>
                <a:lnTo>
                  <a:pt x="355" y="98"/>
                </a:lnTo>
                <a:lnTo>
                  <a:pt x="362" y="104"/>
                </a:lnTo>
                <a:lnTo>
                  <a:pt x="362" y="110"/>
                </a:lnTo>
                <a:lnTo>
                  <a:pt x="366" y="115"/>
                </a:lnTo>
                <a:lnTo>
                  <a:pt x="375" y="119"/>
                </a:lnTo>
                <a:lnTo>
                  <a:pt x="377" y="108"/>
                </a:lnTo>
                <a:lnTo>
                  <a:pt x="387" y="106"/>
                </a:lnTo>
                <a:lnTo>
                  <a:pt x="396" y="108"/>
                </a:lnTo>
                <a:lnTo>
                  <a:pt x="398" y="115"/>
                </a:lnTo>
                <a:lnTo>
                  <a:pt x="419" y="123"/>
                </a:lnTo>
                <a:lnTo>
                  <a:pt x="419" y="129"/>
                </a:lnTo>
                <a:lnTo>
                  <a:pt x="434" y="136"/>
                </a:lnTo>
                <a:lnTo>
                  <a:pt x="443" y="138"/>
                </a:lnTo>
                <a:lnTo>
                  <a:pt x="458" y="132"/>
                </a:lnTo>
                <a:lnTo>
                  <a:pt x="464" y="123"/>
                </a:lnTo>
                <a:lnTo>
                  <a:pt x="479" y="115"/>
                </a:lnTo>
                <a:lnTo>
                  <a:pt x="485" y="112"/>
                </a:lnTo>
                <a:lnTo>
                  <a:pt x="485" y="119"/>
                </a:lnTo>
                <a:lnTo>
                  <a:pt x="490" y="121"/>
                </a:lnTo>
                <a:lnTo>
                  <a:pt x="492" y="127"/>
                </a:lnTo>
                <a:lnTo>
                  <a:pt x="498" y="127"/>
                </a:lnTo>
                <a:lnTo>
                  <a:pt x="507" y="125"/>
                </a:lnTo>
                <a:lnTo>
                  <a:pt x="521" y="125"/>
                </a:lnTo>
                <a:lnTo>
                  <a:pt x="528" y="123"/>
                </a:lnTo>
                <a:lnTo>
                  <a:pt x="543" y="123"/>
                </a:lnTo>
                <a:lnTo>
                  <a:pt x="549" y="129"/>
                </a:lnTo>
                <a:lnTo>
                  <a:pt x="551" y="132"/>
                </a:lnTo>
                <a:lnTo>
                  <a:pt x="558" y="136"/>
                </a:lnTo>
                <a:lnTo>
                  <a:pt x="564" y="132"/>
                </a:lnTo>
                <a:lnTo>
                  <a:pt x="583" y="132"/>
                </a:lnTo>
                <a:lnTo>
                  <a:pt x="575" y="136"/>
                </a:lnTo>
                <a:lnTo>
                  <a:pt x="568" y="142"/>
                </a:lnTo>
                <a:lnTo>
                  <a:pt x="562" y="146"/>
                </a:lnTo>
                <a:lnTo>
                  <a:pt x="539" y="159"/>
                </a:lnTo>
                <a:lnTo>
                  <a:pt x="530" y="161"/>
                </a:lnTo>
                <a:lnTo>
                  <a:pt x="517" y="168"/>
                </a:lnTo>
                <a:lnTo>
                  <a:pt x="494" y="181"/>
                </a:lnTo>
                <a:lnTo>
                  <a:pt x="468" y="208"/>
                </a:lnTo>
                <a:lnTo>
                  <a:pt x="460" y="219"/>
                </a:lnTo>
                <a:lnTo>
                  <a:pt x="441" y="240"/>
                </a:lnTo>
                <a:lnTo>
                  <a:pt x="434" y="247"/>
                </a:lnTo>
                <a:lnTo>
                  <a:pt x="430" y="253"/>
                </a:lnTo>
                <a:lnTo>
                  <a:pt x="421" y="259"/>
                </a:lnTo>
                <a:lnTo>
                  <a:pt x="400" y="276"/>
                </a:lnTo>
                <a:lnTo>
                  <a:pt x="398" y="283"/>
                </a:lnTo>
                <a:lnTo>
                  <a:pt x="394" y="285"/>
                </a:lnTo>
                <a:lnTo>
                  <a:pt x="394" y="287"/>
                </a:lnTo>
                <a:lnTo>
                  <a:pt x="389" y="293"/>
                </a:lnTo>
                <a:lnTo>
                  <a:pt x="383" y="293"/>
                </a:lnTo>
                <a:lnTo>
                  <a:pt x="387" y="351"/>
                </a:lnTo>
                <a:lnTo>
                  <a:pt x="385" y="359"/>
                </a:lnTo>
                <a:lnTo>
                  <a:pt x="381" y="366"/>
                </a:lnTo>
                <a:lnTo>
                  <a:pt x="368" y="374"/>
                </a:lnTo>
                <a:lnTo>
                  <a:pt x="353" y="383"/>
                </a:lnTo>
                <a:lnTo>
                  <a:pt x="351" y="391"/>
                </a:lnTo>
                <a:lnTo>
                  <a:pt x="347" y="398"/>
                </a:lnTo>
                <a:lnTo>
                  <a:pt x="343" y="404"/>
                </a:lnTo>
                <a:lnTo>
                  <a:pt x="343" y="413"/>
                </a:lnTo>
                <a:lnTo>
                  <a:pt x="347" y="419"/>
                </a:lnTo>
                <a:lnTo>
                  <a:pt x="353" y="421"/>
                </a:lnTo>
                <a:lnTo>
                  <a:pt x="362" y="436"/>
                </a:lnTo>
                <a:lnTo>
                  <a:pt x="353" y="453"/>
                </a:lnTo>
                <a:lnTo>
                  <a:pt x="355" y="468"/>
                </a:lnTo>
                <a:lnTo>
                  <a:pt x="353" y="474"/>
                </a:lnTo>
                <a:lnTo>
                  <a:pt x="355" y="492"/>
                </a:lnTo>
                <a:lnTo>
                  <a:pt x="355" y="502"/>
                </a:lnTo>
                <a:lnTo>
                  <a:pt x="353" y="511"/>
                </a:lnTo>
                <a:lnTo>
                  <a:pt x="364" y="519"/>
                </a:lnTo>
                <a:lnTo>
                  <a:pt x="370" y="526"/>
                </a:lnTo>
                <a:lnTo>
                  <a:pt x="379" y="530"/>
                </a:lnTo>
                <a:lnTo>
                  <a:pt x="392" y="532"/>
                </a:lnTo>
                <a:lnTo>
                  <a:pt x="396" y="538"/>
                </a:lnTo>
                <a:lnTo>
                  <a:pt x="402" y="543"/>
                </a:lnTo>
                <a:lnTo>
                  <a:pt x="413" y="547"/>
                </a:lnTo>
                <a:lnTo>
                  <a:pt x="424" y="553"/>
                </a:lnTo>
                <a:lnTo>
                  <a:pt x="432" y="568"/>
                </a:lnTo>
                <a:lnTo>
                  <a:pt x="447" y="581"/>
                </a:lnTo>
                <a:lnTo>
                  <a:pt x="453" y="585"/>
                </a:lnTo>
                <a:lnTo>
                  <a:pt x="462" y="587"/>
                </a:lnTo>
                <a:lnTo>
                  <a:pt x="468" y="592"/>
                </a:lnTo>
                <a:lnTo>
                  <a:pt x="475" y="598"/>
                </a:lnTo>
                <a:lnTo>
                  <a:pt x="481" y="609"/>
                </a:lnTo>
                <a:lnTo>
                  <a:pt x="483" y="628"/>
                </a:lnTo>
                <a:lnTo>
                  <a:pt x="485" y="634"/>
                </a:lnTo>
                <a:lnTo>
                  <a:pt x="485" y="638"/>
                </a:lnTo>
                <a:lnTo>
                  <a:pt x="487" y="645"/>
                </a:lnTo>
                <a:lnTo>
                  <a:pt x="404" y="649"/>
                </a:lnTo>
                <a:lnTo>
                  <a:pt x="287" y="656"/>
                </a:lnTo>
                <a:lnTo>
                  <a:pt x="147" y="658"/>
                </a:lnTo>
                <a:lnTo>
                  <a:pt x="64" y="660"/>
                </a:lnTo>
                <a:lnTo>
                  <a:pt x="62" y="457"/>
                </a:lnTo>
                <a:lnTo>
                  <a:pt x="57" y="449"/>
                </a:lnTo>
                <a:lnTo>
                  <a:pt x="51" y="445"/>
                </a:lnTo>
                <a:lnTo>
                  <a:pt x="42" y="445"/>
                </a:lnTo>
                <a:lnTo>
                  <a:pt x="34" y="430"/>
                </a:lnTo>
                <a:lnTo>
                  <a:pt x="30" y="423"/>
                </a:lnTo>
                <a:lnTo>
                  <a:pt x="32" y="417"/>
                </a:lnTo>
                <a:lnTo>
                  <a:pt x="38" y="411"/>
                </a:lnTo>
                <a:lnTo>
                  <a:pt x="45" y="406"/>
                </a:lnTo>
                <a:lnTo>
                  <a:pt x="49" y="400"/>
                </a:lnTo>
                <a:lnTo>
                  <a:pt x="53" y="385"/>
                </a:lnTo>
                <a:lnTo>
                  <a:pt x="53" y="377"/>
                </a:lnTo>
                <a:lnTo>
                  <a:pt x="53" y="370"/>
                </a:lnTo>
                <a:lnTo>
                  <a:pt x="51" y="355"/>
                </a:lnTo>
                <a:lnTo>
                  <a:pt x="51" y="349"/>
                </a:lnTo>
                <a:lnTo>
                  <a:pt x="49" y="340"/>
                </a:lnTo>
                <a:lnTo>
                  <a:pt x="40" y="330"/>
                </a:lnTo>
                <a:lnTo>
                  <a:pt x="38" y="321"/>
                </a:lnTo>
                <a:lnTo>
                  <a:pt x="38" y="315"/>
                </a:lnTo>
                <a:lnTo>
                  <a:pt x="36" y="308"/>
                </a:lnTo>
                <a:lnTo>
                  <a:pt x="34" y="281"/>
                </a:lnTo>
                <a:lnTo>
                  <a:pt x="36" y="274"/>
                </a:lnTo>
                <a:lnTo>
                  <a:pt x="32" y="266"/>
                </a:lnTo>
                <a:lnTo>
                  <a:pt x="32" y="255"/>
                </a:lnTo>
                <a:lnTo>
                  <a:pt x="30" y="240"/>
                </a:lnTo>
                <a:lnTo>
                  <a:pt x="30" y="225"/>
                </a:lnTo>
                <a:lnTo>
                  <a:pt x="27" y="219"/>
                </a:lnTo>
                <a:lnTo>
                  <a:pt x="30" y="213"/>
                </a:lnTo>
                <a:lnTo>
                  <a:pt x="30" y="204"/>
                </a:lnTo>
                <a:lnTo>
                  <a:pt x="25" y="189"/>
                </a:lnTo>
                <a:lnTo>
                  <a:pt x="17" y="168"/>
                </a:lnTo>
                <a:lnTo>
                  <a:pt x="19" y="164"/>
                </a:lnTo>
                <a:lnTo>
                  <a:pt x="10" y="140"/>
                </a:lnTo>
                <a:lnTo>
                  <a:pt x="8" y="132"/>
                </a:lnTo>
                <a:lnTo>
                  <a:pt x="8" y="119"/>
                </a:lnTo>
                <a:lnTo>
                  <a:pt x="8" y="115"/>
                </a:lnTo>
                <a:lnTo>
                  <a:pt x="8" y="108"/>
                </a:lnTo>
                <a:lnTo>
                  <a:pt x="6" y="93"/>
                </a:lnTo>
                <a:lnTo>
                  <a:pt x="10" y="80"/>
                </a:lnTo>
                <a:lnTo>
                  <a:pt x="8" y="74"/>
                </a:lnTo>
                <a:lnTo>
                  <a:pt x="4" y="53"/>
                </a:lnTo>
                <a:lnTo>
                  <a:pt x="0" y="46"/>
                </a:lnTo>
                <a:lnTo>
                  <a:pt x="0" y="46"/>
                </a:lnTo>
                <a:lnTo>
                  <a:pt x="2" y="4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4" name="Freeform 710"/>
          <p:cNvSpPr>
            <a:spLocks/>
          </p:cNvSpPr>
          <p:nvPr/>
        </p:nvSpPr>
        <p:spPr bwMode="auto">
          <a:xfrm>
            <a:off x="4297362" y="2686171"/>
            <a:ext cx="854075" cy="560388"/>
          </a:xfrm>
          <a:custGeom>
            <a:avLst/>
            <a:gdLst>
              <a:gd name="T0" fmla="*/ 8 w 538"/>
              <a:gd name="T1" fmla="*/ 111 h 353"/>
              <a:gd name="T2" fmla="*/ 0 w 538"/>
              <a:gd name="T3" fmla="*/ 96 h 353"/>
              <a:gd name="T4" fmla="*/ 6 w 538"/>
              <a:gd name="T5" fmla="*/ 89 h 353"/>
              <a:gd name="T6" fmla="*/ 8 w 538"/>
              <a:gd name="T7" fmla="*/ 66 h 353"/>
              <a:gd name="T8" fmla="*/ 13 w 538"/>
              <a:gd name="T9" fmla="*/ 53 h 353"/>
              <a:gd name="T10" fmla="*/ 4 w 538"/>
              <a:gd name="T11" fmla="*/ 38 h 353"/>
              <a:gd name="T12" fmla="*/ 8 w 538"/>
              <a:gd name="T13" fmla="*/ 30 h 353"/>
              <a:gd name="T14" fmla="*/ 2 w 538"/>
              <a:gd name="T15" fmla="*/ 15 h 353"/>
              <a:gd name="T16" fmla="*/ 98 w 538"/>
              <a:gd name="T17" fmla="*/ 13 h 353"/>
              <a:gd name="T18" fmla="*/ 355 w 538"/>
              <a:gd name="T19" fmla="*/ 4 h 353"/>
              <a:gd name="T20" fmla="*/ 438 w 538"/>
              <a:gd name="T21" fmla="*/ 6 h 353"/>
              <a:gd name="T22" fmla="*/ 443 w 538"/>
              <a:gd name="T23" fmla="*/ 17 h 353"/>
              <a:gd name="T24" fmla="*/ 453 w 538"/>
              <a:gd name="T25" fmla="*/ 25 h 353"/>
              <a:gd name="T26" fmla="*/ 449 w 538"/>
              <a:gd name="T27" fmla="*/ 51 h 353"/>
              <a:gd name="T28" fmla="*/ 453 w 538"/>
              <a:gd name="T29" fmla="*/ 70 h 353"/>
              <a:gd name="T30" fmla="*/ 460 w 538"/>
              <a:gd name="T31" fmla="*/ 87 h 353"/>
              <a:gd name="T32" fmla="*/ 487 w 538"/>
              <a:gd name="T33" fmla="*/ 94 h 353"/>
              <a:gd name="T34" fmla="*/ 494 w 538"/>
              <a:gd name="T35" fmla="*/ 111 h 353"/>
              <a:gd name="T36" fmla="*/ 513 w 538"/>
              <a:gd name="T37" fmla="*/ 128 h 353"/>
              <a:gd name="T38" fmla="*/ 521 w 538"/>
              <a:gd name="T39" fmla="*/ 143 h 353"/>
              <a:gd name="T40" fmla="*/ 536 w 538"/>
              <a:gd name="T41" fmla="*/ 153 h 353"/>
              <a:gd name="T42" fmla="*/ 536 w 538"/>
              <a:gd name="T43" fmla="*/ 183 h 353"/>
              <a:gd name="T44" fmla="*/ 526 w 538"/>
              <a:gd name="T45" fmla="*/ 211 h 353"/>
              <a:gd name="T46" fmla="*/ 504 w 538"/>
              <a:gd name="T47" fmla="*/ 224 h 353"/>
              <a:gd name="T48" fmla="*/ 470 w 538"/>
              <a:gd name="T49" fmla="*/ 234 h 353"/>
              <a:gd name="T50" fmla="*/ 464 w 538"/>
              <a:gd name="T51" fmla="*/ 255 h 353"/>
              <a:gd name="T52" fmla="*/ 479 w 538"/>
              <a:gd name="T53" fmla="*/ 285 h 353"/>
              <a:gd name="T54" fmla="*/ 468 w 538"/>
              <a:gd name="T55" fmla="*/ 304 h 353"/>
              <a:gd name="T56" fmla="*/ 466 w 538"/>
              <a:gd name="T57" fmla="*/ 319 h 353"/>
              <a:gd name="T58" fmla="*/ 443 w 538"/>
              <a:gd name="T59" fmla="*/ 334 h 353"/>
              <a:gd name="T60" fmla="*/ 447 w 538"/>
              <a:gd name="T61" fmla="*/ 349 h 353"/>
              <a:gd name="T62" fmla="*/ 438 w 538"/>
              <a:gd name="T63" fmla="*/ 353 h 353"/>
              <a:gd name="T64" fmla="*/ 419 w 538"/>
              <a:gd name="T65" fmla="*/ 334 h 353"/>
              <a:gd name="T66" fmla="*/ 360 w 538"/>
              <a:gd name="T67" fmla="*/ 334 h 353"/>
              <a:gd name="T68" fmla="*/ 168 w 538"/>
              <a:gd name="T69" fmla="*/ 343 h 353"/>
              <a:gd name="T70" fmla="*/ 72 w 538"/>
              <a:gd name="T71" fmla="*/ 334 h 353"/>
              <a:gd name="T72" fmla="*/ 68 w 538"/>
              <a:gd name="T73" fmla="*/ 309 h 353"/>
              <a:gd name="T74" fmla="*/ 66 w 538"/>
              <a:gd name="T75" fmla="*/ 283 h 353"/>
              <a:gd name="T76" fmla="*/ 62 w 538"/>
              <a:gd name="T77" fmla="*/ 270 h 353"/>
              <a:gd name="T78" fmla="*/ 59 w 538"/>
              <a:gd name="T79" fmla="*/ 253 h 353"/>
              <a:gd name="T80" fmla="*/ 53 w 538"/>
              <a:gd name="T81" fmla="*/ 243 h 353"/>
              <a:gd name="T82" fmla="*/ 47 w 538"/>
              <a:gd name="T83" fmla="*/ 234 h 353"/>
              <a:gd name="T84" fmla="*/ 44 w 538"/>
              <a:gd name="T85" fmla="*/ 226 h 353"/>
              <a:gd name="T86" fmla="*/ 47 w 538"/>
              <a:gd name="T87" fmla="*/ 211 h 353"/>
              <a:gd name="T88" fmla="*/ 40 w 538"/>
              <a:gd name="T89" fmla="*/ 196 h 353"/>
              <a:gd name="T90" fmla="*/ 32 w 538"/>
              <a:gd name="T91" fmla="*/ 177 h 353"/>
              <a:gd name="T92" fmla="*/ 23 w 538"/>
              <a:gd name="T93" fmla="*/ 162 h 353"/>
              <a:gd name="T94" fmla="*/ 23 w 538"/>
              <a:gd name="T95" fmla="*/ 149 h 353"/>
              <a:gd name="T96" fmla="*/ 19 w 538"/>
              <a:gd name="T97" fmla="*/ 136 h 353"/>
              <a:gd name="T98" fmla="*/ 13 w 538"/>
              <a:gd name="T99" fmla="*/ 12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353">
                <a:moveTo>
                  <a:pt x="13" y="126"/>
                </a:moveTo>
                <a:lnTo>
                  <a:pt x="8" y="111"/>
                </a:lnTo>
                <a:lnTo>
                  <a:pt x="2" y="104"/>
                </a:lnTo>
                <a:lnTo>
                  <a:pt x="0" y="96"/>
                </a:lnTo>
                <a:lnTo>
                  <a:pt x="4" y="89"/>
                </a:lnTo>
                <a:lnTo>
                  <a:pt x="6" y="89"/>
                </a:lnTo>
                <a:lnTo>
                  <a:pt x="10" y="74"/>
                </a:lnTo>
                <a:lnTo>
                  <a:pt x="8" y="66"/>
                </a:lnTo>
                <a:lnTo>
                  <a:pt x="13" y="60"/>
                </a:lnTo>
                <a:lnTo>
                  <a:pt x="13" y="53"/>
                </a:lnTo>
                <a:lnTo>
                  <a:pt x="6" y="47"/>
                </a:lnTo>
                <a:lnTo>
                  <a:pt x="4" y="38"/>
                </a:lnTo>
                <a:lnTo>
                  <a:pt x="6" y="36"/>
                </a:lnTo>
                <a:lnTo>
                  <a:pt x="8" y="30"/>
                </a:lnTo>
                <a:lnTo>
                  <a:pt x="4" y="23"/>
                </a:lnTo>
                <a:lnTo>
                  <a:pt x="2" y="15"/>
                </a:lnTo>
                <a:lnTo>
                  <a:pt x="15" y="15"/>
                </a:lnTo>
                <a:lnTo>
                  <a:pt x="98" y="13"/>
                </a:lnTo>
                <a:lnTo>
                  <a:pt x="238" y="11"/>
                </a:lnTo>
                <a:lnTo>
                  <a:pt x="355" y="4"/>
                </a:lnTo>
                <a:lnTo>
                  <a:pt x="438" y="0"/>
                </a:lnTo>
                <a:lnTo>
                  <a:pt x="438" y="6"/>
                </a:lnTo>
                <a:lnTo>
                  <a:pt x="441" y="8"/>
                </a:lnTo>
                <a:lnTo>
                  <a:pt x="443" y="17"/>
                </a:lnTo>
                <a:lnTo>
                  <a:pt x="449" y="19"/>
                </a:lnTo>
                <a:lnTo>
                  <a:pt x="453" y="25"/>
                </a:lnTo>
                <a:lnTo>
                  <a:pt x="445" y="40"/>
                </a:lnTo>
                <a:lnTo>
                  <a:pt x="449" y="51"/>
                </a:lnTo>
                <a:lnTo>
                  <a:pt x="449" y="64"/>
                </a:lnTo>
                <a:lnTo>
                  <a:pt x="453" y="70"/>
                </a:lnTo>
                <a:lnTo>
                  <a:pt x="455" y="79"/>
                </a:lnTo>
                <a:lnTo>
                  <a:pt x="460" y="87"/>
                </a:lnTo>
                <a:lnTo>
                  <a:pt x="466" y="89"/>
                </a:lnTo>
                <a:lnTo>
                  <a:pt x="487" y="94"/>
                </a:lnTo>
                <a:lnTo>
                  <a:pt x="494" y="109"/>
                </a:lnTo>
                <a:lnTo>
                  <a:pt x="494" y="111"/>
                </a:lnTo>
                <a:lnTo>
                  <a:pt x="498" y="117"/>
                </a:lnTo>
                <a:lnTo>
                  <a:pt x="513" y="128"/>
                </a:lnTo>
                <a:lnTo>
                  <a:pt x="515" y="136"/>
                </a:lnTo>
                <a:lnTo>
                  <a:pt x="521" y="143"/>
                </a:lnTo>
                <a:lnTo>
                  <a:pt x="530" y="147"/>
                </a:lnTo>
                <a:lnTo>
                  <a:pt x="536" y="153"/>
                </a:lnTo>
                <a:lnTo>
                  <a:pt x="538" y="160"/>
                </a:lnTo>
                <a:lnTo>
                  <a:pt x="536" y="183"/>
                </a:lnTo>
                <a:lnTo>
                  <a:pt x="526" y="196"/>
                </a:lnTo>
                <a:lnTo>
                  <a:pt x="526" y="211"/>
                </a:lnTo>
                <a:lnTo>
                  <a:pt x="517" y="217"/>
                </a:lnTo>
                <a:lnTo>
                  <a:pt x="504" y="224"/>
                </a:lnTo>
                <a:lnTo>
                  <a:pt x="496" y="228"/>
                </a:lnTo>
                <a:lnTo>
                  <a:pt x="470" y="234"/>
                </a:lnTo>
                <a:lnTo>
                  <a:pt x="466" y="243"/>
                </a:lnTo>
                <a:lnTo>
                  <a:pt x="464" y="255"/>
                </a:lnTo>
                <a:lnTo>
                  <a:pt x="479" y="270"/>
                </a:lnTo>
                <a:lnTo>
                  <a:pt x="479" y="285"/>
                </a:lnTo>
                <a:lnTo>
                  <a:pt x="468" y="300"/>
                </a:lnTo>
                <a:lnTo>
                  <a:pt x="468" y="304"/>
                </a:lnTo>
                <a:lnTo>
                  <a:pt x="468" y="311"/>
                </a:lnTo>
                <a:lnTo>
                  <a:pt x="466" y="319"/>
                </a:lnTo>
                <a:lnTo>
                  <a:pt x="449" y="328"/>
                </a:lnTo>
                <a:lnTo>
                  <a:pt x="443" y="334"/>
                </a:lnTo>
                <a:lnTo>
                  <a:pt x="447" y="341"/>
                </a:lnTo>
                <a:lnTo>
                  <a:pt x="447" y="349"/>
                </a:lnTo>
                <a:lnTo>
                  <a:pt x="443" y="353"/>
                </a:lnTo>
                <a:lnTo>
                  <a:pt x="438" y="353"/>
                </a:lnTo>
                <a:lnTo>
                  <a:pt x="432" y="345"/>
                </a:lnTo>
                <a:lnTo>
                  <a:pt x="419" y="334"/>
                </a:lnTo>
                <a:lnTo>
                  <a:pt x="415" y="328"/>
                </a:lnTo>
                <a:lnTo>
                  <a:pt x="360" y="334"/>
                </a:lnTo>
                <a:lnTo>
                  <a:pt x="228" y="341"/>
                </a:lnTo>
                <a:lnTo>
                  <a:pt x="168" y="343"/>
                </a:lnTo>
                <a:lnTo>
                  <a:pt x="74" y="341"/>
                </a:lnTo>
                <a:lnTo>
                  <a:pt x="72" y="334"/>
                </a:lnTo>
                <a:lnTo>
                  <a:pt x="66" y="330"/>
                </a:lnTo>
                <a:lnTo>
                  <a:pt x="68" y="309"/>
                </a:lnTo>
                <a:lnTo>
                  <a:pt x="66" y="294"/>
                </a:lnTo>
                <a:lnTo>
                  <a:pt x="66" y="283"/>
                </a:lnTo>
                <a:lnTo>
                  <a:pt x="66" y="277"/>
                </a:lnTo>
                <a:lnTo>
                  <a:pt x="62" y="270"/>
                </a:lnTo>
                <a:lnTo>
                  <a:pt x="64" y="260"/>
                </a:lnTo>
                <a:lnTo>
                  <a:pt x="59" y="253"/>
                </a:lnTo>
                <a:lnTo>
                  <a:pt x="59" y="245"/>
                </a:lnTo>
                <a:lnTo>
                  <a:pt x="53" y="243"/>
                </a:lnTo>
                <a:lnTo>
                  <a:pt x="53" y="234"/>
                </a:lnTo>
                <a:lnTo>
                  <a:pt x="47" y="234"/>
                </a:lnTo>
                <a:lnTo>
                  <a:pt x="47" y="232"/>
                </a:lnTo>
                <a:lnTo>
                  <a:pt x="44" y="226"/>
                </a:lnTo>
                <a:lnTo>
                  <a:pt x="44" y="217"/>
                </a:lnTo>
                <a:lnTo>
                  <a:pt x="47" y="211"/>
                </a:lnTo>
                <a:lnTo>
                  <a:pt x="44" y="204"/>
                </a:lnTo>
                <a:lnTo>
                  <a:pt x="40" y="196"/>
                </a:lnTo>
                <a:lnTo>
                  <a:pt x="40" y="189"/>
                </a:lnTo>
                <a:lnTo>
                  <a:pt x="32" y="177"/>
                </a:lnTo>
                <a:lnTo>
                  <a:pt x="30" y="170"/>
                </a:lnTo>
                <a:lnTo>
                  <a:pt x="23" y="162"/>
                </a:lnTo>
                <a:lnTo>
                  <a:pt x="25" y="155"/>
                </a:lnTo>
                <a:lnTo>
                  <a:pt x="23" y="149"/>
                </a:lnTo>
                <a:lnTo>
                  <a:pt x="19" y="140"/>
                </a:lnTo>
                <a:lnTo>
                  <a:pt x="19" y="136"/>
                </a:lnTo>
                <a:lnTo>
                  <a:pt x="19" y="128"/>
                </a:lnTo>
                <a:lnTo>
                  <a:pt x="13" y="126"/>
                </a:lnTo>
                <a:close/>
              </a:path>
            </a:pathLst>
          </a:custGeom>
          <a:solidFill>
            <a:srgbClr val="FF6969"/>
          </a:solidFill>
          <a:ln>
            <a:noFill/>
          </a:ln>
        </p:spPr>
        <p:txBody>
          <a:bodyPr vert="horz" wrap="square" lIns="91440" tIns="45720" rIns="91440" bIns="45720" numCol="1" anchor="t" anchorCtr="0" compatLnSpc="1">
            <a:prstTxWarp prst="textNoShape">
              <a:avLst/>
            </a:prstTxWarp>
          </a:bodyPr>
          <a:lstStyle/>
          <a:p>
            <a:endParaRPr lang="en-US"/>
          </a:p>
        </p:txBody>
      </p:sp>
      <p:sp>
        <p:nvSpPr>
          <p:cNvPr id="1305" name="Freeform 711"/>
          <p:cNvSpPr>
            <a:spLocks/>
          </p:cNvSpPr>
          <p:nvPr/>
        </p:nvSpPr>
        <p:spPr bwMode="auto">
          <a:xfrm>
            <a:off x="4297362" y="2686171"/>
            <a:ext cx="854075" cy="560388"/>
          </a:xfrm>
          <a:custGeom>
            <a:avLst/>
            <a:gdLst>
              <a:gd name="T0" fmla="*/ 8 w 538"/>
              <a:gd name="T1" fmla="*/ 111 h 353"/>
              <a:gd name="T2" fmla="*/ 0 w 538"/>
              <a:gd name="T3" fmla="*/ 96 h 353"/>
              <a:gd name="T4" fmla="*/ 6 w 538"/>
              <a:gd name="T5" fmla="*/ 89 h 353"/>
              <a:gd name="T6" fmla="*/ 8 w 538"/>
              <a:gd name="T7" fmla="*/ 66 h 353"/>
              <a:gd name="T8" fmla="*/ 13 w 538"/>
              <a:gd name="T9" fmla="*/ 53 h 353"/>
              <a:gd name="T10" fmla="*/ 4 w 538"/>
              <a:gd name="T11" fmla="*/ 38 h 353"/>
              <a:gd name="T12" fmla="*/ 8 w 538"/>
              <a:gd name="T13" fmla="*/ 30 h 353"/>
              <a:gd name="T14" fmla="*/ 2 w 538"/>
              <a:gd name="T15" fmla="*/ 15 h 353"/>
              <a:gd name="T16" fmla="*/ 98 w 538"/>
              <a:gd name="T17" fmla="*/ 13 h 353"/>
              <a:gd name="T18" fmla="*/ 355 w 538"/>
              <a:gd name="T19" fmla="*/ 4 h 353"/>
              <a:gd name="T20" fmla="*/ 438 w 538"/>
              <a:gd name="T21" fmla="*/ 6 h 353"/>
              <a:gd name="T22" fmla="*/ 443 w 538"/>
              <a:gd name="T23" fmla="*/ 17 h 353"/>
              <a:gd name="T24" fmla="*/ 453 w 538"/>
              <a:gd name="T25" fmla="*/ 25 h 353"/>
              <a:gd name="T26" fmla="*/ 449 w 538"/>
              <a:gd name="T27" fmla="*/ 51 h 353"/>
              <a:gd name="T28" fmla="*/ 453 w 538"/>
              <a:gd name="T29" fmla="*/ 70 h 353"/>
              <a:gd name="T30" fmla="*/ 460 w 538"/>
              <a:gd name="T31" fmla="*/ 87 h 353"/>
              <a:gd name="T32" fmla="*/ 487 w 538"/>
              <a:gd name="T33" fmla="*/ 94 h 353"/>
              <a:gd name="T34" fmla="*/ 494 w 538"/>
              <a:gd name="T35" fmla="*/ 111 h 353"/>
              <a:gd name="T36" fmla="*/ 513 w 538"/>
              <a:gd name="T37" fmla="*/ 128 h 353"/>
              <a:gd name="T38" fmla="*/ 521 w 538"/>
              <a:gd name="T39" fmla="*/ 143 h 353"/>
              <a:gd name="T40" fmla="*/ 536 w 538"/>
              <a:gd name="T41" fmla="*/ 153 h 353"/>
              <a:gd name="T42" fmla="*/ 536 w 538"/>
              <a:gd name="T43" fmla="*/ 183 h 353"/>
              <a:gd name="T44" fmla="*/ 526 w 538"/>
              <a:gd name="T45" fmla="*/ 211 h 353"/>
              <a:gd name="T46" fmla="*/ 504 w 538"/>
              <a:gd name="T47" fmla="*/ 224 h 353"/>
              <a:gd name="T48" fmla="*/ 470 w 538"/>
              <a:gd name="T49" fmla="*/ 234 h 353"/>
              <a:gd name="T50" fmla="*/ 464 w 538"/>
              <a:gd name="T51" fmla="*/ 255 h 353"/>
              <a:gd name="T52" fmla="*/ 479 w 538"/>
              <a:gd name="T53" fmla="*/ 285 h 353"/>
              <a:gd name="T54" fmla="*/ 468 w 538"/>
              <a:gd name="T55" fmla="*/ 304 h 353"/>
              <a:gd name="T56" fmla="*/ 466 w 538"/>
              <a:gd name="T57" fmla="*/ 319 h 353"/>
              <a:gd name="T58" fmla="*/ 443 w 538"/>
              <a:gd name="T59" fmla="*/ 334 h 353"/>
              <a:gd name="T60" fmla="*/ 447 w 538"/>
              <a:gd name="T61" fmla="*/ 349 h 353"/>
              <a:gd name="T62" fmla="*/ 438 w 538"/>
              <a:gd name="T63" fmla="*/ 353 h 353"/>
              <a:gd name="T64" fmla="*/ 419 w 538"/>
              <a:gd name="T65" fmla="*/ 334 h 353"/>
              <a:gd name="T66" fmla="*/ 360 w 538"/>
              <a:gd name="T67" fmla="*/ 334 h 353"/>
              <a:gd name="T68" fmla="*/ 168 w 538"/>
              <a:gd name="T69" fmla="*/ 343 h 353"/>
              <a:gd name="T70" fmla="*/ 72 w 538"/>
              <a:gd name="T71" fmla="*/ 334 h 353"/>
              <a:gd name="T72" fmla="*/ 68 w 538"/>
              <a:gd name="T73" fmla="*/ 309 h 353"/>
              <a:gd name="T74" fmla="*/ 66 w 538"/>
              <a:gd name="T75" fmla="*/ 283 h 353"/>
              <a:gd name="T76" fmla="*/ 62 w 538"/>
              <a:gd name="T77" fmla="*/ 270 h 353"/>
              <a:gd name="T78" fmla="*/ 59 w 538"/>
              <a:gd name="T79" fmla="*/ 253 h 353"/>
              <a:gd name="T80" fmla="*/ 53 w 538"/>
              <a:gd name="T81" fmla="*/ 243 h 353"/>
              <a:gd name="T82" fmla="*/ 47 w 538"/>
              <a:gd name="T83" fmla="*/ 234 h 353"/>
              <a:gd name="T84" fmla="*/ 44 w 538"/>
              <a:gd name="T85" fmla="*/ 226 h 353"/>
              <a:gd name="T86" fmla="*/ 47 w 538"/>
              <a:gd name="T87" fmla="*/ 211 h 353"/>
              <a:gd name="T88" fmla="*/ 40 w 538"/>
              <a:gd name="T89" fmla="*/ 196 h 353"/>
              <a:gd name="T90" fmla="*/ 32 w 538"/>
              <a:gd name="T91" fmla="*/ 177 h 353"/>
              <a:gd name="T92" fmla="*/ 23 w 538"/>
              <a:gd name="T93" fmla="*/ 162 h 353"/>
              <a:gd name="T94" fmla="*/ 23 w 538"/>
              <a:gd name="T95" fmla="*/ 149 h 353"/>
              <a:gd name="T96" fmla="*/ 19 w 538"/>
              <a:gd name="T97" fmla="*/ 136 h 353"/>
              <a:gd name="T98" fmla="*/ 13 w 538"/>
              <a:gd name="T99" fmla="*/ 126 h 3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38" h="353">
                <a:moveTo>
                  <a:pt x="13" y="126"/>
                </a:moveTo>
                <a:lnTo>
                  <a:pt x="8" y="111"/>
                </a:lnTo>
                <a:lnTo>
                  <a:pt x="2" y="104"/>
                </a:lnTo>
                <a:lnTo>
                  <a:pt x="0" y="96"/>
                </a:lnTo>
                <a:lnTo>
                  <a:pt x="4" y="89"/>
                </a:lnTo>
                <a:lnTo>
                  <a:pt x="6" y="89"/>
                </a:lnTo>
                <a:lnTo>
                  <a:pt x="10" y="74"/>
                </a:lnTo>
                <a:lnTo>
                  <a:pt x="8" y="66"/>
                </a:lnTo>
                <a:lnTo>
                  <a:pt x="13" y="60"/>
                </a:lnTo>
                <a:lnTo>
                  <a:pt x="13" y="53"/>
                </a:lnTo>
                <a:lnTo>
                  <a:pt x="6" y="47"/>
                </a:lnTo>
                <a:lnTo>
                  <a:pt x="4" y="38"/>
                </a:lnTo>
                <a:lnTo>
                  <a:pt x="6" y="36"/>
                </a:lnTo>
                <a:lnTo>
                  <a:pt x="8" y="30"/>
                </a:lnTo>
                <a:lnTo>
                  <a:pt x="4" y="23"/>
                </a:lnTo>
                <a:lnTo>
                  <a:pt x="2" y="15"/>
                </a:lnTo>
                <a:lnTo>
                  <a:pt x="15" y="15"/>
                </a:lnTo>
                <a:lnTo>
                  <a:pt x="98" y="13"/>
                </a:lnTo>
                <a:lnTo>
                  <a:pt x="238" y="11"/>
                </a:lnTo>
                <a:lnTo>
                  <a:pt x="355" y="4"/>
                </a:lnTo>
                <a:lnTo>
                  <a:pt x="438" y="0"/>
                </a:lnTo>
                <a:lnTo>
                  <a:pt x="438" y="6"/>
                </a:lnTo>
                <a:lnTo>
                  <a:pt x="441" y="8"/>
                </a:lnTo>
                <a:lnTo>
                  <a:pt x="443" y="17"/>
                </a:lnTo>
                <a:lnTo>
                  <a:pt x="449" y="19"/>
                </a:lnTo>
                <a:lnTo>
                  <a:pt x="453" y="25"/>
                </a:lnTo>
                <a:lnTo>
                  <a:pt x="445" y="40"/>
                </a:lnTo>
                <a:lnTo>
                  <a:pt x="449" y="51"/>
                </a:lnTo>
                <a:lnTo>
                  <a:pt x="449" y="64"/>
                </a:lnTo>
                <a:lnTo>
                  <a:pt x="453" y="70"/>
                </a:lnTo>
                <a:lnTo>
                  <a:pt x="455" y="79"/>
                </a:lnTo>
                <a:lnTo>
                  <a:pt x="460" y="87"/>
                </a:lnTo>
                <a:lnTo>
                  <a:pt x="466" y="89"/>
                </a:lnTo>
                <a:lnTo>
                  <a:pt x="487" y="94"/>
                </a:lnTo>
                <a:lnTo>
                  <a:pt x="494" y="109"/>
                </a:lnTo>
                <a:lnTo>
                  <a:pt x="494" y="111"/>
                </a:lnTo>
                <a:lnTo>
                  <a:pt x="498" y="117"/>
                </a:lnTo>
                <a:lnTo>
                  <a:pt x="513" y="128"/>
                </a:lnTo>
                <a:lnTo>
                  <a:pt x="515" y="136"/>
                </a:lnTo>
                <a:lnTo>
                  <a:pt x="521" y="143"/>
                </a:lnTo>
                <a:lnTo>
                  <a:pt x="530" y="147"/>
                </a:lnTo>
                <a:lnTo>
                  <a:pt x="536" y="153"/>
                </a:lnTo>
                <a:lnTo>
                  <a:pt x="538" y="160"/>
                </a:lnTo>
                <a:lnTo>
                  <a:pt x="536" y="183"/>
                </a:lnTo>
                <a:lnTo>
                  <a:pt x="526" y="196"/>
                </a:lnTo>
                <a:lnTo>
                  <a:pt x="526" y="211"/>
                </a:lnTo>
                <a:lnTo>
                  <a:pt x="517" y="217"/>
                </a:lnTo>
                <a:lnTo>
                  <a:pt x="504" y="224"/>
                </a:lnTo>
                <a:lnTo>
                  <a:pt x="496" y="228"/>
                </a:lnTo>
                <a:lnTo>
                  <a:pt x="470" y="234"/>
                </a:lnTo>
                <a:lnTo>
                  <a:pt x="466" y="243"/>
                </a:lnTo>
                <a:lnTo>
                  <a:pt x="464" y="255"/>
                </a:lnTo>
                <a:lnTo>
                  <a:pt x="479" y="270"/>
                </a:lnTo>
                <a:lnTo>
                  <a:pt x="479" y="285"/>
                </a:lnTo>
                <a:lnTo>
                  <a:pt x="468" y="300"/>
                </a:lnTo>
                <a:lnTo>
                  <a:pt x="468" y="304"/>
                </a:lnTo>
                <a:lnTo>
                  <a:pt x="468" y="311"/>
                </a:lnTo>
                <a:lnTo>
                  <a:pt x="466" y="319"/>
                </a:lnTo>
                <a:lnTo>
                  <a:pt x="449" y="328"/>
                </a:lnTo>
                <a:lnTo>
                  <a:pt x="443" y="334"/>
                </a:lnTo>
                <a:lnTo>
                  <a:pt x="447" y="341"/>
                </a:lnTo>
                <a:lnTo>
                  <a:pt x="447" y="349"/>
                </a:lnTo>
                <a:lnTo>
                  <a:pt x="443" y="353"/>
                </a:lnTo>
                <a:lnTo>
                  <a:pt x="438" y="353"/>
                </a:lnTo>
                <a:lnTo>
                  <a:pt x="432" y="345"/>
                </a:lnTo>
                <a:lnTo>
                  <a:pt x="419" y="334"/>
                </a:lnTo>
                <a:lnTo>
                  <a:pt x="415" y="328"/>
                </a:lnTo>
                <a:lnTo>
                  <a:pt x="360" y="334"/>
                </a:lnTo>
                <a:lnTo>
                  <a:pt x="228" y="341"/>
                </a:lnTo>
                <a:lnTo>
                  <a:pt x="168" y="343"/>
                </a:lnTo>
                <a:lnTo>
                  <a:pt x="74" y="341"/>
                </a:lnTo>
                <a:lnTo>
                  <a:pt x="72" y="334"/>
                </a:lnTo>
                <a:lnTo>
                  <a:pt x="66" y="330"/>
                </a:lnTo>
                <a:lnTo>
                  <a:pt x="68" y="309"/>
                </a:lnTo>
                <a:lnTo>
                  <a:pt x="66" y="294"/>
                </a:lnTo>
                <a:lnTo>
                  <a:pt x="66" y="283"/>
                </a:lnTo>
                <a:lnTo>
                  <a:pt x="66" y="277"/>
                </a:lnTo>
                <a:lnTo>
                  <a:pt x="62" y="270"/>
                </a:lnTo>
                <a:lnTo>
                  <a:pt x="64" y="260"/>
                </a:lnTo>
                <a:lnTo>
                  <a:pt x="59" y="253"/>
                </a:lnTo>
                <a:lnTo>
                  <a:pt x="59" y="245"/>
                </a:lnTo>
                <a:lnTo>
                  <a:pt x="53" y="243"/>
                </a:lnTo>
                <a:lnTo>
                  <a:pt x="53" y="234"/>
                </a:lnTo>
                <a:lnTo>
                  <a:pt x="47" y="234"/>
                </a:lnTo>
                <a:lnTo>
                  <a:pt x="47" y="232"/>
                </a:lnTo>
                <a:lnTo>
                  <a:pt x="44" y="226"/>
                </a:lnTo>
                <a:lnTo>
                  <a:pt x="44" y="217"/>
                </a:lnTo>
                <a:lnTo>
                  <a:pt x="47" y="211"/>
                </a:lnTo>
                <a:lnTo>
                  <a:pt x="44" y="204"/>
                </a:lnTo>
                <a:lnTo>
                  <a:pt x="40" y="196"/>
                </a:lnTo>
                <a:lnTo>
                  <a:pt x="40" y="189"/>
                </a:lnTo>
                <a:lnTo>
                  <a:pt x="32" y="177"/>
                </a:lnTo>
                <a:lnTo>
                  <a:pt x="30" y="170"/>
                </a:lnTo>
                <a:lnTo>
                  <a:pt x="23" y="162"/>
                </a:lnTo>
                <a:lnTo>
                  <a:pt x="25" y="155"/>
                </a:lnTo>
                <a:lnTo>
                  <a:pt x="23" y="149"/>
                </a:lnTo>
                <a:lnTo>
                  <a:pt x="19" y="140"/>
                </a:lnTo>
                <a:lnTo>
                  <a:pt x="19" y="136"/>
                </a:lnTo>
                <a:lnTo>
                  <a:pt x="19" y="128"/>
                </a:lnTo>
                <a:lnTo>
                  <a:pt x="13" y="12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6" name="Freeform 712"/>
          <p:cNvSpPr>
            <a:spLocks/>
          </p:cNvSpPr>
          <p:nvPr/>
        </p:nvSpPr>
        <p:spPr bwMode="auto">
          <a:xfrm>
            <a:off x="4414837" y="3206871"/>
            <a:ext cx="947738" cy="820738"/>
          </a:xfrm>
          <a:custGeom>
            <a:avLst/>
            <a:gdLst>
              <a:gd name="T0" fmla="*/ 94 w 597"/>
              <a:gd name="T1" fmla="*/ 15 h 517"/>
              <a:gd name="T2" fmla="*/ 286 w 597"/>
              <a:gd name="T3" fmla="*/ 6 h 517"/>
              <a:gd name="T4" fmla="*/ 345 w 597"/>
              <a:gd name="T5" fmla="*/ 6 h 517"/>
              <a:gd name="T6" fmla="*/ 364 w 597"/>
              <a:gd name="T7" fmla="*/ 25 h 517"/>
              <a:gd name="T8" fmla="*/ 364 w 597"/>
              <a:gd name="T9" fmla="*/ 34 h 517"/>
              <a:gd name="T10" fmla="*/ 362 w 597"/>
              <a:gd name="T11" fmla="*/ 55 h 517"/>
              <a:gd name="T12" fmla="*/ 369 w 597"/>
              <a:gd name="T13" fmla="*/ 72 h 517"/>
              <a:gd name="T14" fmla="*/ 377 w 597"/>
              <a:gd name="T15" fmla="*/ 94 h 517"/>
              <a:gd name="T16" fmla="*/ 388 w 597"/>
              <a:gd name="T17" fmla="*/ 109 h 517"/>
              <a:gd name="T18" fmla="*/ 403 w 597"/>
              <a:gd name="T19" fmla="*/ 121 h 517"/>
              <a:gd name="T20" fmla="*/ 424 w 597"/>
              <a:gd name="T21" fmla="*/ 138 h 517"/>
              <a:gd name="T22" fmla="*/ 435 w 597"/>
              <a:gd name="T23" fmla="*/ 151 h 517"/>
              <a:gd name="T24" fmla="*/ 447 w 597"/>
              <a:gd name="T25" fmla="*/ 189 h 517"/>
              <a:gd name="T26" fmla="*/ 460 w 597"/>
              <a:gd name="T27" fmla="*/ 181 h 517"/>
              <a:gd name="T28" fmla="*/ 471 w 597"/>
              <a:gd name="T29" fmla="*/ 183 h 517"/>
              <a:gd name="T30" fmla="*/ 492 w 597"/>
              <a:gd name="T31" fmla="*/ 194 h 517"/>
              <a:gd name="T32" fmla="*/ 488 w 597"/>
              <a:gd name="T33" fmla="*/ 204 h 517"/>
              <a:gd name="T34" fmla="*/ 482 w 597"/>
              <a:gd name="T35" fmla="*/ 228 h 517"/>
              <a:gd name="T36" fmla="*/ 475 w 597"/>
              <a:gd name="T37" fmla="*/ 247 h 517"/>
              <a:gd name="T38" fmla="*/ 475 w 597"/>
              <a:gd name="T39" fmla="*/ 262 h 517"/>
              <a:gd name="T40" fmla="*/ 509 w 597"/>
              <a:gd name="T41" fmla="*/ 292 h 517"/>
              <a:gd name="T42" fmla="*/ 516 w 597"/>
              <a:gd name="T43" fmla="*/ 300 h 517"/>
              <a:gd name="T44" fmla="*/ 535 w 597"/>
              <a:gd name="T45" fmla="*/ 304 h 517"/>
              <a:gd name="T46" fmla="*/ 548 w 597"/>
              <a:gd name="T47" fmla="*/ 317 h 517"/>
              <a:gd name="T48" fmla="*/ 556 w 597"/>
              <a:gd name="T49" fmla="*/ 336 h 517"/>
              <a:gd name="T50" fmla="*/ 562 w 597"/>
              <a:gd name="T51" fmla="*/ 358 h 517"/>
              <a:gd name="T52" fmla="*/ 567 w 597"/>
              <a:gd name="T53" fmla="*/ 379 h 517"/>
              <a:gd name="T54" fmla="*/ 586 w 597"/>
              <a:gd name="T55" fmla="*/ 392 h 517"/>
              <a:gd name="T56" fmla="*/ 597 w 597"/>
              <a:gd name="T57" fmla="*/ 402 h 517"/>
              <a:gd name="T58" fmla="*/ 597 w 597"/>
              <a:gd name="T59" fmla="*/ 422 h 517"/>
              <a:gd name="T60" fmla="*/ 594 w 597"/>
              <a:gd name="T61" fmla="*/ 432 h 517"/>
              <a:gd name="T62" fmla="*/ 584 w 597"/>
              <a:gd name="T63" fmla="*/ 441 h 517"/>
              <a:gd name="T64" fmla="*/ 573 w 597"/>
              <a:gd name="T65" fmla="*/ 454 h 517"/>
              <a:gd name="T66" fmla="*/ 567 w 597"/>
              <a:gd name="T67" fmla="*/ 454 h 517"/>
              <a:gd name="T68" fmla="*/ 560 w 597"/>
              <a:gd name="T69" fmla="*/ 454 h 517"/>
              <a:gd name="T70" fmla="*/ 565 w 597"/>
              <a:gd name="T71" fmla="*/ 468 h 517"/>
              <a:gd name="T72" fmla="*/ 562 w 597"/>
              <a:gd name="T73" fmla="*/ 479 h 517"/>
              <a:gd name="T74" fmla="*/ 560 w 597"/>
              <a:gd name="T75" fmla="*/ 492 h 517"/>
              <a:gd name="T76" fmla="*/ 550 w 597"/>
              <a:gd name="T77" fmla="*/ 511 h 517"/>
              <a:gd name="T78" fmla="*/ 494 w 597"/>
              <a:gd name="T79" fmla="*/ 509 h 517"/>
              <a:gd name="T80" fmla="*/ 503 w 597"/>
              <a:gd name="T81" fmla="*/ 494 h 517"/>
              <a:gd name="T82" fmla="*/ 518 w 597"/>
              <a:gd name="T83" fmla="*/ 483 h 517"/>
              <a:gd name="T84" fmla="*/ 516 w 597"/>
              <a:gd name="T85" fmla="*/ 468 h 517"/>
              <a:gd name="T86" fmla="*/ 503 w 597"/>
              <a:gd name="T87" fmla="*/ 458 h 517"/>
              <a:gd name="T88" fmla="*/ 198 w 597"/>
              <a:gd name="T89" fmla="*/ 475 h 517"/>
              <a:gd name="T90" fmla="*/ 107 w 597"/>
              <a:gd name="T91" fmla="*/ 422 h 517"/>
              <a:gd name="T92" fmla="*/ 94 w 597"/>
              <a:gd name="T93" fmla="*/ 175 h 517"/>
              <a:gd name="T94" fmla="*/ 77 w 597"/>
              <a:gd name="T95" fmla="*/ 157 h 517"/>
              <a:gd name="T96" fmla="*/ 68 w 597"/>
              <a:gd name="T97" fmla="*/ 145 h 517"/>
              <a:gd name="T98" fmla="*/ 58 w 597"/>
              <a:gd name="T99" fmla="*/ 130 h 517"/>
              <a:gd name="T100" fmla="*/ 71 w 597"/>
              <a:gd name="T101" fmla="*/ 111 h 517"/>
              <a:gd name="T102" fmla="*/ 79 w 597"/>
              <a:gd name="T103" fmla="*/ 109 h 517"/>
              <a:gd name="T104" fmla="*/ 73 w 597"/>
              <a:gd name="T105" fmla="*/ 94 h 517"/>
              <a:gd name="T106" fmla="*/ 60 w 597"/>
              <a:gd name="T107" fmla="*/ 96 h 517"/>
              <a:gd name="T108" fmla="*/ 30 w 597"/>
              <a:gd name="T109" fmla="*/ 74 h 517"/>
              <a:gd name="T110" fmla="*/ 26 w 597"/>
              <a:gd name="T111" fmla="*/ 62 h 517"/>
              <a:gd name="T112" fmla="*/ 17 w 597"/>
              <a:gd name="T113" fmla="*/ 49 h 517"/>
              <a:gd name="T114" fmla="*/ 7 w 597"/>
              <a:gd name="T115" fmla="*/ 28 h 517"/>
              <a:gd name="T116" fmla="*/ 0 w 597"/>
              <a:gd name="T117" fmla="*/ 13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7" h="517">
                <a:moveTo>
                  <a:pt x="0" y="13"/>
                </a:moveTo>
                <a:lnTo>
                  <a:pt x="94" y="15"/>
                </a:lnTo>
                <a:lnTo>
                  <a:pt x="154" y="13"/>
                </a:lnTo>
                <a:lnTo>
                  <a:pt x="286" y="6"/>
                </a:lnTo>
                <a:lnTo>
                  <a:pt x="341" y="0"/>
                </a:lnTo>
                <a:lnTo>
                  <a:pt x="345" y="6"/>
                </a:lnTo>
                <a:lnTo>
                  <a:pt x="358" y="17"/>
                </a:lnTo>
                <a:lnTo>
                  <a:pt x="364" y="25"/>
                </a:lnTo>
                <a:lnTo>
                  <a:pt x="369" y="25"/>
                </a:lnTo>
                <a:lnTo>
                  <a:pt x="364" y="34"/>
                </a:lnTo>
                <a:lnTo>
                  <a:pt x="362" y="40"/>
                </a:lnTo>
                <a:lnTo>
                  <a:pt x="362" y="55"/>
                </a:lnTo>
                <a:lnTo>
                  <a:pt x="367" y="68"/>
                </a:lnTo>
                <a:lnTo>
                  <a:pt x="369" y="72"/>
                </a:lnTo>
                <a:lnTo>
                  <a:pt x="373" y="87"/>
                </a:lnTo>
                <a:lnTo>
                  <a:pt x="377" y="94"/>
                </a:lnTo>
                <a:lnTo>
                  <a:pt x="379" y="102"/>
                </a:lnTo>
                <a:lnTo>
                  <a:pt x="388" y="109"/>
                </a:lnTo>
                <a:lnTo>
                  <a:pt x="396" y="117"/>
                </a:lnTo>
                <a:lnTo>
                  <a:pt x="403" y="121"/>
                </a:lnTo>
                <a:lnTo>
                  <a:pt x="407" y="128"/>
                </a:lnTo>
                <a:lnTo>
                  <a:pt x="424" y="138"/>
                </a:lnTo>
                <a:lnTo>
                  <a:pt x="430" y="145"/>
                </a:lnTo>
                <a:lnTo>
                  <a:pt x="435" y="151"/>
                </a:lnTo>
                <a:lnTo>
                  <a:pt x="443" y="183"/>
                </a:lnTo>
                <a:lnTo>
                  <a:pt x="447" y="189"/>
                </a:lnTo>
                <a:lnTo>
                  <a:pt x="456" y="187"/>
                </a:lnTo>
                <a:lnTo>
                  <a:pt x="460" y="181"/>
                </a:lnTo>
                <a:lnTo>
                  <a:pt x="464" y="181"/>
                </a:lnTo>
                <a:lnTo>
                  <a:pt x="471" y="183"/>
                </a:lnTo>
                <a:lnTo>
                  <a:pt x="477" y="185"/>
                </a:lnTo>
                <a:lnTo>
                  <a:pt x="492" y="194"/>
                </a:lnTo>
                <a:lnTo>
                  <a:pt x="492" y="196"/>
                </a:lnTo>
                <a:lnTo>
                  <a:pt x="488" y="204"/>
                </a:lnTo>
                <a:lnTo>
                  <a:pt x="488" y="217"/>
                </a:lnTo>
                <a:lnTo>
                  <a:pt x="482" y="228"/>
                </a:lnTo>
                <a:lnTo>
                  <a:pt x="479" y="241"/>
                </a:lnTo>
                <a:lnTo>
                  <a:pt x="475" y="247"/>
                </a:lnTo>
                <a:lnTo>
                  <a:pt x="473" y="255"/>
                </a:lnTo>
                <a:lnTo>
                  <a:pt x="475" y="262"/>
                </a:lnTo>
                <a:lnTo>
                  <a:pt x="488" y="277"/>
                </a:lnTo>
                <a:lnTo>
                  <a:pt x="509" y="292"/>
                </a:lnTo>
                <a:lnTo>
                  <a:pt x="513" y="292"/>
                </a:lnTo>
                <a:lnTo>
                  <a:pt x="516" y="300"/>
                </a:lnTo>
                <a:lnTo>
                  <a:pt x="524" y="298"/>
                </a:lnTo>
                <a:lnTo>
                  <a:pt x="535" y="304"/>
                </a:lnTo>
                <a:lnTo>
                  <a:pt x="539" y="313"/>
                </a:lnTo>
                <a:lnTo>
                  <a:pt x="548" y="317"/>
                </a:lnTo>
                <a:lnTo>
                  <a:pt x="554" y="319"/>
                </a:lnTo>
                <a:lnTo>
                  <a:pt x="556" y="336"/>
                </a:lnTo>
                <a:lnTo>
                  <a:pt x="565" y="349"/>
                </a:lnTo>
                <a:lnTo>
                  <a:pt x="562" y="358"/>
                </a:lnTo>
                <a:lnTo>
                  <a:pt x="558" y="364"/>
                </a:lnTo>
                <a:lnTo>
                  <a:pt x="567" y="379"/>
                </a:lnTo>
                <a:lnTo>
                  <a:pt x="577" y="394"/>
                </a:lnTo>
                <a:lnTo>
                  <a:pt x="586" y="392"/>
                </a:lnTo>
                <a:lnTo>
                  <a:pt x="594" y="396"/>
                </a:lnTo>
                <a:lnTo>
                  <a:pt x="597" y="402"/>
                </a:lnTo>
                <a:lnTo>
                  <a:pt x="594" y="411"/>
                </a:lnTo>
                <a:lnTo>
                  <a:pt x="597" y="422"/>
                </a:lnTo>
                <a:lnTo>
                  <a:pt x="590" y="426"/>
                </a:lnTo>
                <a:lnTo>
                  <a:pt x="594" y="432"/>
                </a:lnTo>
                <a:lnTo>
                  <a:pt x="590" y="443"/>
                </a:lnTo>
                <a:lnTo>
                  <a:pt x="584" y="441"/>
                </a:lnTo>
                <a:lnTo>
                  <a:pt x="575" y="445"/>
                </a:lnTo>
                <a:lnTo>
                  <a:pt x="573" y="454"/>
                </a:lnTo>
                <a:lnTo>
                  <a:pt x="567" y="458"/>
                </a:lnTo>
                <a:lnTo>
                  <a:pt x="567" y="454"/>
                </a:lnTo>
                <a:lnTo>
                  <a:pt x="565" y="447"/>
                </a:lnTo>
                <a:lnTo>
                  <a:pt x="560" y="454"/>
                </a:lnTo>
                <a:lnTo>
                  <a:pt x="562" y="462"/>
                </a:lnTo>
                <a:lnTo>
                  <a:pt x="565" y="468"/>
                </a:lnTo>
                <a:lnTo>
                  <a:pt x="558" y="471"/>
                </a:lnTo>
                <a:lnTo>
                  <a:pt x="562" y="479"/>
                </a:lnTo>
                <a:lnTo>
                  <a:pt x="552" y="485"/>
                </a:lnTo>
                <a:lnTo>
                  <a:pt x="560" y="492"/>
                </a:lnTo>
                <a:lnTo>
                  <a:pt x="556" y="500"/>
                </a:lnTo>
                <a:lnTo>
                  <a:pt x="550" y="511"/>
                </a:lnTo>
                <a:lnTo>
                  <a:pt x="499" y="517"/>
                </a:lnTo>
                <a:lnTo>
                  <a:pt x="494" y="509"/>
                </a:lnTo>
                <a:lnTo>
                  <a:pt x="499" y="503"/>
                </a:lnTo>
                <a:lnTo>
                  <a:pt x="503" y="494"/>
                </a:lnTo>
                <a:lnTo>
                  <a:pt x="511" y="490"/>
                </a:lnTo>
                <a:lnTo>
                  <a:pt x="518" y="483"/>
                </a:lnTo>
                <a:lnTo>
                  <a:pt x="518" y="477"/>
                </a:lnTo>
                <a:lnTo>
                  <a:pt x="516" y="468"/>
                </a:lnTo>
                <a:lnTo>
                  <a:pt x="509" y="462"/>
                </a:lnTo>
                <a:lnTo>
                  <a:pt x="503" y="458"/>
                </a:lnTo>
                <a:lnTo>
                  <a:pt x="341" y="468"/>
                </a:lnTo>
                <a:lnTo>
                  <a:pt x="198" y="475"/>
                </a:lnTo>
                <a:lnTo>
                  <a:pt x="109" y="477"/>
                </a:lnTo>
                <a:lnTo>
                  <a:pt x="107" y="422"/>
                </a:lnTo>
                <a:lnTo>
                  <a:pt x="103" y="181"/>
                </a:lnTo>
                <a:lnTo>
                  <a:pt x="94" y="175"/>
                </a:lnTo>
                <a:lnTo>
                  <a:pt x="88" y="172"/>
                </a:lnTo>
                <a:lnTo>
                  <a:pt x="77" y="157"/>
                </a:lnTo>
                <a:lnTo>
                  <a:pt x="77" y="151"/>
                </a:lnTo>
                <a:lnTo>
                  <a:pt x="68" y="145"/>
                </a:lnTo>
                <a:lnTo>
                  <a:pt x="62" y="136"/>
                </a:lnTo>
                <a:lnTo>
                  <a:pt x="58" y="130"/>
                </a:lnTo>
                <a:lnTo>
                  <a:pt x="66" y="117"/>
                </a:lnTo>
                <a:lnTo>
                  <a:pt x="71" y="111"/>
                </a:lnTo>
                <a:lnTo>
                  <a:pt x="77" y="111"/>
                </a:lnTo>
                <a:lnTo>
                  <a:pt x="79" y="109"/>
                </a:lnTo>
                <a:lnTo>
                  <a:pt x="77" y="102"/>
                </a:lnTo>
                <a:lnTo>
                  <a:pt x="73" y="94"/>
                </a:lnTo>
                <a:lnTo>
                  <a:pt x="66" y="91"/>
                </a:lnTo>
                <a:lnTo>
                  <a:pt x="60" y="96"/>
                </a:lnTo>
                <a:lnTo>
                  <a:pt x="39" y="81"/>
                </a:lnTo>
                <a:lnTo>
                  <a:pt x="30" y="74"/>
                </a:lnTo>
                <a:lnTo>
                  <a:pt x="32" y="68"/>
                </a:lnTo>
                <a:lnTo>
                  <a:pt x="26" y="62"/>
                </a:lnTo>
                <a:lnTo>
                  <a:pt x="24" y="53"/>
                </a:lnTo>
                <a:lnTo>
                  <a:pt x="17" y="49"/>
                </a:lnTo>
                <a:lnTo>
                  <a:pt x="11" y="42"/>
                </a:lnTo>
                <a:lnTo>
                  <a:pt x="7" y="28"/>
                </a:lnTo>
                <a:lnTo>
                  <a:pt x="0" y="21"/>
                </a:lnTo>
                <a:lnTo>
                  <a:pt x="0"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07" name="Freeform 713"/>
          <p:cNvSpPr>
            <a:spLocks/>
          </p:cNvSpPr>
          <p:nvPr/>
        </p:nvSpPr>
        <p:spPr bwMode="auto">
          <a:xfrm>
            <a:off x="4414837" y="3206871"/>
            <a:ext cx="947738" cy="820738"/>
          </a:xfrm>
          <a:custGeom>
            <a:avLst/>
            <a:gdLst>
              <a:gd name="T0" fmla="*/ 94 w 597"/>
              <a:gd name="T1" fmla="*/ 15 h 517"/>
              <a:gd name="T2" fmla="*/ 286 w 597"/>
              <a:gd name="T3" fmla="*/ 6 h 517"/>
              <a:gd name="T4" fmla="*/ 345 w 597"/>
              <a:gd name="T5" fmla="*/ 6 h 517"/>
              <a:gd name="T6" fmla="*/ 364 w 597"/>
              <a:gd name="T7" fmla="*/ 25 h 517"/>
              <a:gd name="T8" fmla="*/ 364 w 597"/>
              <a:gd name="T9" fmla="*/ 34 h 517"/>
              <a:gd name="T10" fmla="*/ 362 w 597"/>
              <a:gd name="T11" fmla="*/ 55 h 517"/>
              <a:gd name="T12" fmla="*/ 369 w 597"/>
              <a:gd name="T13" fmla="*/ 72 h 517"/>
              <a:gd name="T14" fmla="*/ 377 w 597"/>
              <a:gd name="T15" fmla="*/ 94 h 517"/>
              <a:gd name="T16" fmla="*/ 388 w 597"/>
              <a:gd name="T17" fmla="*/ 109 h 517"/>
              <a:gd name="T18" fmla="*/ 403 w 597"/>
              <a:gd name="T19" fmla="*/ 121 h 517"/>
              <a:gd name="T20" fmla="*/ 424 w 597"/>
              <a:gd name="T21" fmla="*/ 138 h 517"/>
              <a:gd name="T22" fmla="*/ 435 w 597"/>
              <a:gd name="T23" fmla="*/ 151 h 517"/>
              <a:gd name="T24" fmla="*/ 447 w 597"/>
              <a:gd name="T25" fmla="*/ 189 h 517"/>
              <a:gd name="T26" fmla="*/ 460 w 597"/>
              <a:gd name="T27" fmla="*/ 181 h 517"/>
              <a:gd name="T28" fmla="*/ 471 w 597"/>
              <a:gd name="T29" fmla="*/ 183 h 517"/>
              <a:gd name="T30" fmla="*/ 492 w 597"/>
              <a:gd name="T31" fmla="*/ 194 h 517"/>
              <a:gd name="T32" fmla="*/ 488 w 597"/>
              <a:gd name="T33" fmla="*/ 204 h 517"/>
              <a:gd name="T34" fmla="*/ 482 w 597"/>
              <a:gd name="T35" fmla="*/ 228 h 517"/>
              <a:gd name="T36" fmla="*/ 475 w 597"/>
              <a:gd name="T37" fmla="*/ 247 h 517"/>
              <a:gd name="T38" fmla="*/ 475 w 597"/>
              <a:gd name="T39" fmla="*/ 262 h 517"/>
              <a:gd name="T40" fmla="*/ 509 w 597"/>
              <a:gd name="T41" fmla="*/ 292 h 517"/>
              <a:gd name="T42" fmla="*/ 516 w 597"/>
              <a:gd name="T43" fmla="*/ 300 h 517"/>
              <a:gd name="T44" fmla="*/ 535 w 597"/>
              <a:gd name="T45" fmla="*/ 304 h 517"/>
              <a:gd name="T46" fmla="*/ 548 w 597"/>
              <a:gd name="T47" fmla="*/ 317 h 517"/>
              <a:gd name="T48" fmla="*/ 556 w 597"/>
              <a:gd name="T49" fmla="*/ 336 h 517"/>
              <a:gd name="T50" fmla="*/ 562 w 597"/>
              <a:gd name="T51" fmla="*/ 358 h 517"/>
              <a:gd name="T52" fmla="*/ 567 w 597"/>
              <a:gd name="T53" fmla="*/ 379 h 517"/>
              <a:gd name="T54" fmla="*/ 586 w 597"/>
              <a:gd name="T55" fmla="*/ 392 h 517"/>
              <a:gd name="T56" fmla="*/ 597 w 597"/>
              <a:gd name="T57" fmla="*/ 402 h 517"/>
              <a:gd name="T58" fmla="*/ 597 w 597"/>
              <a:gd name="T59" fmla="*/ 422 h 517"/>
              <a:gd name="T60" fmla="*/ 594 w 597"/>
              <a:gd name="T61" fmla="*/ 432 h 517"/>
              <a:gd name="T62" fmla="*/ 584 w 597"/>
              <a:gd name="T63" fmla="*/ 441 h 517"/>
              <a:gd name="T64" fmla="*/ 573 w 597"/>
              <a:gd name="T65" fmla="*/ 454 h 517"/>
              <a:gd name="T66" fmla="*/ 567 w 597"/>
              <a:gd name="T67" fmla="*/ 454 h 517"/>
              <a:gd name="T68" fmla="*/ 560 w 597"/>
              <a:gd name="T69" fmla="*/ 454 h 517"/>
              <a:gd name="T70" fmla="*/ 565 w 597"/>
              <a:gd name="T71" fmla="*/ 468 h 517"/>
              <a:gd name="T72" fmla="*/ 562 w 597"/>
              <a:gd name="T73" fmla="*/ 479 h 517"/>
              <a:gd name="T74" fmla="*/ 560 w 597"/>
              <a:gd name="T75" fmla="*/ 492 h 517"/>
              <a:gd name="T76" fmla="*/ 550 w 597"/>
              <a:gd name="T77" fmla="*/ 511 h 517"/>
              <a:gd name="T78" fmla="*/ 494 w 597"/>
              <a:gd name="T79" fmla="*/ 509 h 517"/>
              <a:gd name="T80" fmla="*/ 503 w 597"/>
              <a:gd name="T81" fmla="*/ 494 h 517"/>
              <a:gd name="T82" fmla="*/ 518 w 597"/>
              <a:gd name="T83" fmla="*/ 483 h 517"/>
              <a:gd name="T84" fmla="*/ 516 w 597"/>
              <a:gd name="T85" fmla="*/ 468 h 517"/>
              <a:gd name="T86" fmla="*/ 503 w 597"/>
              <a:gd name="T87" fmla="*/ 458 h 517"/>
              <a:gd name="T88" fmla="*/ 198 w 597"/>
              <a:gd name="T89" fmla="*/ 475 h 517"/>
              <a:gd name="T90" fmla="*/ 107 w 597"/>
              <a:gd name="T91" fmla="*/ 422 h 517"/>
              <a:gd name="T92" fmla="*/ 94 w 597"/>
              <a:gd name="T93" fmla="*/ 175 h 517"/>
              <a:gd name="T94" fmla="*/ 77 w 597"/>
              <a:gd name="T95" fmla="*/ 157 h 517"/>
              <a:gd name="T96" fmla="*/ 68 w 597"/>
              <a:gd name="T97" fmla="*/ 145 h 517"/>
              <a:gd name="T98" fmla="*/ 58 w 597"/>
              <a:gd name="T99" fmla="*/ 130 h 517"/>
              <a:gd name="T100" fmla="*/ 71 w 597"/>
              <a:gd name="T101" fmla="*/ 111 h 517"/>
              <a:gd name="T102" fmla="*/ 79 w 597"/>
              <a:gd name="T103" fmla="*/ 109 h 517"/>
              <a:gd name="T104" fmla="*/ 73 w 597"/>
              <a:gd name="T105" fmla="*/ 94 h 517"/>
              <a:gd name="T106" fmla="*/ 60 w 597"/>
              <a:gd name="T107" fmla="*/ 96 h 517"/>
              <a:gd name="T108" fmla="*/ 30 w 597"/>
              <a:gd name="T109" fmla="*/ 74 h 517"/>
              <a:gd name="T110" fmla="*/ 26 w 597"/>
              <a:gd name="T111" fmla="*/ 62 h 517"/>
              <a:gd name="T112" fmla="*/ 17 w 597"/>
              <a:gd name="T113" fmla="*/ 49 h 517"/>
              <a:gd name="T114" fmla="*/ 7 w 597"/>
              <a:gd name="T115" fmla="*/ 28 h 517"/>
              <a:gd name="T116" fmla="*/ 0 w 597"/>
              <a:gd name="T117" fmla="*/ 13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97" h="517">
                <a:moveTo>
                  <a:pt x="0" y="13"/>
                </a:moveTo>
                <a:lnTo>
                  <a:pt x="94" y="15"/>
                </a:lnTo>
                <a:lnTo>
                  <a:pt x="154" y="13"/>
                </a:lnTo>
                <a:lnTo>
                  <a:pt x="286" y="6"/>
                </a:lnTo>
                <a:lnTo>
                  <a:pt x="341" y="0"/>
                </a:lnTo>
                <a:lnTo>
                  <a:pt x="345" y="6"/>
                </a:lnTo>
                <a:lnTo>
                  <a:pt x="358" y="17"/>
                </a:lnTo>
                <a:lnTo>
                  <a:pt x="364" y="25"/>
                </a:lnTo>
                <a:lnTo>
                  <a:pt x="369" y="25"/>
                </a:lnTo>
                <a:lnTo>
                  <a:pt x="364" y="34"/>
                </a:lnTo>
                <a:lnTo>
                  <a:pt x="362" y="40"/>
                </a:lnTo>
                <a:lnTo>
                  <a:pt x="362" y="55"/>
                </a:lnTo>
                <a:lnTo>
                  <a:pt x="367" y="68"/>
                </a:lnTo>
                <a:lnTo>
                  <a:pt x="369" y="72"/>
                </a:lnTo>
                <a:lnTo>
                  <a:pt x="373" y="87"/>
                </a:lnTo>
                <a:lnTo>
                  <a:pt x="377" y="94"/>
                </a:lnTo>
                <a:lnTo>
                  <a:pt x="379" y="102"/>
                </a:lnTo>
                <a:lnTo>
                  <a:pt x="388" y="109"/>
                </a:lnTo>
                <a:lnTo>
                  <a:pt x="396" y="117"/>
                </a:lnTo>
                <a:lnTo>
                  <a:pt x="403" y="121"/>
                </a:lnTo>
                <a:lnTo>
                  <a:pt x="407" y="128"/>
                </a:lnTo>
                <a:lnTo>
                  <a:pt x="424" y="138"/>
                </a:lnTo>
                <a:lnTo>
                  <a:pt x="430" y="145"/>
                </a:lnTo>
                <a:lnTo>
                  <a:pt x="435" y="151"/>
                </a:lnTo>
                <a:lnTo>
                  <a:pt x="443" y="183"/>
                </a:lnTo>
                <a:lnTo>
                  <a:pt x="447" y="189"/>
                </a:lnTo>
                <a:lnTo>
                  <a:pt x="456" y="187"/>
                </a:lnTo>
                <a:lnTo>
                  <a:pt x="460" y="181"/>
                </a:lnTo>
                <a:lnTo>
                  <a:pt x="464" y="181"/>
                </a:lnTo>
                <a:lnTo>
                  <a:pt x="471" y="183"/>
                </a:lnTo>
                <a:lnTo>
                  <a:pt x="477" y="185"/>
                </a:lnTo>
                <a:lnTo>
                  <a:pt x="492" y="194"/>
                </a:lnTo>
                <a:lnTo>
                  <a:pt x="492" y="196"/>
                </a:lnTo>
                <a:lnTo>
                  <a:pt x="488" y="204"/>
                </a:lnTo>
                <a:lnTo>
                  <a:pt x="488" y="217"/>
                </a:lnTo>
                <a:lnTo>
                  <a:pt x="482" y="228"/>
                </a:lnTo>
                <a:lnTo>
                  <a:pt x="479" y="241"/>
                </a:lnTo>
                <a:lnTo>
                  <a:pt x="475" y="247"/>
                </a:lnTo>
                <a:lnTo>
                  <a:pt x="473" y="255"/>
                </a:lnTo>
                <a:lnTo>
                  <a:pt x="475" y="262"/>
                </a:lnTo>
                <a:lnTo>
                  <a:pt x="488" y="277"/>
                </a:lnTo>
                <a:lnTo>
                  <a:pt x="509" y="292"/>
                </a:lnTo>
                <a:lnTo>
                  <a:pt x="513" y="292"/>
                </a:lnTo>
                <a:lnTo>
                  <a:pt x="516" y="300"/>
                </a:lnTo>
                <a:lnTo>
                  <a:pt x="524" y="298"/>
                </a:lnTo>
                <a:lnTo>
                  <a:pt x="535" y="304"/>
                </a:lnTo>
                <a:lnTo>
                  <a:pt x="539" y="313"/>
                </a:lnTo>
                <a:lnTo>
                  <a:pt x="548" y="317"/>
                </a:lnTo>
                <a:lnTo>
                  <a:pt x="554" y="319"/>
                </a:lnTo>
                <a:lnTo>
                  <a:pt x="556" y="336"/>
                </a:lnTo>
                <a:lnTo>
                  <a:pt x="565" y="349"/>
                </a:lnTo>
                <a:lnTo>
                  <a:pt x="562" y="358"/>
                </a:lnTo>
                <a:lnTo>
                  <a:pt x="558" y="364"/>
                </a:lnTo>
                <a:lnTo>
                  <a:pt x="567" y="379"/>
                </a:lnTo>
                <a:lnTo>
                  <a:pt x="577" y="394"/>
                </a:lnTo>
                <a:lnTo>
                  <a:pt x="586" y="392"/>
                </a:lnTo>
                <a:lnTo>
                  <a:pt x="594" y="396"/>
                </a:lnTo>
                <a:lnTo>
                  <a:pt x="597" y="402"/>
                </a:lnTo>
                <a:lnTo>
                  <a:pt x="594" y="411"/>
                </a:lnTo>
                <a:lnTo>
                  <a:pt x="597" y="422"/>
                </a:lnTo>
                <a:lnTo>
                  <a:pt x="590" y="426"/>
                </a:lnTo>
                <a:lnTo>
                  <a:pt x="594" y="432"/>
                </a:lnTo>
                <a:lnTo>
                  <a:pt x="590" y="443"/>
                </a:lnTo>
                <a:lnTo>
                  <a:pt x="584" y="441"/>
                </a:lnTo>
                <a:lnTo>
                  <a:pt x="575" y="445"/>
                </a:lnTo>
                <a:lnTo>
                  <a:pt x="573" y="454"/>
                </a:lnTo>
                <a:lnTo>
                  <a:pt x="567" y="458"/>
                </a:lnTo>
                <a:lnTo>
                  <a:pt x="567" y="454"/>
                </a:lnTo>
                <a:lnTo>
                  <a:pt x="565" y="447"/>
                </a:lnTo>
                <a:lnTo>
                  <a:pt x="560" y="454"/>
                </a:lnTo>
                <a:lnTo>
                  <a:pt x="562" y="462"/>
                </a:lnTo>
                <a:lnTo>
                  <a:pt x="565" y="468"/>
                </a:lnTo>
                <a:lnTo>
                  <a:pt x="558" y="471"/>
                </a:lnTo>
                <a:lnTo>
                  <a:pt x="562" y="479"/>
                </a:lnTo>
                <a:lnTo>
                  <a:pt x="552" y="485"/>
                </a:lnTo>
                <a:lnTo>
                  <a:pt x="560" y="492"/>
                </a:lnTo>
                <a:lnTo>
                  <a:pt x="556" y="500"/>
                </a:lnTo>
                <a:lnTo>
                  <a:pt x="550" y="511"/>
                </a:lnTo>
                <a:lnTo>
                  <a:pt x="499" y="517"/>
                </a:lnTo>
                <a:lnTo>
                  <a:pt x="494" y="509"/>
                </a:lnTo>
                <a:lnTo>
                  <a:pt x="499" y="503"/>
                </a:lnTo>
                <a:lnTo>
                  <a:pt x="503" y="494"/>
                </a:lnTo>
                <a:lnTo>
                  <a:pt x="511" y="490"/>
                </a:lnTo>
                <a:lnTo>
                  <a:pt x="518" y="483"/>
                </a:lnTo>
                <a:lnTo>
                  <a:pt x="518" y="477"/>
                </a:lnTo>
                <a:lnTo>
                  <a:pt x="516" y="468"/>
                </a:lnTo>
                <a:lnTo>
                  <a:pt x="509" y="462"/>
                </a:lnTo>
                <a:lnTo>
                  <a:pt x="503" y="458"/>
                </a:lnTo>
                <a:lnTo>
                  <a:pt x="341" y="468"/>
                </a:lnTo>
                <a:lnTo>
                  <a:pt x="198" y="475"/>
                </a:lnTo>
                <a:lnTo>
                  <a:pt x="109" y="477"/>
                </a:lnTo>
                <a:lnTo>
                  <a:pt x="107" y="422"/>
                </a:lnTo>
                <a:lnTo>
                  <a:pt x="103" y="181"/>
                </a:lnTo>
                <a:lnTo>
                  <a:pt x="94" y="175"/>
                </a:lnTo>
                <a:lnTo>
                  <a:pt x="88" y="172"/>
                </a:lnTo>
                <a:lnTo>
                  <a:pt x="77" y="157"/>
                </a:lnTo>
                <a:lnTo>
                  <a:pt x="77" y="151"/>
                </a:lnTo>
                <a:lnTo>
                  <a:pt x="68" y="145"/>
                </a:lnTo>
                <a:lnTo>
                  <a:pt x="62" y="136"/>
                </a:lnTo>
                <a:lnTo>
                  <a:pt x="58" y="130"/>
                </a:lnTo>
                <a:lnTo>
                  <a:pt x="66" y="117"/>
                </a:lnTo>
                <a:lnTo>
                  <a:pt x="71" y="111"/>
                </a:lnTo>
                <a:lnTo>
                  <a:pt x="77" y="111"/>
                </a:lnTo>
                <a:lnTo>
                  <a:pt x="79" y="109"/>
                </a:lnTo>
                <a:lnTo>
                  <a:pt x="77" y="102"/>
                </a:lnTo>
                <a:lnTo>
                  <a:pt x="73" y="94"/>
                </a:lnTo>
                <a:lnTo>
                  <a:pt x="66" y="91"/>
                </a:lnTo>
                <a:lnTo>
                  <a:pt x="60" y="96"/>
                </a:lnTo>
                <a:lnTo>
                  <a:pt x="39" y="81"/>
                </a:lnTo>
                <a:lnTo>
                  <a:pt x="30" y="74"/>
                </a:lnTo>
                <a:lnTo>
                  <a:pt x="32" y="68"/>
                </a:lnTo>
                <a:lnTo>
                  <a:pt x="26" y="62"/>
                </a:lnTo>
                <a:lnTo>
                  <a:pt x="24" y="53"/>
                </a:lnTo>
                <a:lnTo>
                  <a:pt x="17" y="49"/>
                </a:lnTo>
                <a:lnTo>
                  <a:pt x="11" y="42"/>
                </a:lnTo>
                <a:lnTo>
                  <a:pt x="7" y="28"/>
                </a:lnTo>
                <a:lnTo>
                  <a:pt x="0" y="21"/>
                </a:lnTo>
                <a:lnTo>
                  <a:pt x="0"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08" name="Freeform 714"/>
          <p:cNvSpPr>
            <a:spLocks/>
          </p:cNvSpPr>
          <p:nvPr/>
        </p:nvSpPr>
        <p:spPr bwMode="auto">
          <a:xfrm>
            <a:off x="4587875" y="3933946"/>
            <a:ext cx="706438" cy="655638"/>
          </a:xfrm>
          <a:custGeom>
            <a:avLst/>
            <a:gdLst>
              <a:gd name="T0" fmla="*/ 89 w 445"/>
              <a:gd name="T1" fmla="*/ 17 h 413"/>
              <a:gd name="T2" fmla="*/ 394 w 445"/>
              <a:gd name="T3" fmla="*/ 0 h 413"/>
              <a:gd name="T4" fmla="*/ 407 w 445"/>
              <a:gd name="T5" fmla="*/ 10 h 413"/>
              <a:gd name="T6" fmla="*/ 409 w 445"/>
              <a:gd name="T7" fmla="*/ 25 h 413"/>
              <a:gd name="T8" fmla="*/ 394 w 445"/>
              <a:gd name="T9" fmla="*/ 36 h 413"/>
              <a:gd name="T10" fmla="*/ 385 w 445"/>
              <a:gd name="T11" fmla="*/ 51 h 413"/>
              <a:gd name="T12" fmla="*/ 441 w 445"/>
              <a:gd name="T13" fmla="*/ 53 h 413"/>
              <a:gd name="T14" fmla="*/ 445 w 445"/>
              <a:gd name="T15" fmla="*/ 64 h 413"/>
              <a:gd name="T16" fmla="*/ 443 w 445"/>
              <a:gd name="T17" fmla="*/ 74 h 413"/>
              <a:gd name="T18" fmla="*/ 428 w 445"/>
              <a:gd name="T19" fmla="*/ 85 h 413"/>
              <a:gd name="T20" fmla="*/ 424 w 445"/>
              <a:gd name="T21" fmla="*/ 89 h 413"/>
              <a:gd name="T22" fmla="*/ 424 w 445"/>
              <a:gd name="T23" fmla="*/ 100 h 413"/>
              <a:gd name="T24" fmla="*/ 417 w 445"/>
              <a:gd name="T25" fmla="*/ 108 h 413"/>
              <a:gd name="T26" fmla="*/ 417 w 445"/>
              <a:gd name="T27" fmla="*/ 121 h 413"/>
              <a:gd name="T28" fmla="*/ 409 w 445"/>
              <a:gd name="T29" fmla="*/ 119 h 413"/>
              <a:gd name="T30" fmla="*/ 413 w 445"/>
              <a:gd name="T31" fmla="*/ 125 h 413"/>
              <a:gd name="T32" fmla="*/ 417 w 445"/>
              <a:gd name="T33" fmla="*/ 153 h 413"/>
              <a:gd name="T34" fmla="*/ 409 w 445"/>
              <a:gd name="T35" fmla="*/ 157 h 413"/>
              <a:gd name="T36" fmla="*/ 398 w 445"/>
              <a:gd name="T37" fmla="*/ 168 h 413"/>
              <a:gd name="T38" fmla="*/ 400 w 445"/>
              <a:gd name="T39" fmla="*/ 172 h 413"/>
              <a:gd name="T40" fmla="*/ 394 w 445"/>
              <a:gd name="T41" fmla="*/ 187 h 413"/>
              <a:gd name="T42" fmla="*/ 383 w 445"/>
              <a:gd name="T43" fmla="*/ 185 h 413"/>
              <a:gd name="T44" fmla="*/ 379 w 445"/>
              <a:gd name="T45" fmla="*/ 202 h 413"/>
              <a:gd name="T46" fmla="*/ 377 w 445"/>
              <a:gd name="T47" fmla="*/ 204 h 413"/>
              <a:gd name="T48" fmla="*/ 377 w 445"/>
              <a:gd name="T49" fmla="*/ 213 h 413"/>
              <a:gd name="T50" fmla="*/ 375 w 445"/>
              <a:gd name="T51" fmla="*/ 217 h 413"/>
              <a:gd name="T52" fmla="*/ 375 w 445"/>
              <a:gd name="T53" fmla="*/ 230 h 413"/>
              <a:gd name="T54" fmla="*/ 370 w 445"/>
              <a:gd name="T55" fmla="*/ 243 h 413"/>
              <a:gd name="T56" fmla="*/ 360 w 445"/>
              <a:gd name="T57" fmla="*/ 245 h 413"/>
              <a:gd name="T58" fmla="*/ 355 w 445"/>
              <a:gd name="T59" fmla="*/ 258 h 413"/>
              <a:gd name="T60" fmla="*/ 345 w 445"/>
              <a:gd name="T61" fmla="*/ 260 h 413"/>
              <a:gd name="T62" fmla="*/ 347 w 445"/>
              <a:gd name="T63" fmla="*/ 268 h 413"/>
              <a:gd name="T64" fmla="*/ 351 w 445"/>
              <a:gd name="T65" fmla="*/ 281 h 413"/>
              <a:gd name="T66" fmla="*/ 338 w 445"/>
              <a:gd name="T67" fmla="*/ 294 h 413"/>
              <a:gd name="T68" fmla="*/ 338 w 445"/>
              <a:gd name="T69" fmla="*/ 307 h 413"/>
              <a:gd name="T70" fmla="*/ 330 w 445"/>
              <a:gd name="T71" fmla="*/ 311 h 413"/>
              <a:gd name="T72" fmla="*/ 336 w 445"/>
              <a:gd name="T73" fmla="*/ 319 h 413"/>
              <a:gd name="T74" fmla="*/ 328 w 445"/>
              <a:gd name="T75" fmla="*/ 321 h 413"/>
              <a:gd name="T76" fmla="*/ 328 w 445"/>
              <a:gd name="T77" fmla="*/ 330 h 413"/>
              <a:gd name="T78" fmla="*/ 326 w 445"/>
              <a:gd name="T79" fmla="*/ 343 h 413"/>
              <a:gd name="T80" fmla="*/ 330 w 445"/>
              <a:gd name="T81" fmla="*/ 345 h 413"/>
              <a:gd name="T82" fmla="*/ 326 w 445"/>
              <a:gd name="T83" fmla="*/ 353 h 413"/>
              <a:gd name="T84" fmla="*/ 334 w 445"/>
              <a:gd name="T85" fmla="*/ 355 h 413"/>
              <a:gd name="T86" fmla="*/ 334 w 445"/>
              <a:gd name="T87" fmla="*/ 370 h 413"/>
              <a:gd name="T88" fmla="*/ 338 w 445"/>
              <a:gd name="T89" fmla="*/ 383 h 413"/>
              <a:gd name="T90" fmla="*/ 332 w 445"/>
              <a:gd name="T91" fmla="*/ 383 h 413"/>
              <a:gd name="T92" fmla="*/ 332 w 445"/>
              <a:gd name="T93" fmla="*/ 400 h 413"/>
              <a:gd name="T94" fmla="*/ 64 w 445"/>
              <a:gd name="T95" fmla="*/ 413 h 413"/>
              <a:gd name="T96" fmla="*/ 38 w 445"/>
              <a:gd name="T97" fmla="*/ 347 h 413"/>
              <a:gd name="T98" fmla="*/ 23 w 445"/>
              <a:gd name="T99" fmla="*/ 347 h 413"/>
              <a:gd name="T100" fmla="*/ 21 w 445"/>
              <a:gd name="T101" fmla="*/ 343 h 413"/>
              <a:gd name="T102" fmla="*/ 15 w 445"/>
              <a:gd name="T103" fmla="*/ 1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 h="413">
                <a:moveTo>
                  <a:pt x="0" y="19"/>
                </a:moveTo>
                <a:lnTo>
                  <a:pt x="89" y="17"/>
                </a:lnTo>
                <a:lnTo>
                  <a:pt x="232" y="10"/>
                </a:lnTo>
                <a:lnTo>
                  <a:pt x="394" y="0"/>
                </a:lnTo>
                <a:lnTo>
                  <a:pt x="400" y="4"/>
                </a:lnTo>
                <a:lnTo>
                  <a:pt x="407" y="10"/>
                </a:lnTo>
                <a:lnTo>
                  <a:pt x="409" y="19"/>
                </a:lnTo>
                <a:lnTo>
                  <a:pt x="409" y="25"/>
                </a:lnTo>
                <a:lnTo>
                  <a:pt x="402" y="32"/>
                </a:lnTo>
                <a:lnTo>
                  <a:pt x="394" y="36"/>
                </a:lnTo>
                <a:lnTo>
                  <a:pt x="390" y="45"/>
                </a:lnTo>
                <a:lnTo>
                  <a:pt x="385" y="51"/>
                </a:lnTo>
                <a:lnTo>
                  <a:pt x="390" y="59"/>
                </a:lnTo>
                <a:lnTo>
                  <a:pt x="441" y="53"/>
                </a:lnTo>
                <a:lnTo>
                  <a:pt x="445" y="57"/>
                </a:lnTo>
                <a:lnTo>
                  <a:pt x="445" y="64"/>
                </a:lnTo>
                <a:lnTo>
                  <a:pt x="439" y="68"/>
                </a:lnTo>
                <a:lnTo>
                  <a:pt x="443" y="74"/>
                </a:lnTo>
                <a:lnTo>
                  <a:pt x="434" y="81"/>
                </a:lnTo>
                <a:lnTo>
                  <a:pt x="428" y="85"/>
                </a:lnTo>
                <a:lnTo>
                  <a:pt x="424" y="87"/>
                </a:lnTo>
                <a:lnTo>
                  <a:pt x="424" y="89"/>
                </a:lnTo>
                <a:lnTo>
                  <a:pt x="430" y="96"/>
                </a:lnTo>
                <a:lnTo>
                  <a:pt x="424" y="100"/>
                </a:lnTo>
                <a:lnTo>
                  <a:pt x="422" y="106"/>
                </a:lnTo>
                <a:lnTo>
                  <a:pt x="417" y="108"/>
                </a:lnTo>
                <a:lnTo>
                  <a:pt x="419" y="115"/>
                </a:lnTo>
                <a:lnTo>
                  <a:pt x="417" y="121"/>
                </a:lnTo>
                <a:lnTo>
                  <a:pt x="415" y="117"/>
                </a:lnTo>
                <a:lnTo>
                  <a:pt x="409" y="119"/>
                </a:lnTo>
                <a:lnTo>
                  <a:pt x="407" y="128"/>
                </a:lnTo>
                <a:lnTo>
                  <a:pt x="413" y="125"/>
                </a:lnTo>
                <a:lnTo>
                  <a:pt x="413" y="134"/>
                </a:lnTo>
                <a:lnTo>
                  <a:pt x="417" y="153"/>
                </a:lnTo>
                <a:lnTo>
                  <a:pt x="415" y="155"/>
                </a:lnTo>
                <a:lnTo>
                  <a:pt x="409" y="157"/>
                </a:lnTo>
                <a:lnTo>
                  <a:pt x="404" y="164"/>
                </a:lnTo>
                <a:lnTo>
                  <a:pt x="398" y="168"/>
                </a:lnTo>
                <a:lnTo>
                  <a:pt x="396" y="170"/>
                </a:lnTo>
                <a:lnTo>
                  <a:pt x="400" y="172"/>
                </a:lnTo>
                <a:lnTo>
                  <a:pt x="400" y="181"/>
                </a:lnTo>
                <a:lnTo>
                  <a:pt x="394" y="187"/>
                </a:lnTo>
                <a:lnTo>
                  <a:pt x="387" y="189"/>
                </a:lnTo>
                <a:lnTo>
                  <a:pt x="383" y="185"/>
                </a:lnTo>
                <a:lnTo>
                  <a:pt x="385" y="202"/>
                </a:lnTo>
                <a:lnTo>
                  <a:pt x="379" y="202"/>
                </a:lnTo>
                <a:lnTo>
                  <a:pt x="377" y="194"/>
                </a:lnTo>
                <a:lnTo>
                  <a:pt x="377" y="204"/>
                </a:lnTo>
                <a:lnTo>
                  <a:pt x="385" y="209"/>
                </a:lnTo>
                <a:lnTo>
                  <a:pt x="377" y="213"/>
                </a:lnTo>
                <a:lnTo>
                  <a:pt x="375" y="204"/>
                </a:lnTo>
                <a:lnTo>
                  <a:pt x="375" y="217"/>
                </a:lnTo>
                <a:lnTo>
                  <a:pt x="379" y="219"/>
                </a:lnTo>
                <a:lnTo>
                  <a:pt x="375" y="230"/>
                </a:lnTo>
                <a:lnTo>
                  <a:pt x="377" y="234"/>
                </a:lnTo>
                <a:lnTo>
                  <a:pt x="370" y="243"/>
                </a:lnTo>
                <a:lnTo>
                  <a:pt x="366" y="245"/>
                </a:lnTo>
                <a:lnTo>
                  <a:pt x="360" y="245"/>
                </a:lnTo>
                <a:lnTo>
                  <a:pt x="362" y="251"/>
                </a:lnTo>
                <a:lnTo>
                  <a:pt x="355" y="258"/>
                </a:lnTo>
                <a:lnTo>
                  <a:pt x="353" y="262"/>
                </a:lnTo>
                <a:lnTo>
                  <a:pt x="345" y="260"/>
                </a:lnTo>
                <a:lnTo>
                  <a:pt x="351" y="266"/>
                </a:lnTo>
                <a:lnTo>
                  <a:pt x="347" y="268"/>
                </a:lnTo>
                <a:lnTo>
                  <a:pt x="347" y="275"/>
                </a:lnTo>
                <a:lnTo>
                  <a:pt x="351" y="281"/>
                </a:lnTo>
                <a:lnTo>
                  <a:pt x="332" y="289"/>
                </a:lnTo>
                <a:lnTo>
                  <a:pt x="338" y="294"/>
                </a:lnTo>
                <a:lnTo>
                  <a:pt x="336" y="300"/>
                </a:lnTo>
                <a:lnTo>
                  <a:pt x="338" y="307"/>
                </a:lnTo>
                <a:lnTo>
                  <a:pt x="336" y="311"/>
                </a:lnTo>
                <a:lnTo>
                  <a:pt x="330" y="311"/>
                </a:lnTo>
                <a:lnTo>
                  <a:pt x="330" y="317"/>
                </a:lnTo>
                <a:lnTo>
                  <a:pt x="336" y="319"/>
                </a:lnTo>
                <a:lnTo>
                  <a:pt x="330" y="324"/>
                </a:lnTo>
                <a:lnTo>
                  <a:pt x="328" y="321"/>
                </a:lnTo>
                <a:lnTo>
                  <a:pt x="324" y="324"/>
                </a:lnTo>
                <a:lnTo>
                  <a:pt x="328" y="330"/>
                </a:lnTo>
                <a:lnTo>
                  <a:pt x="321" y="336"/>
                </a:lnTo>
                <a:lnTo>
                  <a:pt x="326" y="343"/>
                </a:lnTo>
                <a:lnTo>
                  <a:pt x="321" y="351"/>
                </a:lnTo>
                <a:lnTo>
                  <a:pt x="330" y="345"/>
                </a:lnTo>
                <a:lnTo>
                  <a:pt x="332" y="349"/>
                </a:lnTo>
                <a:lnTo>
                  <a:pt x="326" y="353"/>
                </a:lnTo>
                <a:lnTo>
                  <a:pt x="332" y="355"/>
                </a:lnTo>
                <a:lnTo>
                  <a:pt x="334" y="355"/>
                </a:lnTo>
                <a:lnTo>
                  <a:pt x="332" y="362"/>
                </a:lnTo>
                <a:lnTo>
                  <a:pt x="334" y="370"/>
                </a:lnTo>
                <a:lnTo>
                  <a:pt x="336" y="370"/>
                </a:lnTo>
                <a:lnTo>
                  <a:pt x="338" y="383"/>
                </a:lnTo>
                <a:lnTo>
                  <a:pt x="338" y="383"/>
                </a:lnTo>
                <a:lnTo>
                  <a:pt x="332" y="383"/>
                </a:lnTo>
                <a:lnTo>
                  <a:pt x="332" y="390"/>
                </a:lnTo>
                <a:lnTo>
                  <a:pt x="332" y="400"/>
                </a:lnTo>
                <a:lnTo>
                  <a:pt x="179" y="409"/>
                </a:lnTo>
                <a:lnTo>
                  <a:pt x="64" y="413"/>
                </a:lnTo>
                <a:lnTo>
                  <a:pt x="62" y="351"/>
                </a:lnTo>
                <a:lnTo>
                  <a:pt x="38" y="347"/>
                </a:lnTo>
                <a:lnTo>
                  <a:pt x="32" y="353"/>
                </a:lnTo>
                <a:lnTo>
                  <a:pt x="23" y="347"/>
                </a:lnTo>
                <a:lnTo>
                  <a:pt x="23" y="345"/>
                </a:lnTo>
                <a:lnTo>
                  <a:pt x="21" y="343"/>
                </a:lnTo>
                <a:lnTo>
                  <a:pt x="19" y="145"/>
                </a:lnTo>
                <a:lnTo>
                  <a:pt x="15" y="115"/>
                </a:lnTo>
                <a:lnTo>
                  <a:pt x="0" y="19"/>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309" name="Freeform 715"/>
          <p:cNvSpPr>
            <a:spLocks/>
          </p:cNvSpPr>
          <p:nvPr/>
        </p:nvSpPr>
        <p:spPr bwMode="auto">
          <a:xfrm>
            <a:off x="4587875" y="3933946"/>
            <a:ext cx="706438" cy="655638"/>
          </a:xfrm>
          <a:custGeom>
            <a:avLst/>
            <a:gdLst>
              <a:gd name="T0" fmla="*/ 89 w 445"/>
              <a:gd name="T1" fmla="*/ 17 h 413"/>
              <a:gd name="T2" fmla="*/ 394 w 445"/>
              <a:gd name="T3" fmla="*/ 0 h 413"/>
              <a:gd name="T4" fmla="*/ 407 w 445"/>
              <a:gd name="T5" fmla="*/ 10 h 413"/>
              <a:gd name="T6" fmla="*/ 409 w 445"/>
              <a:gd name="T7" fmla="*/ 25 h 413"/>
              <a:gd name="T8" fmla="*/ 394 w 445"/>
              <a:gd name="T9" fmla="*/ 36 h 413"/>
              <a:gd name="T10" fmla="*/ 385 w 445"/>
              <a:gd name="T11" fmla="*/ 51 h 413"/>
              <a:gd name="T12" fmla="*/ 441 w 445"/>
              <a:gd name="T13" fmla="*/ 53 h 413"/>
              <a:gd name="T14" fmla="*/ 445 w 445"/>
              <a:gd name="T15" fmla="*/ 64 h 413"/>
              <a:gd name="T16" fmla="*/ 443 w 445"/>
              <a:gd name="T17" fmla="*/ 74 h 413"/>
              <a:gd name="T18" fmla="*/ 428 w 445"/>
              <a:gd name="T19" fmla="*/ 85 h 413"/>
              <a:gd name="T20" fmla="*/ 424 w 445"/>
              <a:gd name="T21" fmla="*/ 89 h 413"/>
              <a:gd name="T22" fmla="*/ 424 w 445"/>
              <a:gd name="T23" fmla="*/ 100 h 413"/>
              <a:gd name="T24" fmla="*/ 417 w 445"/>
              <a:gd name="T25" fmla="*/ 108 h 413"/>
              <a:gd name="T26" fmla="*/ 417 w 445"/>
              <a:gd name="T27" fmla="*/ 121 h 413"/>
              <a:gd name="T28" fmla="*/ 409 w 445"/>
              <a:gd name="T29" fmla="*/ 119 h 413"/>
              <a:gd name="T30" fmla="*/ 413 w 445"/>
              <a:gd name="T31" fmla="*/ 125 h 413"/>
              <a:gd name="T32" fmla="*/ 417 w 445"/>
              <a:gd name="T33" fmla="*/ 153 h 413"/>
              <a:gd name="T34" fmla="*/ 409 w 445"/>
              <a:gd name="T35" fmla="*/ 157 h 413"/>
              <a:gd name="T36" fmla="*/ 398 w 445"/>
              <a:gd name="T37" fmla="*/ 168 h 413"/>
              <a:gd name="T38" fmla="*/ 400 w 445"/>
              <a:gd name="T39" fmla="*/ 172 h 413"/>
              <a:gd name="T40" fmla="*/ 394 w 445"/>
              <a:gd name="T41" fmla="*/ 187 h 413"/>
              <a:gd name="T42" fmla="*/ 383 w 445"/>
              <a:gd name="T43" fmla="*/ 185 h 413"/>
              <a:gd name="T44" fmla="*/ 379 w 445"/>
              <a:gd name="T45" fmla="*/ 202 h 413"/>
              <a:gd name="T46" fmla="*/ 377 w 445"/>
              <a:gd name="T47" fmla="*/ 204 h 413"/>
              <a:gd name="T48" fmla="*/ 377 w 445"/>
              <a:gd name="T49" fmla="*/ 213 h 413"/>
              <a:gd name="T50" fmla="*/ 375 w 445"/>
              <a:gd name="T51" fmla="*/ 217 h 413"/>
              <a:gd name="T52" fmla="*/ 375 w 445"/>
              <a:gd name="T53" fmla="*/ 230 h 413"/>
              <a:gd name="T54" fmla="*/ 370 w 445"/>
              <a:gd name="T55" fmla="*/ 243 h 413"/>
              <a:gd name="T56" fmla="*/ 360 w 445"/>
              <a:gd name="T57" fmla="*/ 245 h 413"/>
              <a:gd name="T58" fmla="*/ 355 w 445"/>
              <a:gd name="T59" fmla="*/ 258 h 413"/>
              <a:gd name="T60" fmla="*/ 345 w 445"/>
              <a:gd name="T61" fmla="*/ 260 h 413"/>
              <a:gd name="T62" fmla="*/ 347 w 445"/>
              <a:gd name="T63" fmla="*/ 268 h 413"/>
              <a:gd name="T64" fmla="*/ 351 w 445"/>
              <a:gd name="T65" fmla="*/ 281 h 413"/>
              <a:gd name="T66" fmla="*/ 338 w 445"/>
              <a:gd name="T67" fmla="*/ 294 h 413"/>
              <a:gd name="T68" fmla="*/ 338 w 445"/>
              <a:gd name="T69" fmla="*/ 307 h 413"/>
              <a:gd name="T70" fmla="*/ 330 w 445"/>
              <a:gd name="T71" fmla="*/ 311 h 413"/>
              <a:gd name="T72" fmla="*/ 336 w 445"/>
              <a:gd name="T73" fmla="*/ 319 h 413"/>
              <a:gd name="T74" fmla="*/ 328 w 445"/>
              <a:gd name="T75" fmla="*/ 321 h 413"/>
              <a:gd name="T76" fmla="*/ 328 w 445"/>
              <a:gd name="T77" fmla="*/ 330 h 413"/>
              <a:gd name="T78" fmla="*/ 326 w 445"/>
              <a:gd name="T79" fmla="*/ 343 h 413"/>
              <a:gd name="T80" fmla="*/ 330 w 445"/>
              <a:gd name="T81" fmla="*/ 345 h 413"/>
              <a:gd name="T82" fmla="*/ 326 w 445"/>
              <a:gd name="T83" fmla="*/ 353 h 413"/>
              <a:gd name="T84" fmla="*/ 334 w 445"/>
              <a:gd name="T85" fmla="*/ 355 h 413"/>
              <a:gd name="T86" fmla="*/ 334 w 445"/>
              <a:gd name="T87" fmla="*/ 370 h 413"/>
              <a:gd name="T88" fmla="*/ 338 w 445"/>
              <a:gd name="T89" fmla="*/ 383 h 413"/>
              <a:gd name="T90" fmla="*/ 332 w 445"/>
              <a:gd name="T91" fmla="*/ 383 h 413"/>
              <a:gd name="T92" fmla="*/ 332 w 445"/>
              <a:gd name="T93" fmla="*/ 400 h 413"/>
              <a:gd name="T94" fmla="*/ 64 w 445"/>
              <a:gd name="T95" fmla="*/ 413 h 413"/>
              <a:gd name="T96" fmla="*/ 38 w 445"/>
              <a:gd name="T97" fmla="*/ 347 h 413"/>
              <a:gd name="T98" fmla="*/ 23 w 445"/>
              <a:gd name="T99" fmla="*/ 347 h 413"/>
              <a:gd name="T100" fmla="*/ 21 w 445"/>
              <a:gd name="T101" fmla="*/ 343 h 413"/>
              <a:gd name="T102" fmla="*/ 15 w 445"/>
              <a:gd name="T103" fmla="*/ 115 h 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5" h="413">
                <a:moveTo>
                  <a:pt x="0" y="19"/>
                </a:moveTo>
                <a:lnTo>
                  <a:pt x="89" y="17"/>
                </a:lnTo>
                <a:lnTo>
                  <a:pt x="232" y="10"/>
                </a:lnTo>
                <a:lnTo>
                  <a:pt x="394" y="0"/>
                </a:lnTo>
                <a:lnTo>
                  <a:pt x="400" y="4"/>
                </a:lnTo>
                <a:lnTo>
                  <a:pt x="407" y="10"/>
                </a:lnTo>
                <a:lnTo>
                  <a:pt x="409" y="19"/>
                </a:lnTo>
                <a:lnTo>
                  <a:pt x="409" y="25"/>
                </a:lnTo>
                <a:lnTo>
                  <a:pt x="402" y="32"/>
                </a:lnTo>
                <a:lnTo>
                  <a:pt x="394" y="36"/>
                </a:lnTo>
                <a:lnTo>
                  <a:pt x="390" y="45"/>
                </a:lnTo>
                <a:lnTo>
                  <a:pt x="385" y="51"/>
                </a:lnTo>
                <a:lnTo>
                  <a:pt x="390" y="59"/>
                </a:lnTo>
                <a:lnTo>
                  <a:pt x="441" y="53"/>
                </a:lnTo>
                <a:lnTo>
                  <a:pt x="445" y="57"/>
                </a:lnTo>
                <a:lnTo>
                  <a:pt x="445" y="64"/>
                </a:lnTo>
                <a:lnTo>
                  <a:pt x="439" y="68"/>
                </a:lnTo>
                <a:lnTo>
                  <a:pt x="443" y="74"/>
                </a:lnTo>
                <a:lnTo>
                  <a:pt x="434" y="81"/>
                </a:lnTo>
                <a:lnTo>
                  <a:pt x="428" y="85"/>
                </a:lnTo>
                <a:lnTo>
                  <a:pt x="424" y="87"/>
                </a:lnTo>
                <a:lnTo>
                  <a:pt x="424" y="89"/>
                </a:lnTo>
                <a:lnTo>
                  <a:pt x="430" y="96"/>
                </a:lnTo>
                <a:lnTo>
                  <a:pt x="424" y="100"/>
                </a:lnTo>
                <a:lnTo>
                  <a:pt x="422" y="106"/>
                </a:lnTo>
                <a:lnTo>
                  <a:pt x="417" y="108"/>
                </a:lnTo>
                <a:lnTo>
                  <a:pt x="419" y="115"/>
                </a:lnTo>
                <a:lnTo>
                  <a:pt x="417" y="121"/>
                </a:lnTo>
                <a:lnTo>
                  <a:pt x="415" y="117"/>
                </a:lnTo>
                <a:lnTo>
                  <a:pt x="409" y="119"/>
                </a:lnTo>
                <a:lnTo>
                  <a:pt x="407" y="128"/>
                </a:lnTo>
                <a:lnTo>
                  <a:pt x="413" y="125"/>
                </a:lnTo>
                <a:lnTo>
                  <a:pt x="413" y="134"/>
                </a:lnTo>
                <a:lnTo>
                  <a:pt x="417" y="153"/>
                </a:lnTo>
                <a:lnTo>
                  <a:pt x="415" y="155"/>
                </a:lnTo>
                <a:lnTo>
                  <a:pt x="409" y="157"/>
                </a:lnTo>
                <a:lnTo>
                  <a:pt x="404" y="164"/>
                </a:lnTo>
                <a:lnTo>
                  <a:pt x="398" y="168"/>
                </a:lnTo>
                <a:lnTo>
                  <a:pt x="396" y="170"/>
                </a:lnTo>
                <a:lnTo>
                  <a:pt x="400" y="172"/>
                </a:lnTo>
                <a:lnTo>
                  <a:pt x="400" y="181"/>
                </a:lnTo>
                <a:lnTo>
                  <a:pt x="394" y="187"/>
                </a:lnTo>
                <a:lnTo>
                  <a:pt x="387" y="189"/>
                </a:lnTo>
                <a:lnTo>
                  <a:pt x="383" y="185"/>
                </a:lnTo>
                <a:lnTo>
                  <a:pt x="385" y="202"/>
                </a:lnTo>
                <a:lnTo>
                  <a:pt x="379" y="202"/>
                </a:lnTo>
                <a:lnTo>
                  <a:pt x="377" y="194"/>
                </a:lnTo>
                <a:lnTo>
                  <a:pt x="377" y="204"/>
                </a:lnTo>
                <a:lnTo>
                  <a:pt x="385" y="209"/>
                </a:lnTo>
                <a:lnTo>
                  <a:pt x="377" y="213"/>
                </a:lnTo>
                <a:lnTo>
                  <a:pt x="375" y="204"/>
                </a:lnTo>
                <a:lnTo>
                  <a:pt x="375" y="217"/>
                </a:lnTo>
                <a:lnTo>
                  <a:pt x="379" y="219"/>
                </a:lnTo>
                <a:lnTo>
                  <a:pt x="375" y="230"/>
                </a:lnTo>
                <a:lnTo>
                  <a:pt x="377" y="234"/>
                </a:lnTo>
                <a:lnTo>
                  <a:pt x="370" y="243"/>
                </a:lnTo>
                <a:lnTo>
                  <a:pt x="366" y="245"/>
                </a:lnTo>
                <a:lnTo>
                  <a:pt x="360" y="245"/>
                </a:lnTo>
                <a:lnTo>
                  <a:pt x="362" y="251"/>
                </a:lnTo>
                <a:lnTo>
                  <a:pt x="355" y="258"/>
                </a:lnTo>
                <a:lnTo>
                  <a:pt x="353" y="262"/>
                </a:lnTo>
                <a:lnTo>
                  <a:pt x="345" y="260"/>
                </a:lnTo>
                <a:lnTo>
                  <a:pt x="351" y="266"/>
                </a:lnTo>
                <a:lnTo>
                  <a:pt x="347" y="268"/>
                </a:lnTo>
                <a:lnTo>
                  <a:pt x="347" y="275"/>
                </a:lnTo>
                <a:lnTo>
                  <a:pt x="351" y="281"/>
                </a:lnTo>
                <a:lnTo>
                  <a:pt x="332" y="289"/>
                </a:lnTo>
                <a:lnTo>
                  <a:pt x="338" y="294"/>
                </a:lnTo>
                <a:lnTo>
                  <a:pt x="336" y="300"/>
                </a:lnTo>
                <a:lnTo>
                  <a:pt x="338" y="307"/>
                </a:lnTo>
                <a:lnTo>
                  <a:pt x="336" y="311"/>
                </a:lnTo>
                <a:lnTo>
                  <a:pt x="330" y="311"/>
                </a:lnTo>
                <a:lnTo>
                  <a:pt x="330" y="317"/>
                </a:lnTo>
                <a:lnTo>
                  <a:pt x="336" y="319"/>
                </a:lnTo>
                <a:lnTo>
                  <a:pt x="330" y="324"/>
                </a:lnTo>
                <a:lnTo>
                  <a:pt x="328" y="321"/>
                </a:lnTo>
                <a:lnTo>
                  <a:pt x="324" y="324"/>
                </a:lnTo>
                <a:lnTo>
                  <a:pt x="328" y="330"/>
                </a:lnTo>
                <a:lnTo>
                  <a:pt x="321" y="336"/>
                </a:lnTo>
                <a:lnTo>
                  <a:pt x="326" y="343"/>
                </a:lnTo>
                <a:lnTo>
                  <a:pt x="321" y="351"/>
                </a:lnTo>
                <a:lnTo>
                  <a:pt x="330" y="345"/>
                </a:lnTo>
                <a:lnTo>
                  <a:pt x="332" y="349"/>
                </a:lnTo>
                <a:lnTo>
                  <a:pt x="326" y="353"/>
                </a:lnTo>
                <a:lnTo>
                  <a:pt x="332" y="355"/>
                </a:lnTo>
                <a:lnTo>
                  <a:pt x="334" y="355"/>
                </a:lnTo>
                <a:lnTo>
                  <a:pt x="332" y="362"/>
                </a:lnTo>
                <a:lnTo>
                  <a:pt x="334" y="370"/>
                </a:lnTo>
                <a:lnTo>
                  <a:pt x="336" y="370"/>
                </a:lnTo>
                <a:lnTo>
                  <a:pt x="338" y="383"/>
                </a:lnTo>
                <a:lnTo>
                  <a:pt x="338" y="383"/>
                </a:lnTo>
                <a:lnTo>
                  <a:pt x="332" y="383"/>
                </a:lnTo>
                <a:lnTo>
                  <a:pt x="332" y="390"/>
                </a:lnTo>
                <a:lnTo>
                  <a:pt x="332" y="400"/>
                </a:lnTo>
                <a:lnTo>
                  <a:pt x="179" y="409"/>
                </a:lnTo>
                <a:lnTo>
                  <a:pt x="64" y="413"/>
                </a:lnTo>
                <a:lnTo>
                  <a:pt x="62" y="351"/>
                </a:lnTo>
                <a:lnTo>
                  <a:pt x="38" y="347"/>
                </a:lnTo>
                <a:lnTo>
                  <a:pt x="32" y="353"/>
                </a:lnTo>
                <a:lnTo>
                  <a:pt x="23" y="347"/>
                </a:lnTo>
                <a:lnTo>
                  <a:pt x="23" y="345"/>
                </a:lnTo>
                <a:lnTo>
                  <a:pt x="21" y="343"/>
                </a:lnTo>
                <a:lnTo>
                  <a:pt x="19" y="145"/>
                </a:lnTo>
                <a:lnTo>
                  <a:pt x="15" y="115"/>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0" name="Freeform 716"/>
          <p:cNvSpPr>
            <a:spLocks/>
          </p:cNvSpPr>
          <p:nvPr/>
        </p:nvSpPr>
        <p:spPr bwMode="auto">
          <a:xfrm>
            <a:off x="4989512" y="2830634"/>
            <a:ext cx="565150" cy="1004888"/>
          </a:xfrm>
          <a:custGeom>
            <a:avLst/>
            <a:gdLst>
              <a:gd name="T0" fmla="*/ 11 w 356"/>
              <a:gd name="T1" fmla="*/ 250 h 633"/>
              <a:gd name="T2" fmla="*/ 30 w 356"/>
              <a:gd name="T3" fmla="*/ 228 h 633"/>
              <a:gd name="T4" fmla="*/ 32 w 356"/>
              <a:gd name="T5" fmla="*/ 209 h 633"/>
              <a:gd name="T6" fmla="*/ 28 w 356"/>
              <a:gd name="T7" fmla="*/ 164 h 633"/>
              <a:gd name="T8" fmla="*/ 60 w 356"/>
              <a:gd name="T9" fmla="*/ 137 h 633"/>
              <a:gd name="T10" fmla="*/ 90 w 356"/>
              <a:gd name="T11" fmla="*/ 120 h 633"/>
              <a:gd name="T12" fmla="*/ 102 w 356"/>
              <a:gd name="T13" fmla="*/ 69 h 633"/>
              <a:gd name="T14" fmla="*/ 85 w 356"/>
              <a:gd name="T15" fmla="*/ 52 h 633"/>
              <a:gd name="T16" fmla="*/ 62 w 356"/>
              <a:gd name="T17" fmla="*/ 26 h 633"/>
              <a:gd name="T18" fmla="*/ 190 w 356"/>
              <a:gd name="T19" fmla="*/ 9 h 633"/>
              <a:gd name="T20" fmla="*/ 292 w 356"/>
              <a:gd name="T21" fmla="*/ 7 h 633"/>
              <a:gd name="T22" fmla="*/ 301 w 356"/>
              <a:gd name="T23" fmla="*/ 43 h 633"/>
              <a:gd name="T24" fmla="*/ 313 w 356"/>
              <a:gd name="T25" fmla="*/ 69 h 633"/>
              <a:gd name="T26" fmla="*/ 324 w 356"/>
              <a:gd name="T27" fmla="*/ 90 h 633"/>
              <a:gd name="T28" fmla="*/ 345 w 356"/>
              <a:gd name="T29" fmla="*/ 367 h 633"/>
              <a:gd name="T30" fmla="*/ 347 w 356"/>
              <a:gd name="T31" fmla="*/ 390 h 633"/>
              <a:gd name="T32" fmla="*/ 356 w 356"/>
              <a:gd name="T33" fmla="*/ 420 h 633"/>
              <a:gd name="T34" fmla="*/ 345 w 356"/>
              <a:gd name="T35" fmla="*/ 443 h 633"/>
              <a:gd name="T36" fmla="*/ 330 w 356"/>
              <a:gd name="T37" fmla="*/ 473 h 633"/>
              <a:gd name="T38" fmla="*/ 324 w 356"/>
              <a:gd name="T39" fmla="*/ 488 h 633"/>
              <a:gd name="T40" fmla="*/ 320 w 356"/>
              <a:gd name="T41" fmla="*/ 518 h 633"/>
              <a:gd name="T42" fmla="*/ 320 w 356"/>
              <a:gd name="T43" fmla="*/ 535 h 633"/>
              <a:gd name="T44" fmla="*/ 315 w 356"/>
              <a:gd name="T45" fmla="*/ 556 h 633"/>
              <a:gd name="T46" fmla="*/ 301 w 356"/>
              <a:gd name="T47" fmla="*/ 573 h 633"/>
              <a:gd name="T48" fmla="*/ 286 w 356"/>
              <a:gd name="T49" fmla="*/ 588 h 633"/>
              <a:gd name="T50" fmla="*/ 294 w 356"/>
              <a:gd name="T51" fmla="*/ 610 h 633"/>
              <a:gd name="T52" fmla="*/ 275 w 356"/>
              <a:gd name="T53" fmla="*/ 614 h 633"/>
              <a:gd name="T54" fmla="*/ 247 w 356"/>
              <a:gd name="T55" fmla="*/ 605 h 633"/>
              <a:gd name="T56" fmla="*/ 228 w 356"/>
              <a:gd name="T57" fmla="*/ 629 h 633"/>
              <a:gd name="T58" fmla="*/ 215 w 356"/>
              <a:gd name="T59" fmla="*/ 631 h 633"/>
              <a:gd name="T60" fmla="*/ 200 w 356"/>
              <a:gd name="T61" fmla="*/ 595 h 633"/>
              <a:gd name="T62" fmla="*/ 192 w 356"/>
              <a:gd name="T63" fmla="*/ 556 h 633"/>
              <a:gd name="T64" fmla="*/ 173 w 356"/>
              <a:gd name="T65" fmla="*/ 541 h 633"/>
              <a:gd name="T66" fmla="*/ 151 w 356"/>
              <a:gd name="T67" fmla="*/ 529 h 633"/>
              <a:gd name="T68" fmla="*/ 113 w 356"/>
              <a:gd name="T69" fmla="*/ 499 h 633"/>
              <a:gd name="T70" fmla="*/ 117 w 356"/>
              <a:gd name="T71" fmla="*/ 478 h 633"/>
              <a:gd name="T72" fmla="*/ 126 w 356"/>
              <a:gd name="T73" fmla="*/ 441 h 633"/>
              <a:gd name="T74" fmla="*/ 115 w 356"/>
              <a:gd name="T75" fmla="*/ 422 h 633"/>
              <a:gd name="T76" fmla="*/ 98 w 356"/>
              <a:gd name="T77" fmla="*/ 418 h 633"/>
              <a:gd name="T78" fmla="*/ 81 w 356"/>
              <a:gd name="T79" fmla="*/ 420 h 633"/>
              <a:gd name="T80" fmla="*/ 62 w 356"/>
              <a:gd name="T81" fmla="*/ 375 h 633"/>
              <a:gd name="T82" fmla="*/ 34 w 356"/>
              <a:gd name="T83" fmla="*/ 354 h 633"/>
              <a:gd name="T84" fmla="*/ 15 w 356"/>
              <a:gd name="T85" fmla="*/ 331 h 633"/>
              <a:gd name="T86" fmla="*/ 5 w 356"/>
              <a:gd name="T87" fmla="*/ 305 h 633"/>
              <a:gd name="T88" fmla="*/ 2 w 356"/>
              <a:gd name="T89" fmla="*/ 27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6" h="633">
                <a:moveTo>
                  <a:pt x="7" y="262"/>
                </a:moveTo>
                <a:lnTo>
                  <a:pt x="11" y="258"/>
                </a:lnTo>
                <a:lnTo>
                  <a:pt x="11" y="250"/>
                </a:lnTo>
                <a:lnTo>
                  <a:pt x="7" y="243"/>
                </a:lnTo>
                <a:lnTo>
                  <a:pt x="13" y="237"/>
                </a:lnTo>
                <a:lnTo>
                  <a:pt x="30" y="228"/>
                </a:lnTo>
                <a:lnTo>
                  <a:pt x="32" y="220"/>
                </a:lnTo>
                <a:lnTo>
                  <a:pt x="32" y="213"/>
                </a:lnTo>
                <a:lnTo>
                  <a:pt x="32" y="209"/>
                </a:lnTo>
                <a:lnTo>
                  <a:pt x="43" y="194"/>
                </a:lnTo>
                <a:lnTo>
                  <a:pt x="43" y="179"/>
                </a:lnTo>
                <a:lnTo>
                  <a:pt x="28" y="164"/>
                </a:lnTo>
                <a:lnTo>
                  <a:pt x="30" y="152"/>
                </a:lnTo>
                <a:lnTo>
                  <a:pt x="34" y="143"/>
                </a:lnTo>
                <a:lnTo>
                  <a:pt x="60" y="137"/>
                </a:lnTo>
                <a:lnTo>
                  <a:pt x="68" y="133"/>
                </a:lnTo>
                <a:lnTo>
                  <a:pt x="81" y="126"/>
                </a:lnTo>
                <a:lnTo>
                  <a:pt x="90" y="120"/>
                </a:lnTo>
                <a:lnTo>
                  <a:pt x="90" y="105"/>
                </a:lnTo>
                <a:lnTo>
                  <a:pt x="100" y="92"/>
                </a:lnTo>
                <a:lnTo>
                  <a:pt x="102" y="69"/>
                </a:lnTo>
                <a:lnTo>
                  <a:pt x="100" y="62"/>
                </a:lnTo>
                <a:lnTo>
                  <a:pt x="94" y="56"/>
                </a:lnTo>
                <a:lnTo>
                  <a:pt x="85" y="52"/>
                </a:lnTo>
                <a:lnTo>
                  <a:pt x="79" y="45"/>
                </a:lnTo>
                <a:lnTo>
                  <a:pt x="77" y="37"/>
                </a:lnTo>
                <a:lnTo>
                  <a:pt x="62" y="26"/>
                </a:lnTo>
                <a:lnTo>
                  <a:pt x="58" y="20"/>
                </a:lnTo>
                <a:lnTo>
                  <a:pt x="58" y="18"/>
                </a:lnTo>
                <a:lnTo>
                  <a:pt x="190" y="9"/>
                </a:lnTo>
                <a:lnTo>
                  <a:pt x="288" y="0"/>
                </a:lnTo>
                <a:lnTo>
                  <a:pt x="292" y="0"/>
                </a:lnTo>
                <a:lnTo>
                  <a:pt x="292" y="7"/>
                </a:lnTo>
                <a:lnTo>
                  <a:pt x="292" y="22"/>
                </a:lnTo>
                <a:lnTo>
                  <a:pt x="292" y="30"/>
                </a:lnTo>
                <a:lnTo>
                  <a:pt x="301" y="43"/>
                </a:lnTo>
                <a:lnTo>
                  <a:pt x="307" y="49"/>
                </a:lnTo>
                <a:lnTo>
                  <a:pt x="309" y="60"/>
                </a:lnTo>
                <a:lnTo>
                  <a:pt x="313" y="69"/>
                </a:lnTo>
                <a:lnTo>
                  <a:pt x="315" y="75"/>
                </a:lnTo>
                <a:lnTo>
                  <a:pt x="324" y="86"/>
                </a:lnTo>
                <a:lnTo>
                  <a:pt x="324" y="90"/>
                </a:lnTo>
                <a:lnTo>
                  <a:pt x="347" y="352"/>
                </a:lnTo>
                <a:lnTo>
                  <a:pt x="341" y="360"/>
                </a:lnTo>
                <a:lnTo>
                  <a:pt x="345" y="367"/>
                </a:lnTo>
                <a:lnTo>
                  <a:pt x="341" y="375"/>
                </a:lnTo>
                <a:lnTo>
                  <a:pt x="341" y="382"/>
                </a:lnTo>
                <a:lnTo>
                  <a:pt x="347" y="390"/>
                </a:lnTo>
                <a:lnTo>
                  <a:pt x="354" y="399"/>
                </a:lnTo>
                <a:lnTo>
                  <a:pt x="352" y="405"/>
                </a:lnTo>
                <a:lnTo>
                  <a:pt x="356" y="420"/>
                </a:lnTo>
                <a:lnTo>
                  <a:pt x="356" y="429"/>
                </a:lnTo>
                <a:lnTo>
                  <a:pt x="354" y="429"/>
                </a:lnTo>
                <a:lnTo>
                  <a:pt x="345" y="443"/>
                </a:lnTo>
                <a:lnTo>
                  <a:pt x="345" y="452"/>
                </a:lnTo>
                <a:lnTo>
                  <a:pt x="337" y="467"/>
                </a:lnTo>
                <a:lnTo>
                  <a:pt x="330" y="473"/>
                </a:lnTo>
                <a:lnTo>
                  <a:pt x="324" y="480"/>
                </a:lnTo>
                <a:lnTo>
                  <a:pt x="322" y="486"/>
                </a:lnTo>
                <a:lnTo>
                  <a:pt x="324" y="488"/>
                </a:lnTo>
                <a:lnTo>
                  <a:pt x="322" y="503"/>
                </a:lnTo>
                <a:lnTo>
                  <a:pt x="320" y="503"/>
                </a:lnTo>
                <a:lnTo>
                  <a:pt x="320" y="518"/>
                </a:lnTo>
                <a:lnTo>
                  <a:pt x="315" y="524"/>
                </a:lnTo>
                <a:lnTo>
                  <a:pt x="320" y="533"/>
                </a:lnTo>
                <a:lnTo>
                  <a:pt x="320" y="535"/>
                </a:lnTo>
                <a:lnTo>
                  <a:pt x="318" y="541"/>
                </a:lnTo>
                <a:lnTo>
                  <a:pt x="313" y="548"/>
                </a:lnTo>
                <a:lnTo>
                  <a:pt x="315" y="556"/>
                </a:lnTo>
                <a:lnTo>
                  <a:pt x="320" y="565"/>
                </a:lnTo>
                <a:lnTo>
                  <a:pt x="315" y="571"/>
                </a:lnTo>
                <a:lnTo>
                  <a:pt x="301" y="573"/>
                </a:lnTo>
                <a:lnTo>
                  <a:pt x="294" y="580"/>
                </a:lnTo>
                <a:lnTo>
                  <a:pt x="288" y="582"/>
                </a:lnTo>
                <a:lnTo>
                  <a:pt x="286" y="588"/>
                </a:lnTo>
                <a:lnTo>
                  <a:pt x="286" y="597"/>
                </a:lnTo>
                <a:lnTo>
                  <a:pt x="292" y="603"/>
                </a:lnTo>
                <a:lnTo>
                  <a:pt x="294" y="610"/>
                </a:lnTo>
                <a:lnTo>
                  <a:pt x="288" y="620"/>
                </a:lnTo>
                <a:lnTo>
                  <a:pt x="281" y="618"/>
                </a:lnTo>
                <a:lnTo>
                  <a:pt x="275" y="614"/>
                </a:lnTo>
                <a:lnTo>
                  <a:pt x="260" y="610"/>
                </a:lnTo>
                <a:lnTo>
                  <a:pt x="254" y="605"/>
                </a:lnTo>
                <a:lnTo>
                  <a:pt x="247" y="605"/>
                </a:lnTo>
                <a:lnTo>
                  <a:pt x="239" y="607"/>
                </a:lnTo>
                <a:lnTo>
                  <a:pt x="228" y="622"/>
                </a:lnTo>
                <a:lnTo>
                  <a:pt x="228" y="629"/>
                </a:lnTo>
                <a:lnTo>
                  <a:pt x="232" y="633"/>
                </a:lnTo>
                <a:lnTo>
                  <a:pt x="224" y="629"/>
                </a:lnTo>
                <a:lnTo>
                  <a:pt x="215" y="631"/>
                </a:lnTo>
                <a:lnTo>
                  <a:pt x="205" y="616"/>
                </a:lnTo>
                <a:lnTo>
                  <a:pt x="196" y="601"/>
                </a:lnTo>
                <a:lnTo>
                  <a:pt x="200" y="595"/>
                </a:lnTo>
                <a:lnTo>
                  <a:pt x="203" y="586"/>
                </a:lnTo>
                <a:lnTo>
                  <a:pt x="194" y="573"/>
                </a:lnTo>
                <a:lnTo>
                  <a:pt x="192" y="556"/>
                </a:lnTo>
                <a:lnTo>
                  <a:pt x="186" y="554"/>
                </a:lnTo>
                <a:lnTo>
                  <a:pt x="177" y="550"/>
                </a:lnTo>
                <a:lnTo>
                  <a:pt x="173" y="541"/>
                </a:lnTo>
                <a:lnTo>
                  <a:pt x="162" y="535"/>
                </a:lnTo>
                <a:lnTo>
                  <a:pt x="154" y="537"/>
                </a:lnTo>
                <a:lnTo>
                  <a:pt x="151" y="529"/>
                </a:lnTo>
                <a:lnTo>
                  <a:pt x="147" y="529"/>
                </a:lnTo>
                <a:lnTo>
                  <a:pt x="126" y="514"/>
                </a:lnTo>
                <a:lnTo>
                  <a:pt x="113" y="499"/>
                </a:lnTo>
                <a:lnTo>
                  <a:pt x="111" y="492"/>
                </a:lnTo>
                <a:lnTo>
                  <a:pt x="113" y="484"/>
                </a:lnTo>
                <a:lnTo>
                  <a:pt x="117" y="478"/>
                </a:lnTo>
                <a:lnTo>
                  <a:pt x="120" y="465"/>
                </a:lnTo>
                <a:lnTo>
                  <a:pt x="126" y="454"/>
                </a:lnTo>
                <a:lnTo>
                  <a:pt x="126" y="441"/>
                </a:lnTo>
                <a:lnTo>
                  <a:pt x="130" y="433"/>
                </a:lnTo>
                <a:lnTo>
                  <a:pt x="130" y="431"/>
                </a:lnTo>
                <a:lnTo>
                  <a:pt x="115" y="422"/>
                </a:lnTo>
                <a:lnTo>
                  <a:pt x="109" y="420"/>
                </a:lnTo>
                <a:lnTo>
                  <a:pt x="102" y="418"/>
                </a:lnTo>
                <a:lnTo>
                  <a:pt x="98" y="418"/>
                </a:lnTo>
                <a:lnTo>
                  <a:pt x="94" y="424"/>
                </a:lnTo>
                <a:lnTo>
                  <a:pt x="85" y="426"/>
                </a:lnTo>
                <a:lnTo>
                  <a:pt x="81" y="420"/>
                </a:lnTo>
                <a:lnTo>
                  <a:pt x="73" y="388"/>
                </a:lnTo>
                <a:lnTo>
                  <a:pt x="68" y="382"/>
                </a:lnTo>
                <a:lnTo>
                  <a:pt x="62" y="375"/>
                </a:lnTo>
                <a:lnTo>
                  <a:pt x="45" y="365"/>
                </a:lnTo>
                <a:lnTo>
                  <a:pt x="41" y="358"/>
                </a:lnTo>
                <a:lnTo>
                  <a:pt x="34" y="354"/>
                </a:lnTo>
                <a:lnTo>
                  <a:pt x="26" y="346"/>
                </a:lnTo>
                <a:lnTo>
                  <a:pt x="17" y="339"/>
                </a:lnTo>
                <a:lnTo>
                  <a:pt x="15" y="331"/>
                </a:lnTo>
                <a:lnTo>
                  <a:pt x="11" y="324"/>
                </a:lnTo>
                <a:lnTo>
                  <a:pt x="7" y="309"/>
                </a:lnTo>
                <a:lnTo>
                  <a:pt x="5" y="305"/>
                </a:lnTo>
                <a:lnTo>
                  <a:pt x="0" y="292"/>
                </a:lnTo>
                <a:lnTo>
                  <a:pt x="0" y="277"/>
                </a:lnTo>
                <a:lnTo>
                  <a:pt x="2" y="271"/>
                </a:lnTo>
                <a:lnTo>
                  <a:pt x="7" y="262"/>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11" name="Freeform 717"/>
          <p:cNvSpPr>
            <a:spLocks/>
          </p:cNvSpPr>
          <p:nvPr/>
        </p:nvSpPr>
        <p:spPr bwMode="auto">
          <a:xfrm>
            <a:off x="4989512" y="2830634"/>
            <a:ext cx="565150" cy="1004888"/>
          </a:xfrm>
          <a:custGeom>
            <a:avLst/>
            <a:gdLst>
              <a:gd name="T0" fmla="*/ 11 w 356"/>
              <a:gd name="T1" fmla="*/ 250 h 633"/>
              <a:gd name="T2" fmla="*/ 30 w 356"/>
              <a:gd name="T3" fmla="*/ 228 h 633"/>
              <a:gd name="T4" fmla="*/ 32 w 356"/>
              <a:gd name="T5" fmla="*/ 209 h 633"/>
              <a:gd name="T6" fmla="*/ 28 w 356"/>
              <a:gd name="T7" fmla="*/ 164 h 633"/>
              <a:gd name="T8" fmla="*/ 60 w 356"/>
              <a:gd name="T9" fmla="*/ 137 h 633"/>
              <a:gd name="T10" fmla="*/ 90 w 356"/>
              <a:gd name="T11" fmla="*/ 120 h 633"/>
              <a:gd name="T12" fmla="*/ 102 w 356"/>
              <a:gd name="T13" fmla="*/ 69 h 633"/>
              <a:gd name="T14" fmla="*/ 85 w 356"/>
              <a:gd name="T15" fmla="*/ 52 h 633"/>
              <a:gd name="T16" fmla="*/ 62 w 356"/>
              <a:gd name="T17" fmla="*/ 26 h 633"/>
              <a:gd name="T18" fmla="*/ 190 w 356"/>
              <a:gd name="T19" fmla="*/ 9 h 633"/>
              <a:gd name="T20" fmla="*/ 292 w 356"/>
              <a:gd name="T21" fmla="*/ 7 h 633"/>
              <a:gd name="T22" fmla="*/ 301 w 356"/>
              <a:gd name="T23" fmla="*/ 43 h 633"/>
              <a:gd name="T24" fmla="*/ 313 w 356"/>
              <a:gd name="T25" fmla="*/ 69 h 633"/>
              <a:gd name="T26" fmla="*/ 324 w 356"/>
              <a:gd name="T27" fmla="*/ 90 h 633"/>
              <a:gd name="T28" fmla="*/ 345 w 356"/>
              <a:gd name="T29" fmla="*/ 367 h 633"/>
              <a:gd name="T30" fmla="*/ 347 w 356"/>
              <a:gd name="T31" fmla="*/ 390 h 633"/>
              <a:gd name="T32" fmla="*/ 356 w 356"/>
              <a:gd name="T33" fmla="*/ 420 h 633"/>
              <a:gd name="T34" fmla="*/ 345 w 356"/>
              <a:gd name="T35" fmla="*/ 443 h 633"/>
              <a:gd name="T36" fmla="*/ 330 w 356"/>
              <a:gd name="T37" fmla="*/ 473 h 633"/>
              <a:gd name="T38" fmla="*/ 324 w 356"/>
              <a:gd name="T39" fmla="*/ 488 h 633"/>
              <a:gd name="T40" fmla="*/ 320 w 356"/>
              <a:gd name="T41" fmla="*/ 518 h 633"/>
              <a:gd name="T42" fmla="*/ 320 w 356"/>
              <a:gd name="T43" fmla="*/ 535 h 633"/>
              <a:gd name="T44" fmla="*/ 315 w 356"/>
              <a:gd name="T45" fmla="*/ 556 h 633"/>
              <a:gd name="T46" fmla="*/ 301 w 356"/>
              <a:gd name="T47" fmla="*/ 573 h 633"/>
              <a:gd name="T48" fmla="*/ 286 w 356"/>
              <a:gd name="T49" fmla="*/ 588 h 633"/>
              <a:gd name="T50" fmla="*/ 294 w 356"/>
              <a:gd name="T51" fmla="*/ 610 h 633"/>
              <a:gd name="T52" fmla="*/ 275 w 356"/>
              <a:gd name="T53" fmla="*/ 614 h 633"/>
              <a:gd name="T54" fmla="*/ 247 w 356"/>
              <a:gd name="T55" fmla="*/ 605 h 633"/>
              <a:gd name="T56" fmla="*/ 228 w 356"/>
              <a:gd name="T57" fmla="*/ 629 h 633"/>
              <a:gd name="T58" fmla="*/ 215 w 356"/>
              <a:gd name="T59" fmla="*/ 631 h 633"/>
              <a:gd name="T60" fmla="*/ 200 w 356"/>
              <a:gd name="T61" fmla="*/ 595 h 633"/>
              <a:gd name="T62" fmla="*/ 192 w 356"/>
              <a:gd name="T63" fmla="*/ 556 h 633"/>
              <a:gd name="T64" fmla="*/ 173 w 356"/>
              <a:gd name="T65" fmla="*/ 541 h 633"/>
              <a:gd name="T66" fmla="*/ 151 w 356"/>
              <a:gd name="T67" fmla="*/ 529 h 633"/>
              <a:gd name="T68" fmla="*/ 113 w 356"/>
              <a:gd name="T69" fmla="*/ 499 h 633"/>
              <a:gd name="T70" fmla="*/ 117 w 356"/>
              <a:gd name="T71" fmla="*/ 478 h 633"/>
              <a:gd name="T72" fmla="*/ 126 w 356"/>
              <a:gd name="T73" fmla="*/ 441 h 633"/>
              <a:gd name="T74" fmla="*/ 115 w 356"/>
              <a:gd name="T75" fmla="*/ 422 h 633"/>
              <a:gd name="T76" fmla="*/ 98 w 356"/>
              <a:gd name="T77" fmla="*/ 418 h 633"/>
              <a:gd name="T78" fmla="*/ 81 w 356"/>
              <a:gd name="T79" fmla="*/ 420 h 633"/>
              <a:gd name="T80" fmla="*/ 62 w 356"/>
              <a:gd name="T81" fmla="*/ 375 h 633"/>
              <a:gd name="T82" fmla="*/ 34 w 356"/>
              <a:gd name="T83" fmla="*/ 354 h 633"/>
              <a:gd name="T84" fmla="*/ 15 w 356"/>
              <a:gd name="T85" fmla="*/ 331 h 633"/>
              <a:gd name="T86" fmla="*/ 5 w 356"/>
              <a:gd name="T87" fmla="*/ 305 h 633"/>
              <a:gd name="T88" fmla="*/ 2 w 356"/>
              <a:gd name="T89" fmla="*/ 271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56" h="633">
                <a:moveTo>
                  <a:pt x="7" y="262"/>
                </a:moveTo>
                <a:lnTo>
                  <a:pt x="11" y="258"/>
                </a:lnTo>
                <a:lnTo>
                  <a:pt x="11" y="250"/>
                </a:lnTo>
                <a:lnTo>
                  <a:pt x="7" y="243"/>
                </a:lnTo>
                <a:lnTo>
                  <a:pt x="13" y="237"/>
                </a:lnTo>
                <a:lnTo>
                  <a:pt x="30" y="228"/>
                </a:lnTo>
                <a:lnTo>
                  <a:pt x="32" y="220"/>
                </a:lnTo>
                <a:lnTo>
                  <a:pt x="32" y="213"/>
                </a:lnTo>
                <a:lnTo>
                  <a:pt x="32" y="209"/>
                </a:lnTo>
                <a:lnTo>
                  <a:pt x="43" y="194"/>
                </a:lnTo>
                <a:lnTo>
                  <a:pt x="43" y="179"/>
                </a:lnTo>
                <a:lnTo>
                  <a:pt x="28" y="164"/>
                </a:lnTo>
                <a:lnTo>
                  <a:pt x="30" y="152"/>
                </a:lnTo>
                <a:lnTo>
                  <a:pt x="34" y="143"/>
                </a:lnTo>
                <a:lnTo>
                  <a:pt x="60" y="137"/>
                </a:lnTo>
                <a:lnTo>
                  <a:pt x="68" y="133"/>
                </a:lnTo>
                <a:lnTo>
                  <a:pt x="81" y="126"/>
                </a:lnTo>
                <a:lnTo>
                  <a:pt x="90" y="120"/>
                </a:lnTo>
                <a:lnTo>
                  <a:pt x="90" y="105"/>
                </a:lnTo>
                <a:lnTo>
                  <a:pt x="100" y="92"/>
                </a:lnTo>
                <a:lnTo>
                  <a:pt x="102" y="69"/>
                </a:lnTo>
                <a:lnTo>
                  <a:pt x="100" y="62"/>
                </a:lnTo>
                <a:lnTo>
                  <a:pt x="94" y="56"/>
                </a:lnTo>
                <a:lnTo>
                  <a:pt x="85" y="52"/>
                </a:lnTo>
                <a:lnTo>
                  <a:pt x="79" y="45"/>
                </a:lnTo>
                <a:lnTo>
                  <a:pt x="77" y="37"/>
                </a:lnTo>
                <a:lnTo>
                  <a:pt x="62" y="26"/>
                </a:lnTo>
                <a:lnTo>
                  <a:pt x="58" y="20"/>
                </a:lnTo>
                <a:lnTo>
                  <a:pt x="58" y="18"/>
                </a:lnTo>
                <a:lnTo>
                  <a:pt x="190" y="9"/>
                </a:lnTo>
                <a:lnTo>
                  <a:pt x="288" y="0"/>
                </a:lnTo>
                <a:lnTo>
                  <a:pt x="292" y="0"/>
                </a:lnTo>
                <a:lnTo>
                  <a:pt x="292" y="7"/>
                </a:lnTo>
                <a:lnTo>
                  <a:pt x="292" y="22"/>
                </a:lnTo>
                <a:lnTo>
                  <a:pt x="292" y="30"/>
                </a:lnTo>
                <a:lnTo>
                  <a:pt x="301" y="43"/>
                </a:lnTo>
                <a:lnTo>
                  <a:pt x="307" y="49"/>
                </a:lnTo>
                <a:lnTo>
                  <a:pt x="309" y="60"/>
                </a:lnTo>
                <a:lnTo>
                  <a:pt x="313" y="69"/>
                </a:lnTo>
                <a:lnTo>
                  <a:pt x="315" y="75"/>
                </a:lnTo>
                <a:lnTo>
                  <a:pt x="324" y="86"/>
                </a:lnTo>
                <a:lnTo>
                  <a:pt x="324" y="90"/>
                </a:lnTo>
                <a:lnTo>
                  <a:pt x="347" y="352"/>
                </a:lnTo>
                <a:lnTo>
                  <a:pt x="341" y="360"/>
                </a:lnTo>
                <a:lnTo>
                  <a:pt x="345" y="367"/>
                </a:lnTo>
                <a:lnTo>
                  <a:pt x="341" y="375"/>
                </a:lnTo>
                <a:lnTo>
                  <a:pt x="341" y="382"/>
                </a:lnTo>
                <a:lnTo>
                  <a:pt x="347" y="390"/>
                </a:lnTo>
                <a:lnTo>
                  <a:pt x="354" y="399"/>
                </a:lnTo>
                <a:lnTo>
                  <a:pt x="352" y="405"/>
                </a:lnTo>
                <a:lnTo>
                  <a:pt x="356" y="420"/>
                </a:lnTo>
                <a:lnTo>
                  <a:pt x="356" y="429"/>
                </a:lnTo>
                <a:lnTo>
                  <a:pt x="354" y="429"/>
                </a:lnTo>
                <a:lnTo>
                  <a:pt x="345" y="443"/>
                </a:lnTo>
                <a:lnTo>
                  <a:pt x="345" y="452"/>
                </a:lnTo>
                <a:lnTo>
                  <a:pt x="337" y="467"/>
                </a:lnTo>
                <a:lnTo>
                  <a:pt x="330" y="473"/>
                </a:lnTo>
                <a:lnTo>
                  <a:pt x="324" y="480"/>
                </a:lnTo>
                <a:lnTo>
                  <a:pt x="322" y="486"/>
                </a:lnTo>
                <a:lnTo>
                  <a:pt x="324" y="488"/>
                </a:lnTo>
                <a:lnTo>
                  <a:pt x="322" y="503"/>
                </a:lnTo>
                <a:lnTo>
                  <a:pt x="320" y="503"/>
                </a:lnTo>
                <a:lnTo>
                  <a:pt x="320" y="518"/>
                </a:lnTo>
                <a:lnTo>
                  <a:pt x="315" y="524"/>
                </a:lnTo>
                <a:lnTo>
                  <a:pt x="320" y="533"/>
                </a:lnTo>
                <a:lnTo>
                  <a:pt x="320" y="535"/>
                </a:lnTo>
                <a:lnTo>
                  <a:pt x="318" y="541"/>
                </a:lnTo>
                <a:lnTo>
                  <a:pt x="313" y="548"/>
                </a:lnTo>
                <a:lnTo>
                  <a:pt x="315" y="556"/>
                </a:lnTo>
                <a:lnTo>
                  <a:pt x="320" y="565"/>
                </a:lnTo>
                <a:lnTo>
                  <a:pt x="315" y="571"/>
                </a:lnTo>
                <a:lnTo>
                  <a:pt x="301" y="573"/>
                </a:lnTo>
                <a:lnTo>
                  <a:pt x="294" y="580"/>
                </a:lnTo>
                <a:lnTo>
                  <a:pt x="288" y="582"/>
                </a:lnTo>
                <a:lnTo>
                  <a:pt x="286" y="588"/>
                </a:lnTo>
                <a:lnTo>
                  <a:pt x="286" y="597"/>
                </a:lnTo>
                <a:lnTo>
                  <a:pt x="292" y="603"/>
                </a:lnTo>
                <a:lnTo>
                  <a:pt x="294" y="610"/>
                </a:lnTo>
                <a:lnTo>
                  <a:pt x="288" y="620"/>
                </a:lnTo>
                <a:lnTo>
                  <a:pt x="281" y="618"/>
                </a:lnTo>
                <a:lnTo>
                  <a:pt x="275" y="614"/>
                </a:lnTo>
                <a:lnTo>
                  <a:pt x="260" y="610"/>
                </a:lnTo>
                <a:lnTo>
                  <a:pt x="254" y="605"/>
                </a:lnTo>
                <a:lnTo>
                  <a:pt x="247" y="605"/>
                </a:lnTo>
                <a:lnTo>
                  <a:pt x="239" y="607"/>
                </a:lnTo>
                <a:lnTo>
                  <a:pt x="228" y="622"/>
                </a:lnTo>
                <a:lnTo>
                  <a:pt x="228" y="629"/>
                </a:lnTo>
                <a:lnTo>
                  <a:pt x="232" y="633"/>
                </a:lnTo>
                <a:lnTo>
                  <a:pt x="224" y="629"/>
                </a:lnTo>
                <a:lnTo>
                  <a:pt x="215" y="631"/>
                </a:lnTo>
                <a:lnTo>
                  <a:pt x="205" y="616"/>
                </a:lnTo>
                <a:lnTo>
                  <a:pt x="196" y="601"/>
                </a:lnTo>
                <a:lnTo>
                  <a:pt x="200" y="595"/>
                </a:lnTo>
                <a:lnTo>
                  <a:pt x="203" y="586"/>
                </a:lnTo>
                <a:lnTo>
                  <a:pt x="194" y="573"/>
                </a:lnTo>
                <a:lnTo>
                  <a:pt x="192" y="556"/>
                </a:lnTo>
                <a:lnTo>
                  <a:pt x="186" y="554"/>
                </a:lnTo>
                <a:lnTo>
                  <a:pt x="177" y="550"/>
                </a:lnTo>
                <a:lnTo>
                  <a:pt x="173" y="541"/>
                </a:lnTo>
                <a:lnTo>
                  <a:pt x="162" y="535"/>
                </a:lnTo>
                <a:lnTo>
                  <a:pt x="154" y="537"/>
                </a:lnTo>
                <a:lnTo>
                  <a:pt x="151" y="529"/>
                </a:lnTo>
                <a:lnTo>
                  <a:pt x="147" y="529"/>
                </a:lnTo>
                <a:lnTo>
                  <a:pt x="126" y="514"/>
                </a:lnTo>
                <a:lnTo>
                  <a:pt x="113" y="499"/>
                </a:lnTo>
                <a:lnTo>
                  <a:pt x="111" y="492"/>
                </a:lnTo>
                <a:lnTo>
                  <a:pt x="113" y="484"/>
                </a:lnTo>
                <a:lnTo>
                  <a:pt x="117" y="478"/>
                </a:lnTo>
                <a:lnTo>
                  <a:pt x="120" y="465"/>
                </a:lnTo>
                <a:lnTo>
                  <a:pt x="126" y="454"/>
                </a:lnTo>
                <a:lnTo>
                  <a:pt x="126" y="441"/>
                </a:lnTo>
                <a:lnTo>
                  <a:pt x="130" y="433"/>
                </a:lnTo>
                <a:lnTo>
                  <a:pt x="130" y="431"/>
                </a:lnTo>
                <a:lnTo>
                  <a:pt x="115" y="422"/>
                </a:lnTo>
                <a:lnTo>
                  <a:pt x="109" y="420"/>
                </a:lnTo>
                <a:lnTo>
                  <a:pt x="102" y="418"/>
                </a:lnTo>
                <a:lnTo>
                  <a:pt x="98" y="418"/>
                </a:lnTo>
                <a:lnTo>
                  <a:pt x="94" y="424"/>
                </a:lnTo>
                <a:lnTo>
                  <a:pt x="85" y="426"/>
                </a:lnTo>
                <a:lnTo>
                  <a:pt x="81" y="420"/>
                </a:lnTo>
                <a:lnTo>
                  <a:pt x="73" y="388"/>
                </a:lnTo>
                <a:lnTo>
                  <a:pt x="68" y="382"/>
                </a:lnTo>
                <a:lnTo>
                  <a:pt x="62" y="375"/>
                </a:lnTo>
                <a:lnTo>
                  <a:pt x="45" y="365"/>
                </a:lnTo>
                <a:lnTo>
                  <a:pt x="41" y="358"/>
                </a:lnTo>
                <a:lnTo>
                  <a:pt x="34" y="354"/>
                </a:lnTo>
                <a:lnTo>
                  <a:pt x="26" y="346"/>
                </a:lnTo>
                <a:lnTo>
                  <a:pt x="17" y="339"/>
                </a:lnTo>
                <a:lnTo>
                  <a:pt x="15" y="331"/>
                </a:lnTo>
                <a:lnTo>
                  <a:pt x="11" y="324"/>
                </a:lnTo>
                <a:lnTo>
                  <a:pt x="7" y="309"/>
                </a:lnTo>
                <a:lnTo>
                  <a:pt x="5" y="305"/>
                </a:lnTo>
                <a:lnTo>
                  <a:pt x="0" y="292"/>
                </a:lnTo>
                <a:lnTo>
                  <a:pt x="0" y="277"/>
                </a:lnTo>
                <a:lnTo>
                  <a:pt x="2" y="271"/>
                </a:lnTo>
                <a:lnTo>
                  <a:pt x="7" y="26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2" name="Freeform 718"/>
          <p:cNvSpPr>
            <a:spLocks/>
          </p:cNvSpPr>
          <p:nvPr/>
        </p:nvSpPr>
        <p:spPr bwMode="auto">
          <a:xfrm>
            <a:off x="5216525" y="3775196"/>
            <a:ext cx="1203325" cy="428625"/>
          </a:xfrm>
          <a:custGeom>
            <a:avLst/>
            <a:gdLst>
              <a:gd name="T0" fmla="*/ 2 w 758"/>
              <a:gd name="T1" fmla="*/ 268 h 270"/>
              <a:gd name="T2" fmla="*/ 13 w 758"/>
              <a:gd name="T3" fmla="*/ 257 h 270"/>
              <a:gd name="T4" fmla="*/ 21 w 758"/>
              <a:gd name="T5" fmla="*/ 253 h 270"/>
              <a:gd name="T6" fmla="*/ 17 w 758"/>
              <a:gd name="T7" fmla="*/ 225 h 270"/>
              <a:gd name="T8" fmla="*/ 13 w 758"/>
              <a:gd name="T9" fmla="*/ 219 h 270"/>
              <a:gd name="T10" fmla="*/ 21 w 758"/>
              <a:gd name="T11" fmla="*/ 221 h 270"/>
              <a:gd name="T12" fmla="*/ 21 w 758"/>
              <a:gd name="T13" fmla="*/ 208 h 270"/>
              <a:gd name="T14" fmla="*/ 28 w 758"/>
              <a:gd name="T15" fmla="*/ 200 h 270"/>
              <a:gd name="T16" fmla="*/ 28 w 758"/>
              <a:gd name="T17" fmla="*/ 189 h 270"/>
              <a:gd name="T18" fmla="*/ 32 w 758"/>
              <a:gd name="T19" fmla="*/ 185 h 270"/>
              <a:gd name="T20" fmla="*/ 47 w 758"/>
              <a:gd name="T21" fmla="*/ 174 h 270"/>
              <a:gd name="T22" fmla="*/ 49 w 758"/>
              <a:gd name="T23" fmla="*/ 164 h 270"/>
              <a:gd name="T24" fmla="*/ 45 w 758"/>
              <a:gd name="T25" fmla="*/ 153 h 270"/>
              <a:gd name="T26" fmla="*/ 55 w 758"/>
              <a:gd name="T27" fmla="*/ 134 h 270"/>
              <a:gd name="T28" fmla="*/ 57 w 758"/>
              <a:gd name="T29" fmla="*/ 121 h 270"/>
              <a:gd name="T30" fmla="*/ 60 w 758"/>
              <a:gd name="T31" fmla="*/ 110 h 270"/>
              <a:gd name="T32" fmla="*/ 55 w 758"/>
              <a:gd name="T33" fmla="*/ 96 h 270"/>
              <a:gd name="T34" fmla="*/ 62 w 758"/>
              <a:gd name="T35" fmla="*/ 100 h 270"/>
              <a:gd name="T36" fmla="*/ 192 w 758"/>
              <a:gd name="T37" fmla="*/ 85 h 270"/>
              <a:gd name="T38" fmla="*/ 187 w 758"/>
              <a:gd name="T39" fmla="*/ 64 h 270"/>
              <a:gd name="T40" fmla="*/ 211 w 758"/>
              <a:gd name="T41" fmla="*/ 66 h 270"/>
              <a:gd name="T42" fmla="*/ 283 w 758"/>
              <a:gd name="T43" fmla="*/ 59 h 270"/>
              <a:gd name="T44" fmla="*/ 373 w 758"/>
              <a:gd name="T45" fmla="*/ 51 h 270"/>
              <a:gd name="T46" fmla="*/ 441 w 758"/>
              <a:gd name="T47" fmla="*/ 42 h 270"/>
              <a:gd name="T48" fmla="*/ 509 w 758"/>
              <a:gd name="T49" fmla="*/ 36 h 270"/>
              <a:gd name="T50" fmla="*/ 571 w 758"/>
              <a:gd name="T51" fmla="*/ 32 h 270"/>
              <a:gd name="T52" fmla="*/ 607 w 758"/>
              <a:gd name="T53" fmla="*/ 23 h 270"/>
              <a:gd name="T54" fmla="*/ 681 w 758"/>
              <a:gd name="T55" fmla="*/ 12 h 270"/>
              <a:gd name="T56" fmla="*/ 747 w 758"/>
              <a:gd name="T57" fmla="*/ 2 h 270"/>
              <a:gd name="T58" fmla="*/ 754 w 758"/>
              <a:gd name="T59" fmla="*/ 10 h 270"/>
              <a:gd name="T60" fmla="*/ 752 w 758"/>
              <a:gd name="T61" fmla="*/ 32 h 270"/>
              <a:gd name="T62" fmla="*/ 739 w 758"/>
              <a:gd name="T63" fmla="*/ 40 h 270"/>
              <a:gd name="T64" fmla="*/ 726 w 758"/>
              <a:gd name="T65" fmla="*/ 64 h 270"/>
              <a:gd name="T66" fmla="*/ 707 w 758"/>
              <a:gd name="T67" fmla="*/ 64 h 270"/>
              <a:gd name="T68" fmla="*/ 696 w 758"/>
              <a:gd name="T69" fmla="*/ 76 h 270"/>
              <a:gd name="T70" fmla="*/ 686 w 758"/>
              <a:gd name="T71" fmla="*/ 85 h 270"/>
              <a:gd name="T72" fmla="*/ 671 w 758"/>
              <a:gd name="T73" fmla="*/ 81 h 270"/>
              <a:gd name="T74" fmla="*/ 666 w 758"/>
              <a:gd name="T75" fmla="*/ 91 h 270"/>
              <a:gd name="T76" fmla="*/ 656 w 758"/>
              <a:gd name="T77" fmla="*/ 104 h 270"/>
              <a:gd name="T78" fmla="*/ 645 w 758"/>
              <a:gd name="T79" fmla="*/ 110 h 270"/>
              <a:gd name="T80" fmla="*/ 611 w 758"/>
              <a:gd name="T81" fmla="*/ 140 h 270"/>
              <a:gd name="T82" fmla="*/ 592 w 758"/>
              <a:gd name="T83" fmla="*/ 145 h 270"/>
              <a:gd name="T84" fmla="*/ 571 w 758"/>
              <a:gd name="T85" fmla="*/ 159 h 270"/>
              <a:gd name="T86" fmla="*/ 566 w 758"/>
              <a:gd name="T87" fmla="*/ 176 h 270"/>
              <a:gd name="T88" fmla="*/ 545 w 758"/>
              <a:gd name="T89" fmla="*/ 187 h 270"/>
              <a:gd name="T90" fmla="*/ 509 w 758"/>
              <a:gd name="T91" fmla="*/ 219 h 270"/>
              <a:gd name="T92" fmla="*/ 326 w 758"/>
              <a:gd name="T93" fmla="*/ 243 h 270"/>
              <a:gd name="T94" fmla="*/ 194 w 758"/>
              <a:gd name="T95" fmla="*/ 255 h 270"/>
              <a:gd name="T96" fmla="*/ 126 w 758"/>
              <a:gd name="T97" fmla="*/ 26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270">
                <a:moveTo>
                  <a:pt x="0" y="270"/>
                </a:moveTo>
                <a:lnTo>
                  <a:pt x="2" y="268"/>
                </a:lnTo>
                <a:lnTo>
                  <a:pt x="8" y="264"/>
                </a:lnTo>
                <a:lnTo>
                  <a:pt x="13" y="257"/>
                </a:lnTo>
                <a:lnTo>
                  <a:pt x="19" y="255"/>
                </a:lnTo>
                <a:lnTo>
                  <a:pt x="21" y="253"/>
                </a:lnTo>
                <a:lnTo>
                  <a:pt x="17" y="234"/>
                </a:lnTo>
                <a:lnTo>
                  <a:pt x="17" y="225"/>
                </a:lnTo>
                <a:lnTo>
                  <a:pt x="11" y="228"/>
                </a:lnTo>
                <a:lnTo>
                  <a:pt x="13" y="219"/>
                </a:lnTo>
                <a:lnTo>
                  <a:pt x="19" y="217"/>
                </a:lnTo>
                <a:lnTo>
                  <a:pt x="21" y="221"/>
                </a:lnTo>
                <a:lnTo>
                  <a:pt x="23" y="215"/>
                </a:lnTo>
                <a:lnTo>
                  <a:pt x="21" y="208"/>
                </a:lnTo>
                <a:lnTo>
                  <a:pt x="26" y="206"/>
                </a:lnTo>
                <a:lnTo>
                  <a:pt x="28" y="200"/>
                </a:lnTo>
                <a:lnTo>
                  <a:pt x="34" y="196"/>
                </a:lnTo>
                <a:lnTo>
                  <a:pt x="28" y="189"/>
                </a:lnTo>
                <a:lnTo>
                  <a:pt x="28" y="187"/>
                </a:lnTo>
                <a:lnTo>
                  <a:pt x="32" y="185"/>
                </a:lnTo>
                <a:lnTo>
                  <a:pt x="38" y="181"/>
                </a:lnTo>
                <a:lnTo>
                  <a:pt x="47" y="174"/>
                </a:lnTo>
                <a:lnTo>
                  <a:pt x="43" y="168"/>
                </a:lnTo>
                <a:lnTo>
                  <a:pt x="49" y="164"/>
                </a:lnTo>
                <a:lnTo>
                  <a:pt x="49" y="157"/>
                </a:lnTo>
                <a:lnTo>
                  <a:pt x="45" y="153"/>
                </a:lnTo>
                <a:lnTo>
                  <a:pt x="51" y="142"/>
                </a:lnTo>
                <a:lnTo>
                  <a:pt x="55" y="134"/>
                </a:lnTo>
                <a:lnTo>
                  <a:pt x="47" y="127"/>
                </a:lnTo>
                <a:lnTo>
                  <a:pt x="57" y="121"/>
                </a:lnTo>
                <a:lnTo>
                  <a:pt x="53" y="113"/>
                </a:lnTo>
                <a:lnTo>
                  <a:pt x="60" y="110"/>
                </a:lnTo>
                <a:lnTo>
                  <a:pt x="57" y="104"/>
                </a:lnTo>
                <a:lnTo>
                  <a:pt x="55" y="96"/>
                </a:lnTo>
                <a:lnTo>
                  <a:pt x="62" y="96"/>
                </a:lnTo>
                <a:lnTo>
                  <a:pt x="62" y="100"/>
                </a:lnTo>
                <a:lnTo>
                  <a:pt x="68" y="96"/>
                </a:lnTo>
                <a:lnTo>
                  <a:pt x="192" y="85"/>
                </a:lnTo>
                <a:lnTo>
                  <a:pt x="192" y="76"/>
                </a:lnTo>
                <a:lnTo>
                  <a:pt x="187" y="64"/>
                </a:lnTo>
                <a:lnTo>
                  <a:pt x="202" y="64"/>
                </a:lnTo>
                <a:lnTo>
                  <a:pt x="211" y="66"/>
                </a:lnTo>
                <a:lnTo>
                  <a:pt x="247" y="61"/>
                </a:lnTo>
                <a:lnTo>
                  <a:pt x="283" y="59"/>
                </a:lnTo>
                <a:lnTo>
                  <a:pt x="328" y="53"/>
                </a:lnTo>
                <a:lnTo>
                  <a:pt x="373" y="51"/>
                </a:lnTo>
                <a:lnTo>
                  <a:pt x="417" y="47"/>
                </a:lnTo>
                <a:lnTo>
                  <a:pt x="441" y="42"/>
                </a:lnTo>
                <a:lnTo>
                  <a:pt x="481" y="40"/>
                </a:lnTo>
                <a:lnTo>
                  <a:pt x="509" y="36"/>
                </a:lnTo>
                <a:lnTo>
                  <a:pt x="539" y="34"/>
                </a:lnTo>
                <a:lnTo>
                  <a:pt x="571" y="32"/>
                </a:lnTo>
                <a:lnTo>
                  <a:pt x="579" y="27"/>
                </a:lnTo>
                <a:lnTo>
                  <a:pt x="607" y="23"/>
                </a:lnTo>
                <a:lnTo>
                  <a:pt x="622" y="23"/>
                </a:lnTo>
                <a:lnTo>
                  <a:pt x="681" y="12"/>
                </a:lnTo>
                <a:lnTo>
                  <a:pt x="718" y="8"/>
                </a:lnTo>
                <a:lnTo>
                  <a:pt x="747" y="2"/>
                </a:lnTo>
                <a:lnTo>
                  <a:pt x="758" y="0"/>
                </a:lnTo>
                <a:lnTo>
                  <a:pt x="754" y="10"/>
                </a:lnTo>
                <a:lnTo>
                  <a:pt x="754" y="17"/>
                </a:lnTo>
                <a:lnTo>
                  <a:pt x="752" y="32"/>
                </a:lnTo>
                <a:lnTo>
                  <a:pt x="745" y="34"/>
                </a:lnTo>
                <a:lnTo>
                  <a:pt x="739" y="40"/>
                </a:lnTo>
                <a:lnTo>
                  <a:pt x="735" y="55"/>
                </a:lnTo>
                <a:lnTo>
                  <a:pt x="726" y="64"/>
                </a:lnTo>
                <a:lnTo>
                  <a:pt x="720" y="59"/>
                </a:lnTo>
                <a:lnTo>
                  <a:pt x="707" y="64"/>
                </a:lnTo>
                <a:lnTo>
                  <a:pt x="701" y="70"/>
                </a:lnTo>
                <a:lnTo>
                  <a:pt x="696" y="76"/>
                </a:lnTo>
                <a:lnTo>
                  <a:pt x="690" y="85"/>
                </a:lnTo>
                <a:lnTo>
                  <a:pt x="686" y="85"/>
                </a:lnTo>
                <a:lnTo>
                  <a:pt x="679" y="76"/>
                </a:lnTo>
                <a:lnTo>
                  <a:pt x="671" y="81"/>
                </a:lnTo>
                <a:lnTo>
                  <a:pt x="669" y="85"/>
                </a:lnTo>
                <a:lnTo>
                  <a:pt x="666" y="91"/>
                </a:lnTo>
                <a:lnTo>
                  <a:pt x="660" y="89"/>
                </a:lnTo>
                <a:lnTo>
                  <a:pt x="656" y="104"/>
                </a:lnTo>
                <a:lnTo>
                  <a:pt x="652" y="110"/>
                </a:lnTo>
                <a:lnTo>
                  <a:pt x="645" y="110"/>
                </a:lnTo>
                <a:lnTo>
                  <a:pt x="632" y="121"/>
                </a:lnTo>
                <a:lnTo>
                  <a:pt x="611" y="140"/>
                </a:lnTo>
                <a:lnTo>
                  <a:pt x="605" y="145"/>
                </a:lnTo>
                <a:lnTo>
                  <a:pt x="592" y="145"/>
                </a:lnTo>
                <a:lnTo>
                  <a:pt x="577" y="153"/>
                </a:lnTo>
                <a:lnTo>
                  <a:pt x="571" y="159"/>
                </a:lnTo>
                <a:lnTo>
                  <a:pt x="566" y="168"/>
                </a:lnTo>
                <a:lnTo>
                  <a:pt x="566" y="176"/>
                </a:lnTo>
                <a:lnTo>
                  <a:pt x="560" y="185"/>
                </a:lnTo>
                <a:lnTo>
                  <a:pt x="545" y="187"/>
                </a:lnTo>
                <a:lnTo>
                  <a:pt x="545" y="217"/>
                </a:lnTo>
                <a:lnTo>
                  <a:pt x="509" y="219"/>
                </a:lnTo>
                <a:lnTo>
                  <a:pt x="428" y="230"/>
                </a:lnTo>
                <a:lnTo>
                  <a:pt x="326" y="243"/>
                </a:lnTo>
                <a:lnTo>
                  <a:pt x="194" y="253"/>
                </a:lnTo>
                <a:lnTo>
                  <a:pt x="194" y="255"/>
                </a:lnTo>
                <a:lnTo>
                  <a:pt x="194" y="255"/>
                </a:lnTo>
                <a:lnTo>
                  <a:pt x="126" y="262"/>
                </a:lnTo>
                <a:lnTo>
                  <a:pt x="0" y="270"/>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313" name="Freeform 719"/>
          <p:cNvSpPr>
            <a:spLocks/>
          </p:cNvSpPr>
          <p:nvPr/>
        </p:nvSpPr>
        <p:spPr bwMode="auto">
          <a:xfrm>
            <a:off x="5216525" y="3775196"/>
            <a:ext cx="1203325" cy="428625"/>
          </a:xfrm>
          <a:custGeom>
            <a:avLst/>
            <a:gdLst>
              <a:gd name="T0" fmla="*/ 2 w 758"/>
              <a:gd name="T1" fmla="*/ 268 h 270"/>
              <a:gd name="T2" fmla="*/ 13 w 758"/>
              <a:gd name="T3" fmla="*/ 257 h 270"/>
              <a:gd name="T4" fmla="*/ 21 w 758"/>
              <a:gd name="T5" fmla="*/ 253 h 270"/>
              <a:gd name="T6" fmla="*/ 17 w 758"/>
              <a:gd name="T7" fmla="*/ 225 h 270"/>
              <a:gd name="T8" fmla="*/ 13 w 758"/>
              <a:gd name="T9" fmla="*/ 219 h 270"/>
              <a:gd name="T10" fmla="*/ 21 w 758"/>
              <a:gd name="T11" fmla="*/ 221 h 270"/>
              <a:gd name="T12" fmla="*/ 21 w 758"/>
              <a:gd name="T13" fmla="*/ 208 h 270"/>
              <a:gd name="T14" fmla="*/ 28 w 758"/>
              <a:gd name="T15" fmla="*/ 200 h 270"/>
              <a:gd name="T16" fmla="*/ 28 w 758"/>
              <a:gd name="T17" fmla="*/ 189 h 270"/>
              <a:gd name="T18" fmla="*/ 32 w 758"/>
              <a:gd name="T19" fmla="*/ 185 h 270"/>
              <a:gd name="T20" fmla="*/ 47 w 758"/>
              <a:gd name="T21" fmla="*/ 174 h 270"/>
              <a:gd name="T22" fmla="*/ 49 w 758"/>
              <a:gd name="T23" fmla="*/ 164 h 270"/>
              <a:gd name="T24" fmla="*/ 45 w 758"/>
              <a:gd name="T25" fmla="*/ 153 h 270"/>
              <a:gd name="T26" fmla="*/ 55 w 758"/>
              <a:gd name="T27" fmla="*/ 134 h 270"/>
              <a:gd name="T28" fmla="*/ 57 w 758"/>
              <a:gd name="T29" fmla="*/ 121 h 270"/>
              <a:gd name="T30" fmla="*/ 60 w 758"/>
              <a:gd name="T31" fmla="*/ 110 h 270"/>
              <a:gd name="T32" fmla="*/ 55 w 758"/>
              <a:gd name="T33" fmla="*/ 96 h 270"/>
              <a:gd name="T34" fmla="*/ 62 w 758"/>
              <a:gd name="T35" fmla="*/ 100 h 270"/>
              <a:gd name="T36" fmla="*/ 192 w 758"/>
              <a:gd name="T37" fmla="*/ 85 h 270"/>
              <a:gd name="T38" fmla="*/ 187 w 758"/>
              <a:gd name="T39" fmla="*/ 64 h 270"/>
              <a:gd name="T40" fmla="*/ 211 w 758"/>
              <a:gd name="T41" fmla="*/ 66 h 270"/>
              <a:gd name="T42" fmla="*/ 283 w 758"/>
              <a:gd name="T43" fmla="*/ 59 h 270"/>
              <a:gd name="T44" fmla="*/ 373 w 758"/>
              <a:gd name="T45" fmla="*/ 51 h 270"/>
              <a:gd name="T46" fmla="*/ 441 w 758"/>
              <a:gd name="T47" fmla="*/ 42 h 270"/>
              <a:gd name="T48" fmla="*/ 509 w 758"/>
              <a:gd name="T49" fmla="*/ 36 h 270"/>
              <a:gd name="T50" fmla="*/ 571 w 758"/>
              <a:gd name="T51" fmla="*/ 32 h 270"/>
              <a:gd name="T52" fmla="*/ 607 w 758"/>
              <a:gd name="T53" fmla="*/ 23 h 270"/>
              <a:gd name="T54" fmla="*/ 681 w 758"/>
              <a:gd name="T55" fmla="*/ 12 h 270"/>
              <a:gd name="T56" fmla="*/ 747 w 758"/>
              <a:gd name="T57" fmla="*/ 2 h 270"/>
              <a:gd name="T58" fmla="*/ 754 w 758"/>
              <a:gd name="T59" fmla="*/ 10 h 270"/>
              <a:gd name="T60" fmla="*/ 752 w 758"/>
              <a:gd name="T61" fmla="*/ 32 h 270"/>
              <a:gd name="T62" fmla="*/ 739 w 758"/>
              <a:gd name="T63" fmla="*/ 40 h 270"/>
              <a:gd name="T64" fmla="*/ 726 w 758"/>
              <a:gd name="T65" fmla="*/ 64 h 270"/>
              <a:gd name="T66" fmla="*/ 707 w 758"/>
              <a:gd name="T67" fmla="*/ 64 h 270"/>
              <a:gd name="T68" fmla="*/ 696 w 758"/>
              <a:gd name="T69" fmla="*/ 76 h 270"/>
              <a:gd name="T70" fmla="*/ 686 w 758"/>
              <a:gd name="T71" fmla="*/ 85 h 270"/>
              <a:gd name="T72" fmla="*/ 671 w 758"/>
              <a:gd name="T73" fmla="*/ 81 h 270"/>
              <a:gd name="T74" fmla="*/ 666 w 758"/>
              <a:gd name="T75" fmla="*/ 91 h 270"/>
              <a:gd name="T76" fmla="*/ 656 w 758"/>
              <a:gd name="T77" fmla="*/ 104 h 270"/>
              <a:gd name="T78" fmla="*/ 645 w 758"/>
              <a:gd name="T79" fmla="*/ 110 h 270"/>
              <a:gd name="T80" fmla="*/ 611 w 758"/>
              <a:gd name="T81" fmla="*/ 140 h 270"/>
              <a:gd name="T82" fmla="*/ 592 w 758"/>
              <a:gd name="T83" fmla="*/ 145 h 270"/>
              <a:gd name="T84" fmla="*/ 571 w 758"/>
              <a:gd name="T85" fmla="*/ 159 h 270"/>
              <a:gd name="T86" fmla="*/ 566 w 758"/>
              <a:gd name="T87" fmla="*/ 176 h 270"/>
              <a:gd name="T88" fmla="*/ 545 w 758"/>
              <a:gd name="T89" fmla="*/ 187 h 270"/>
              <a:gd name="T90" fmla="*/ 509 w 758"/>
              <a:gd name="T91" fmla="*/ 219 h 270"/>
              <a:gd name="T92" fmla="*/ 326 w 758"/>
              <a:gd name="T93" fmla="*/ 243 h 270"/>
              <a:gd name="T94" fmla="*/ 194 w 758"/>
              <a:gd name="T95" fmla="*/ 255 h 270"/>
              <a:gd name="T96" fmla="*/ 126 w 758"/>
              <a:gd name="T97" fmla="*/ 262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758" h="270">
                <a:moveTo>
                  <a:pt x="0" y="270"/>
                </a:moveTo>
                <a:lnTo>
                  <a:pt x="2" y="268"/>
                </a:lnTo>
                <a:lnTo>
                  <a:pt x="8" y="264"/>
                </a:lnTo>
                <a:lnTo>
                  <a:pt x="13" y="257"/>
                </a:lnTo>
                <a:lnTo>
                  <a:pt x="19" y="255"/>
                </a:lnTo>
                <a:lnTo>
                  <a:pt x="21" y="253"/>
                </a:lnTo>
                <a:lnTo>
                  <a:pt x="17" y="234"/>
                </a:lnTo>
                <a:lnTo>
                  <a:pt x="17" y="225"/>
                </a:lnTo>
                <a:lnTo>
                  <a:pt x="11" y="228"/>
                </a:lnTo>
                <a:lnTo>
                  <a:pt x="13" y="219"/>
                </a:lnTo>
                <a:lnTo>
                  <a:pt x="19" y="217"/>
                </a:lnTo>
                <a:lnTo>
                  <a:pt x="21" y="221"/>
                </a:lnTo>
                <a:lnTo>
                  <a:pt x="23" y="215"/>
                </a:lnTo>
                <a:lnTo>
                  <a:pt x="21" y="208"/>
                </a:lnTo>
                <a:lnTo>
                  <a:pt x="26" y="206"/>
                </a:lnTo>
                <a:lnTo>
                  <a:pt x="28" y="200"/>
                </a:lnTo>
                <a:lnTo>
                  <a:pt x="34" y="196"/>
                </a:lnTo>
                <a:lnTo>
                  <a:pt x="28" y="189"/>
                </a:lnTo>
                <a:lnTo>
                  <a:pt x="28" y="187"/>
                </a:lnTo>
                <a:lnTo>
                  <a:pt x="32" y="185"/>
                </a:lnTo>
                <a:lnTo>
                  <a:pt x="38" y="181"/>
                </a:lnTo>
                <a:lnTo>
                  <a:pt x="47" y="174"/>
                </a:lnTo>
                <a:lnTo>
                  <a:pt x="43" y="168"/>
                </a:lnTo>
                <a:lnTo>
                  <a:pt x="49" y="164"/>
                </a:lnTo>
                <a:lnTo>
                  <a:pt x="49" y="157"/>
                </a:lnTo>
                <a:lnTo>
                  <a:pt x="45" y="153"/>
                </a:lnTo>
                <a:lnTo>
                  <a:pt x="51" y="142"/>
                </a:lnTo>
                <a:lnTo>
                  <a:pt x="55" y="134"/>
                </a:lnTo>
                <a:lnTo>
                  <a:pt x="47" y="127"/>
                </a:lnTo>
                <a:lnTo>
                  <a:pt x="57" y="121"/>
                </a:lnTo>
                <a:lnTo>
                  <a:pt x="53" y="113"/>
                </a:lnTo>
                <a:lnTo>
                  <a:pt x="60" y="110"/>
                </a:lnTo>
                <a:lnTo>
                  <a:pt x="57" y="104"/>
                </a:lnTo>
                <a:lnTo>
                  <a:pt x="55" y="96"/>
                </a:lnTo>
                <a:lnTo>
                  <a:pt x="62" y="96"/>
                </a:lnTo>
                <a:lnTo>
                  <a:pt x="62" y="100"/>
                </a:lnTo>
                <a:lnTo>
                  <a:pt x="68" y="96"/>
                </a:lnTo>
                <a:lnTo>
                  <a:pt x="192" y="85"/>
                </a:lnTo>
                <a:lnTo>
                  <a:pt x="192" y="76"/>
                </a:lnTo>
                <a:lnTo>
                  <a:pt x="187" y="64"/>
                </a:lnTo>
                <a:lnTo>
                  <a:pt x="202" y="64"/>
                </a:lnTo>
                <a:lnTo>
                  <a:pt x="211" y="66"/>
                </a:lnTo>
                <a:lnTo>
                  <a:pt x="247" y="61"/>
                </a:lnTo>
                <a:lnTo>
                  <a:pt x="283" y="59"/>
                </a:lnTo>
                <a:lnTo>
                  <a:pt x="328" y="53"/>
                </a:lnTo>
                <a:lnTo>
                  <a:pt x="373" y="51"/>
                </a:lnTo>
                <a:lnTo>
                  <a:pt x="417" y="47"/>
                </a:lnTo>
                <a:lnTo>
                  <a:pt x="441" y="42"/>
                </a:lnTo>
                <a:lnTo>
                  <a:pt x="481" y="40"/>
                </a:lnTo>
                <a:lnTo>
                  <a:pt x="509" y="36"/>
                </a:lnTo>
                <a:lnTo>
                  <a:pt x="539" y="34"/>
                </a:lnTo>
                <a:lnTo>
                  <a:pt x="571" y="32"/>
                </a:lnTo>
                <a:lnTo>
                  <a:pt x="579" y="27"/>
                </a:lnTo>
                <a:lnTo>
                  <a:pt x="607" y="23"/>
                </a:lnTo>
                <a:lnTo>
                  <a:pt x="622" y="23"/>
                </a:lnTo>
                <a:lnTo>
                  <a:pt x="681" y="12"/>
                </a:lnTo>
                <a:lnTo>
                  <a:pt x="718" y="8"/>
                </a:lnTo>
                <a:lnTo>
                  <a:pt x="747" y="2"/>
                </a:lnTo>
                <a:lnTo>
                  <a:pt x="758" y="0"/>
                </a:lnTo>
                <a:lnTo>
                  <a:pt x="754" y="10"/>
                </a:lnTo>
                <a:lnTo>
                  <a:pt x="754" y="17"/>
                </a:lnTo>
                <a:lnTo>
                  <a:pt x="752" y="32"/>
                </a:lnTo>
                <a:lnTo>
                  <a:pt x="745" y="34"/>
                </a:lnTo>
                <a:lnTo>
                  <a:pt x="739" y="40"/>
                </a:lnTo>
                <a:lnTo>
                  <a:pt x="735" y="55"/>
                </a:lnTo>
                <a:lnTo>
                  <a:pt x="726" y="64"/>
                </a:lnTo>
                <a:lnTo>
                  <a:pt x="720" y="59"/>
                </a:lnTo>
                <a:lnTo>
                  <a:pt x="707" y="64"/>
                </a:lnTo>
                <a:lnTo>
                  <a:pt x="701" y="70"/>
                </a:lnTo>
                <a:lnTo>
                  <a:pt x="696" y="76"/>
                </a:lnTo>
                <a:lnTo>
                  <a:pt x="690" y="85"/>
                </a:lnTo>
                <a:lnTo>
                  <a:pt x="686" y="85"/>
                </a:lnTo>
                <a:lnTo>
                  <a:pt x="679" y="76"/>
                </a:lnTo>
                <a:lnTo>
                  <a:pt x="671" y="81"/>
                </a:lnTo>
                <a:lnTo>
                  <a:pt x="669" y="85"/>
                </a:lnTo>
                <a:lnTo>
                  <a:pt x="666" y="91"/>
                </a:lnTo>
                <a:lnTo>
                  <a:pt x="660" y="89"/>
                </a:lnTo>
                <a:lnTo>
                  <a:pt x="656" y="104"/>
                </a:lnTo>
                <a:lnTo>
                  <a:pt x="652" y="110"/>
                </a:lnTo>
                <a:lnTo>
                  <a:pt x="645" y="110"/>
                </a:lnTo>
                <a:lnTo>
                  <a:pt x="632" y="121"/>
                </a:lnTo>
                <a:lnTo>
                  <a:pt x="611" y="140"/>
                </a:lnTo>
                <a:lnTo>
                  <a:pt x="605" y="145"/>
                </a:lnTo>
                <a:lnTo>
                  <a:pt x="592" y="145"/>
                </a:lnTo>
                <a:lnTo>
                  <a:pt x="577" y="153"/>
                </a:lnTo>
                <a:lnTo>
                  <a:pt x="571" y="159"/>
                </a:lnTo>
                <a:lnTo>
                  <a:pt x="566" y="168"/>
                </a:lnTo>
                <a:lnTo>
                  <a:pt x="566" y="176"/>
                </a:lnTo>
                <a:lnTo>
                  <a:pt x="560" y="185"/>
                </a:lnTo>
                <a:lnTo>
                  <a:pt x="545" y="187"/>
                </a:lnTo>
                <a:lnTo>
                  <a:pt x="545" y="217"/>
                </a:lnTo>
                <a:lnTo>
                  <a:pt x="509" y="219"/>
                </a:lnTo>
                <a:lnTo>
                  <a:pt x="428" y="230"/>
                </a:lnTo>
                <a:lnTo>
                  <a:pt x="326" y="243"/>
                </a:lnTo>
                <a:lnTo>
                  <a:pt x="194" y="253"/>
                </a:lnTo>
                <a:lnTo>
                  <a:pt x="194" y="255"/>
                </a:lnTo>
                <a:lnTo>
                  <a:pt x="194" y="255"/>
                </a:lnTo>
                <a:lnTo>
                  <a:pt x="126" y="262"/>
                </a:lnTo>
                <a:lnTo>
                  <a:pt x="0" y="27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4" name="Freeform 720"/>
          <p:cNvSpPr>
            <a:spLocks/>
          </p:cNvSpPr>
          <p:nvPr/>
        </p:nvSpPr>
        <p:spPr bwMode="auto">
          <a:xfrm>
            <a:off x="5303837" y="3916484"/>
            <a:ext cx="11113" cy="11113"/>
          </a:xfrm>
          <a:custGeom>
            <a:avLst/>
            <a:gdLst>
              <a:gd name="T0" fmla="*/ 0 w 7"/>
              <a:gd name="T1" fmla="*/ 7 h 7"/>
              <a:gd name="T2" fmla="*/ 5 w 7"/>
              <a:gd name="T3" fmla="*/ 0 h 7"/>
              <a:gd name="T4" fmla="*/ 7 w 7"/>
              <a:gd name="T5" fmla="*/ 7 h 7"/>
              <a:gd name="T6" fmla="*/ 0 w 7"/>
              <a:gd name="T7" fmla="*/ 7 h 7"/>
            </a:gdLst>
            <a:ahLst/>
            <a:cxnLst>
              <a:cxn ang="0">
                <a:pos x="T0" y="T1"/>
              </a:cxn>
              <a:cxn ang="0">
                <a:pos x="T2" y="T3"/>
              </a:cxn>
              <a:cxn ang="0">
                <a:pos x="T4" y="T5"/>
              </a:cxn>
              <a:cxn ang="0">
                <a:pos x="T6" y="T7"/>
              </a:cxn>
            </a:cxnLst>
            <a:rect l="0" t="0" r="r" b="b"/>
            <a:pathLst>
              <a:path w="7" h="7">
                <a:moveTo>
                  <a:pt x="0" y="7"/>
                </a:moveTo>
                <a:lnTo>
                  <a:pt x="5" y="0"/>
                </a:lnTo>
                <a:lnTo>
                  <a:pt x="7" y="7"/>
                </a:lnTo>
                <a:lnTo>
                  <a:pt x="0" y="7"/>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5" name="Freeform 721"/>
          <p:cNvSpPr>
            <a:spLocks/>
          </p:cNvSpPr>
          <p:nvPr/>
        </p:nvSpPr>
        <p:spPr bwMode="auto">
          <a:xfrm>
            <a:off x="5303837" y="3916484"/>
            <a:ext cx="11113" cy="11113"/>
          </a:xfrm>
          <a:custGeom>
            <a:avLst/>
            <a:gdLst>
              <a:gd name="T0" fmla="*/ 0 w 7"/>
              <a:gd name="T1" fmla="*/ 7 h 7"/>
              <a:gd name="T2" fmla="*/ 5 w 7"/>
              <a:gd name="T3" fmla="*/ 0 h 7"/>
              <a:gd name="T4" fmla="*/ 7 w 7"/>
              <a:gd name="T5" fmla="*/ 7 h 7"/>
              <a:gd name="T6" fmla="*/ 0 w 7"/>
              <a:gd name="T7" fmla="*/ 7 h 7"/>
            </a:gdLst>
            <a:ahLst/>
            <a:cxnLst>
              <a:cxn ang="0">
                <a:pos x="T0" y="T1"/>
              </a:cxn>
              <a:cxn ang="0">
                <a:pos x="T2" y="T3"/>
              </a:cxn>
              <a:cxn ang="0">
                <a:pos x="T4" y="T5"/>
              </a:cxn>
              <a:cxn ang="0">
                <a:pos x="T6" y="T7"/>
              </a:cxn>
            </a:cxnLst>
            <a:rect l="0" t="0" r="r" b="b"/>
            <a:pathLst>
              <a:path w="7" h="7">
                <a:moveTo>
                  <a:pt x="0" y="7"/>
                </a:moveTo>
                <a:lnTo>
                  <a:pt x="5" y="0"/>
                </a:lnTo>
                <a:lnTo>
                  <a:pt x="7" y="7"/>
                </a:lnTo>
                <a:lnTo>
                  <a:pt x="0" y="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6" name="Freeform 722"/>
          <p:cNvSpPr>
            <a:spLocks/>
          </p:cNvSpPr>
          <p:nvPr/>
        </p:nvSpPr>
        <p:spPr bwMode="auto">
          <a:xfrm>
            <a:off x="5324475" y="3386259"/>
            <a:ext cx="1023938" cy="541338"/>
          </a:xfrm>
          <a:custGeom>
            <a:avLst/>
            <a:gdLst>
              <a:gd name="T0" fmla="*/ 11 w 645"/>
              <a:gd name="T1" fmla="*/ 328 h 341"/>
              <a:gd name="T2" fmla="*/ 17 w 645"/>
              <a:gd name="T3" fmla="*/ 313 h 341"/>
              <a:gd name="T4" fmla="*/ 24 w 645"/>
              <a:gd name="T5" fmla="*/ 289 h 341"/>
              <a:gd name="T6" fmla="*/ 17 w 645"/>
              <a:gd name="T7" fmla="*/ 272 h 341"/>
              <a:gd name="T8" fmla="*/ 43 w 645"/>
              <a:gd name="T9" fmla="*/ 255 h 341"/>
              <a:gd name="T10" fmla="*/ 70 w 645"/>
              <a:gd name="T11" fmla="*/ 268 h 341"/>
              <a:gd name="T12" fmla="*/ 81 w 645"/>
              <a:gd name="T13" fmla="*/ 253 h 341"/>
              <a:gd name="T14" fmla="*/ 77 w 645"/>
              <a:gd name="T15" fmla="*/ 232 h 341"/>
              <a:gd name="T16" fmla="*/ 104 w 645"/>
              <a:gd name="T17" fmla="*/ 221 h 341"/>
              <a:gd name="T18" fmla="*/ 102 w 645"/>
              <a:gd name="T19" fmla="*/ 198 h 341"/>
              <a:gd name="T20" fmla="*/ 109 w 645"/>
              <a:gd name="T21" fmla="*/ 183 h 341"/>
              <a:gd name="T22" fmla="*/ 119 w 645"/>
              <a:gd name="T23" fmla="*/ 170 h 341"/>
              <a:gd name="T24" fmla="*/ 141 w 645"/>
              <a:gd name="T25" fmla="*/ 174 h 341"/>
              <a:gd name="T26" fmla="*/ 156 w 645"/>
              <a:gd name="T27" fmla="*/ 164 h 341"/>
              <a:gd name="T28" fmla="*/ 192 w 645"/>
              <a:gd name="T29" fmla="*/ 174 h 341"/>
              <a:gd name="T30" fmla="*/ 200 w 645"/>
              <a:gd name="T31" fmla="*/ 160 h 341"/>
              <a:gd name="T32" fmla="*/ 219 w 645"/>
              <a:gd name="T33" fmla="*/ 157 h 341"/>
              <a:gd name="T34" fmla="*/ 236 w 645"/>
              <a:gd name="T35" fmla="*/ 157 h 341"/>
              <a:gd name="T36" fmla="*/ 247 w 645"/>
              <a:gd name="T37" fmla="*/ 134 h 341"/>
              <a:gd name="T38" fmla="*/ 258 w 645"/>
              <a:gd name="T39" fmla="*/ 128 h 341"/>
              <a:gd name="T40" fmla="*/ 285 w 645"/>
              <a:gd name="T41" fmla="*/ 142 h 341"/>
              <a:gd name="T42" fmla="*/ 292 w 645"/>
              <a:gd name="T43" fmla="*/ 123 h 341"/>
              <a:gd name="T44" fmla="*/ 313 w 645"/>
              <a:gd name="T45" fmla="*/ 102 h 341"/>
              <a:gd name="T46" fmla="*/ 328 w 645"/>
              <a:gd name="T47" fmla="*/ 76 h 341"/>
              <a:gd name="T48" fmla="*/ 326 w 645"/>
              <a:gd name="T49" fmla="*/ 53 h 341"/>
              <a:gd name="T50" fmla="*/ 347 w 645"/>
              <a:gd name="T51" fmla="*/ 55 h 341"/>
              <a:gd name="T52" fmla="*/ 379 w 645"/>
              <a:gd name="T53" fmla="*/ 34 h 341"/>
              <a:gd name="T54" fmla="*/ 371 w 645"/>
              <a:gd name="T55" fmla="*/ 10 h 341"/>
              <a:gd name="T56" fmla="*/ 390 w 645"/>
              <a:gd name="T57" fmla="*/ 6 h 341"/>
              <a:gd name="T58" fmla="*/ 424 w 645"/>
              <a:gd name="T59" fmla="*/ 17 h 341"/>
              <a:gd name="T60" fmla="*/ 456 w 645"/>
              <a:gd name="T61" fmla="*/ 32 h 341"/>
              <a:gd name="T62" fmla="*/ 483 w 645"/>
              <a:gd name="T63" fmla="*/ 42 h 341"/>
              <a:gd name="T64" fmla="*/ 503 w 645"/>
              <a:gd name="T65" fmla="*/ 38 h 341"/>
              <a:gd name="T66" fmla="*/ 524 w 645"/>
              <a:gd name="T67" fmla="*/ 40 h 341"/>
              <a:gd name="T68" fmla="*/ 545 w 645"/>
              <a:gd name="T69" fmla="*/ 21 h 341"/>
              <a:gd name="T70" fmla="*/ 564 w 645"/>
              <a:gd name="T71" fmla="*/ 42 h 341"/>
              <a:gd name="T72" fmla="*/ 577 w 645"/>
              <a:gd name="T73" fmla="*/ 59 h 341"/>
              <a:gd name="T74" fmla="*/ 577 w 645"/>
              <a:gd name="T75" fmla="*/ 85 h 341"/>
              <a:gd name="T76" fmla="*/ 601 w 645"/>
              <a:gd name="T77" fmla="*/ 115 h 341"/>
              <a:gd name="T78" fmla="*/ 645 w 645"/>
              <a:gd name="T79" fmla="*/ 145 h 341"/>
              <a:gd name="T80" fmla="*/ 588 w 645"/>
              <a:gd name="T81" fmla="*/ 204 h 341"/>
              <a:gd name="T82" fmla="*/ 579 w 645"/>
              <a:gd name="T83" fmla="*/ 226 h 341"/>
              <a:gd name="T84" fmla="*/ 558 w 645"/>
              <a:gd name="T85" fmla="*/ 240 h 341"/>
              <a:gd name="T86" fmla="*/ 532 w 645"/>
              <a:gd name="T87" fmla="*/ 262 h 341"/>
              <a:gd name="T88" fmla="*/ 503 w 645"/>
              <a:gd name="T89" fmla="*/ 277 h 341"/>
              <a:gd name="T90" fmla="*/ 413 w 645"/>
              <a:gd name="T91" fmla="*/ 285 h 341"/>
              <a:gd name="T92" fmla="*/ 305 w 645"/>
              <a:gd name="T93" fmla="*/ 296 h 341"/>
              <a:gd name="T94" fmla="*/ 179 w 645"/>
              <a:gd name="T95" fmla="*/ 306 h 341"/>
              <a:gd name="T96" fmla="*/ 119 w 645"/>
              <a:gd name="T97" fmla="*/ 309 h 341"/>
              <a:gd name="T98" fmla="*/ 0 w 645"/>
              <a:gd name="T9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5" h="341">
                <a:moveTo>
                  <a:pt x="0" y="341"/>
                </a:moveTo>
                <a:lnTo>
                  <a:pt x="2" y="332"/>
                </a:lnTo>
                <a:lnTo>
                  <a:pt x="11" y="328"/>
                </a:lnTo>
                <a:lnTo>
                  <a:pt x="17" y="330"/>
                </a:lnTo>
                <a:lnTo>
                  <a:pt x="21" y="319"/>
                </a:lnTo>
                <a:lnTo>
                  <a:pt x="17" y="313"/>
                </a:lnTo>
                <a:lnTo>
                  <a:pt x="24" y="309"/>
                </a:lnTo>
                <a:lnTo>
                  <a:pt x="21" y="298"/>
                </a:lnTo>
                <a:lnTo>
                  <a:pt x="24" y="289"/>
                </a:lnTo>
                <a:lnTo>
                  <a:pt x="21" y="283"/>
                </a:lnTo>
                <a:lnTo>
                  <a:pt x="17" y="279"/>
                </a:lnTo>
                <a:lnTo>
                  <a:pt x="17" y="272"/>
                </a:lnTo>
                <a:lnTo>
                  <a:pt x="28" y="257"/>
                </a:lnTo>
                <a:lnTo>
                  <a:pt x="36" y="255"/>
                </a:lnTo>
                <a:lnTo>
                  <a:pt x="43" y="255"/>
                </a:lnTo>
                <a:lnTo>
                  <a:pt x="49" y="260"/>
                </a:lnTo>
                <a:lnTo>
                  <a:pt x="64" y="264"/>
                </a:lnTo>
                <a:lnTo>
                  <a:pt x="70" y="268"/>
                </a:lnTo>
                <a:lnTo>
                  <a:pt x="77" y="270"/>
                </a:lnTo>
                <a:lnTo>
                  <a:pt x="83" y="260"/>
                </a:lnTo>
                <a:lnTo>
                  <a:pt x="81" y="253"/>
                </a:lnTo>
                <a:lnTo>
                  <a:pt x="75" y="247"/>
                </a:lnTo>
                <a:lnTo>
                  <a:pt x="75" y="238"/>
                </a:lnTo>
                <a:lnTo>
                  <a:pt x="77" y="232"/>
                </a:lnTo>
                <a:lnTo>
                  <a:pt x="83" y="230"/>
                </a:lnTo>
                <a:lnTo>
                  <a:pt x="90" y="223"/>
                </a:lnTo>
                <a:lnTo>
                  <a:pt x="104" y="221"/>
                </a:lnTo>
                <a:lnTo>
                  <a:pt x="109" y="215"/>
                </a:lnTo>
                <a:lnTo>
                  <a:pt x="104" y="206"/>
                </a:lnTo>
                <a:lnTo>
                  <a:pt x="102" y="198"/>
                </a:lnTo>
                <a:lnTo>
                  <a:pt x="107" y="191"/>
                </a:lnTo>
                <a:lnTo>
                  <a:pt x="109" y="185"/>
                </a:lnTo>
                <a:lnTo>
                  <a:pt x="109" y="183"/>
                </a:lnTo>
                <a:lnTo>
                  <a:pt x="117" y="183"/>
                </a:lnTo>
                <a:lnTo>
                  <a:pt x="121" y="177"/>
                </a:lnTo>
                <a:lnTo>
                  <a:pt x="119" y="170"/>
                </a:lnTo>
                <a:lnTo>
                  <a:pt x="134" y="172"/>
                </a:lnTo>
                <a:lnTo>
                  <a:pt x="141" y="168"/>
                </a:lnTo>
                <a:lnTo>
                  <a:pt x="141" y="174"/>
                </a:lnTo>
                <a:lnTo>
                  <a:pt x="149" y="172"/>
                </a:lnTo>
                <a:lnTo>
                  <a:pt x="147" y="166"/>
                </a:lnTo>
                <a:lnTo>
                  <a:pt x="156" y="164"/>
                </a:lnTo>
                <a:lnTo>
                  <a:pt x="164" y="162"/>
                </a:lnTo>
                <a:lnTo>
                  <a:pt x="185" y="170"/>
                </a:lnTo>
                <a:lnTo>
                  <a:pt x="192" y="174"/>
                </a:lnTo>
                <a:lnTo>
                  <a:pt x="196" y="168"/>
                </a:lnTo>
                <a:lnTo>
                  <a:pt x="196" y="166"/>
                </a:lnTo>
                <a:lnTo>
                  <a:pt x="200" y="160"/>
                </a:lnTo>
                <a:lnTo>
                  <a:pt x="209" y="155"/>
                </a:lnTo>
                <a:lnTo>
                  <a:pt x="215" y="151"/>
                </a:lnTo>
                <a:lnTo>
                  <a:pt x="219" y="157"/>
                </a:lnTo>
                <a:lnTo>
                  <a:pt x="226" y="160"/>
                </a:lnTo>
                <a:lnTo>
                  <a:pt x="234" y="164"/>
                </a:lnTo>
                <a:lnTo>
                  <a:pt x="236" y="157"/>
                </a:lnTo>
                <a:lnTo>
                  <a:pt x="241" y="149"/>
                </a:lnTo>
                <a:lnTo>
                  <a:pt x="241" y="142"/>
                </a:lnTo>
                <a:lnTo>
                  <a:pt x="247" y="134"/>
                </a:lnTo>
                <a:lnTo>
                  <a:pt x="253" y="130"/>
                </a:lnTo>
                <a:lnTo>
                  <a:pt x="251" y="123"/>
                </a:lnTo>
                <a:lnTo>
                  <a:pt x="258" y="128"/>
                </a:lnTo>
                <a:lnTo>
                  <a:pt x="264" y="138"/>
                </a:lnTo>
                <a:lnTo>
                  <a:pt x="271" y="140"/>
                </a:lnTo>
                <a:lnTo>
                  <a:pt x="285" y="142"/>
                </a:lnTo>
                <a:lnTo>
                  <a:pt x="292" y="138"/>
                </a:lnTo>
                <a:lnTo>
                  <a:pt x="294" y="130"/>
                </a:lnTo>
                <a:lnTo>
                  <a:pt x="292" y="123"/>
                </a:lnTo>
                <a:lnTo>
                  <a:pt x="298" y="108"/>
                </a:lnTo>
                <a:lnTo>
                  <a:pt x="305" y="108"/>
                </a:lnTo>
                <a:lnTo>
                  <a:pt x="313" y="102"/>
                </a:lnTo>
                <a:lnTo>
                  <a:pt x="315" y="87"/>
                </a:lnTo>
                <a:lnTo>
                  <a:pt x="322" y="83"/>
                </a:lnTo>
                <a:lnTo>
                  <a:pt x="328" y="76"/>
                </a:lnTo>
                <a:lnTo>
                  <a:pt x="330" y="70"/>
                </a:lnTo>
                <a:lnTo>
                  <a:pt x="326" y="62"/>
                </a:lnTo>
                <a:lnTo>
                  <a:pt x="326" y="53"/>
                </a:lnTo>
                <a:lnTo>
                  <a:pt x="332" y="53"/>
                </a:lnTo>
                <a:lnTo>
                  <a:pt x="341" y="49"/>
                </a:lnTo>
                <a:lnTo>
                  <a:pt x="347" y="55"/>
                </a:lnTo>
                <a:lnTo>
                  <a:pt x="362" y="44"/>
                </a:lnTo>
                <a:lnTo>
                  <a:pt x="377" y="40"/>
                </a:lnTo>
                <a:lnTo>
                  <a:pt x="379" y="34"/>
                </a:lnTo>
                <a:lnTo>
                  <a:pt x="373" y="25"/>
                </a:lnTo>
                <a:lnTo>
                  <a:pt x="375" y="19"/>
                </a:lnTo>
                <a:lnTo>
                  <a:pt x="371" y="10"/>
                </a:lnTo>
                <a:lnTo>
                  <a:pt x="373" y="6"/>
                </a:lnTo>
                <a:lnTo>
                  <a:pt x="383" y="0"/>
                </a:lnTo>
                <a:lnTo>
                  <a:pt x="390" y="6"/>
                </a:lnTo>
                <a:lnTo>
                  <a:pt x="403" y="2"/>
                </a:lnTo>
                <a:lnTo>
                  <a:pt x="420" y="8"/>
                </a:lnTo>
                <a:lnTo>
                  <a:pt x="424" y="17"/>
                </a:lnTo>
                <a:lnTo>
                  <a:pt x="434" y="32"/>
                </a:lnTo>
                <a:lnTo>
                  <a:pt x="441" y="34"/>
                </a:lnTo>
                <a:lnTo>
                  <a:pt x="456" y="32"/>
                </a:lnTo>
                <a:lnTo>
                  <a:pt x="460" y="32"/>
                </a:lnTo>
                <a:lnTo>
                  <a:pt x="475" y="44"/>
                </a:lnTo>
                <a:lnTo>
                  <a:pt x="483" y="42"/>
                </a:lnTo>
                <a:lnTo>
                  <a:pt x="488" y="36"/>
                </a:lnTo>
                <a:lnTo>
                  <a:pt x="494" y="36"/>
                </a:lnTo>
                <a:lnTo>
                  <a:pt x="503" y="38"/>
                </a:lnTo>
                <a:lnTo>
                  <a:pt x="511" y="42"/>
                </a:lnTo>
                <a:lnTo>
                  <a:pt x="518" y="40"/>
                </a:lnTo>
                <a:lnTo>
                  <a:pt x="524" y="40"/>
                </a:lnTo>
                <a:lnTo>
                  <a:pt x="528" y="34"/>
                </a:lnTo>
                <a:lnTo>
                  <a:pt x="537" y="25"/>
                </a:lnTo>
                <a:lnTo>
                  <a:pt x="545" y="21"/>
                </a:lnTo>
                <a:lnTo>
                  <a:pt x="549" y="34"/>
                </a:lnTo>
                <a:lnTo>
                  <a:pt x="556" y="40"/>
                </a:lnTo>
                <a:lnTo>
                  <a:pt x="564" y="42"/>
                </a:lnTo>
                <a:lnTo>
                  <a:pt x="571" y="49"/>
                </a:lnTo>
                <a:lnTo>
                  <a:pt x="577" y="55"/>
                </a:lnTo>
                <a:lnTo>
                  <a:pt x="577" y="59"/>
                </a:lnTo>
                <a:lnTo>
                  <a:pt x="579" y="64"/>
                </a:lnTo>
                <a:lnTo>
                  <a:pt x="581" y="72"/>
                </a:lnTo>
                <a:lnTo>
                  <a:pt x="577" y="85"/>
                </a:lnTo>
                <a:lnTo>
                  <a:pt x="592" y="102"/>
                </a:lnTo>
                <a:lnTo>
                  <a:pt x="594" y="108"/>
                </a:lnTo>
                <a:lnTo>
                  <a:pt x="601" y="115"/>
                </a:lnTo>
                <a:lnTo>
                  <a:pt x="615" y="134"/>
                </a:lnTo>
                <a:lnTo>
                  <a:pt x="630" y="145"/>
                </a:lnTo>
                <a:lnTo>
                  <a:pt x="645" y="145"/>
                </a:lnTo>
                <a:lnTo>
                  <a:pt x="618" y="179"/>
                </a:lnTo>
                <a:lnTo>
                  <a:pt x="592" y="196"/>
                </a:lnTo>
                <a:lnTo>
                  <a:pt x="588" y="204"/>
                </a:lnTo>
                <a:lnTo>
                  <a:pt x="588" y="213"/>
                </a:lnTo>
                <a:lnTo>
                  <a:pt x="579" y="219"/>
                </a:lnTo>
                <a:lnTo>
                  <a:pt x="579" y="226"/>
                </a:lnTo>
                <a:lnTo>
                  <a:pt x="573" y="232"/>
                </a:lnTo>
                <a:lnTo>
                  <a:pt x="567" y="236"/>
                </a:lnTo>
                <a:lnTo>
                  <a:pt x="558" y="240"/>
                </a:lnTo>
                <a:lnTo>
                  <a:pt x="558" y="249"/>
                </a:lnTo>
                <a:lnTo>
                  <a:pt x="541" y="255"/>
                </a:lnTo>
                <a:lnTo>
                  <a:pt x="532" y="262"/>
                </a:lnTo>
                <a:lnTo>
                  <a:pt x="526" y="262"/>
                </a:lnTo>
                <a:lnTo>
                  <a:pt x="511" y="272"/>
                </a:lnTo>
                <a:lnTo>
                  <a:pt x="503" y="277"/>
                </a:lnTo>
                <a:lnTo>
                  <a:pt x="471" y="279"/>
                </a:lnTo>
                <a:lnTo>
                  <a:pt x="441" y="281"/>
                </a:lnTo>
                <a:lnTo>
                  <a:pt x="413" y="285"/>
                </a:lnTo>
                <a:lnTo>
                  <a:pt x="373" y="287"/>
                </a:lnTo>
                <a:lnTo>
                  <a:pt x="349" y="292"/>
                </a:lnTo>
                <a:lnTo>
                  <a:pt x="305" y="296"/>
                </a:lnTo>
                <a:lnTo>
                  <a:pt x="260" y="298"/>
                </a:lnTo>
                <a:lnTo>
                  <a:pt x="215" y="304"/>
                </a:lnTo>
                <a:lnTo>
                  <a:pt x="179" y="306"/>
                </a:lnTo>
                <a:lnTo>
                  <a:pt x="143" y="311"/>
                </a:lnTo>
                <a:lnTo>
                  <a:pt x="134" y="309"/>
                </a:lnTo>
                <a:lnTo>
                  <a:pt x="119" y="309"/>
                </a:lnTo>
                <a:lnTo>
                  <a:pt x="124" y="321"/>
                </a:lnTo>
                <a:lnTo>
                  <a:pt x="124" y="330"/>
                </a:lnTo>
                <a:lnTo>
                  <a:pt x="0" y="341"/>
                </a:lnTo>
                <a:close/>
              </a:path>
            </a:pathLst>
          </a:custGeom>
          <a:solidFill>
            <a:srgbClr val="FF6969"/>
          </a:solidFill>
          <a:ln>
            <a:noFill/>
          </a:ln>
        </p:spPr>
        <p:txBody>
          <a:bodyPr vert="horz" wrap="square" lIns="91440" tIns="45720" rIns="91440" bIns="45720" numCol="1" anchor="t" anchorCtr="0" compatLnSpc="1">
            <a:prstTxWarp prst="textNoShape">
              <a:avLst/>
            </a:prstTxWarp>
          </a:bodyPr>
          <a:lstStyle/>
          <a:p>
            <a:endParaRPr lang="en-US"/>
          </a:p>
        </p:txBody>
      </p:sp>
      <p:sp>
        <p:nvSpPr>
          <p:cNvPr id="1317" name="Freeform 723"/>
          <p:cNvSpPr>
            <a:spLocks/>
          </p:cNvSpPr>
          <p:nvPr/>
        </p:nvSpPr>
        <p:spPr bwMode="auto">
          <a:xfrm>
            <a:off x="5324475" y="3386259"/>
            <a:ext cx="1023938" cy="541338"/>
          </a:xfrm>
          <a:custGeom>
            <a:avLst/>
            <a:gdLst>
              <a:gd name="T0" fmla="*/ 11 w 645"/>
              <a:gd name="T1" fmla="*/ 328 h 341"/>
              <a:gd name="T2" fmla="*/ 17 w 645"/>
              <a:gd name="T3" fmla="*/ 313 h 341"/>
              <a:gd name="T4" fmla="*/ 24 w 645"/>
              <a:gd name="T5" fmla="*/ 289 h 341"/>
              <a:gd name="T6" fmla="*/ 17 w 645"/>
              <a:gd name="T7" fmla="*/ 272 h 341"/>
              <a:gd name="T8" fmla="*/ 43 w 645"/>
              <a:gd name="T9" fmla="*/ 255 h 341"/>
              <a:gd name="T10" fmla="*/ 70 w 645"/>
              <a:gd name="T11" fmla="*/ 268 h 341"/>
              <a:gd name="T12" fmla="*/ 81 w 645"/>
              <a:gd name="T13" fmla="*/ 253 h 341"/>
              <a:gd name="T14" fmla="*/ 77 w 645"/>
              <a:gd name="T15" fmla="*/ 232 h 341"/>
              <a:gd name="T16" fmla="*/ 104 w 645"/>
              <a:gd name="T17" fmla="*/ 221 h 341"/>
              <a:gd name="T18" fmla="*/ 102 w 645"/>
              <a:gd name="T19" fmla="*/ 198 h 341"/>
              <a:gd name="T20" fmla="*/ 109 w 645"/>
              <a:gd name="T21" fmla="*/ 183 h 341"/>
              <a:gd name="T22" fmla="*/ 119 w 645"/>
              <a:gd name="T23" fmla="*/ 170 h 341"/>
              <a:gd name="T24" fmla="*/ 141 w 645"/>
              <a:gd name="T25" fmla="*/ 174 h 341"/>
              <a:gd name="T26" fmla="*/ 156 w 645"/>
              <a:gd name="T27" fmla="*/ 164 h 341"/>
              <a:gd name="T28" fmla="*/ 192 w 645"/>
              <a:gd name="T29" fmla="*/ 174 h 341"/>
              <a:gd name="T30" fmla="*/ 200 w 645"/>
              <a:gd name="T31" fmla="*/ 160 h 341"/>
              <a:gd name="T32" fmla="*/ 219 w 645"/>
              <a:gd name="T33" fmla="*/ 157 h 341"/>
              <a:gd name="T34" fmla="*/ 236 w 645"/>
              <a:gd name="T35" fmla="*/ 157 h 341"/>
              <a:gd name="T36" fmla="*/ 247 w 645"/>
              <a:gd name="T37" fmla="*/ 134 h 341"/>
              <a:gd name="T38" fmla="*/ 258 w 645"/>
              <a:gd name="T39" fmla="*/ 128 h 341"/>
              <a:gd name="T40" fmla="*/ 285 w 645"/>
              <a:gd name="T41" fmla="*/ 142 h 341"/>
              <a:gd name="T42" fmla="*/ 292 w 645"/>
              <a:gd name="T43" fmla="*/ 123 h 341"/>
              <a:gd name="T44" fmla="*/ 313 w 645"/>
              <a:gd name="T45" fmla="*/ 102 h 341"/>
              <a:gd name="T46" fmla="*/ 328 w 645"/>
              <a:gd name="T47" fmla="*/ 76 h 341"/>
              <a:gd name="T48" fmla="*/ 326 w 645"/>
              <a:gd name="T49" fmla="*/ 53 h 341"/>
              <a:gd name="T50" fmla="*/ 347 w 645"/>
              <a:gd name="T51" fmla="*/ 55 h 341"/>
              <a:gd name="T52" fmla="*/ 379 w 645"/>
              <a:gd name="T53" fmla="*/ 34 h 341"/>
              <a:gd name="T54" fmla="*/ 371 w 645"/>
              <a:gd name="T55" fmla="*/ 10 h 341"/>
              <a:gd name="T56" fmla="*/ 390 w 645"/>
              <a:gd name="T57" fmla="*/ 6 h 341"/>
              <a:gd name="T58" fmla="*/ 424 w 645"/>
              <a:gd name="T59" fmla="*/ 17 h 341"/>
              <a:gd name="T60" fmla="*/ 456 w 645"/>
              <a:gd name="T61" fmla="*/ 32 h 341"/>
              <a:gd name="T62" fmla="*/ 483 w 645"/>
              <a:gd name="T63" fmla="*/ 42 h 341"/>
              <a:gd name="T64" fmla="*/ 503 w 645"/>
              <a:gd name="T65" fmla="*/ 38 h 341"/>
              <a:gd name="T66" fmla="*/ 524 w 645"/>
              <a:gd name="T67" fmla="*/ 40 h 341"/>
              <a:gd name="T68" fmla="*/ 545 w 645"/>
              <a:gd name="T69" fmla="*/ 21 h 341"/>
              <a:gd name="T70" fmla="*/ 564 w 645"/>
              <a:gd name="T71" fmla="*/ 42 h 341"/>
              <a:gd name="T72" fmla="*/ 577 w 645"/>
              <a:gd name="T73" fmla="*/ 59 h 341"/>
              <a:gd name="T74" fmla="*/ 577 w 645"/>
              <a:gd name="T75" fmla="*/ 85 h 341"/>
              <a:gd name="T76" fmla="*/ 601 w 645"/>
              <a:gd name="T77" fmla="*/ 115 h 341"/>
              <a:gd name="T78" fmla="*/ 645 w 645"/>
              <a:gd name="T79" fmla="*/ 145 h 341"/>
              <a:gd name="T80" fmla="*/ 588 w 645"/>
              <a:gd name="T81" fmla="*/ 204 h 341"/>
              <a:gd name="T82" fmla="*/ 579 w 645"/>
              <a:gd name="T83" fmla="*/ 226 h 341"/>
              <a:gd name="T84" fmla="*/ 558 w 645"/>
              <a:gd name="T85" fmla="*/ 240 h 341"/>
              <a:gd name="T86" fmla="*/ 532 w 645"/>
              <a:gd name="T87" fmla="*/ 262 h 341"/>
              <a:gd name="T88" fmla="*/ 503 w 645"/>
              <a:gd name="T89" fmla="*/ 277 h 341"/>
              <a:gd name="T90" fmla="*/ 413 w 645"/>
              <a:gd name="T91" fmla="*/ 285 h 341"/>
              <a:gd name="T92" fmla="*/ 305 w 645"/>
              <a:gd name="T93" fmla="*/ 296 h 341"/>
              <a:gd name="T94" fmla="*/ 179 w 645"/>
              <a:gd name="T95" fmla="*/ 306 h 341"/>
              <a:gd name="T96" fmla="*/ 119 w 645"/>
              <a:gd name="T97" fmla="*/ 309 h 341"/>
              <a:gd name="T98" fmla="*/ 0 w 645"/>
              <a:gd name="T99" fmla="*/ 341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645" h="341">
                <a:moveTo>
                  <a:pt x="0" y="341"/>
                </a:moveTo>
                <a:lnTo>
                  <a:pt x="2" y="332"/>
                </a:lnTo>
                <a:lnTo>
                  <a:pt x="11" y="328"/>
                </a:lnTo>
                <a:lnTo>
                  <a:pt x="17" y="330"/>
                </a:lnTo>
                <a:lnTo>
                  <a:pt x="21" y="319"/>
                </a:lnTo>
                <a:lnTo>
                  <a:pt x="17" y="313"/>
                </a:lnTo>
                <a:lnTo>
                  <a:pt x="24" y="309"/>
                </a:lnTo>
                <a:lnTo>
                  <a:pt x="21" y="298"/>
                </a:lnTo>
                <a:lnTo>
                  <a:pt x="24" y="289"/>
                </a:lnTo>
                <a:lnTo>
                  <a:pt x="21" y="283"/>
                </a:lnTo>
                <a:lnTo>
                  <a:pt x="17" y="279"/>
                </a:lnTo>
                <a:lnTo>
                  <a:pt x="17" y="272"/>
                </a:lnTo>
                <a:lnTo>
                  <a:pt x="28" y="257"/>
                </a:lnTo>
                <a:lnTo>
                  <a:pt x="36" y="255"/>
                </a:lnTo>
                <a:lnTo>
                  <a:pt x="43" y="255"/>
                </a:lnTo>
                <a:lnTo>
                  <a:pt x="49" y="260"/>
                </a:lnTo>
                <a:lnTo>
                  <a:pt x="64" y="264"/>
                </a:lnTo>
                <a:lnTo>
                  <a:pt x="70" y="268"/>
                </a:lnTo>
                <a:lnTo>
                  <a:pt x="77" y="270"/>
                </a:lnTo>
                <a:lnTo>
                  <a:pt x="83" y="260"/>
                </a:lnTo>
                <a:lnTo>
                  <a:pt x="81" y="253"/>
                </a:lnTo>
                <a:lnTo>
                  <a:pt x="75" y="247"/>
                </a:lnTo>
                <a:lnTo>
                  <a:pt x="75" y="238"/>
                </a:lnTo>
                <a:lnTo>
                  <a:pt x="77" y="232"/>
                </a:lnTo>
                <a:lnTo>
                  <a:pt x="83" y="230"/>
                </a:lnTo>
                <a:lnTo>
                  <a:pt x="90" y="223"/>
                </a:lnTo>
                <a:lnTo>
                  <a:pt x="104" y="221"/>
                </a:lnTo>
                <a:lnTo>
                  <a:pt x="109" y="215"/>
                </a:lnTo>
                <a:lnTo>
                  <a:pt x="104" y="206"/>
                </a:lnTo>
                <a:lnTo>
                  <a:pt x="102" y="198"/>
                </a:lnTo>
                <a:lnTo>
                  <a:pt x="107" y="191"/>
                </a:lnTo>
                <a:lnTo>
                  <a:pt x="109" y="185"/>
                </a:lnTo>
                <a:lnTo>
                  <a:pt x="109" y="183"/>
                </a:lnTo>
                <a:lnTo>
                  <a:pt x="117" y="183"/>
                </a:lnTo>
                <a:lnTo>
                  <a:pt x="121" y="177"/>
                </a:lnTo>
                <a:lnTo>
                  <a:pt x="119" y="170"/>
                </a:lnTo>
                <a:lnTo>
                  <a:pt x="134" y="172"/>
                </a:lnTo>
                <a:lnTo>
                  <a:pt x="141" y="168"/>
                </a:lnTo>
                <a:lnTo>
                  <a:pt x="141" y="174"/>
                </a:lnTo>
                <a:lnTo>
                  <a:pt x="149" y="172"/>
                </a:lnTo>
                <a:lnTo>
                  <a:pt x="147" y="166"/>
                </a:lnTo>
                <a:lnTo>
                  <a:pt x="156" y="164"/>
                </a:lnTo>
                <a:lnTo>
                  <a:pt x="164" y="162"/>
                </a:lnTo>
                <a:lnTo>
                  <a:pt x="185" y="170"/>
                </a:lnTo>
                <a:lnTo>
                  <a:pt x="192" y="174"/>
                </a:lnTo>
                <a:lnTo>
                  <a:pt x="196" y="168"/>
                </a:lnTo>
                <a:lnTo>
                  <a:pt x="196" y="166"/>
                </a:lnTo>
                <a:lnTo>
                  <a:pt x="200" y="160"/>
                </a:lnTo>
                <a:lnTo>
                  <a:pt x="209" y="155"/>
                </a:lnTo>
                <a:lnTo>
                  <a:pt x="215" y="151"/>
                </a:lnTo>
                <a:lnTo>
                  <a:pt x="219" y="157"/>
                </a:lnTo>
                <a:lnTo>
                  <a:pt x="226" y="160"/>
                </a:lnTo>
                <a:lnTo>
                  <a:pt x="234" y="164"/>
                </a:lnTo>
                <a:lnTo>
                  <a:pt x="236" y="157"/>
                </a:lnTo>
                <a:lnTo>
                  <a:pt x="241" y="149"/>
                </a:lnTo>
                <a:lnTo>
                  <a:pt x="241" y="142"/>
                </a:lnTo>
                <a:lnTo>
                  <a:pt x="247" y="134"/>
                </a:lnTo>
                <a:lnTo>
                  <a:pt x="253" y="130"/>
                </a:lnTo>
                <a:lnTo>
                  <a:pt x="251" y="123"/>
                </a:lnTo>
                <a:lnTo>
                  <a:pt x="258" y="128"/>
                </a:lnTo>
                <a:lnTo>
                  <a:pt x="264" y="138"/>
                </a:lnTo>
                <a:lnTo>
                  <a:pt x="271" y="140"/>
                </a:lnTo>
                <a:lnTo>
                  <a:pt x="285" y="142"/>
                </a:lnTo>
                <a:lnTo>
                  <a:pt x="292" y="138"/>
                </a:lnTo>
                <a:lnTo>
                  <a:pt x="294" y="130"/>
                </a:lnTo>
                <a:lnTo>
                  <a:pt x="292" y="123"/>
                </a:lnTo>
                <a:lnTo>
                  <a:pt x="298" y="108"/>
                </a:lnTo>
                <a:lnTo>
                  <a:pt x="305" y="108"/>
                </a:lnTo>
                <a:lnTo>
                  <a:pt x="313" y="102"/>
                </a:lnTo>
                <a:lnTo>
                  <a:pt x="315" y="87"/>
                </a:lnTo>
                <a:lnTo>
                  <a:pt x="322" y="83"/>
                </a:lnTo>
                <a:lnTo>
                  <a:pt x="328" y="76"/>
                </a:lnTo>
                <a:lnTo>
                  <a:pt x="330" y="70"/>
                </a:lnTo>
                <a:lnTo>
                  <a:pt x="326" y="62"/>
                </a:lnTo>
                <a:lnTo>
                  <a:pt x="326" y="53"/>
                </a:lnTo>
                <a:lnTo>
                  <a:pt x="332" y="53"/>
                </a:lnTo>
                <a:lnTo>
                  <a:pt x="341" y="49"/>
                </a:lnTo>
                <a:lnTo>
                  <a:pt x="347" y="55"/>
                </a:lnTo>
                <a:lnTo>
                  <a:pt x="362" y="44"/>
                </a:lnTo>
                <a:lnTo>
                  <a:pt x="377" y="40"/>
                </a:lnTo>
                <a:lnTo>
                  <a:pt x="379" y="34"/>
                </a:lnTo>
                <a:lnTo>
                  <a:pt x="373" y="25"/>
                </a:lnTo>
                <a:lnTo>
                  <a:pt x="375" y="19"/>
                </a:lnTo>
                <a:lnTo>
                  <a:pt x="371" y="10"/>
                </a:lnTo>
                <a:lnTo>
                  <a:pt x="373" y="6"/>
                </a:lnTo>
                <a:lnTo>
                  <a:pt x="383" y="0"/>
                </a:lnTo>
                <a:lnTo>
                  <a:pt x="390" y="6"/>
                </a:lnTo>
                <a:lnTo>
                  <a:pt x="403" y="2"/>
                </a:lnTo>
                <a:lnTo>
                  <a:pt x="420" y="8"/>
                </a:lnTo>
                <a:lnTo>
                  <a:pt x="424" y="17"/>
                </a:lnTo>
                <a:lnTo>
                  <a:pt x="434" y="32"/>
                </a:lnTo>
                <a:lnTo>
                  <a:pt x="441" y="34"/>
                </a:lnTo>
                <a:lnTo>
                  <a:pt x="456" y="32"/>
                </a:lnTo>
                <a:lnTo>
                  <a:pt x="460" y="32"/>
                </a:lnTo>
                <a:lnTo>
                  <a:pt x="475" y="44"/>
                </a:lnTo>
                <a:lnTo>
                  <a:pt x="483" y="42"/>
                </a:lnTo>
                <a:lnTo>
                  <a:pt x="488" y="36"/>
                </a:lnTo>
                <a:lnTo>
                  <a:pt x="494" y="36"/>
                </a:lnTo>
                <a:lnTo>
                  <a:pt x="503" y="38"/>
                </a:lnTo>
                <a:lnTo>
                  <a:pt x="511" y="42"/>
                </a:lnTo>
                <a:lnTo>
                  <a:pt x="518" y="40"/>
                </a:lnTo>
                <a:lnTo>
                  <a:pt x="524" y="40"/>
                </a:lnTo>
                <a:lnTo>
                  <a:pt x="528" y="34"/>
                </a:lnTo>
                <a:lnTo>
                  <a:pt x="537" y="25"/>
                </a:lnTo>
                <a:lnTo>
                  <a:pt x="545" y="21"/>
                </a:lnTo>
                <a:lnTo>
                  <a:pt x="549" y="34"/>
                </a:lnTo>
                <a:lnTo>
                  <a:pt x="556" y="40"/>
                </a:lnTo>
                <a:lnTo>
                  <a:pt x="564" y="42"/>
                </a:lnTo>
                <a:lnTo>
                  <a:pt x="571" y="49"/>
                </a:lnTo>
                <a:lnTo>
                  <a:pt x="577" y="55"/>
                </a:lnTo>
                <a:lnTo>
                  <a:pt x="577" y="59"/>
                </a:lnTo>
                <a:lnTo>
                  <a:pt x="579" y="64"/>
                </a:lnTo>
                <a:lnTo>
                  <a:pt x="581" y="72"/>
                </a:lnTo>
                <a:lnTo>
                  <a:pt x="577" y="85"/>
                </a:lnTo>
                <a:lnTo>
                  <a:pt x="592" y="102"/>
                </a:lnTo>
                <a:lnTo>
                  <a:pt x="594" y="108"/>
                </a:lnTo>
                <a:lnTo>
                  <a:pt x="601" y="115"/>
                </a:lnTo>
                <a:lnTo>
                  <a:pt x="615" y="134"/>
                </a:lnTo>
                <a:lnTo>
                  <a:pt x="630" y="145"/>
                </a:lnTo>
                <a:lnTo>
                  <a:pt x="645" y="145"/>
                </a:lnTo>
                <a:lnTo>
                  <a:pt x="618" y="179"/>
                </a:lnTo>
                <a:lnTo>
                  <a:pt x="592" y="196"/>
                </a:lnTo>
                <a:lnTo>
                  <a:pt x="588" y="204"/>
                </a:lnTo>
                <a:lnTo>
                  <a:pt x="588" y="213"/>
                </a:lnTo>
                <a:lnTo>
                  <a:pt x="579" y="219"/>
                </a:lnTo>
                <a:lnTo>
                  <a:pt x="579" y="226"/>
                </a:lnTo>
                <a:lnTo>
                  <a:pt x="573" y="232"/>
                </a:lnTo>
                <a:lnTo>
                  <a:pt x="567" y="236"/>
                </a:lnTo>
                <a:lnTo>
                  <a:pt x="558" y="240"/>
                </a:lnTo>
                <a:lnTo>
                  <a:pt x="558" y="249"/>
                </a:lnTo>
                <a:lnTo>
                  <a:pt x="541" y="255"/>
                </a:lnTo>
                <a:lnTo>
                  <a:pt x="532" y="262"/>
                </a:lnTo>
                <a:lnTo>
                  <a:pt x="526" y="262"/>
                </a:lnTo>
                <a:lnTo>
                  <a:pt x="511" y="272"/>
                </a:lnTo>
                <a:lnTo>
                  <a:pt x="503" y="277"/>
                </a:lnTo>
                <a:lnTo>
                  <a:pt x="471" y="279"/>
                </a:lnTo>
                <a:lnTo>
                  <a:pt x="441" y="281"/>
                </a:lnTo>
                <a:lnTo>
                  <a:pt x="413" y="285"/>
                </a:lnTo>
                <a:lnTo>
                  <a:pt x="373" y="287"/>
                </a:lnTo>
                <a:lnTo>
                  <a:pt x="349" y="292"/>
                </a:lnTo>
                <a:lnTo>
                  <a:pt x="305" y="296"/>
                </a:lnTo>
                <a:lnTo>
                  <a:pt x="260" y="298"/>
                </a:lnTo>
                <a:lnTo>
                  <a:pt x="215" y="304"/>
                </a:lnTo>
                <a:lnTo>
                  <a:pt x="179" y="306"/>
                </a:lnTo>
                <a:lnTo>
                  <a:pt x="143" y="311"/>
                </a:lnTo>
                <a:lnTo>
                  <a:pt x="134" y="309"/>
                </a:lnTo>
                <a:lnTo>
                  <a:pt x="119" y="309"/>
                </a:lnTo>
                <a:lnTo>
                  <a:pt x="124" y="321"/>
                </a:lnTo>
                <a:lnTo>
                  <a:pt x="124" y="330"/>
                </a:lnTo>
                <a:lnTo>
                  <a:pt x="0" y="34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18" name="Freeform 724"/>
          <p:cNvSpPr>
            <a:spLocks/>
          </p:cNvSpPr>
          <p:nvPr/>
        </p:nvSpPr>
        <p:spPr bwMode="auto">
          <a:xfrm>
            <a:off x="5489575" y="2919534"/>
            <a:ext cx="436563" cy="757238"/>
          </a:xfrm>
          <a:custGeom>
            <a:avLst/>
            <a:gdLst>
              <a:gd name="T0" fmla="*/ 0 w 275"/>
              <a:gd name="T1" fmla="*/ 468 h 477"/>
              <a:gd name="T2" fmla="*/ 5 w 275"/>
              <a:gd name="T3" fmla="*/ 447 h 477"/>
              <a:gd name="T4" fmla="*/ 9 w 275"/>
              <a:gd name="T5" fmla="*/ 432 h 477"/>
              <a:gd name="T6" fmla="*/ 9 w 275"/>
              <a:gd name="T7" fmla="*/ 424 h 477"/>
              <a:gd name="T8" fmla="*/ 22 w 275"/>
              <a:gd name="T9" fmla="*/ 411 h 477"/>
              <a:gd name="T10" fmla="*/ 30 w 275"/>
              <a:gd name="T11" fmla="*/ 387 h 477"/>
              <a:gd name="T12" fmla="*/ 41 w 275"/>
              <a:gd name="T13" fmla="*/ 373 h 477"/>
              <a:gd name="T14" fmla="*/ 37 w 275"/>
              <a:gd name="T15" fmla="*/ 349 h 477"/>
              <a:gd name="T16" fmla="*/ 32 w 275"/>
              <a:gd name="T17" fmla="*/ 334 h 477"/>
              <a:gd name="T18" fmla="*/ 26 w 275"/>
              <a:gd name="T19" fmla="*/ 319 h 477"/>
              <a:gd name="T20" fmla="*/ 26 w 275"/>
              <a:gd name="T21" fmla="*/ 304 h 477"/>
              <a:gd name="T22" fmla="*/ 9 w 275"/>
              <a:gd name="T23" fmla="*/ 34 h 477"/>
              <a:gd name="T24" fmla="*/ 17 w 275"/>
              <a:gd name="T25" fmla="*/ 38 h 477"/>
              <a:gd name="T26" fmla="*/ 35 w 275"/>
              <a:gd name="T27" fmla="*/ 38 h 477"/>
              <a:gd name="T28" fmla="*/ 64 w 275"/>
              <a:gd name="T29" fmla="*/ 19 h 477"/>
              <a:gd name="T30" fmla="*/ 109 w 275"/>
              <a:gd name="T31" fmla="*/ 15 h 477"/>
              <a:gd name="T32" fmla="*/ 235 w 275"/>
              <a:gd name="T33" fmla="*/ 6 h 477"/>
              <a:gd name="T34" fmla="*/ 269 w 275"/>
              <a:gd name="T35" fmla="*/ 300 h 477"/>
              <a:gd name="T36" fmla="*/ 271 w 275"/>
              <a:gd name="T37" fmla="*/ 313 h 477"/>
              <a:gd name="T38" fmla="*/ 275 w 275"/>
              <a:gd name="T39" fmla="*/ 328 h 477"/>
              <a:gd name="T40" fmla="*/ 258 w 275"/>
              <a:gd name="T41" fmla="*/ 338 h 477"/>
              <a:gd name="T42" fmla="*/ 237 w 275"/>
              <a:gd name="T43" fmla="*/ 343 h 477"/>
              <a:gd name="T44" fmla="*/ 222 w 275"/>
              <a:gd name="T45" fmla="*/ 347 h 477"/>
              <a:gd name="T46" fmla="*/ 226 w 275"/>
              <a:gd name="T47" fmla="*/ 364 h 477"/>
              <a:gd name="T48" fmla="*/ 218 w 275"/>
              <a:gd name="T49" fmla="*/ 377 h 477"/>
              <a:gd name="T50" fmla="*/ 209 w 275"/>
              <a:gd name="T51" fmla="*/ 396 h 477"/>
              <a:gd name="T52" fmla="*/ 194 w 275"/>
              <a:gd name="T53" fmla="*/ 402 h 477"/>
              <a:gd name="T54" fmla="*/ 190 w 275"/>
              <a:gd name="T55" fmla="*/ 424 h 477"/>
              <a:gd name="T56" fmla="*/ 181 w 275"/>
              <a:gd name="T57" fmla="*/ 436 h 477"/>
              <a:gd name="T58" fmla="*/ 160 w 275"/>
              <a:gd name="T59" fmla="*/ 432 h 477"/>
              <a:gd name="T60" fmla="*/ 147 w 275"/>
              <a:gd name="T61" fmla="*/ 417 h 477"/>
              <a:gd name="T62" fmla="*/ 143 w 275"/>
              <a:gd name="T63" fmla="*/ 428 h 477"/>
              <a:gd name="T64" fmla="*/ 137 w 275"/>
              <a:gd name="T65" fmla="*/ 443 h 477"/>
              <a:gd name="T66" fmla="*/ 130 w 275"/>
              <a:gd name="T67" fmla="*/ 458 h 477"/>
              <a:gd name="T68" fmla="*/ 115 w 275"/>
              <a:gd name="T69" fmla="*/ 451 h 477"/>
              <a:gd name="T70" fmla="*/ 105 w 275"/>
              <a:gd name="T71" fmla="*/ 449 h 477"/>
              <a:gd name="T72" fmla="*/ 92 w 275"/>
              <a:gd name="T73" fmla="*/ 460 h 477"/>
              <a:gd name="T74" fmla="*/ 88 w 275"/>
              <a:gd name="T75" fmla="*/ 468 h 477"/>
              <a:gd name="T76" fmla="*/ 60 w 275"/>
              <a:gd name="T77" fmla="*/ 456 h 477"/>
              <a:gd name="T78" fmla="*/ 43 w 275"/>
              <a:gd name="T79" fmla="*/ 460 h 477"/>
              <a:gd name="T80" fmla="*/ 37 w 275"/>
              <a:gd name="T81" fmla="*/ 468 h 477"/>
              <a:gd name="T82" fmla="*/ 30 w 275"/>
              <a:gd name="T83" fmla="*/ 466 h 477"/>
              <a:gd name="T84" fmla="*/ 17 w 275"/>
              <a:gd name="T85" fmla="*/ 471 h 477"/>
              <a:gd name="T86" fmla="*/ 5 w 275"/>
              <a:gd name="T8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5" h="477">
                <a:moveTo>
                  <a:pt x="5" y="477"/>
                </a:moveTo>
                <a:lnTo>
                  <a:pt x="0" y="468"/>
                </a:lnTo>
                <a:lnTo>
                  <a:pt x="5" y="462"/>
                </a:lnTo>
                <a:lnTo>
                  <a:pt x="5" y="447"/>
                </a:lnTo>
                <a:lnTo>
                  <a:pt x="7" y="447"/>
                </a:lnTo>
                <a:lnTo>
                  <a:pt x="9" y="432"/>
                </a:lnTo>
                <a:lnTo>
                  <a:pt x="7" y="430"/>
                </a:lnTo>
                <a:lnTo>
                  <a:pt x="9" y="424"/>
                </a:lnTo>
                <a:lnTo>
                  <a:pt x="15" y="417"/>
                </a:lnTo>
                <a:lnTo>
                  <a:pt x="22" y="411"/>
                </a:lnTo>
                <a:lnTo>
                  <a:pt x="30" y="396"/>
                </a:lnTo>
                <a:lnTo>
                  <a:pt x="30" y="387"/>
                </a:lnTo>
                <a:lnTo>
                  <a:pt x="39" y="373"/>
                </a:lnTo>
                <a:lnTo>
                  <a:pt x="41" y="373"/>
                </a:lnTo>
                <a:lnTo>
                  <a:pt x="41" y="364"/>
                </a:lnTo>
                <a:lnTo>
                  <a:pt x="37" y="349"/>
                </a:lnTo>
                <a:lnTo>
                  <a:pt x="39" y="343"/>
                </a:lnTo>
                <a:lnTo>
                  <a:pt x="32" y="334"/>
                </a:lnTo>
                <a:lnTo>
                  <a:pt x="26" y="326"/>
                </a:lnTo>
                <a:lnTo>
                  <a:pt x="26" y="319"/>
                </a:lnTo>
                <a:lnTo>
                  <a:pt x="30" y="311"/>
                </a:lnTo>
                <a:lnTo>
                  <a:pt x="26" y="304"/>
                </a:lnTo>
                <a:lnTo>
                  <a:pt x="32" y="296"/>
                </a:lnTo>
                <a:lnTo>
                  <a:pt x="9" y="34"/>
                </a:lnTo>
                <a:lnTo>
                  <a:pt x="9" y="30"/>
                </a:lnTo>
                <a:lnTo>
                  <a:pt x="17" y="38"/>
                </a:lnTo>
                <a:lnTo>
                  <a:pt x="28" y="38"/>
                </a:lnTo>
                <a:lnTo>
                  <a:pt x="35" y="38"/>
                </a:lnTo>
                <a:lnTo>
                  <a:pt x="49" y="30"/>
                </a:lnTo>
                <a:lnTo>
                  <a:pt x="64" y="19"/>
                </a:lnTo>
                <a:lnTo>
                  <a:pt x="69" y="19"/>
                </a:lnTo>
                <a:lnTo>
                  <a:pt x="109" y="15"/>
                </a:lnTo>
                <a:lnTo>
                  <a:pt x="226" y="0"/>
                </a:lnTo>
                <a:lnTo>
                  <a:pt x="235" y="6"/>
                </a:lnTo>
                <a:lnTo>
                  <a:pt x="247" y="111"/>
                </a:lnTo>
                <a:lnTo>
                  <a:pt x="269" y="300"/>
                </a:lnTo>
                <a:lnTo>
                  <a:pt x="267" y="304"/>
                </a:lnTo>
                <a:lnTo>
                  <a:pt x="271" y="313"/>
                </a:lnTo>
                <a:lnTo>
                  <a:pt x="269" y="319"/>
                </a:lnTo>
                <a:lnTo>
                  <a:pt x="275" y="328"/>
                </a:lnTo>
                <a:lnTo>
                  <a:pt x="273" y="334"/>
                </a:lnTo>
                <a:lnTo>
                  <a:pt x="258" y="338"/>
                </a:lnTo>
                <a:lnTo>
                  <a:pt x="243" y="349"/>
                </a:lnTo>
                <a:lnTo>
                  <a:pt x="237" y="343"/>
                </a:lnTo>
                <a:lnTo>
                  <a:pt x="228" y="347"/>
                </a:lnTo>
                <a:lnTo>
                  <a:pt x="222" y="347"/>
                </a:lnTo>
                <a:lnTo>
                  <a:pt x="222" y="356"/>
                </a:lnTo>
                <a:lnTo>
                  <a:pt x="226" y="364"/>
                </a:lnTo>
                <a:lnTo>
                  <a:pt x="224" y="370"/>
                </a:lnTo>
                <a:lnTo>
                  <a:pt x="218" y="377"/>
                </a:lnTo>
                <a:lnTo>
                  <a:pt x="211" y="381"/>
                </a:lnTo>
                <a:lnTo>
                  <a:pt x="209" y="396"/>
                </a:lnTo>
                <a:lnTo>
                  <a:pt x="201" y="402"/>
                </a:lnTo>
                <a:lnTo>
                  <a:pt x="194" y="402"/>
                </a:lnTo>
                <a:lnTo>
                  <a:pt x="188" y="417"/>
                </a:lnTo>
                <a:lnTo>
                  <a:pt x="190" y="424"/>
                </a:lnTo>
                <a:lnTo>
                  <a:pt x="188" y="432"/>
                </a:lnTo>
                <a:lnTo>
                  <a:pt x="181" y="436"/>
                </a:lnTo>
                <a:lnTo>
                  <a:pt x="167" y="434"/>
                </a:lnTo>
                <a:lnTo>
                  <a:pt x="160" y="432"/>
                </a:lnTo>
                <a:lnTo>
                  <a:pt x="154" y="422"/>
                </a:lnTo>
                <a:lnTo>
                  <a:pt x="147" y="417"/>
                </a:lnTo>
                <a:lnTo>
                  <a:pt x="149" y="424"/>
                </a:lnTo>
                <a:lnTo>
                  <a:pt x="143" y="428"/>
                </a:lnTo>
                <a:lnTo>
                  <a:pt x="137" y="436"/>
                </a:lnTo>
                <a:lnTo>
                  <a:pt x="137" y="443"/>
                </a:lnTo>
                <a:lnTo>
                  <a:pt x="132" y="451"/>
                </a:lnTo>
                <a:lnTo>
                  <a:pt x="130" y="458"/>
                </a:lnTo>
                <a:lnTo>
                  <a:pt x="122" y="454"/>
                </a:lnTo>
                <a:lnTo>
                  <a:pt x="115" y="451"/>
                </a:lnTo>
                <a:lnTo>
                  <a:pt x="111" y="445"/>
                </a:lnTo>
                <a:lnTo>
                  <a:pt x="105" y="449"/>
                </a:lnTo>
                <a:lnTo>
                  <a:pt x="96" y="454"/>
                </a:lnTo>
                <a:lnTo>
                  <a:pt x="92" y="460"/>
                </a:lnTo>
                <a:lnTo>
                  <a:pt x="92" y="462"/>
                </a:lnTo>
                <a:lnTo>
                  <a:pt x="88" y="468"/>
                </a:lnTo>
                <a:lnTo>
                  <a:pt x="81" y="464"/>
                </a:lnTo>
                <a:lnTo>
                  <a:pt x="60" y="456"/>
                </a:lnTo>
                <a:lnTo>
                  <a:pt x="52" y="458"/>
                </a:lnTo>
                <a:lnTo>
                  <a:pt x="43" y="460"/>
                </a:lnTo>
                <a:lnTo>
                  <a:pt x="45" y="466"/>
                </a:lnTo>
                <a:lnTo>
                  <a:pt x="37" y="468"/>
                </a:lnTo>
                <a:lnTo>
                  <a:pt x="37" y="462"/>
                </a:lnTo>
                <a:lnTo>
                  <a:pt x="30" y="466"/>
                </a:lnTo>
                <a:lnTo>
                  <a:pt x="15" y="464"/>
                </a:lnTo>
                <a:lnTo>
                  <a:pt x="17" y="471"/>
                </a:lnTo>
                <a:lnTo>
                  <a:pt x="13" y="477"/>
                </a:lnTo>
                <a:lnTo>
                  <a:pt x="5" y="477"/>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19" name="Freeform 725"/>
          <p:cNvSpPr>
            <a:spLocks/>
          </p:cNvSpPr>
          <p:nvPr/>
        </p:nvSpPr>
        <p:spPr bwMode="auto">
          <a:xfrm>
            <a:off x="5489575" y="2919534"/>
            <a:ext cx="436563" cy="757238"/>
          </a:xfrm>
          <a:custGeom>
            <a:avLst/>
            <a:gdLst>
              <a:gd name="T0" fmla="*/ 0 w 275"/>
              <a:gd name="T1" fmla="*/ 468 h 477"/>
              <a:gd name="T2" fmla="*/ 5 w 275"/>
              <a:gd name="T3" fmla="*/ 447 h 477"/>
              <a:gd name="T4" fmla="*/ 9 w 275"/>
              <a:gd name="T5" fmla="*/ 432 h 477"/>
              <a:gd name="T6" fmla="*/ 9 w 275"/>
              <a:gd name="T7" fmla="*/ 424 h 477"/>
              <a:gd name="T8" fmla="*/ 22 w 275"/>
              <a:gd name="T9" fmla="*/ 411 h 477"/>
              <a:gd name="T10" fmla="*/ 30 w 275"/>
              <a:gd name="T11" fmla="*/ 387 h 477"/>
              <a:gd name="T12" fmla="*/ 41 w 275"/>
              <a:gd name="T13" fmla="*/ 373 h 477"/>
              <a:gd name="T14" fmla="*/ 37 w 275"/>
              <a:gd name="T15" fmla="*/ 349 h 477"/>
              <a:gd name="T16" fmla="*/ 32 w 275"/>
              <a:gd name="T17" fmla="*/ 334 h 477"/>
              <a:gd name="T18" fmla="*/ 26 w 275"/>
              <a:gd name="T19" fmla="*/ 319 h 477"/>
              <a:gd name="T20" fmla="*/ 26 w 275"/>
              <a:gd name="T21" fmla="*/ 304 h 477"/>
              <a:gd name="T22" fmla="*/ 9 w 275"/>
              <a:gd name="T23" fmla="*/ 34 h 477"/>
              <a:gd name="T24" fmla="*/ 17 w 275"/>
              <a:gd name="T25" fmla="*/ 38 h 477"/>
              <a:gd name="T26" fmla="*/ 35 w 275"/>
              <a:gd name="T27" fmla="*/ 38 h 477"/>
              <a:gd name="T28" fmla="*/ 64 w 275"/>
              <a:gd name="T29" fmla="*/ 19 h 477"/>
              <a:gd name="T30" fmla="*/ 109 w 275"/>
              <a:gd name="T31" fmla="*/ 15 h 477"/>
              <a:gd name="T32" fmla="*/ 235 w 275"/>
              <a:gd name="T33" fmla="*/ 6 h 477"/>
              <a:gd name="T34" fmla="*/ 269 w 275"/>
              <a:gd name="T35" fmla="*/ 300 h 477"/>
              <a:gd name="T36" fmla="*/ 271 w 275"/>
              <a:gd name="T37" fmla="*/ 313 h 477"/>
              <a:gd name="T38" fmla="*/ 275 w 275"/>
              <a:gd name="T39" fmla="*/ 328 h 477"/>
              <a:gd name="T40" fmla="*/ 258 w 275"/>
              <a:gd name="T41" fmla="*/ 338 h 477"/>
              <a:gd name="T42" fmla="*/ 237 w 275"/>
              <a:gd name="T43" fmla="*/ 343 h 477"/>
              <a:gd name="T44" fmla="*/ 222 w 275"/>
              <a:gd name="T45" fmla="*/ 347 h 477"/>
              <a:gd name="T46" fmla="*/ 226 w 275"/>
              <a:gd name="T47" fmla="*/ 364 h 477"/>
              <a:gd name="T48" fmla="*/ 218 w 275"/>
              <a:gd name="T49" fmla="*/ 377 h 477"/>
              <a:gd name="T50" fmla="*/ 209 w 275"/>
              <a:gd name="T51" fmla="*/ 396 h 477"/>
              <a:gd name="T52" fmla="*/ 194 w 275"/>
              <a:gd name="T53" fmla="*/ 402 h 477"/>
              <a:gd name="T54" fmla="*/ 190 w 275"/>
              <a:gd name="T55" fmla="*/ 424 h 477"/>
              <a:gd name="T56" fmla="*/ 181 w 275"/>
              <a:gd name="T57" fmla="*/ 436 h 477"/>
              <a:gd name="T58" fmla="*/ 160 w 275"/>
              <a:gd name="T59" fmla="*/ 432 h 477"/>
              <a:gd name="T60" fmla="*/ 147 w 275"/>
              <a:gd name="T61" fmla="*/ 417 h 477"/>
              <a:gd name="T62" fmla="*/ 143 w 275"/>
              <a:gd name="T63" fmla="*/ 428 h 477"/>
              <a:gd name="T64" fmla="*/ 137 w 275"/>
              <a:gd name="T65" fmla="*/ 443 h 477"/>
              <a:gd name="T66" fmla="*/ 130 w 275"/>
              <a:gd name="T67" fmla="*/ 458 h 477"/>
              <a:gd name="T68" fmla="*/ 115 w 275"/>
              <a:gd name="T69" fmla="*/ 451 h 477"/>
              <a:gd name="T70" fmla="*/ 105 w 275"/>
              <a:gd name="T71" fmla="*/ 449 h 477"/>
              <a:gd name="T72" fmla="*/ 92 w 275"/>
              <a:gd name="T73" fmla="*/ 460 h 477"/>
              <a:gd name="T74" fmla="*/ 88 w 275"/>
              <a:gd name="T75" fmla="*/ 468 h 477"/>
              <a:gd name="T76" fmla="*/ 60 w 275"/>
              <a:gd name="T77" fmla="*/ 456 h 477"/>
              <a:gd name="T78" fmla="*/ 43 w 275"/>
              <a:gd name="T79" fmla="*/ 460 h 477"/>
              <a:gd name="T80" fmla="*/ 37 w 275"/>
              <a:gd name="T81" fmla="*/ 468 h 477"/>
              <a:gd name="T82" fmla="*/ 30 w 275"/>
              <a:gd name="T83" fmla="*/ 466 h 477"/>
              <a:gd name="T84" fmla="*/ 17 w 275"/>
              <a:gd name="T85" fmla="*/ 471 h 477"/>
              <a:gd name="T86" fmla="*/ 5 w 275"/>
              <a:gd name="T87" fmla="*/ 477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5" h="477">
                <a:moveTo>
                  <a:pt x="5" y="477"/>
                </a:moveTo>
                <a:lnTo>
                  <a:pt x="0" y="468"/>
                </a:lnTo>
                <a:lnTo>
                  <a:pt x="5" y="462"/>
                </a:lnTo>
                <a:lnTo>
                  <a:pt x="5" y="447"/>
                </a:lnTo>
                <a:lnTo>
                  <a:pt x="7" y="447"/>
                </a:lnTo>
                <a:lnTo>
                  <a:pt x="9" y="432"/>
                </a:lnTo>
                <a:lnTo>
                  <a:pt x="7" y="430"/>
                </a:lnTo>
                <a:lnTo>
                  <a:pt x="9" y="424"/>
                </a:lnTo>
                <a:lnTo>
                  <a:pt x="15" y="417"/>
                </a:lnTo>
                <a:lnTo>
                  <a:pt x="22" y="411"/>
                </a:lnTo>
                <a:lnTo>
                  <a:pt x="30" y="396"/>
                </a:lnTo>
                <a:lnTo>
                  <a:pt x="30" y="387"/>
                </a:lnTo>
                <a:lnTo>
                  <a:pt x="39" y="373"/>
                </a:lnTo>
                <a:lnTo>
                  <a:pt x="41" y="373"/>
                </a:lnTo>
                <a:lnTo>
                  <a:pt x="41" y="364"/>
                </a:lnTo>
                <a:lnTo>
                  <a:pt x="37" y="349"/>
                </a:lnTo>
                <a:lnTo>
                  <a:pt x="39" y="343"/>
                </a:lnTo>
                <a:lnTo>
                  <a:pt x="32" y="334"/>
                </a:lnTo>
                <a:lnTo>
                  <a:pt x="26" y="326"/>
                </a:lnTo>
                <a:lnTo>
                  <a:pt x="26" y="319"/>
                </a:lnTo>
                <a:lnTo>
                  <a:pt x="30" y="311"/>
                </a:lnTo>
                <a:lnTo>
                  <a:pt x="26" y="304"/>
                </a:lnTo>
                <a:lnTo>
                  <a:pt x="32" y="296"/>
                </a:lnTo>
                <a:lnTo>
                  <a:pt x="9" y="34"/>
                </a:lnTo>
                <a:lnTo>
                  <a:pt x="9" y="30"/>
                </a:lnTo>
                <a:lnTo>
                  <a:pt x="17" y="38"/>
                </a:lnTo>
                <a:lnTo>
                  <a:pt x="28" y="38"/>
                </a:lnTo>
                <a:lnTo>
                  <a:pt x="35" y="38"/>
                </a:lnTo>
                <a:lnTo>
                  <a:pt x="49" y="30"/>
                </a:lnTo>
                <a:lnTo>
                  <a:pt x="64" y="19"/>
                </a:lnTo>
                <a:lnTo>
                  <a:pt x="69" y="19"/>
                </a:lnTo>
                <a:lnTo>
                  <a:pt x="109" y="15"/>
                </a:lnTo>
                <a:lnTo>
                  <a:pt x="226" y="0"/>
                </a:lnTo>
                <a:lnTo>
                  <a:pt x="235" y="6"/>
                </a:lnTo>
                <a:lnTo>
                  <a:pt x="247" y="111"/>
                </a:lnTo>
                <a:lnTo>
                  <a:pt x="269" y="300"/>
                </a:lnTo>
                <a:lnTo>
                  <a:pt x="267" y="304"/>
                </a:lnTo>
                <a:lnTo>
                  <a:pt x="271" y="313"/>
                </a:lnTo>
                <a:lnTo>
                  <a:pt x="269" y="319"/>
                </a:lnTo>
                <a:lnTo>
                  <a:pt x="275" y="328"/>
                </a:lnTo>
                <a:lnTo>
                  <a:pt x="273" y="334"/>
                </a:lnTo>
                <a:lnTo>
                  <a:pt x="258" y="338"/>
                </a:lnTo>
                <a:lnTo>
                  <a:pt x="243" y="349"/>
                </a:lnTo>
                <a:lnTo>
                  <a:pt x="237" y="343"/>
                </a:lnTo>
                <a:lnTo>
                  <a:pt x="228" y="347"/>
                </a:lnTo>
                <a:lnTo>
                  <a:pt x="222" y="347"/>
                </a:lnTo>
                <a:lnTo>
                  <a:pt x="222" y="356"/>
                </a:lnTo>
                <a:lnTo>
                  <a:pt x="226" y="364"/>
                </a:lnTo>
                <a:lnTo>
                  <a:pt x="224" y="370"/>
                </a:lnTo>
                <a:lnTo>
                  <a:pt x="218" y="377"/>
                </a:lnTo>
                <a:lnTo>
                  <a:pt x="211" y="381"/>
                </a:lnTo>
                <a:lnTo>
                  <a:pt x="209" y="396"/>
                </a:lnTo>
                <a:lnTo>
                  <a:pt x="201" y="402"/>
                </a:lnTo>
                <a:lnTo>
                  <a:pt x="194" y="402"/>
                </a:lnTo>
                <a:lnTo>
                  <a:pt x="188" y="417"/>
                </a:lnTo>
                <a:lnTo>
                  <a:pt x="190" y="424"/>
                </a:lnTo>
                <a:lnTo>
                  <a:pt x="188" y="432"/>
                </a:lnTo>
                <a:lnTo>
                  <a:pt x="181" y="436"/>
                </a:lnTo>
                <a:lnTo>
                  <a:pt x="167" y="434"/>
                </a:lnTo>
                <a:lnTo>
                  <a:pt x="160" y="432"/>
                </a:lnTo>
                <a:lnTo>
                  <a:pt x="154" y="422"/>
                </a:lnTo>
                <a:lnTo>
                  <a:pt x="147" y="417"/>
                </a:lnTo>
                <a:lnTo>
                  <a:pt x="149" y="424"/>
                </a:lnTo>
                <a:lnTo>
                  <a:pt x="143" y="428"/>
                </a:lnTo>
                <a:lnTo>
                  <a:pt x="137" y="436"/>
                </a:lnTo>
                <a:lnTo>
                  <a:pt x="137" y="443"/>
                </a:lnTo>
                <a:lnTo>
                  <a:pt x="132" y="451"/>
                </a:lnTo>
                <a:lnTo>
                  <a:pt x="130" y="458"/>
                </a:lnTo>
                <a:lnTo>
                  <a:pt x="122" y="454"/>
                </a:lnTo>
                <a:lnTo>
                  <a:pt x="115" y="451"/>
                </a:lnTo>
                <a:lnTo>
                  <a:pt x="111" y="445"/>
                </a:lnTo>
                <a:lnTo>
                  <a:pt x="105" y="449"/>
                </a:lnTo>
                <a:lnTo>
                  <a:pt x="96" y="454"/>
                </a:lnTo>
                <a:lnTo>
                  <a:pt x="92" y="460"/>
                </a:lnTo>
                <a:lnTo>
                  <a:pt x="92" y="462"/>
                </a:lnTo>
                <a:lnTo>
                  <a:pt x="88" y="468"/>
                </a:lnTo>
                <a:lnTo>
                  <a:pt x="81" y="464"/>
                </a:lnTo>
                <a:lnTo>
                  <a:pt x="60" y="456"/>
                </a:lnTo>
                <a:lnTo>
                  <a:pt x="52" y="458"/>
                </a:lnTo>
                <a:lnTo>
                  <a:pt x="43" y="460"/>
                </a:lnTo>
                <a:lnTo>
                  <a:pt x="45" y="466"/>
                </a:lnTo>
                <a:lnTo>
                  <a:pt x="37" y="468"/>
                </a:lnTo>
                <a:lnTo>
                  <a:pt x="37" y="462"/>
                </a:lnTo>
                <a:lnTo>
                  <a:pt x="30" y="466"/>
                </a:lnTo>
                <a:lnTo>
                  <a:pt x="15" y="464"/>
                </a:lnTo>
                <a:lnTo>
                  <a:pt x="17" y="471"/>
                </a:lnTo>
                <a:lnTo>
                  <a:pt x="13" y="477"/>
                </a:lnTo>
                <a:lnTo>
                  <a:pt x="5" y="47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0" name="Freeform 726"/>
          <p:cNvSpPr>
            <a:spLocks/>
          </p:cNvSpPr>
          <p:nvPr/>
        </p:nvSpPr>
        <p:spPr bwMode="auto">
          <a:xfrm>
            <a:off x="5524500" y="4140321"/>
            <a:ext cx="547688" cy="889000"/>
          </a:xfrm>
          <a:custGeom>
            <a:avLst/>
            <a:gdLst>
              <a:gd name="T0" fmla="*/ 0 w 345"/>
              <a:gd name="T1" fmla="*/ 23 h 560"/>
              <a:gd name="T2" fmla="*/ 234 w 345"/>
              <a:gd name="T3" fmla="*/ 0 h 560"/>
              <a:gd name="T4" fmla="*/ 302 w 345"/>
              <a:gd name="T5" fmla="*/ 230 h 560"/>
              <a:gd name="T6" fmla="*/ 306 w 345"/>
              <a:gd name="T7" fmla="*/ 240 h 560"/>
              <a:gd name="T8" fmla="*/ 315 w 345"/>
              <a:gd name="T9" fmla="*/ 262 h 560"/>
              <a:gd name="T10" fmla="*/ 326 w 345"/>
              <a:gd name="T11" fmla="*/ 274 h 560"/>
              <a:gd name="T12" fmla="*/ 328 w 345"/>
              <a:gd name="T13" fmla="*/ 294 h 560"/>
              <a:gd name="T14" fmla="*/ 336 w 345"/>
              <a:gd name="T15" fmla="*/ 304 h 560"/>
              <a:gd name="T16" fmla="*/ 326 w 345"/>
              <a:gd name="T17" fmla="*/ 315 h 560"/>
              <a:gd name="T18" fmla="*/ 323 w 345"/>
              <a:gd name="T19" fmla="*/ 338 h 560"/>
              <a:gd name="T20" fmla="*/ 326 w 345"/>
              <a:gd name="T21" fmla="*/ 366 h 560"/>
              <a:gd name="T22" fmla="*/ 336 w 345"/>
              <a:gd name="T23" fmla="*/ 383 h 560"/>
              <a:gd name="T24" fmla="*/ 334 w 345"/>
              <a:gd name="T25" fmla="*/ 398 h 560"/>
              <a:gd name="T26" fmla="*/ 334 w 345"/>
              <a:gd name="T27" fmla="*/ 421 h 560"/>
              <a:gd name="T28" fmla="*/ 345 w 345"/>
              <a:gd name="T29" fmla="*/ 438 h 560"/>
              <a:gd name="T30" fmla="*/ 196 w 345"/>
              <a:gd name="T31" fmla="*/ 460 h 560"/>
              <a:gd name="T32" fmla="*/ 100 w 345"/>
              <a:gd name="T33" fmla="*/ 475 h 560"/>
              <a:gd name="T34" fmla="*/ 108 w 345"/>
              <a:gd name="T35" fmla="*/ 498 h 560"/>
              <a:gd name="T36" fmla="*/ 121 w 345"/>
              <a:gd name="T37" fmla="*/ 509 h 560"/>
              <a:gd name="T38" fmla="*/ 121 w 345"/>
              <a:gd name="T39" fmla="*/ 526 h 560"/>
              <a:gd name="T40" fmla="*/ 113 w 345"/>
              <a:gd name="T41" fmla="*/ 545 h 560"/>
              <a:gd name="T42" fmla="*/ 106 w 345"/>
              <a:gd name="T43" fmla="*/ 547 h 560"/>
              <a:gd name="T44" fmla="*/ 96 w 345"/>
              <a:gd name="T45" fmla="*/ 556 h 560"/>
              <a:gd name="T46" fmla="*/ 72 w 345"/>
              <a:gd name="T47" fmla="*/ 558 h 560"/>
              <a:gd name="T48" fmla="*/ 87 w 345"/>
              <a:gd name="T49" fmla="*/ 556 h 560"/>
              <a:gd name="T50" fmla="*/ 83 w 345"/>
              <a:gd name="T51" fmla="*/ 541 h 560"/>
              <a:gd name="T52" fmla="*/ 74 w 345"/>
              <a:gd name="T53" fmla="*/ 539 h 560"/>
              <a:gd name="T54" fmla="*/ 72 w 345"/>
              <a:gd name="T55" fmla="*/ 524 h 560"/>
              <a:gd name="T56" fmla="*/ 68 w 345"/>
              <a:gd name="T57" fmla="*/ 511 h 560"/>
              <a:gd name="T58" fmla="*/ 59 w 345"/>
              <a:gd name="T59" fmla="*/ 505 h 560"/>
              <a:gd name="T60" fmla="*/ 57 w 345"/>
              <a:gd name="T61" fmla="*/ 513 h 560"/>
              <a:gd name="T62" fmla="*/ 55 w 345"/>
              <a:gd name="T63" fmla="*/ 547 h 560"/>
              <a:gd name="T64" fmla="*/ 34 w 345"/>
              <a:gd name="T65" fmla="*/ 545 h 560"/>
              <a:gd name="T66" fmla="*/ 27 w 345"/>
              <a:gd name="T67" fmla="*/ 543 h 560"/>
              <a:gd name="T68" fmla="*/ 10 w 345"/>
              <a:gd name="T69" fmla="*/ 34 h 560"/>
              <a:gd name="T70" fmla="*/ 0 w 345"/>
              <a:gd name="T71" fmla="*/ 2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 h="560">
                <a:moveTo>
                  <a:pt x="0" y="25"/>
                </a:moveTo>
                <a:lnTo>
                  <a:pt x="0" y="23"/>
                </a:lnTo>
                <a:lnTo>
                  <a:pt x="132" y="13"/>
                </a:lnTo>
                <a:lnTo>
                  <a:pt x="234" y="0"/>
                </a:lnTo>
                <a:lnTo>
                  <a:pt x="268" y="106"/>
                </a:lnTo>
                <a:lnTo>
                  <a:pt x="302" y="230"/>
                </a:lnTo>
                <a:lnTo>
                  <a:pt x="304" y="234"/>
                </a:lnTo>
                <a:lnTo>
                  <a:pt x="306" y="240"/>
                </a:lnTo>
                <a:lnTo>
                  <a:pt x="311" y="249"/>
                </a:lnTo>
                <a:lnTo>
                  <a:pt x="315" y="262"/>
                </a:lnTo>
                <a:lnTo>
                  <a:pt x="326" y="270"/>
                </a:lnTo>
                <a:lnTo>
                  <a:pt x="326" y="274"/>
                </a:lnTo>
                <a:lnTo>
                  <a:pt x="330" y="283"/>
                </a:lnTo>
                <a:lnTo>
                  <a:pt x="328" y="294"/>
                </a:lnTo>
                <a:lnTo>
                  <a:pt x="336" y="296"/>
                </a:lnTo>
                <a:lnTo>
                  <a:pt x="336" y="304"/>
                </a:lnTo>
                <a:lnTo>
                  <a:pt x="330" y="309"/>
                </a:lnTo>
                <a:lnTo>
                  <a:pt x="326" y="315"/>
                </a:lnTo>
                <a:lnTo>
                  <a:pt x="326" y="330"/>
                </a:lnTo>
                <a:lnTo>
                  <a:pt x="323" y="338"/>
                </a:lnTo>
                <a:lnTo>
                  <a:pt x="321" y="351"/>
                </a:lnTo>
                <a:lnTo>
                  <a:pt x="326" y="366"/>
                </a:lnTo>
                <a:lnTo>
                  <a:pt x="332" y="372"/>
                </a:lnTo>
                <a:lnTo>
                  <a:pt x="336" y="383"/>
                </a:lnTo>
                <a:lnTo>
                  <a:pt x="334" y="389"/>
                </a:lnTo>
                <a:lnTo>
                  <a:pt x="334" y="398"/>
                </a:lnTo>
                <a:lnTo>
                  <a:pt x="332" y="413"/>
                </a:lnTo>
                <a:lnTo>
                  <a:pt x="334" y="421"/>
                </a:lnTo>
                <a:lnTo>
                  <a:pt x="338" y="428"/>
                </a:lnTo>
                <a:lnTo>
                  <a:pt x="345" y="438"/>
                </a:lnTo>
                <a:lnTo>
                  <a:pt x="345" y="443"/>
                </a:lnTo>
                <a:lnTo>
                  <a:pt x="196" y="460"/>
                </a:lnTo>
                <a:lnTo>
                  <a:pt x="106" y="468"/>
                </a:lnTo>
                <a:lnTo>
                  <a:pt x="100" y="475"/>
                </a:lnTo>
                <a:lnTo>
                  <a:pt x="98" y="483"/>
                </a:lnTo>
                <a:lnTo>
                  <a:pt x="108" y="498"/>
                </a:lnTo>
                <a:lnTo>
                  <a:pt x="115" y="502"/>
                </a:lnTo>
                <a:lnTo>
                  <a:pt x="121" y="509"/>
                </a:lnTo>
                <a:lnTo>
                  <a:pt x="119" y="519"/>
                </a:lnTo>
                <a:lnTo>
                  <a:pt x="121" y="526"/>
                </a:lnTo>
                <a:lnTo>
                  <a:pt x="119" y="539"/>
                </a:lnTo>
                <a:lnTo>
                  <a:pt x="113" y="545"/>
                </a:lnTo>
                <a:lnTo>
                  <a:pt x="104" y="545"/>
                </a:lnTo>
                <a:lnTo>
                  <a:pt x="106" y="547"/>
                </a:lnTo>
                <a:lnTo>
                  <a:pt x="104" y="553"/>
                </a:lnTo>
                <a:lnTo>
                  <a:pt x="96" y="556"/>
                </a:lnTo>
                <a:lnTo>
                  <a:pt x="68" y="560"/>
                </a:lnTo>
                <a:lnTo>
                  <a:pt x="72" y="558"/>
                </a:lnTo>
                <a:lnTo>
                  <a:pt x="79" y="558"/>
                </a:lnTo>
                <a:lnTo>
                  <a:pt x="87" y="556"/>
                </a:lnTo>
                <a:lnTo>
                  <a:pt x="89" y="549"/>
                </a:lnTo>
                <a:lnTo>
                  <a:pt x="83" y="541"/>
                </a:lnTo>
                <a:lnTo>
                  <a:pt x="81" y="543"/>
                </a:lnTo>
                <a:lnTo>
                  <a:pt x="74" y="539"/>
                </a:lnTo>
                <a:lnTo>
                  <a:pt x="70" y="530"/>
                </a:lnTo>
                <a:lnTo>
                  <a:pt x="72" y="524"/>
                </a:lnTo>
                <a:lnTo>
                  <a:pt x="72" y="517"/>
                </a:lnTo>
                <a:lnTo>
                  <a:pt x="68" y="511"/>
                </a:lnTo>
                <a:lnTo>
                  <a:pt x="64" y="509"/>
                </a:lnTo>
                <a:lnTo>
                  <a:pt x="59" y="505"/>
                </a:lnTo>
                <a:lnTo>
                  <a:pt x="61" y="507"/>
                </a:lnTo>
                <a:lnTo>
                  <a:pt x="57" y="513"/>
                </a:lnTo>
                <a:lnTo>
                  <a:pt x="57" y="522"/>
                </a:lnTo>
                <a:lnTo>
                  <a:pt x="55" y="547"/>
                </a:lnTo>
                <a:lnTo>
                  <a:pt x="49" y="547"/>
                </a:lnTo>
                <a:lnTo>
                  <a:pt x="34" y="545"/>
                </a:lnTo>
                <a:lnTo>
                  <a:pt x="27" y="545"/>
                </a:lnTo>
                <a:lnTo>
                  <a:pt x="27" y="543"/>
                </a:lnTo>
                <a:lnTo>
                  <a:pt x="4" y="375"/>
                </a:lnTo>
                <a:lnTo>
                  <a:pt x="10" y="34"/>
                </a:lnTo>
                <a:lnTo>
                  <a:pt x="4" y="30"/>
                </a:lnTo>
                <a:lnTo>
                  <a:pt x="0" y="25"/>
                </a:lnTo>
                <a:close/>
              </a:path>
            </a:pathLst>
          </a:custGeom>
          <a:solidFill>
            <a:srgbClr val="FFC9C9"/>
          </a:solidFill>
          <a:ln>
            <a:noFill/>
          </a:ln>
        </p:spPr>
        <p:txBody>
          <a:bodyPr vert="horz" wrap="square" lIns="91440" tIns="45720" rIns="91440" bIns="45720" numCol="1" anchor="t" anchorCtr="0" compatLnSpc="1">
            <a:prstTxWarp prst="textNoShape">
              <a:avLst/>
            </a:prstTxWarp>
          </a:bodyPr>
          <a:lstStyle/>
          <a:p>
            <a:endParaRPr lang="en-US"/>
          </a:p>
        </p:txBody>
      </p:sp>
      <p:sp>
        <p:nvSpPr>
          <p:cNvPr id="1321" name="Freeform 727"/>
          <p:cNvSpPr>
            <a:spLocks/>
          </p:cNvSpPr>
          <p:nvPr/>
        </p:nvSpPr>
        <p:spPr bwMode="auto">
          <a:xfrm>
            <a:off x="5524500" y="4140321"/>
            <a:ext cx="547688" cy="889000"/>
          </a:xfrm>
          <a:custGeom>
            <a:avLst/>
            <a:gdLst>
              <a:gd name="T0" fmla="*/ 0 w 345"/>
              <a:gd name="T1" fmla="*/ 23 h 560"/>
              <a:gd name="T2" fmla="*/ 234 w 345"/>
              <a:gd name="T3" fmla="*/ 0 h 560"/>
              <a:gd name="T4" fmla="*/ 302 w 345"/>
              <a:gd name="T5" fmla="*/ 230 h 560"/>
              <a:gd name="T6" fmla="*/ 306 w 345"/>
              <a:gd name="T7" fmla="*/ 240 h 560"/>
              <a:gd name="T8" fmla="*/ 315 w 345"/>
              <a:gd name="T9" fmla="*/ 262 h 560"/>
              <a:gd name="T10" fmla="*/ 326 w 345"/>
              <a:gd name="T11" fmla="*/ 274 h 560"/>
              <a:gd name="T12" fmla="*/ 328 w 345"/>
              <a:gd name="T13" fmla="*/ 294 h 560"/>
              <a:gd name="T14" fmla="*/ 336 w 345"/>
              <a:gd name="T15" fmla="*/ 304 h 560"/>
              <a:gd name="T16" fmla="*/ 326 w 345"/>
              <a:gd name="T17" fmla="*/ 315 h 560"/>
              <a:gd name="T18" fmla="*/ 323 w 345"/>
              <a:gd name="T19" fmla="*/ 338 h 560"/>
              <a:gd name="T20" fmla="*/ 326 w 345"/>
              <a:gd name="T21" fmla="*/ 366 h 560"/>
              <a:gd name="T22" fmla="*/ 336 w 345"/>
              <a:gd name="T23" fmla="*/ 383 h 560"/>
              <a:gd name="T24" fmla="*/ 334 w 345"/>
              <a:gd name="T25" fmla="*/ 398 h 560"/>
              <a:gd name="T26" fmla="*/ 334 w 345"/>
              <a:gd name="T27" fmla="*/ 421 h 560"/>
              <a:gd name="T28" fmla="*/ 345 w 345"/>
              <a:gd name="T29" fmla="*/ 438 h 560"/>
              <a:gd name="T30" fmla="*/ 196 w 345"/>
              <a:gd name="T31" fmla="*/ 460 h 560"/>
              <a:gd name="T32" fmla="*/ 100 w 345"/>
              <a:gd name="T33" fmla="*/ 475 h 560"/>
              <a:gd name="T34" fmla="*/ 108 w 345"/>
              <a:gd name="T35" fmla="*/ 498 h 560"/>
              <a:gd name="T36" fmla="*/ 121 w 345"/>
              <a:gd name="T37" fmla="*/ 509 h 560"/>
              <a:gd name="T38" fmla="*/ 121 w 345"/>
              <a:gd name="T39" fmla="*/ 526 h 560"/>
              <a:gd name="T40" fmla="*/ 113 w 345"/>
              <a:gd name="T41" fmla="*/ 545 h 560"/>
              <a:gd name="T42" fmla="*/ 106 w 345"/>
              <a:gd name="T43" fmla="*/ 547 h 560"/>
              <a:gd name="T44" fmla="*/ 96 w 345"/>
              <a:gd name="T45" fmla="*/ 556 h 560"/>
              <a:gd name="T46" fmla="*/ 72 w 345"/>
              <a:gd name="T47" fmla="*/ 558 h 560"/>
              <a:gd name="T48" fmla="*/ 87 w 345"/>
              <a:gd name="T49" fmla="*/ 556 h 560"/>
              <a:gd name="T50" fmla="*/ 83 w 345"/>
              <a:gd name="T51" fmla="*/ 541 h 560"/>
              <a:gd name="T52" fmla="*/ 74 w 345"/>
              <a:gd name="T53" fmla="*/ 539 h 560"/>
              <a:gd name="T54" fmla="*/ 72 w 345"/>
              <a:gd name="T55" fmla="*/ 524 h 560"/>
              <a:gd name="T56" fmla="*/ 68 w 345"/>
              <a:gd name="T57" fmla="*/ 511 h 560"/>
              <a:gd name="T58" fmla="*/ 59 w 345"/>
              <a:gd name="T59" fmla="*/ 505 h 560"/>
              <a:gd name="T60" fmla="*/ 57 w 345"/>
              <a:gd name="T61" fmla="*/ 513 h 560"/>
              <a:gd name="T62" fmla="*/ 55 w 345"/>
              <a:gd name="T63" fmla="*/ 547 h 560"/>
              <a:gd name="T64" fmla="*/ 34 w 345"/>
              <a:gd name="T65" fmla="*/ 545 h 560"/>
              <a:gd name="T66" fmla="*/ 27 w 345"/>
              <a:gd name="T67" fmla="*/ 543 h 560"/>
              <a:gd name="T68" fmla="*/ 10 w 345"/>
              <a:gd name="T69" fmla="*/ 34 h 560"/>
              <a:gd name="T70" fmla="*/ 0 w 345"/>
              <a:gd name="T71" fmla="*/ 25 h 5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45" h="560">
                <a:moveTo>
                  <a:pt x="0" y="25"/>
                </a:moveTo>
                <a:lnTo>
                  <a:pt x="0" y="23"/>
                </a:lnTo>
                <a:lnTo>
                  <a:pt x="132" y="13"/>
                </a:lnTo>
                <a:lnTo>
                  <a:pt x="234" y="0"/>
                </a:lnTo>
                <a:lnTo>
                  <a:pt x="268" y="106"/>
                </a:lnTo>
                <a:lnTo>
                  <a:pt x="302" y="230"/>
                </a:lnTo>
                <a:lnTo>
                  <a:pt x="304" y="234"/>
                </a:lnTo>
                <a:lnTo>
                  <a:pt x="306" y="240"/>
                </a:lnTo>
                <a:lnTo>
                  <a:pt x="311" y="249"/>
                </a:lnTo>
                <a:lnTo>
                  <a:pt x="315" y="262"/>
                </a:lnTo>
                <a:lnTo>
                  <a:pt x="326" y="270"/>
                </a:lnTo>
                <a:lnTo>
                  <a:pt x="326" y="274"/>
                </a:lnTo>
                <a:lnTo>
                  <a:pt x="330" y="283"/>
                </a:lnTo>
                <a:lnTo>
                  <a:pt x="328" y="294"/>
                </a:lnTo>
                <a:lnTo>
                  <a:pt x="336" y="296"/>
                </a:lnTo>
                <a:lnTo>
                  <a:pt x="336" y="304"/>
                </a:lnTo>
                <a:lnTo>
                  <a:pt x="330" y="309"/>
                </a:lnTo>
                <a:lnTo>
                  <a:pt x="326" y="315"/>
                </a:lnTo>
                <a:lnTo>
                  <a:pt x="326" y="330"/>
                </a:lnTo>
                <a:lnTo>
                  <a:pt x="323" y="338"/>
                </a:lnTo>
                <a:lnTo>
                  <a:pt x="321" y="351"/>
                </a:lnTo>
                <a:lnTo>
                  <a:pt x="326" y="366"/>
                </a:lnTo>
                <a:lnTo>
                  <a:pt x="332" y="372"/>
                </a:lnTo>
                <a:lnTo>
                  <a:pt x="336" y="383"/>
                </a:lnTo>
                <a:lnTo>
                  <a:pt x="334" y="389"/>
                </a:lnTo>
                <a:lnTo>
                  <a:pt x="334" y="398"/>
                </a:lnTo>
                <a:lnTo>
                  <a:pt x="332" y="413"/>
                </a:lnTo>
                <a:lnTo>
                  <a:pt x="334" y="421"/>
                </a:lnTo>
                <a:lnTo>
                  <a:pt x="338" y="428"/>
                </a:lnTo>
                <a:lnTo>
                  <a:pt x="345" y="438"/>
                </a:lnTo>
                <a:lnTo>
                  <a:pt x="345" y="443"/>
                </a:lnTo>
                <a:lnTo>
                  <a:pt x="196" y="460"/>
                </a:lnTo>
                <a:lnTo>
                  <a:pt x="106" y="468"/>
                </a:lnTo>
                <a:lnTo>
                  <a:pt x="100" y="475"/>
                </a:lnTo>
                <a:lnTo>
                  <a:pt x="98" y="483"/>
                </a:lnTo>
                <a:lnTo>
                  <a:pt x="108" y="498"/>
                </a:lnTo>
                <a:lnTo>
                  <a:pt x="115" y="502"/>
                </a:lnTo>
                <a:lnTo>
                  <a:pt x="121" y="509"/>
                </a:lnTo>
                <a:lnTo>
                  <a:pt x="119" y="519"/>
                </a:lnTo>
                <a:lnTo>
                  <a:pt x="121" y="526"/>
                </a:lnTo>
                <a:lnTo>
                  <a:pt x="119" y="539"/>
                </a:lnTo>
                <a:lnTo>
                  <a:pt x="113" y="545"/>
                </a:lnTo>
                <a:lnTo>
                  <a:pt x="104" y="545"/>
                </a:lnTo>
                <a:lnTo>
                  <a:pt x="106" y="547"/>
                </a:lnTo>
                <a:lnTo>
                  <a:pt x="104" y="553"/>
                </a:lnTo>
                <a:lnTo>
                  <a:pt x="96" y="556"/>
                </a:lnTo>
                <a:lnTo>
                  <a:pt x="68" y="560"/>
                </a:lnTo>
                <a:lnTo>
                  <a:pt x="72" y="558"/>
                </a:lnTo>
                <a:lnTo>
                  <a:pt x="79" y="558"/>
                </a:lnTo>
                <a:lnTo>
                  <a:pt x="87" y="556"/>
                </a:lnTo>
                <a:lnTo>
                  <a:pt x="89" y="549"/>
                </a:lnTo>
                <a:lnTo>
                  <a:pt x="83" y="541"/>
                </a:lnTo>
                <a:lnTo>
                  <a:pt x="81" y="543"/>
                </a:lnTo>
                <a:lnTo>
                  <a:pt x="74" y="539"/>
                </a:lnTo>
                <a:lnTo>
                  <a:pt x="70" y="530"/>
                </a:lnTo>
                <a:lnTo>
                  <a:pt x="72" y="524"/>
                </a:lnTo>
                <a:lnTo>
                  <a:pt x="72" y="517"/>
                </a:lnTo>
                <a:lnTo>
                  <a:pt x="68" y="511"/>
                </a:lnTo>
                <a:lnTo>
                  <a:pt x="64" y="509"/>
                </a:lnTo>
                <a:lnTo>
                  <a:pt x="59" y="505"/>
                </a:lnTo>
                <a:lnTo>
                  <a:pt x="61" y="507"/>
                </a:lnTo>
                <a:lnTo>
                  <a:pt x="57" y="513"/>
                </a:lnTo>
                <a:lnTo>
                  <a:pt x="57" y="522"/>
                </a:lnTo>
                <a:lnTo>
                  <a:pt x="55" y="547"/>
                </a:lnTo>
                <a:lnTo>
                  <a:pt x="49" y="547"/>
                </a:lnTo>
                <a:lnTo>
                  <a:pt x="34" y="545"/>
                </a:lnTo>
                <a:lnTo>
                  <a:pt x="27" y="545"/>
                </a:lnTo>
                <a:lnTo>
                  <a:pt x="27" y="543"/>
                </a:lnTo>
                <a:lnTo>
                  <a:pt x="4" y="375"/>
                </a:lnTo>
                <a:lnTo>
                  <a:pt x="10" y="34"/>
                </a:lnTo>
                <a:lnTo>
                  <a:pt x="4" y="30"/>
                </a:lnTo>
                <a:lnTo>
                  <a:pt x="0" y="2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2" name="Freeform 728"/>
          <p:cNvSpPr>
            <a:spLocks/>
          </p:cNvSpPr>
          <p:nvPr/>
        </p:nvSpPr>
        <p:spPr bwMode="auto">
          <a:xfrm>
            <a:off x="6619875" y="5570659"/>
            <a:ext cx="23813" cy="12700"/>
          </a:xfrm>
          <a:custGeom>
            <a:avLst/>
            <a:gdLst>
              <a:gd name="T0" fmla="*/ 2 w 15"/>
              <a:gd name="T1" fmla="*/ 0 h 8"/>
              <a:gd name="T2" fmla="*/ 0 w 15"/>
              <a:gd name="T3" fmla="*/ 0 h 8"/>
              <a:gd name="T4" fmla="*/ 6 w 15"/>
              <a:gd name="T5" fmla="*/ 8 h 8"/>
              <a:gd name="T6" fmla="*/ 8 w 15"/>
              <a:gd name="T7" fmla="*/ 8 h 8"/>
              <a:gd name="T8" fmla="*/ 15 w 15"/>
              <a:gd name="T9" fmla="*/ 4 h 8"/>
              <a:gd name="T10" fmla="*/ 8 w 15"/>
              <a:gd name="T11" fmla="*/ 6 h 8"/>
              <a:gd name="T12" fmla="*/ 2 w 1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5" h="8">
                <a:moveTo>
                  <a:pt x="2" y="0"/>
                </a:moveTo>
                <a:lnTo>
                  <a:pt x="0" y="0"/>
                </a:lnTo>
                <a:lnTo>
                  <a:pt x="6" y="8"/>
                </a:lnTo>
                <a:lnTo>
                  <a:pt x="8" y="8"/>
                </a:lnTo>
                <a:lnTo>
                  <a:pt x="15" y="4"/>
                </a:lnTo>
                <a:lnTo>
                  <a:pt x="8" y="6"/>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3" name="Freeform 729"/>
          <p:cNvSpPr>
            <a:spLocks/>
          </p:cNvSpPr>
          <p:nvPr/>
        </p:nvSpPr>
        <p:spPr bwMode="auto">
          <a:xfrm>
            <a:off x="6619875" y="5570659"/>
            <a:ext cx="23813" cy="12700"/>
          </a:xfrm>
          <a:custGeom>
            <a:avLst/>
            <a:gdLst>
              <a:gd name="T0" fmla="*/ 2 w 15"/>
              <a:gd name="T1" fmla="*/ 0 h 8"/>
              <a:gd name="T2" fmla="*/ 0 w 15"/>
              <a:gd name="T3" fmla="*/ 0 h 8"/>
              <a:gd name="T4" fmla="*/ 6 w 15"/>
              <a:gd name="T5" fmla="*/ 8 h 8"/>
              <a:gd name="T6" fmla="*/ 8 w 15"/>
              <a:gd name="T7" fmla="*/ 8 h 8"/>
              <a:gd name="T8" fmla="*/ 15 w 15"/>
              <a:gd name="T9" fmla="*/ 4 h 8"/>
              <a:gd name="T10" fmla="*/ 8 w 15"/>
              <a:gd name="T11" fmla="*/ 6 h 8"/>
              <a:gd name="T12" fmla="*/ 2 w 15"/>
              <a:gd name="T13" fmla="*/ 0 h 8"/>
            </a:gdLst>
            <a:ahLst/>
            <a:cxnLst>
              <a:cxn ang="0">
                <a:pos x="T0" y="T1"/>
              </a:cxn>
              <a:cxn ang="0">
                <a:pos x="T2" y="T3"/>
              </a:cxn>
              <a:cxn ang="0">
                <a:pos x="T4" y="T5"/>
              </a:cxn>
              <a:cxn ang="0">
                <a:pos x="T6" y="T7"/>
              </a:cxn>
              <a:cxn ang="0">
                <a:pos x="T8" y="T9"/>
              </a:cxn>
              <a:cxn ang="0">
                <a:pos x="T10" y="T11"/>
              </a:cxn>
              <a:cxn ang="0">
                <a:pos x="T12" y="T13"/>
              </a:cxn>
            </a:cxnLst>
            <a:rect l="0" t="0" r="r" b="b"/>
            <a:pathLst>
              <a:path w="15" h="8">
                <a:moveTo>
                  <a:pt x="2" y="0"/>
                </a:moveTo>
                <a:lnTo>
                  <a:pt x="0" y="0"/>
                </a:lnTo>
                <a:lnTo>
                  <a:pt x="6" y="8"/>
                </a:lnTo>
                <a:lnTo>
                  <a:pt x="8" y="8"/>
                </a:lnTo>
                <a:lnTo>
                  <a:pt x="15" y="4"/>
                </a:lnTo>
                <a:lnTo>
                  <a:pt x="8" y="6"/>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4" name="Freeform 730"/>
          <p:cNvSpPr>
            <a:spLocks/>
          </p:cNvSpPr>
          <p:nvPr/>
        </p:nvSpPr>
        <p:spPr bwMode="auto">
          <a:xfrm>
            <a:off x="6734175" y="5900859"/>
            <a:ext cx="14288" cy="7938"/>
          </a:xfrm>
          <a:custGeom>
            <a:avLst/>
            <a:gdLst>
              <a:gd name="T0" fmla="*/ 2 w 9"/>
              <a:gd name="T1" fmla="*/ 0 h 5"/>
              <a:gd name="T2" fmla="*/ 0 w 9"/>
              <a:gd name="T3" fmla="*/ 5 h 5"/>
              <a:gd name="T4" fmla="*/ 9 w 9"/>
              <a:gd name="T5" fmla="*/ 0 h 5"/>
              <a:gd name="T6" fmla="*/ 2 w 9"/>
              <a:gd name="T7" fmla="*/ 0 h 5"/>
            </a:gdLst>
            <a:ahLst/>
            <a:cxnLst>
              <a:cxn ang="0">
                <a:pos x="T0" y="T1"/>
              </a:cxn>
              <a:cxn ang="0">
                <a:pos x="T2" y="T3"/>
              </a:cxn>
              <a:cxn ang="0">
                <a:pos x="T4" y="T5"/>
              </a:cxn>
              <a:cxn ang="0">
                <a:pos x="T6" y="T7"/>
              </a:cxn>
            </a:cxnLst>
            <a:rect l="0" t="0" r="r" b="b"/>
            <a:pathLst>
              <a:path w="9" h="5">
                <a:moveTo>
                  <a:pt x="2" y="0"/>
                </a:moveTo>
                <a:lnTo>
                  <a:pt x="0" y="5"/>
                </a:lnTo>
                <a:lnTo>
                  <a:pt x="9" y="0"/>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5" name="Freeform 731"/>
          <p:cNvSpPr>
            <a:spLocks/>
          </p:cNvSpPr>
          <p:nvPr/>
        </p:nvSpPr>
        <p:spPr bwMode="auto">
          <a:xfrm>
            <a:off x="6734175" y="5900859"/>
            <a:ext cx="14288" cy="7938"/>
          </a:xfrm>
          <a:custGeom>
            <a:avLst/>
            <a:gdLst>
              <a:gd name="T0" fmla="*/ 2 w 9"/>
              <a:gd name="T1" fmla="*/ 0 h 5"/>
              <a:gd name="T2" fmla="*/ 0 w 9"/>
              <a:gd name="T3" fmla="*/ 5 h 5"/>
              <a:gd name="T4" fmla="*/ 9 w 9"/>
              <a:gd name="T5" fmla="*/ 0 h 5"/>
              <a:gd name="T6" fmla="*/ 2 w 9"/>
              <a:gd name="T7" fmla="*/ 0 h 5"/>
            </a:gdLst>
            <a:ahLst/>
            <a:cxnLst>
              <a:cxn ang="0">
                <a:pos x="T0" y="T1"/>
              </a:cxn>
              <a:cxn ang="0">
                <a:pos x="T2" y="T3"/>
              </a:cxn>
              <a:cxn ang="0">
                <a:pos x="T4" y="T5"/>
              </a:cxn>
              <a:cxn ang="0">
                <a:pos x="T6" y="T7"/>
              </a:cxn>
            </a:cxnLst>
            <a:rect l="0" t="0" r="r" b="b"/>
            <a:pathLst>
              <a:path w="9" h="5">
                <a:moveTo>
                  <a:pt x="2" y="0"/>
                </a:moveTo>
                <a:lnTo>
                  <a:pt x="0" y="5"/>
                </a:lnTo>
                <a:lnTo>
                  <a:pt x="9" y="0"/>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6" name="Freeform 732"/>
          <p:cNvSpPr>
            <a:spLocks/>
          </p:cNvSpPr>
          <p:nvPr/>
        </p:nvSpPr>
        <p:spPr bwMode="auto">
          <a:xfrm>
            <a:off x="6751637" y="5894509"/>
            <a:ext cx="9525" cy="3175"/>
          </a:xfrm>
          <a:custGeom>
            <a:avLst/>
            <a:gdLst>
              <a:gd name="T0" fmla="*/ 2 w 6"/>
              <a:gd name="T1" fmla="*/ 0 h 2"/>
              <a:gd name="T2" fmla="*/ 0 w 6"/>
              <a:gd name="T3" fmla="*/ 2 h 2"/>
              <a:gd name="T4" fmla="*/ 6 w 6"/>
              <a:gd name="T5" fmla="*/ 0 h 2"/>
              <a:gd name="T6" fmla="*/ 2 w 6"/>
              <a:gd name="T7" fmla="*/ 0 h 2"/>
            </a:gdLst>
            <a:ahLst/>
            <a:cxnLst>
              <a:cxn ang="0">
                <a:pos x="T0" y="T1"/>
              </a:cxn>
              <a:cxn ang="0">
                <a:pos x="T2" y="T3"/>
              </a:cxn>
              <a:cxn ang="0">
                <a:pos x="T4" y="T5"/>
              </a:cxn>
              <a:cxn ang="0">
                <a:pos x="T6" y="T7"/>
              </a:cxn>
            </a:cxnLst>
            <a:rect l="0" t="0" r="r" b="b"/>
            <a:pathLst>
              <a:path w="6" h="2">
                <a:moveTo>
                  <a:pt x="2" y="0"/>
                </a:moveTo>
                <a:lnTo>
                  <a:pt x="0" y="2"/>
                </a:lnTo>
                <a:lnTo>
                  <a:pt x="6" y="0"/>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7" name="Freeform 733"/>
          <p:cNvSpPr>
            <a:spLocks/>
          </p:cNvSpPr>
          <p:nvPr/>
        </p:nvSpPr>
        <p:spPr bwMode="auto">
          <a:xfrm>
            <a:off x="6751637" y="5894509"/>
            <a:ext cx="9525" cy="3175"/>
          </a:xfrm>
          <a:custGeom>
            <a:avLst/>
            <a:gdLst>
              <a:gd name="T0" fmla="*/ 2 w 6"/>
              <a:gd name="T1" fmla="*/ 0 h 2"/>
              <a:gd name="T2" fmla="*/ 0 w 6"/>
              <a:gd name="T3" fmla="*/ 2 h 2"/>
              <a:gd name="T4" fmla="*/ 6 w 6"/>
              <a:gd name="T5" fmla="*/ 0 h 2"/>
              <a:gd name="T6" fmla="*/ 2 w 6"/>
              <a:gd name="T7" fmla="*/ 0 h 2"/>
            </a:gdLst>
            <a:ahLst/>
            <a:cxnLst>
              <a:cxn ang="0">
                <a:pos x="T0" y="T1"/>
              </a:cxn>
              <a:cxn ang="0">
                <a:pos x="T2" y="T3"/>
              </a:cxn>
              <a:cxn ang="0">
                <a:pos x="T4" y="T5"/>
              </a:cxn>
              <a:cxn ang="0">
                <a:pos x="T6" y="T7"/>
              </a:cxn>
            </a:cxnLst>
            <a:rect l="0" t="0" r="r" b="b"/>
            <a:pathLst>
              <a:path w="6" h="2">
                <a:moveTo>
                  <a:pt x="2" y="0"/>
                </a:moveTo>
                <a:lnTo>
                  <a:pt x="0" y="2"/>
                </a:lnTo>
                <a:lnTo>
                  <a:pt x="6" y="0"/>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28" name="Freeform 734"/>
          <p:cNvSpPr>
            <a:spLocks/>
          </p:cNvSpPr>
          <p:nvPr/>
        </p:nvSpPr>
        <p:spPr bwMode="auto">
          <a:xfrm>
            <a:off x="6764337" y="5881809"/>
            <a:ext cx="17463" cy="12700"/>
          </a:xfrm>
          <a:custGeom>
            <a:avLst/>
            <a:gdLst>
              <a:gd name="T0" fmla="*/ 4 w 11"/>
              <a:gd name="T1" fmla="*/ 4 h 8"/>
              <a:gd name="T2" fmla="*/ 0 w 11"/>
              <a:gd name="T3" fmla="*/ 8 h 8"/>
              <a:gd name="T4" fmla="*/ 4 w 11"/>
              <a:gd name="T5" fmla="*/ 6 h 8"/>
              <a:gd name="T6" fmla="*/ 11 w 11"/>
              <a:gd name="T7" fmla="*/ 0 h 8"/>
              <a:gd name="T8" fmla="*/ 4 w 11"/>
              <a:gd name="T9" fmla="*/ 4 h 8"/>
            </a:gdLst>
            <a:ahLst/>
            <a:cxnLst>
              <a:cxn ang="0">
                <a:pos x="T0" y="T1"/>
              </a:cxn>
              <a:cxn ang="0">
                <a:pos x="T2" y="T3"/>
              </a:cxn>
              <a:cxn ang="0">
                <a:pos x="T4" y="T5"/>
              </a:cxn>
              <a:cxn ang="0">
                <a:pos x="T6" y="T7"/>
              </a:cxn>
              <a:cxn ang="0">
                <a:pos x="T8" y="T9"/>
              </a:cxn>
            </a:cxnLst>
            <a:rect l="0" t="0" r="r" b="b"/>
            <a:pathLst>
              <a:path w="11" h="8">
                <a:moveTo>
                  <a:pt x="4" y="4"/>
                </a:moveTo>
                <a:lnTo>
                  <a:pt x="0" y="8"/>
                </a:lnTo>
                <a:lnTo>
                  <a:pt x="4" y="6"/>
                </a:lnTo>
                <a:lnTo>
                  <a:pt x="11" y="0"/>
                </a:lnTo>
                <a:lnTo>
                  <a:pt x="4" y="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29" name="Freeform 735"/>
          <p:cNvSpPr>
            <a:spLocks/>
          </p:cNvSpPr>
          <p:nvPr/>
        </p:nvSpPr>
        <p:spPr bwMode="auto">
          <a:xfrm>
            <a:off x="6764337" y="5881809"/>
            <a:ext cx="17463" cy="12700"/>
          </a:xfrm>
          <a:custGeom>
            <a:avLst/>
            <a:gdLst>
              <a:gd name="T0" fmla="*/ 4 w 11"/>
              <a:gd name="T1" fmla="*/ 4 h 8"/>
              <a:gd name="T2" fmla="*/ 0 w 11"/>
              <a:gd name="T3" fmla="*/ 8 h 8"/>
              <a:gd name="T4" fmla="*/ 4 w 11"/>
              <a:gd name="T5" fmla="*/ 6 h 8"/>
              <a:gd name="T6" fmla="*/ 11 w 11"/>
              <a:gd name="T7" fmla="*/ 0 h 8"/>
              <a:gd name="T8" fmla="*/ 4 w 11"/>
              <a:gd name="T9" fmla="*/ 4 h 8"/>
            </a:gdLst>
            <a:ahLst/>
            <a:cxnLst>
              <a:cxn ang="0">
                <a:pos x="T0" y="T1"/>
              </a:cxn>
              <a:cxn ang="0">
                <a:pos x="T2" y="T3"/>
              </a:cxn>
              <a:cxn ang="0">
                <a:pos x="T4" y="T5"/>
              </a:cxn>
              <a:cxn ang="0">
                <a:pos x="T6" y="T7"/>
              </a:cxn>
              <a:cxn ang="0">
                <a:pos x="T8" y="T9"/>
              </a:cxn>
            </a:cxnLst>
            <a:rect l="0" t="0" r="r" b="b"/>
            <a:pathLst>
              <a:path w="11" h="8">
                <a:moveTo>
                  <a:pt x="4" y="4"/>
                </a:moveTo>
                <a:lnTo>
                  <a:pt x="0" y="8"/>
                </a:lnTo>
                <a:lnTo>
                  <a:pt x="4" y="6"/>
                </a:lnTo>
                <a:lnTo>
                  <a:pt x="11" y="0"/>
                </a:lnTo>
                <a:lnTo>
                  <a:pt x="4" y="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0" name="Freeform 736"/>
          <p:cNvSpPr>
            <a:spLocks/>
          </p:cNvSpPr>
          <p:nvPr/>
        </p:nvSpPr>
        <p:spPr bwMode="auto">
          <a:xfrm>
            <a:off x="6778625" y="5873871"/>
            <a:ext cx="9525" cy="3175"/>
          </a:xfrm>
          <a:custGeom>
            <a:avLst/>
            <a:gdLst>
              <a:gd name="T0" fmla="*/ 0 w 6"/>
              <a:gd name="T1" fmla="*/ 0 h 2"/>
              <a:gd name="T2" fmla="*/ 4 w 6"/>
              <a:gd name="T3" fmla="*/ 2 h 2"/>
              <a:gd name="T4" fmla="*/ 6 w 6"/>
              <a:gd name="T5" fmla="*/ 2 h 2"/>
              <a:gd name="T6" fmla="*/ 0 w 6"/>
              <a:gd name="T7" fmla="*/ 0 h 2"/>
            </a:gdLst>
            <a:ahLst/>
            <a:cxnLst>
              <a:cxn ang="0">
                <a:pos x="T0" y="T1"/>
              </a:cxn>
              <a:cxn ang="0">
                <a:pos x="T2" y="T3"/>
              </a:cxn>
              <a:cxn ang="0">
                <a:pos x="T4" y="T5"/>
              </a:cxn>
              <a:cxn ang="0">
                <a:pos x="T6" y="T7"/>
              </a:cxn>
            </a:cxnLst>
            <a:rect l="0" t="0" r="r" b="b"/>
            <a:pathLst>
              <a:path w="6" h="2">
                <a:moveTo>
                  <a:pt x="0" y="0"/>
                </a:moveTo>
                <a:lnTo>
                  <a:pt x="4" y="2"/>
                </a:lnTo>
                <a:lnTo>
                  <a:pt x="6" y="2"/>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1" name="Freeform 737"/>
          <p:cNvSpPr>
            <a:spLocks/>
          </p:cNvSpPr>
          <p:nvPr/>
        </p:nvSpPr>
        <p:spPr bwMode="auto">
          <a:xfrm>
            <a:off x="6778625" y="5873871"/>
            <a:ext cx="9525" cy="3175"/>
          </a:xfrm>
          <a:custGeom>
            <a:avLst/>
            <a:gdLst>
              <a:gd name="T0" fmla="*/ 0 w 6"/>
              <a:gd name="T1" fmla="*/ 0 h 2"/>
              <a:gd name="T2" fmla="*/ 4 w 6"/>
              <a:gd name="T3" fmla="*/ 2 h 2"/>
              <a:gd name="T4" fmla="*/ 6 w 6"/>
              <a:gd name="T5" fmla="*/ 2 h 2"/>
              <a:gd name="T6" fmla="*/ 0 w 6"/>
              <a:gd name="T7" fmla="*/ 0 h 2"/>
            </a:gdLst>
            <a:ahLst/>
            <a:cxnLst>
              <a:cxn ang="0">
                <a:pos x="T0" y="T1"/>
              </a:cxn>
              <a:cxn ang="0">
                <a:pos x="T2" y="T3"/>
              </a:cxn>
              <a:cxn ang="0">
                <a:pos x="T4" y="T5"/>
              </a:cxn>
              <a:cxn ang="0">
                <a:pos x="T6" y="T7"/>
              </a:cxn>
            </a:cxnLst>
            <a:rect l="0" t="0" r="r" b="b"/>
            <a:pathLst>
              <a:path w="6" h="2">
                <a:moveTo>
                  <a:pt x="0" y="0"/>
                </a:moveTo>
                <a:lnTo>
                  <a:pt x="4" y="2"/>
                </a:lnTo>
                <a:lnTo>
                  <a:pt x="6" y="2"/>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2" name="Freeform 738"/>
          <p:cNvSpPr>
            <a:spLocks/>
          </p:cNvSpPr>
          <p:nvPr/>
        </p:nvSpPr>
        <p:spPr bwMode="auto">
          <a:xfrm>
            <a:off x="6794500" y="5861171"/>
            <a:ext cx="14288" cy="12700"/>
          </a:xfrm>
          <a:custGeom>
            <a:avLst/>
            <a:gdLst>
              <a:gd name="T0" fmla="*/ 0 w 9"/>
              <a:gd name="T1" fmla="*/ 0 h 8"/>
              <a:gd name="T2" fmla="*/ 7 w 9"/>
              <a:gd name="T3" fmla="*/ 8 h 8"/>
              <a:gd name="T4" fmla="*/ 9 w 9"/>
              <a:gd name="T5" fmla="*/ 8 h 8"/>
              <a:gd name="T6" fmla="*/ 7 w 9"/>
              <a:gd name="T7" fmla="*/ 4 h 8"/>
              <a:gd name="T8" fmla="*/ 0 w 9"/>
              <a:gd name="T9" fmla="*/ 0 h 8"/>
            </a:gdLst>
            <a:ahLst/>
            <a:cxnLst>
              <a:cxn ang="0">
                <a:pos x="T0" y="T1"/>
              </a:cxn>
              <a:cxn ang="0">
                <a:pos x="T2" y="T3"/>
              </a:cxn>
              <a:cxn ang="0">
                <a:pos x="T4" y="T5"/>
              </a:cxn>
              <a:cxn ang="0">
                <a:pos x="T6" y="T7"/>
              </a:cxn>
              <a:cxn ang="0">
                <a:pos x="T8" y="T9"/>
              </a:cxn>
            </a:cxnLst>
            <a:rect l="0" t="0" r="r" b="b"/>
            <a:pathLst>
              <a:path w="9" h="8">
                <a:moveTo>
                  <a:pt x="0" y="0"/>
                </a:moveTo>
                <a:lnTo>
                  <a:pt x="7" y="8"/>
                </a:lnTo>
                <a:lnTo>
                  <a:pt x="9" y="8"/>
                </a:lnTo>
                <a:lnTo>
                  <a:pt x="7" y="4"/>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3" name="Freeform 739"/>
          <p:cNvSpPr>
            <a:spLocks/>
          </p:cNvSpPr>
          <p:nvPr/>
        </p:nvSpPr>
        <p:spPr bwMode="auto">
          <a:xfrm>
            <a:off x="6794500" y="5861171"/>
            <a:ext cx="14288" cy="12700"/>
          </a:xfrm>
          <a:custGeom>
            <a:avLst/>
            <a:gdLst>
              <a:gd name="T0" fmla="*/ 0 w 9"/>
              <a:gd name="T1" fmla="*/ 0 h 8"/>
              <a:gd name="T2" fmla="*/ 7 w 9"/>
              <a:gd name="T3" fmla="*/ 8 h 8"/>
              <a:gd name="T4" fmla="*/ 9 w 9"/>
              <a:gd name="T5" fmla="*/ 8 h 8"/>
              <a:gd name="T6" fmla="*/ 7 w 9"/>
              <a:gd name="T7" fmla="*/ 4 h 8"/>
              <a:gd name="T8" fmla="*/ 0 w 9"/>
              <a:gd name="T9" fmla="*/ 0 h 8"/>
            </a:gdLst>
            <a:ahLst/>
            <a:cxnLst>
              <a:cxn ang="0">
                <a:pos x="T0" y="T1"/>
              </a:cxn>
              <a:cxn ang="0">
                <a:pos x="T2" y="T3"/>
              </a:cxn>
              <a:cxn ang="0">
                <a:pos x="T4" y="T5"/>
              </a:cxn>
              <a:cxn ang="0">
                <a:pos x="T6" y="T7"/>
              </a:cxn>
              <a:cxn ang="0">
                <a:pos x="T8" y="T9"/>
              </a:cxn>
            </a:cxnLst>
            <a:rect l="0" t="0" r="r" b="b"/>
            <a:pathLst>
              <a:path w="9" h="8">
                <a:moveTo>
                  <a:pt x="0" y="0"/>
                </a:moveTo>
                <a:lnTo>
                  <a:pt x="7" y="8"/>
                </a:lnTo>
                <a:lnTo>
                  <a:pt x="9" y="8"/>
                </a:lnTo>
                <a:lnTo>
                  <a:pt x="7" y="4"/>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4" name="Freeform 740"/>
          <p:cNvSpPr>
            <a:spLocks/>
          </p:cNvSpPr>
          <p:nvPr/>
        </p:nvSpPr>
        <p:spPr bwMode="auto">
          <a:xfrm>
            <a:off x="6859587" y="5843709"/>
            <a:ext cx="12700" cy="11113"/>
          </a:xfrm>
          <a:custGeom>
            <a:avLst/>
            <a:gdLst>
              <a:gd name="T0" fmla="*/ 6 w 8"/>
              <a:gd name="T1" fmla="*/ 0 h 7"/>
              <a:gd name="T2" fmla="*/ 8 w 8"/>
              <a:gd name="T3" fmla="*/ 0 h 7"/>
              <a:gd name="T4" fmla="*/ 6 w 8"/>
              <a:gd name="T5" fmla="*/ 0 h 7"/>
              <a:gd name="T6" fmla="*/ 0 w 8"/>
              <a:gd name="T7" fmla="*/ 7 h 7"/>
              <a:gd name="T8" fmla="*/ 6 w 8"/>
              <a:gd name="T9" fmla="*/ 0 h 7"/>
            </a:gdLst>
            <a:ahLst/>
            <a:cxnLst>
              <a:cxn ang="0">
                <a:pos x="T0" y="T1"/>
              </a:cxn>
              <a:cxn ang="0">
                <a:pos x="T2" y="T3"/>
              </a:cxn>
              <a:cxn ang="0">
                <a:pos x="T4" y="T5"/>
              </a:cxn>
              <a:cxn ang="0">
                <a:pos x="T6" y="T7"/>
              </a:cxn>
              <a:cxn ang="0">
                <a:pos x="T8" y="T9"/>
              </a:cxn>
            </a:cxnLst>
            <a:rect l="0" t="0" r="r" b="b"/>
            <a:pathLst>
              <a:path w="8" h="7">
                <a:moveTo>
                  <a:pt x="6" y="0"/>
                </a:moveTo>
                <a:lnTo>
                  <a:pt x="8" y="0"/>
                </a:lnTo>
                <a:lnTo>
                  <a:pt x="6" y="0"/>
                </a:lnTo>
                <a:lnTo>
                  <a:pt x="0" y="7"/>
                </a:lnTo>
                <a:lnTo>
                  <a:pt x="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5" name="Freeform 741"/>
          <p:cNvSpPr>
            <a:spLocks/>
          </p:cNvSpPr>
          <p:nvPr/>
        </p:nvSpPr>
        <p:spPr bwMode="auto">
          <a:xfrm>
            <a:off x="6859587" y="5843709"/>
            <a:ext cx="12700" cy="11113"/>
          </a:xfrm>
          <a:custGeom>
            <a:avLst/>
            <a:gdLst>
              <a:gd name="T0" fmla="*/ 6 w 8"/>
              <a:gd name="T1" fmla="*/ 0 h 7"/>
              <a:gd name="T2" fmla="*/ 8 w 8"/>
              <a:gd name="T3" fmla="*/ 0 h 7"/>
              <a:gd name="T4" fmla="*/ 6 w 8"/>
              <a:gd name="T5" fmla="*/ 0 h 7"/>
              <a:gd name="T6" fmla="*/ 0 w 8"/>
              <a:gd name="T7" fmla="*/ 7 h 7"/>
              <a:gd name="T8" fmla="*/ 6 w 8"/>
              <a:gd name="T9" fmla="*/ 0 h 7"/>
            </a:gdLst>
            <a:ahLst/>
            <a:cxnLst>
              <a:cxn ang="0">
                <a:pos x="T0" y="T1"/>
              </a:cxn>
              <a:cxn ang="0">
                <a:pos x="T2" y="T3"/>
              </a:cxn>
              <a:cxn ang="0">
                <a:pos x="T4" y="T5"/>
              </a:cxn>
              <a:cxn ang="0">
                <a:pos x="T6" y="T7"/>
              </a:cxn>
              <a:cxn ang="0">
                <a:pos x="T8" y="T9"/>
              </a:cxn>
            </a:cxnLst>
            <a:rect l="0" t="0" r="r" b="b"/>
            <a:pathLst>
              <a:path w="8" h="7">
                <a:moveTo>
                  <a:pt x="6" y="0"/>
                </a:moveTo>
                <a:lnTo>
                  <a:pt x="8" y="0"/>
                </a:lnTo>
                <a:lnTo>
                  <a:pt x="6" y="0"/>
                </a:lnTo>
                <a:lnTo>
                  <a:pt x="0" y="7"/>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6" name="Freeform 742"/>
          <p:cNvSpPr>
            <a:spLocks/>
          </p:cNvSpPr>
          <p:nvPr/>
        </p:nvSpPr>
        <p:spPr bwMode="auto">
          <a:xfrm>
            <a:off x="6883400" y="5831009"/>
            <a:ext cx="9525" cy="3175"/>
          </a:xfrm>
          <a:custGeom>
            <a:avLst/>
            <a:gdLst>
              <a:gd name="T0" fmla="*/ 6 w 6"/>
              <a:gd name="T1" fmla="*/ 0 h 2"/>
              <a:gd name="T2" fmla="*/ 6 w 6"/>
              <a:gd name="T3" fmla="*/ 0 h 2"/>
              <a:gd name="T4" fmla="*/ 0 w 6"/>
              <a:gd name="T5" fmla="*/ 2 h 2"/>
              <a:gd name="T6" fmla="*/ 6 w 6"/>
              <a:gd name="T7" fmla="*/ 0 h 2"/>
            </a:gdLst>
            <a:ahLst/>
            <a:cxnLst>
              <a:cxn ang="0">
                <a:pos x="T0" y="T1"/>
              </a:cxn>
              <a:cxn ang="0">
                <a:pos x="T2" y="T3"/>
              </a:cxn>
              <a:cxn ang="0">
                <a:pos x="T4" y="T5"/>
              </a:cxn>
              <a:cxn ang="0">
                <a:pos x="T6" y="T7"/>
              </a:cxn>
            </a:cxnLst>
            <a:rect l="0" t="0" r="r" b="b"/>
            <a:pathLst>
              <a:path w="6" h="2">
                <a:moveTo>
                  <a:pt x="6" y="0"/>
                </a:moveTo>
                <a:lnTo>
                  <a:pt x="6" y="0"/>
                </a:lnTo>
                <a:lnTo>
                  <a:pt x="0" y="2"/>
                </a:lnTo>
                <a:lnTo>
                  <a:pt x="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7" name="Freeform 743"/>
          <p:cNvSpPr>
            <a:spLocks/>
          </p:cNvSpPr>
          <p:nvPr/>
        </p:nvSpPr>
        <p:spPr bwMode="auto">
          <a:xfrm>
            <a:off x="6883400" y="5831009"/>
            <a:ext cx="9525" cy="3175"/>
          </a:xfrm>
          <a:custGeom>
            <a:avLst/>
            <a:gdLst>
              <a:gd name="T0" fmla="*/ 6 w 6"/>
              <a:gd name="T1" fmla="*/ 0 h 2"/>
              <a:gd name="T2" fmla="*/ 6 w 6"/>
              <a:gd name="T3" fmla="*/ 0 h 2"/>
              <a:gd name="T4" fmla="*/ 0 w 6"/>
              <a:gd name="T5" fmla="*/ 2 h 2"/>
              <a:gd name="T6" fmla="*/ 6 w 6"/>
              <a:gd name="T7" fmla="*/ 0 h 2"/>
            </a:gdLst>
            <a:ahLst/>
            <a:cxnLst>
              <a:cxn ang="0">
                <a:pos x="T0" y="T1"/>
              </a:cxn>
              <a:cxn ang="0">
                <a:pos x="T2" y="T3"/>
              </a:cxn>
              <a:cxn ang="0">
                <a:pos x="T4" y="T5"/>
              </a:cxn>
              <a:cxn ang="0">
                <a:pos x="T6" y="T7"/>
              </a:cxn>
            </a:cxnLst>
            <a:rect l="0" t="0" r="r" b="b"/>
            <a:pathLst>
              <a:path w="6" h="2">
                <a:moveTo>
                  <a:pt x="6" y="0"/>
                </a:moveTo>
                <a:lnTo>
                  <a:pt x="6" y="0"/>
                </a:lnTo>
                <a:lnTo>
                  <a:pt x="0" y="2"/>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38" name="Freeform 744"/>
          <p:cNvSpPr>
            <a:spLocks/>
          </p:cNvSpPr>
          <p:nvPr/>
        </p:nvSpPr>
        <p:spPr bwMode="auto">
          <a:xfrm>
            <a:off x="6899275" y="5816721"/>
            <a:ext cx="7938" cy="6350"/>
          </a:xfrm>
          <a:custGeom>
            <a:avLst/>
            <a:gdLst>
              <a:gd name="T0" fmla="*/ 5 w 5"/>
              <a:gd name="T1" fmla="*/ 2 h 4"/>
              <a:gd name="T2" fmla="*/ 5 w 5"/>
              <a:gd name="T3" fmla="*/ 0 h 4"/>
              <a:gd name="T4" fmla="*/ 0 w 5"/>
              <a:gd name="T5" fmla="*/ 4 h 4"/>
              <a:gd name="T6" fmla="*/ 5 w 5"/>
              <a:gd name="T7" fmla="*/ 2 h 4"/>
            </a:gdLst>
            <a:ahLst/>
            <a:cxnLst>
              <a:cxn ang="0">
                <a:pos x="T0" y="T1"/>
              </a:cxn>
              <a:cxn ang="0">
                <a:pos x="T2" y="T3"/>
              </a:cxn>
              <a:cxn ang="0">
                <a:pos x="T4" y="T5"/>
              </a:cxn>
              <a:cxn ang="0">
                <a:pos x="T6" y="T7"/>
              </a:cxn>
            </a:cxnLst>
            <a:rect l="0" t="0" r="r" b="b"/>
            <a:pathLst>
              <a:path w="5" h="4">
                <a:moveTo>
                  <a:pt x="5" y="2"/>
                </a:moveTo>
                <a:lnTo>
                  <a:pt x="5" y="0"/>
                </a:lnTo>
                <a:lnTo>
                  <a:pt x="0" y="4"/>
                </a:lnTo>
                <a:lnTo>
                  <a:pt x="5"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39" name="Freeform 745"/>
          <p:cNvSpPr>
            <a:spLocks/>
          </p:cNvSpPr>
          <p:nvPr/>
        </p:nvSpPr>
        <p:spPr bwMode="auto">
          <a:xfrm>
            <a:off x="6899275" y="5816721"/>
            <a:ext cx="7938" cy="6350"/>
          </a:xfrm>
          <a:custGeom>
            <a:avLst/>
            <a:gdLst>
              <a:gd name="T0" fmla="*/ 5 w 5"/>
              <a:gd name="T1" fmla="*/ 2 h 4"/>
              <a:gd name="T2" fmla="*/ 5 w 5"/>
              <a:gd name="T3" fmla="*/ 0 h 4"/>
              <a:gd name="T4" fmla="*/ 0 w 5"/>
              <a:gd name="T5" fmla="*/ 4 h 4"/>
              <a:gd name="T6" fmla="*/ 5 w 5"/>
              <a:gd name="T7" fmla="*/ 2 h 4"/>
            </a:gdLst>
            <a:ahLst/>
            <a:cxnLst>
              <a:cxn ang="0">
                <a:pos x="T0" y="T1"/>
              </a:cxn>
              <a:cxn ang="0">
                <a:pos x="T2" y="T3"/>
              </a:cxn>
              <a:cxn ang="0">
                <a:pos x="T4" y="T5"/>
              </a:cxn>
              <a:cxn ang="0">
                <a:pos x="T6" y="T7"/>
              </a:cxn>
            </a:cxnLst>
            <a:rect l="0" t="0" r="r" b="b"/>
            <a:pathLst>
              <a:path w="5" h="4">
                <a:moveTo>
                  <a:pt x="5" y="2"/>
                </a:moveTo>
                <a:lnTo>
                  <a:pt x="5" y="0"/>
                </a:lnTo>
                <a:lnTo>
                  <a:pt x="0" y="4"/>
                </a:lnTo>
                <a:lnTo>
                  <a:pt x="5"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0" name="Freeform 746"/>
          <p:cNvSpPr>
            <a:spLocks/>
          </p:cNvSpPr>
          <p:nvPr/>
        </p:nvSpPr>
        <p:spPr bwMode="auto">
          <a:xfrm>
            <a:off x="6919912" y="5726234"/>
            <a:ext cx="41275" cy="77788"/>
          </a:xfrm>
          <a:custGeom>
            <a:avLst/>
            <a:gdLst>
              <a:gd name="T0" fmla="*/ 26 w 26"/>
              <a:gd name="T1" fmla="*/ 0 h 49"/>
              <a:gd name="T2" fmla="*/ 19 w 26"/>
              <a:gd name="T3" fmla="*/ 6 h 49"/>
              <a:gd name="T4" fmla="*/ 19 w 26"/>
              <a:gd name="T5" fmla="*/ 15 h 49"/>
              <a:gd name="T6" fmla="*/ 15 w 26"/>
              <a:gd name="T7" fmla="*/ 27 h 49"/>
              <a:gd name="T8" fmla="*/ 4 w 26"/>
              <a:gd name="T9" fmla="*/ 40 h 49"/>
              <a:gd name="T10" fmla="*/ 4 w 26"/>
              <a:gd name="T11" fmla="*/ 42 h 49"/>
              <a:gd name="T12" fmla="*/ 0 w 26"/>
              <a:gd name="T13" fmla="*/ 49 h 49"/>
              <a:gd name="T14" fmla="*/ 17 w 26"/>
              <a:gd name="T15" fmla="*/ 27 h 49"/>
              <a:gd name="T16" fmla="*/ 26 w 26"/>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9">
                <a:moveTo>
                  <a:pt x="26" y="0"/>
                </a:moveTo>
                <a:lnTo>
                  <a:pt x="19" y="6"/>
                </a:lnTo>
                <a:lnTo>
                  <a:pt x="19" y="15"/>
                </a:lnTo>
                <a:lnTo>
                  <a:pt x="15" y="27"/>
                </a:lnTo>
                <a:lnTo>
                  <a:pt x="4" y="40"/>
                </a:lnTo>
                <a:lnTo>
                  <a:pt x="4" y="42"/>
                </a:lnTo>
                <a:lnTo>
                  <a:pt x="0" y="49"/>
                </a:lnTo>
                <a:lnTo>
                  <a:pt x="17" y="27"/>
                </a:lnTo>
                <a:lnTo>
                  <a:pt x="2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1" name="Freeform 747"/>
          <p:cNvSpPr>
            <a:spLocks/>
          </p:cNvSpPr>
          <p:nvPr/>
        </p:nvSpPr>
        <p:spPr bwMode="auto">
          <a:xfrm>
            <a:off x="6919912" y="5726234"/>
            <a:ext cx="41275" cy="77788"/>
          </a:xfrm>
          <a:custGeom>
            <a:avLst/>
            <a:gdLst>
              <a:gd name="T0" fmla="*/ 26 w 26"/>
              <a:gd name="T1" fmla="*/ 0 h 49"/>
              <a:gd name="T2" fmla="*/ 19 w 26"/>
              <a:gd name="T3" fmla="*/ 6 h 49"/>
              <a:gd name="T4" fmla="*/ 19 w 26"/>
              <a:gd name="T5" fmla="*/ 15 h 49"/>
              <a:gd name="T6" fmla="*/ 15 w 26"/>
              <a:gd name="T7" fmla="*/ 27 h 49"/>
              <a:gd name="T8" fmla="*/ 4 w 26"/>
              <a:gd name="T9" fmla="*/ 40 h 49"/>
              <a:gd name="T10" fmla="*/ 4 w 26"/>
              <a:gd name="T11" fmla="*/ 42 h 49"/>
              <a:gd name="T12" fmla="*/ 0 w 26"/>
              <a:gd name="T13" fmla="*/ 49 h 49"/>
              <a:gd name="T14" fmla="*/ 17 w 26"/>
              <a:gd name="T15" fmla="*/ 27 h 49"/>
              <a:gd name="T16" fmla="*/ 26 w 26"/>
              <a:gd name="T17" fmla="*/ 0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49">
                <a:moveTo>
                  <a:pt x="26" y="0"/>
                </a:moveTo>
                <a:lnTo>
                  <a:pt x="19" y="6"/>
                </a:lnTo>
                <a:lnTo>
                  <a:pt x="19" y="15"/>
                </a:lnTo>
                <a:lnTo>
                  <a:pt x="15" y="27"/>
                </a:lnTo>
                <a:lnTo>
                  <a:pt x="4" y="40"/>
                </a:lnTo>
                <a:lnTo>
                  <a:pt x="4" y="42"/>
                </a:lnTo>
                <a:lnTo>
                  <a:pt x="0" y="49"/>
                </a:lnTo>
                <a:lnTo>
                  <a:pt x="17" y="27"/>
                </a:lnTo>
                <a:lnTo>
                  <a:pt x="2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2" name="Freeform 748"/>
          <p:cNvSpPr>
            <a:spLocks/>
          </p:cNvSpPr>
          <p:nvPr/>
        </p:nvSpPr>
        <p:spPr bwMode="auto">
          <a:xfrm>
            <a:off x="6967537" y="5699246"/>
            <a:ext cx="3175" cy="12700"/>
          </a:xfrm>
          <a:custGeom>
            <a:avLst/>
            <a:gdLst>
              <a:gd name="T0" fmla="*/ 2 w 2"/>
              <a:gd name="T1" fmla="*/ 0 h 8"/>
              <a:gd name="T2" fmla="*/ 0 w 2"/>
              <a:gd name="T3" fmla="*/ 0 h 8"/>
              <a:gd name="T4" fmla="*/ 0 w 2"/>
              <a:gd name="T5" fmla="*/ 8 h 8"/>
              <a:gd name="T6" fmla="*/ 2 w 2"/>
              <a:gd name="T7" fmla="*/ 0 h 8"/>
            </a:gdLst>
            <a:ahLst/>
            <a:cxnLst>
              <a:cxn ang="0">
                <a:pos x="T0" y="T1"/>
              </a:cxn>
              <a:cxn ang="0">
                <a:pos x="T2" y="T3"/>
              </a:cxn>
              <a:cxn ang="0">
                <a:pos x="T4" y="T5"/>
              </a:cxn>
              <a:cxn ang="0">
                <a:pos x="T6" y="T7"/>
              </a:cxn>
            </a:cxnLst>
            <a:rect l="0" t="0" r="r" b="b"/>
            <a:pathLst>
              <a:path w="2" h="8">
                <a:moveTo>
                  <a:pt x="2" y="0"/>
                </a:moveTo>
                <a:lnTo>
                  <a:pt x="0" y="0"/>
                </a:lnTo>
                <a:lnTo>
                  <a:pt x="0" y="8"/>
                </a:lnTo>
                <a:lnTo>
                  <a:pt x="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3" name="Freeform 749"/>
          <p:cNvSpPr>
            <a:spLocks/>
          </p:cNvSpPr>
          <p:nvPr/>
        </p:nvSpPr>
        <p:spPr bwMode="auto">
          <a:xfrm>
            <a:off x="6967537" y="5699246"/>
            <a:ext cx="3175" cy="12700"/>
          </a:xfrm>
          <a:custGeom>
            <a:avLst/>
            <a:gdLst>
              <a:gd name="T0" fmla="*/ 2 w 2"/>
              <a:gd name="T1" fmla="*/ 0 h 8"/>
              <a:gd name="T2" fmla="*/ 0 w 2"/>
              <a:gd name="T3" fmla="*/ 0 h 8"/>
              <a:gd name="T4" fmla="*/ 0 w 2"/>
              <a:gd name="T5" fmla="*/ 8 h 8"/>
              <a:gd name="T6" fmla="*/ 2 w 2"/>
              <a:gd name="T7" fmla="*/ 0 h 8"/>
            </a:gdLst>
            <a:ahLst/>
            <a:cxnLst>
              <a:cxn ang="0">
                <a:pos x="T0" y="T1"/>
              </a:cxn>
              <a:cxn ang="0">
                <a:pos x="T2" y="T3"/>
              </a:cxn>
              <a:cxn ang="0">
                <a:pos x="T4" y="T5"/>
              </a:cxn>
              <a:cxn ang="0">
                <a:pos x="T6" y="T7"/>
              </a:cxn>
            </a:cxnLst>
            <a:rect l="0" t="0" r="r" b="b"/>
            <a:pathLst>
              <a:path w="2" h="8">
                <a:moveTo>
                  <a:pt x="2" y="0"/>
                </a:moveTo>
                <a:lnTo>
                  <a:pt x="0" y="0"/>
                </a:lnTo>
                <a:lnTo>
                  <a:pt x="0" y="8"/>
                </a:lnTo>
                <a:lnTo>
                  <a:pt x="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4" name="Freeform 750"/>
          <p:cNvSpPr>
            <a:spLocks/>
          </p:cNvSpPr>
          <p:nvPr/>
        </p:nvSpPr>
        <p:spPr bwMode="auto">
          <a:xfrm>
            <a:off x="5680075" y="4805484"/>
            <a:ext cx="1287463" cy="981075"/>
          </a:xfrm>
          <a:custGeom>
            <a:avLst/>
            <a:gdLst>
              <a:gd name="T0" fmla="*/ 10 w 811"/>
              <a:gd name="T1" fmla="*/ 79 h 618"/>
              <a:gd name="T2" fmla="*/ 247 w 811"/>
              <a:gd name="T3" fmla="*/ 24 h 618"/>
              <a:gd name="T4" fmla="*/ 519 w 811"/>
              <a:gd name="T5" fmla="*/ 41 h 618"/>
              <a:gd name="T6" fmla="*/ 538 w 811"/>
              <a:gd name="T7" fmla="*/ 28 h 618"/>
              <a:gd name="T8" fmla="*/ 545 w 811"/>
              <a:gd name="T9" fmla="*/ 0 h 618"/>
              <a:gd name="T10" fmla="*/ 585 w 811"/>
              <a:gd name="T11" fmla="*/ 7 h 618"/>
              <a:gd name="T12" fmla="*/ 598 w 811"/>
              <a:gd name="T13" fmla="*/ 34 h 618"/>
              <a:gd name="T14" fmla="*/ 626 w 811"/>
              <a:gd name="T15" fmla="*/ 103 h 618"/>
              <a:gd name="T16" fmla="*/ 717 w 811"/>
              <a:gd name="T17" fmla="*/ 235 h 618"/>
              <a:gd name="T18" fmla="*/ 726 w 811"/>
              <a:gd name="T19" fmla="*/ 284 h 618"/>
              <a:gd name="T20" fmla="*/ 715 w 811"/>
              <a:gd name="T21" fmla="*/ 239 h 618"/>
              <a:gd name="T22" fmla="*/ 694 w 811"/>
              <a:gd name="T23" fmla="*/ 215 h 618"/>
              <a:gd name="T24" fmla="*/ 702 w 811"/>
              <a:gd name="T25" fmla="*/ 254 h 618"/>
              <a:gd name="T26" fmla="*/ 773 w 811"/>
              <a:gd name="T27" fmla="*/ 373 h 618"/>
              <a:gd name="T28" fmla="*/ 794 w 811"/>
              <a:gd name="T29" fmla="*/ 403 h 618"/>
              <a:gd name="T30" fmla="*/ 809 w 811"/>
              <a:gd name="T31" fmla="*/ 494 h 618"/>
              <a:gd name="T32" fmla="*/ 807 w 811"/>
              <a:gd name="T33" fmla="*/ 524 h 618"/>
              <a:gd name="T34" fmla="*/ 798 w 811"/>
              <a:gd name="T35" fmla="*/ 558 h 618"/>
              <a:gd name="T36" fmla="*/ 796 w 811"/>
              <a:gd name="T37" fmla="*/ 599 h 618"/>
              <a:gd name="T38" fmla="*/ 773 w 811"/>
              <a:gd name="T39" fmla="*/ 605 h 618"/>
              <a:gd name="T40" fmla="*/ 726 w 811"/>
              <a:gd name="T41" fmla="*/ 618 h 618"/>
              <a:gd name="T42" fmla="*/ 739 w 811"/>
              <a:gd name="T43" fmla="*/ 607 h 618"/>
              <a:gd name="T44" fmla="*/ 709 w 811"/>
              <a:gd name="T45" fmla="*/ 578 h 618"/>
              <a:gd name="T46" fmla="*/ 675 w 811"/>
              <a:gd name="T47" fmla="*/ 539 h 618"/>
              <a:gd name="T48" fmla="*/ 656 w 811"/>
              <a:gd name="T49" fmla="*/ 533 h 618"/>
              <a:gd name="T50" fmla="*/ 615 w 811"/>
              <a:gd name="T51" fmla="*/ 484 h 618"/>
              <a:gd name="T52" fmla="*/ 619 w 811"/>
              <a:gd name="T53" fmla="*/ 462 h 618"/>
              <a:gd name="T54" fmla="*/ 602 w 811"/>
              <a:gd name="T55" fmla="*/ 465 h 618"/>
              <a:gd name="T56" fmla="*/ 602 w 811"/>
              <a:gd name="T57" fmla="*/ 431 h 618"/>
              <a:gd name="T58" fmla="*/ 590 w 811"/>
              <a:gd name="T59" fmla="*/ 443 h 618"/>
              <a:gd name="T60" fmla="*/ 564 w 811"/>
              <a:gd name="T61" fmla="*/ 435 h 618"/>
              <a:gd name="T62" fmla="*/ 526 w 811"/>
              <a:gd name="T63" fmla="*/ 386 h 618"/>
              <a:gd name="T64" fmla="*/ 538 w 811"/>
              <a:gd name="T65" fmla="*/ 365 h 618"/>
              <a:gd name="T66" fmla="*/ 534 w 811"/>
              <a:gd name="T67" fmla="*/ 330 h 618"/>
              <a:gd name="T68" fmla="*/ 526 w 811"/>
              <a:gd name="T69" fmla="*/ 339 h 618"/>
              <a:gd name="T70" fmla="*/ 509 w 811"/>
              <a:gd name="T71" fmla="*/ 347 h 618"/>
              <a:gd name="T72" fmla="*/ 509 w 811"/>
              <a:gd name="T73" fmla="*/ 318 h 618"/>
              <a:gd name="T74" fmla="*/ 511 w 811"/>
              <a:gd name="T75" fmla="*/ 237 h 618"/>
              <a:gd name="T76" fmla="*/ 496 w 811"/>
              <a:gd name="T77" fmla="*/ 209 h 618"/>
              <a:gd name="T78" fmla="*/ 451 w 811"/>
              <a:gd name="T79" fmla="*/ 188 h 618"/>
              <a:gd name="T80" fmla="*/ 404 w 811"/>
              <a:gd name="T81" fmla="*/ 145 h 618"/>
              <a:gd name="T82" fmla="*/ 353 w 811"/>
              <a:gd name="T83" fmla="*/ 111 h 618"/>
              <a:gd name="T84" fmla="*/ 323 w 811"/>
              <a:gd name="T85" fmla="*/ 130 h 618"/>
              <a:gd name="T86" fmla="*/ 313 w 811"/>
              <a:gd name="T87" fmla="*/ 139 h 618"/>
              <a:gd name="T88" fmla="*/ 268 w 811"/>
              <a:gd name="T89" fmla="*/ 162 h 618"/>
              <a:gd name="T90" fmla="*/ 236 w 811"/>
              <a:gd name="T91" fmla="*/ 173 h 618"/>
              <a:gd name="T92" fmla="*/ 230 w 811"/>
              <a:gd name="T93" fmla="*/ 171 h 618"/>
              <a:gd name="T94" fmla="*/ 217 w 811"/>
              <a:gd name="T95" fmla="*/ 145 h 618"/>
              <a:gd name="T96" fmla="*/ 196 w 811"/>
              <a:gd name="T97" fmla="*/ 128 h 618"/>
              <a:gd name="T98" fmla="*/ 210 w 811"/>
              <a:gd name="T99" fmla="*/ 126 h 618"/>
              <a:gd name="T100" fmla="*/ 202 w 811"/>
              <a:gd name="T101" fmla="*/ 105 h 618"/>
              <a:gd name="T102" fmla="*/ 187 w 811"/>
              <a:gd name="T103" fmla="*/ 122 h 618"/>
              <a:gd name="T104" fmla="*/ 121 w 811"/>
              <a:gd name="T105" fmla="*/ 107 h 618"/>
              <a:gd name="T106" fmla="*/ 144 w 811"/>
              <a:gd name="T107" fmla="*/ 105 h 618"/>
              <a:gd name="T108" fmla="*/ 121 w 811"/>
              <a:gd name="T109" fmla="*/ 100 h 618"/>
              <a:gd name="T110" fmla="*/ 59 w 811"/>
              <a:gd name="T111" fmla="*/ 115 h 618"/>
              <a:gd name="T112" fmla="*/ 61 w 811"/>
              <a:gd name="T113" fmla="*/ 98 h 618"/>
              <a:gd name="T114" fmla="*/ 47 w 811"/>
              <a:gd name="T115" fmla="*/ 100 h 618"/>
              <a:gd name="T116" fmla="*/ 32 w 811"/>
              <a:gd name="T117" fmla="*/ 126 h 618"/>
              <a:gd name="T118" fmla="*/ 29 w 811"/>
              <a:gd name="T119" fmla="*/ 109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1" h="618">
                <a:moveTo>
                  <a:pt x="23" y="107"/>
                </a:moveTo>
                <a:lnTo>
                  <a:pt x="21" y="100"/>
                </a:lnTo>
                <a:lnTo>
                  <a:pt x="23" y="90"/>
                </a:lnTo>
                <a:lnTo>
                  <a:pt x="17" y="83"/>
                </a:lnTo>
                <a:lnTo>
                  <a:pt x="10" y="79"/>
                </a:lnTo>
                <a:lnTo>
                  <a:pt x="0" y="64"/>
                </a:lnTo>
                <a:lnTo>
                  <a:pt x="2" y="56"/>
                </a:lnTo>
                <a:lnTo>
                  <a:pt x="8" y="49"/>
                </a:lnTo>
                <a:lnTo>
                  <a:pt x="98" y="41"/>
                </a:lnTo>
                <a:lnTo>
                  <a:pt x="247" y="24"/>
                </a:lnTo>
                <a:lnTo>
                  <a:pt x="257" y="39"/>
                </a:lnTo>
                <a:lnTo>
                  <a:pt x="259" y="45"/>
                </a:lnTo>
                <a:lnTo>
                  <a:pt x="266" y="54"/>
                </a:lnTo>
                <a:lnTo>
                  <a:pt x="513" y="34"/>
                </a:lnTo>
                <a:lnTo>
                  <a:pt x="519" y="41"/>
                </a:lnTo>
                <a:lnTo>
                  <a:pt x="526" y="54"/>
                </a:lnTo>
                <a:lnTo>
                  <a:pt x="532" y="56"/>
                </a:lnTo>
                <a:lnTo>
                  <a:pt x="538" y="49"/>
                </a:lnTo>
                <a:lnTo>
                  <a:pt x="541" y="34"/>
                </a:lnTo>
                <a:lnTo>
                  <a:pt x="538" y="28"/>
                </a:lnTo>
                <a:lnTo>
                  <a:pt x="534" y="22"/>
                </a:lnTo>
                <a:lnTo>
                  <a:pt x="534" y="13"/>
                </a:lnTo>
                <a:lnTo>
                  <a:pt x="536" y="7"/>
                </a:lnTo>
                <a:lnTo>
                  <a:pt x="538" y="7"/>
                </a:lnTo>
                <a:lnTo>
                  <a:pt x="545" y="0"/>
                </a:lnTo>
                <a:lnTo>
                  <a:pt x="553" y="5"/>
                </a:lnTo>
                <a:lnTo>
                  <a:pt x="570" y="9"/>
                </a:lnTo>
                <a:lnTo>
                  <a:pt x="579" y="9"/>
                </a:lnTo>
                <a:lnTo>
                  <a:pt x="581" y="9"/>
                </a:lnTo>
                <a:lnTo>
                  <a:pt x="585" y="7"/>
                </a:lnTo>
                <a:lnTo>
                  <a:pt x="594" y="11"/>
                </a:lnTo>
                <a:lnTo>
                  <a:pt x="592" y="24"/>
                </a:lnTo>
                <a:lnTo>
                  <a:pt x="587" y="19"/>
                </a:lnTo>
                <a:lnTo>
                  <a:pt x="592" y="28"/>
                </a:lnTo>
                <a:lnTo>
                  <a:pt x="598" y="34"/>
                </a:lnTo>
                <a:lnTo>
                  <a:pt x="602" y="41"/>
                </a:lnTo>
                <a:lnTo>
                  <a:pt x="604" y="54"/>
                </a:lnTo>
                <a:lnTo>
                  <a:pt x="613" y="68"/>
                </a:lnTo>
                <a:lnTo>
                  <a:pt x="615" y="77"/>
                </a:lnTo>
                <a:lnTo>
                  <a:pt x="626" y="103"/>
                </a:lnTo>
                <a:lnTo>
                  <a:pt x="636" y="124"/>
                </a:lnTo>
                <a:lnTo>
                  <a:pt x="660" y="162"/>
                </a:lnTo>
                <a:lnTo>
                  <a:pt x="700" y="213"/>
                </a:lnTo>
                <a:lnTo>
                  <a:pt x="713" y="228"/>
                </a:lnTo>
                <a:lnTo>
                  <a:pt x="717" y="235"/>
                </a:lnTo>
                <a:lnTo>
                  <a:pt x="722" y="243"/>
                </a:lnTo>
                <a:lnTo>
                  <a:pt x="717" y="250"/>
                </a:lnTo>
                <a:lnTo>
                  <a:pt x="717" y="264"/>
                </a:lnTo>
                <a:lnTo>
                  <a:pt x="722" y="277"/>
                </a:lnTo>
                <a:lnTo>
                  <a:pt x="726" y="284"/>
                </a:lnTo>
                <a:lnTo>
                  <a:pt x="741" y="305"/>
                </a:lnTo>
                <a:lnTo>
                  <a:pt x="734" y="298"/>
                </a:lnTo>
                <a:lnTo>
                  <a:pt x="719" y="275"/>
                </a:lnTo>
                <a:lnTo>
                  <a:pt x="715" y="254"/>
                </a:lnTo>
                <a:lnTo>
                  <a:pt x="715" y="239"/>
                </a:lnTo>
                <a:lnTo>
                  <a:pt x="715" y="230"/>
                </a:lnTo>
                <a:lnTo>
                  <a:pt x="709" y="226"/>
                </a:lnTo>
                <a:lnTo>
                  <a:pt x="700" y="228"/>
                </a:lnTo>
                <a:lnTo>
                  <a:pt x="694" y="222"/>
                </a:lnTo>
                <a:lnTo>
                  <a:pt x="694" y="215"/>
                </a:lnTo>
                <a:lnTo>
                  <a:pt x="687" y="211"/>
                </a:lnTo>
                <a:lnTo>
                  <a:pt x="685" y="211"/>
                </a:lnTo>
                <a:lnTo>
                  <a:pt x="690" y="226"/>
                </a:lnTo>
                <a:lnTo>
                  <a:pt x="698" y="247"/>
                </a:lnTo>
                <a:lnTo>
                  <a:pt x="702" y="254"/>
                </a:lnTo>
                <a:lnTo>
                  <a:pt x="724" y="288"/>
                </a:lnTo>
                <a:lnTo>
                  <a:pt x="751" y="328"/>
                </a:lnTo>
                <a:lnTo>
                  <a:pt x="764" y="354"/>
                </a:lnTo>
                <a:lnTo>
                  <a:pt x="773" y="367"/>
                </a:lnTo>
                <a:lnTo>
                  <a:pt x="773" y="373"/>
                </a:lnTo>
                <a:lnTo>
                  <a:pt x="773" y="377"/>
                </a:lnTo>
                <a:lnTo>
                  <a:pt x="775" y="375"/>
                </a:lnTo>
                <a:lnTo>
                  <a:pt x="781" y="379"/>
                </a:lnTo>
                <a:lnTo>
                  <a:pt x="792" y="394"/>
                </a:lnTo>
                <a:lnTo>
                  <a:pt x="794" y="403"/>
                </a:lnTo>
                <a:lnTo>
                  <a:pt x="798" y="405"/>
                </a:lnTo>
                <a:lnTo>
                  <a:pt x="807" y="431"/>
                </a:lnTo>
                <a:lnTo>
                  <a:pt x="807" y="465"/>
                </a:lnTo>
                <a:lnTo>
                  <a:pt x="809" y="473"/>
                </a:lnTo>
                <a:lnTo>
                  <a:pt x="809" y="494"/>
                </a:lnTo>
                <a:lnTo>
                  <a:pt x="809" y="509"/>
                </a:lnTo>
                <a:lnTo>
                  <a:pt x="811" y="518"/>
                </a:lnTo>
                <a:lnTo>
                  <a:pt x="811" y="524"/>
                </a:lnTo>
                <a:lnTo>
                  <a:pt x="809" y="518"/>
                </a:lnTo>
                <a:lnTo>
                  <a:pt x="807" y="524"/>
                </a:lnTo>
                <a:lnTo>
                  <a:pt x="807" y="531"/>
                </a:lnTo>
                <a:lnTo>
                  <a:pt x="802" y="537"/>
                </a:lnTo>
                <a:lnTo>
                  <a:pt x="800" y="546"/>
                </a:lnTo>
                <a:lnTo>
                  <a:pt x="798" y="552"/>
                </a:lnTo>
                <a:lnTo>
                  <a:pt x="798" y="558"/>
                </a:lnTo>
                <a:lnTo>
                  <a:pt x="796" y="563"/>
                </a:lnTo>
                <a:lnTo>
                  <a:pt x="802" y="578"/>
                </a:lnTo>
                <a:lnTo>
                  <a:pt x="796" y="584"/>
                </a:lnTo>
                <a:lnTo>
                  <a:pt x="794" y="592"/>
                </a:lnTo>
                <a:lnTo>
                  <a:pt x="796" y="599"/>
                </a:lnTo>
                <a:lnTo>
                  <a:pt x="788" y="595"/>
                </a:lnTo>
                <a:lnTo>
                  <a:pt x="792" y="599"/>
                </a:lnTo>
                <a:lnTo>
                  <a:pt x="783" y="595"/>
                </a:lnTo>
                <a:lnTo>
                  <a:pt x="777" y="599"/>
                </a:lnTo>
                <a:lnTo>
                  <a:pt x="773" y="605"/>
                </a:lnTo>
                <a:lnTo>
                  <a:pt x="764" y="609"/>
                </a:lnTo>
                <a:lnTo>
                  <a:pt x="758" y="609"/>
                </a:lnTo>
                <a:lnTo>
                  <a:pt x="749" y="607"/>
                </a:lnTo>
                <a:lnTo>
                  <a:pt x="741" y="614"/>
                </a:lnTo>
                <a:lnTo>
                  <a:pt x="726" y="618"/>
                </a:lnTo>
                <a:lnTo>
                  <a:pt x="719" y="609"/>
                </a:lnTo>
                <a:lnTo>
                  <a:pt x="717" y="603"/>
                </a:lnTo>
                <a:lnTo>
                  <a:pt x="722" y="597"/>
                </a:lnTo>
                <a:lnTo>
                  <a:pt x="730" y="603"/>
                </a:lnTo>
                <a:lnTo>
                  <a:pt x="739" y="607"/>
                </a:lnTo>
                <a:lnTo>
                  <a:pt x="743" y="599"/>
                </a:lnTo>
                <a:lnTo>
                  <a:pt x="736" y="595"/>
                </a:lnTo>
                <a:lnTo>
                  <a:pt x="728" y="595"/>
                </a:lnTo>
                <a:lnTo>
                  <a:pt x="722" y="592"/>
                </a:lnTo>
                <a:lnTo>
                  <a:pt x="709" y="578"/>
                </a:lnTo>
                <a:lnTo>
                  <a:pt x="707" y="571"/>
                </a:lnTo>
                <a:lnTo>
                  <a:pt x="696" y="558"/>
                </a:lnTo>
                <a:lnTo>
                  <a:pt x="690" y="552"/>
                </a:lnTo>
                <a:lnTo>
                  <a:pt x="687" y="546"/>
                </a:lnTo>
                <a:lnTo>
                  <a:pt x="675" y="539"/>
                </a:lnTo>
                <a:lnTo>
                  <a:pt x="670" y="539"/>
                </a:lnTo>
                <a:lnTo>
                  <a:pt x="662" y="539"/>
                </a:lnTo>
                <a:lnTo>
                  <a:pt x="656" y="541"/>
                </a:lnTo>
                <a:lnTo>
                  <a:pt x="647" y="537"/>
                </a:lnTo>
                <a:lnTo>
                  <a:pt x="656" y="533"/>
                </a:lnTo>
                <a:lnTo>
                  <a:pt x="649" y="533"/>
                </a:lnTo>
                <a:lnTo>
                  <a:pt x="636" y="520"/>
                </a:lnTo>
                <a:lnTo>
                  <a:pt x="630" y="492"/>
                </a:lnTo>
                <a:lnTo>
                  <a:pt x="624" y="486"/>
                </a:lnTo>
                <a:lnTo>
                  <a:pt x="615" y="484"/>
                </a:lnTo>
                <a:lnTo>
                  <a:pt x="615" y="480"/>
                </a:lnTo>
                <a:lnTo>
                  <a:pt x="621" y="473"/>
                </a:lnTo>
                <a:lnTo>
                  <a:pt x="621" y="465"/>
                </a:lnTo>
                <a:lnTo>
                  <a:pt x="630" y="454"/>
                </a:lnTo>
                <a:lnTo>
                  <a:pt x="619" y="462"/>
                </a:lnTo>
                <a:lnTo>
                  <a:pt x="619" y="469"/>
                </a:lnTo>
                <a:lnTo>
                  <a:pt x="611" y="477"/>
                </a:lnTo>
                <a:lnTo>
                  <a:pt x="604" y="477"/>
                </a:lnTo>
                <a:lnTo>
                  <a:pt x="604" y="473"/>
                </a:lnTo>
                <a:lnTo>
                  <a:pt x="602" y="465"/>
                </a:lnTo>
                <a:lnTo>
                  <a:pt x="600" y="458"/>
                </a:lnTo>
                <a:lnTo>
                  <a:pt x="600" y="443"/>
                </a:lnTo>
                <a:lnTo>
                  <a:pt x="596" y="437"/>
                </a:lnTo>
                <a:lnTo>
                  <a:pt x="604" y="431"/>
                </a:lnTo>
                <a:lnTo>
                  <a:pt x="602" y="431"/>
                </a:lnTo>
                <a:lnTo>
                  <a:pt x="590" y="437"/>
                </a:lnTo>
                <a:lnTo>
                  <a:pt x="585" y="433"/>
                </a:lnTo>
                <a:lnTo>
                  <a:pt x="579" y="431"/>
                </a:lnTo>
                <a:lnTo>
                  <a:pt x="585" y="437"/>
                </a:lnTo>
                <a:lnTo>
                  <a:pt x="590" y="443"/>
                </a:lnTo>
                <a:lnTo>
                  <a:pt x="592" y="450"/>
                </a:lnTo>
                <a:lnTo>
                  <a:pt x="590" y="450"/>
                </a:lnTo>
                <a:lnTo>
                  <a:pt x="581" y="450"/>
                </a:lnTo>
                <a:lnTo>
                  <a:pt x="575" y="448"/>
                </a:lnTo>
                <a:lnTo>
                  <a:pt x="564" y="435"/>
                </a:lnTo>
                <a:lnTo>
                  <a:pt x="560" y="428"/>
                </a:lnTo>
                <a:lnTo>
                  <a:pt x="543" y="403"/>
                </a:lnTo>
                <a:lnTo>
                  <a:pt x="545" y="401"/>
                </a:lnTo>
                <a:lnTo>
                  <a:pt x="541" y="392"/>
                </a:lnTo>
                <a:lnTo>
                  <a:pt x="526" y="386"/>
                </a:lnTo>
                <a:lnTo>
                  <a:pt x="521" y="379"/>
                </a:lnTo>
                <a:lnTo>
                  <a:pt x="528" y="384"/>
                </a:lnTo>
                <a:lnTo>
                  <a:pt x="528" y="379"/>
                </a:lnTo>
                <a:lnTo>
                  <a:pt x="536" y="377"/>
                </a:lnTo>
                <a:lnTo>
                  <a:pt x="538" y="365"/>
                </a:lnTo>
                <a:lnTo>
                  <a:pt x="549" y="343"/>
                </a:lnTo>
                <a:lnTo>
                  <a:pt x="549" y="337"/>
                </a:lnTo>
                <a:lnTo>
                  <a:pt x="543" y="330"/>
                </a:lnTo>
                <a:lnTo>
                  <a:pt x="536" y="337"/>
                </a:lnTo>
                <a:lnTo>
                  <a:pt x="534" y="330"/>
                </a:lnTo>
                <a:lnTo>
                  <a:pt x="517" y="322"/>
                </a:lnTo>
                <a:lnTo>
                  <a:pt x="517" y="324"/>
                </a:lnTo>
                <a:lnTo>
                  <a:pt x="523" y="330"/>
                </a:lnTo>
                <a:lnTo>
                  <a:pt x="523" y="337"/>
                </a:lnTo>
                <a:lnTo>
                  <a:pt x="526" y="339"/>
                </a:lnTo>
                <a:lnTo>
                  <a:pt x="532" y="339"/>
                </a:lnTo>
                <a:lnTo>
                  <a:pt x="528" y="352"/>
                </a:lnTo>
                <a:lnTo>
                  <a:pt x="523" y="360"/>
                </a:lnTo>
                <a:lnTo>
                  <a:pt x="523" y="356"/>
                </a:lnTo>
                <a:lnTo>
                  <a:pt x="509" y="347"/>
                </a:lnTo>
                <a:lnTo>
                  <a:pt x="517" y="358"/>
                </a:lnTo>
                <a:lnTo>
                  <a:pt x="509" y="352"/>
                </a:lnTo>
                <a:lnTo>
                  <a:pt x="504" y="343"/>
                </a:lnTo>
                <a:lnTo>
                  <a:pt x="509" y="333"/>
                </a:lnTo>
                <a:lnTo>
                  <a:pt x="509" y="318"/>
                </a:lnTo>
                <a:lnTo>
                  <a:pt x="506" y="311"/>
                </a:lnTo>
                <a:lnTo>
                  <a:pt x="513" y="275"/>
                </a:lnTo>
                <a:lnTo>
                  <a:pt x="513" y="267"/>
                </a:lnTo>
                <a:lnTo>
                  <a:pt x="511" y="258"/>
                </a:lnTo>
                <a:lnTo>
                  <a:pt x="511" y="237"/>
                </a:lnTo>
                <a:lnTo>
                  <a:pt x="509" y="235"/>
                </a:lnTo>
                <a:lnTo>
                  <a:pt x="509" y="226"/>
                </a:lnTo>
                <a:lnTo>
                  <a:pt x="500" y="222"/>
                </a:lnTo>
                <a:lnTo>
                  <a:pt x="496" y="215"/>
                </a:lnTo>
                <a:lnTo>
                  <a:pt x="496" y="209"/>
                </a:lnTo>
                <a:lnTo>
                  <a:pt x="483" y="198"/>
                </a:lnTo>
                <a:lnTo>
                  <a:pt x="470" y="201"/>
                </a:lnTo>
                <a:lnTo>
                  <a:pt x="462" y="198"/>
                </a:lnTo>
                <a:lnTo>
                  <a:pt x="457" y="192"/>
                </a:lnTo>
                <a:lnTo>
                  <a:pt x="451" y="188"/>
                </a:lnTo>
                <a:lnTo>
                  <a:pt x="445" y="179"/>
                </a:lnTo>
                <a:lnTo>
                  <a:pt x="423" y="166"/>
                </a:lnTo>
                <a:lnTo>
                  <a:pt x="423" y="160"/>
                </a:lnTo>
                <a:lnTo>
                  <a:pt x="419" y="152"/>
                </a:lnTo>
                <a:lnTo>
                  <a:pt x="404" y="145"/>
                </a:lnTo>
                <a:lnTo>
                  <a:pt x="394" y="130"/>
                </a:lnTo>
                <a:lnTo>
                  <a:pt x="381" y="122"/>
                </a:lnTo>
                <a:lnTo>
                  <a:pt x="372" y="120"/>
                </a:lnTo>
                <a:lnTo>
                  <a:pt x="357" y="111"/>
                </a:lnTo>
                <a:lnTo>
                  <a:pt x="353" y="111"/>
                </a:lnTo>
                <a:lnTo>
                  <a:pt x="345" y="113"/>
                </a:lnTo>
                <a:lnTo>
                  <a:pt x="332" y="115"/>
                </a:lnTo>
                <a:lnTo>
                  <a:pt x="325" y="120"/>
                </a:lnTo>
                <a:lnTo>
                  <a:pt x="321" y="128"/>
                </a:lnTo>
                <a:lnTo>
                  <a:pt x="323" y="130"/>
                </a:lnTo>
                <a:lnTo>
                  <a:pt x="315" y="128"/>
                </a:lnTo>
                <a:lnTo>
                  <a:pt x="323" y="132"/>
                </a:lnTo>
                <a:lnTo>
                  <a:pt x="325" y="139"/>
                </a:lnTo>
                <a:lnTo>
                  <a:pt x="319" y="137"/>
                </a:lnTo>
                <a:lnTo>
                  <a:pt x="313" y="139"/>
                </a:lnTo>
                <a:lnTo>
                  <a:pt x="306" y="141"/>
                </a:lnTo>
                <a:lnTo>
                  <a:pt x="285" y="160"/>
                </a:lnTo>
                <a:lnTo>
                  <a:pt x="276" y="160"/>
                </a:lnTo>
                <a:lnTo>
                  <a:pt x="276" y="156"/>
                </a:lnTo>
                <a:lnTo>
                  <a:pt x="268" y="162"/>
                </a:lnTo>
                <a:lnTo>
                  <a:pt x="268" y="166"/>
                </a:lnTo>
                <a:lnTo>
                  <a:pt x="259" y="166"/>
                </a:lnTo>
                <a:lnTo>
                  <a:pt x="245" y="171"/>
                </a:lnTo>
                <a:lnTo>
                  <a:pt x="242" y="173"/>
                </a:lnTo>
                <a:lnTo>
                  <a:pt x="236" y="173"/>
                </a:lnTo>
                <a:lnTo>
                  <a:pt x="228" y="171"/>
                </a:lnTo>
                <a:lnTo>
                  <a:pt x="225" y="164"/>
                </a:lnTo>
                <a:lnTo>
                  <a:pt x="225" y="156"/>
                </a:lnTo>
                <a:lnTo>
                  <a:pt x="228" y="162"/>
                </a:lnTo>
                <a:lnTo>
                  <a:pt x="230" y="171"/>
                </a:lnTo>
                <a:lnTo>
                  <a:pt x="236" y="169"/>
                </a:lnTo>
                <a:lnTo>
                  <a:pt x="236" y="162"/>
                </a:lnTo>
                <a:lnTo>
                  <a:pt x="232" y="154"/>
                </a:lnTo>
                <a:lnTo>
                  <a:pt x="223" y="147"/>
                </a:lnTo>
                <a:lnTo>
                  <a:pt x="217" y="145"/>
                </a:lnTo>
                <a:lnTo>
                  <a:pt x="210" y="141"/>
                </a:lnTo>
                <a:lnTo>
                  <a:pt x="213" y="141"/>
                </a:lnTo>
                <a:lnTo>
                  <a:pt x="210" y="139"/>
                </a:lnTo>
                <a:lnTo>
                  <a:pt x="202" y="134"/>
                </a:lnTo>
                <a:lnTo>
                  <a:pt x="196" y="128"/>
                </a:lnTo>
                <a:lnTo>
                  <a:pt x="210" y="132"/>
                </a:lnTo>
                <a:lnTo>
                  <a:pt x="217" y="139"/>
                </a:lnTo>
                <a:lnTo>
                  <a:pt x="221" y="132"/>
                </a:lnTo>
                <a:lnTo>
                  <a:pt x="215" y="134"/>
                </a:lnTo>
                <a:lnTo>
                  <a:pt x="210" y="126"/>
                </a:lnTo>
                <a:lnTo>
                  <a:pt x="202" y="128"/>
                </a:lnTo>
                <a:lnTo>
                  <a:pt x="191" y="122"/>
                </a:lnTo>
                <a:lnTo>
                  <a:pt x="196" y="115"/>
                </a:lnTo>
                <a:lnTo>
                  <a:pt x="202" y="113"/>
                </a:lnTo>
                <a:lnTo>
                  <a:pt x="202" y="105"/>
                </a:lnTo>
                <a:lnTo>
                  <a:pt x="191" y="113"/>
                </a:lnTo>
                <a:lnTo>
                  <a:pt x="185" y="111"/>
                </a:lnTo>
                <a:lnTo>
                  <a:pt x="179" y="111"/>
                </a:lnTo>
                <a:lnTo>
                  <a:pt x="181" y="117"/>
                </a:lnTo>
                <a:lnTo>
                  <a:pt x="187" y="122"/>
                </a:lnTo>
                <a:lnTo>
                  <a:pt x="189" y="128"/>
                </a:lnTo>
                <a:lnTo>
                  <a:pt x="174" y="120"/>
                </a:lnTo>
                <a:lnTo>
                  <a:pt x="157" y="113"/>
                </a:lnTo>
                <a:lnTo>
                  <a:pt x="127" y="107"/>
                </a:lnTo>
                <a:lnTo>
                  <a:pt x="121" y="107"/>
                </a:lnTo>
                <a:lnTo>
                  <a:pt x="115" y="105"/>
                </a:lnTo>
                <a:lnTo>
                  <a:pt x="127" y="107"/>
                </a:lnTo>
                <a:lnTo>
                  <a:pt x="130" y="103"/>
                </a:lnTo>
                <a:lnTo>
                  <a:pt x="136" y="100"/>
                </a:lnTo>
                <a:lnTo>
                  <a:pt x="144" y="105"/>
                </a:lnTo>
                <a:lnTo>
                  <a:pt x="151" y="105"/>
                </a:lnTo>
                <a:lnTo>
                  <a:pt x="147" y="100"/>
                </a:lnTo>
                <a:lnTo>
                  <a:pt x="134" y="94"/>
                </a:lnTo>
                <a:lnTo>
                  <a:pt x="127" y="96"/>
                </a:lnTo>
                <a:lnTo>
                  <a:pt x="121" y="100"/>
                </a:lnTo>
                <a:lnTo>
                  <a:pt x="119" y="94"/>
                </a:lnTo>
                <a:lnTo>
                  <a:pt x="104" y="107"/>
                </a:lnTo>
                <a:lnTo>
                  <a:pt x="100" y="107"/>
                </a:lnTo>
                <a:lnTo>
                  <a:pt x="81" y="109"/>
                </a:lnTo>
                <a:lnTo>
                  <a:pt x="59" y="115"/>
                </a:lnTo>
                <a:lnTo>
                  <a:pt x="51" y="115"/>
                </a:lnTo>
                <a:lnTo>
                  <a:pt x="53" y="113"/>
                </a:lnTo>
                <a:lnTo>
                  <a:pt x="64" y="111"/>
                </a:lnTo>
                <a:lnTo>
                  <a:pt x="70" y="105"/>
                </a:lnTo>
                <a:lnTo>
                  <a:pt x="61" y="98"/>
                </a:lnTo>
                <a:lnTo>
                  <a:pt x="61" y="90"/>
                </a:lnTo>
                <a:lnTo>
                  <a:pt x="59" y="98"/>
                </a:lnTo>
                <a:lnTo>
                  <a:pt x="55" y="105"/>
                </a:lnTo>
                <a:lnTo>
                  <a:pt x="51" y="96"/>
                </a:lnTo>
                <a:lnTo>
                  <a:pt x="47" y="100"/>
                </a:lnTo>
                <a:lnTo>
                  <a:pt x="47" y="100"/>
                </a:lnTo>
                <a:lnTo>
                  <a:pt x="49" y="103"/>
                </a:lnTo>
                <a:lnTo>
                  <a:pt x="44" y="111"/>
                </a:lnTo>
                <a:lnTo>
                  <a:pt x="38" y="122"/>
                </a:lnTo>
                <a:lnTo>
                  <a:pt x="32" y="126"/>
                </a:lnTo>
                <a:lnTo>
                  <a:pt x="25" y="128"/>
                </a:lnTo>
                <a:lnTo>
                  <a:pt x="21" y="128"/>
                </a:lnTo>
                <a:lnTo>
                  <a:pt x="23" y="120"/>
                </a:lnTo>
                <a:lnTo>
                  <a:pt x="32" y="113"/>
                </a:lnTo>
                <a:lnTo>
                  <a:pt x="29" y="109"/>
                </a:lnTo>
                <a:lnTo>
                  <a:pt x="23" y="107"/>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5" name="Freeform 751"/>
          <p:cNvSpPr>
            <a:spLocks/>
          </p:cNvSpPr>
          <p:nvPr/>
        </p:nvSpPr>
        <p:spPr bwMode="auto">
          <a:xfrm>
            <a:off x="5680075" y="4805484"/>
            <a:ext cx="1287463" cy="981075"/>
          </a:xfrm>
          <a:custGeom>
            <a:avLst/>
            <a:gdLst>
              <a:gd name="T0" fmla="*/ 10 w 811"/>
              <a:gd name="T1" fmla="*/ 79 h 618"/>
              <a:gd name="T2" fmla="*/ 247 w 811"/>
              <a:gd name="T3" fmla="*/ 24 h 618"/>
              <a:gd name="T4" fmla="*/ 519 w 811"/>
              <a:gd name="T5" fmla="*/ 41 h 618"/>
              <a:gd name="T6" fmla="*/ 538 w 811"/>
              <a:gd name="T7" fmla="*/ 28 h 618"/>
              <a:gd name="T8" fmla="*/ 545 w 811"/>
              <a:gd name="T9" fmla="*/ 0 h 618"/>
              <a:gd name="T10" fmla="*/ 585 w 811"/>
              <a:gd name="T11" fmla="*/ 7 h 618"/>
              <a:gd name="T12" fmla="*/ 598 w 811"/>
              <a:gd name="T13" fmla="*/ 34 h 618"/>
              <a:gd name="T14" fmla="*/ 626 w 811"/>
              <a:gd name="T15" fmla="*/ 103 h 618"/>
              <a:gd name="T16" fmla="*/ 717 w 811"/>
              <a:gd name="T17" fmla="*/ 235 h 618"/>
              <a:gd name="T18" fmla="*/ 726 w 811"/>
              <a:gd name="T19" fmla="*/ 284 h 618"/>
              <a:gd name="T20" fmla="*/ 715 w 811"/>
              <a:gd name="T21" fmla="*/ 239 h 618"/>
              <a:gd name="T22" fmla="*/ 694 w 811"/>
              <a:gd name="T23" fmla="*/ 215 h 618"/>
              <a:gd name="T24" fmla="*/ 702 w 811"/>
              <a:gd name="T25" fmla="*/ 254 h 618"/>
              <a:gd name="T26" fmla="*/ 773 w 811"/>
              <a:gd name="T27" fmla="*/ 373 h 618"/>
              <a:gd name="T28" fmla="*/ 794 w 811"/>
              <a:gd name="T29" fmla="*/ 403 h 618"/>
              <a:gd name="T30" fmla="*/ 809 w 811"/>
              <a:gd name="T31" fmla="*/ 494 h 618"/>
              <a:gd name="T32" fmla="*/ 807 w 811"/>
              <a:gd name="T33" fmla="*/ 524 h 618"/>
              <a:gd name="T34" fmla="*/ 798 w 811"/>
              <a:gd name="T35" fmla="*/ 558 h 618"/>
              <a:gd name="T36" fmla="*/ 796 w 811"/>
              <a:gd name="T37" fmla="*/ 599 h 618"/>
              <a:gd name="T38" fmla="*/ 773 w 811"/>
              <a:gd name="T39" fmla="*/ 605 h 618"/>
              <a:gd name="T40" fmla="*/ 726 w 811"/>
              <a:gd name="T41" fmla="*/ 618 h 618"/>
              <a:gd name="T42" fmla="*/ 739 w 811"/>
              <a:gd name="T43" fmla="*/ 607 h 618"/>
              <a:gd name="T44" fmla="*/ 709 w 811"/>
              <a:gd name="T45" fmla="*/ 578 h 618"/>
              <a:gd name="T46" fmla="*/ 675 w 811"/>
              <a:gd name="T47" fmla="*/ 539 h 618"/>
              <a:gd name="T48" fmla="*/ 656 w 811"/>
              <a:gd name="T49" fmla="*/ 533 h 618"/>
              <a:gd name="T50" fmla="*/ 615 w 811"/>
              <a:gd name="T51" fmla="*/ 484 h 618"/>
              <a:gd name="T52" fmla="*/ 619 w 811"/>
              <a:gd name="T53" fmla="*/ 462 h 618"/>
              <a:gd name="T54" fmla="*/ 602 w 811"/>
              <a:gd name="T55" fmla="*/ 465 h 618"/>
              <a:gd name="T56" fmla="*/ 602 w 811"/>
              <a:gd name="T57" fmla="*/ 431 h 618"/>
              <a:gd name="T58" fmla="*/ 590 w 811"/>
              <a:gd name="T59" fmla="*/ 443 h 618"/>
              <a:gd name="T60" fmla="*/ 564 w 811"/>
              <a:gd name="T61" fmla="*/ 435 h 618"/>
              <a:gd name="T62" fmla="*/ 526 w 811"/>
              <a:gd name="T63" fmla="*/ 386 h 618"/>
              <a:gd name="T64" fmla="*/ 538 w 811"/>
              <a:gd name="T65" fmla="*/ 365 h 618"/>
              <a:gd name="T66" fmla="*/ 534 w 811"/>
              <a:gd name="T67" fmla="*/ 330 h 618"/>
              <a:gd name="T68" fmla="*/ 526 w 811"/>
              <a:gd name="T69" fmla="*/ 339 h 618"/>
              <a:gd name="T70" fmla="*/ 509 w 811"/>
              <a:gd name="T71" fmla="*/ 347 h 618"/>
              <a:gd name="T72" fmla="*/ 509 w 811"/>
              <a:gd name="T73" fmla="*/ 318 h 618"/>
              <a:gd name="T74" fmla="*/ 511 w 811"/>
              <a:gd name="T75" fmla="*/ 237 h 618"/>
              <a:gd name="T76" fmla="*/ 496 w 811"/>
              <a:gd name="T77" fmla="*/ 209 h 618"/>
              <a:gd name="T78" fmla="*/ 451 w 811"/>
              <a:gd name="T79" fmla="*/ 188 h 618"/>
              <a:gd name="T80" fmla="*/ 404 w 811"/>
              <a:gd name="T81" fmla="*/ 145 h 618"/>
              <a:gd name="T82" fmla="*/ 353 w 811"/>
              <a:gd name="T83" fmla="*/ 111 h 618"/>
              <a:gd name="T84" fmla="*/ 323 w 811"/>
              <a:gd name="T85" fmla="*/ 130 h 618"/>
              <a:gd name="T86" fmla="*/ 313 w 811"/>
              <a:gd name="T87" fmla="*/ 139 h 618"/>
              <a:gd name="T88" fmla="*/ 268 w 811"/>
              <a:gd name="T89" fmla="*/ 162 h 618"/>
              <a:gd name="T90" fmla="*/ 236 w 811"/>
              <a:gd name="T91" fmla="*/ 173 h 618"/>
              <a:gd name="T92" fmla="*/ 230 w 811"/>
              <a:gd name="T93" fmla="*/ 171 h 618"/>
              <a:gd name="T94" fmla="*/ 217 w 811"/>
              <a:gd name="T95" fmla="*/ 145 h 618"/>
              <a:gd name="T96" fmla="*/ 196 w 811"/>
              <a:gd name="T97" fmla="*/ 128 h 618"/>
              <a:gd name="T98" fmla="*/ 210 w 811"/>
              <a:gd name="T99" fmla="*/ 126 h 618"/>
              <a:gd name="T100" fmla="*/ 202 w 811"/>
              <a:gd name="T101" fmla="*/ 105 h 618"/>
              <a:gd name="T102" fmla="*/ 187 w 811"/>
              <a:gd name="T103" fmla="*/ 122 h 618"/>
              <a:gd name="T104" fmla="*/ 121 w 811"/>
              <a:gd name="T105" fmla="*/ 107 h 618"/>
              <a:gd name="T106" fmla="*/ 144 w 811"/>
              <a:gd name="T107" fmla="*/ 105 h 618"/>
              <a:gd name="T108" fmla="*/ 121 w 811"/>
              <a:gd name="T109" fmla="*/ 100 h 618"/>
              <a:gd name="T110" fmla="*/ 59 w 811"/>
              <a:gd name="T111" fmla="*/ 115 h 618"/>
              <a:gd name="T112" fmla="*/ 61 w 811"/>
              <a:gd name="T113" fmla="*/ 98 h 618"/>
              <a:gd name="T114" fmla="*/ 47 w 811"/>
              <a:gd name="T115" fmla="*/ 100 h 618"/>
              <a:gd name="T116" fmla="*/ 32 w 811"/>
              <a:gd name="T117" fmla="*/ 126 h 618"/>
              <a:gd name="T118" fmla="*/ 29 w 811"/>
              <a:gd name="T119" fmla="*/ 109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11" h="618">
                <a:moveTo>
                  <a:pt x="23" y="107"/>
                </a:moveTo>
                <a:lnTo>
                  <a:pt x="21" y="100"/>
                </a:lnTo>
                <a:lnTo>
                  <a:pt x="23" y="90"/>
                </a:lnTo>
                <a:lnTo>
                  <a:pt x="17" y="83"/>
                </a:lnTo>
                <a:lnTo>
                  <a:pt x="10" y="79"/>
                </a:lnTo>
                <a:lnTo>
                  <a:pt x="0" y="64"/>
                </a:lnTo>
                <a:lnTo>
                  <a:pt x="2" y="56"/>
                </a:lnTo>
                <a:lnTo>
                  <a:pt x="8" y="49"/>
                </a:lnTo>
                <a:lnTo>
                  <a:pt x="98" y="41"/>
                </a:lnTo>
                <a:lnTo>
                  <a:pt x="247" y="24"/>
                </a:lnTo>
                <a:lnTo>
                  <a:pt x="257" y="39"/>
                </a:lnTo>
                <a:lnTo>
                  <a:pt x="259" y="45"/>
                </a:lnTo>
                <a:lnTo>
                  <a:pt x="266" y="54"/>
                </a:lnTo>
                <a:lnTo>
                  <a:pt x="513" y="34"/>
                </a:lnTo>
                <a:lnTo>
                  <a:pt x="519" y="41"/>
                </a:lnTo>
                <a:lnTo>
                  <a:pt x="526" y="54"/>
                </a:lnTo>
                <a:lnTo>
                  <a:pt x="532" y="56"/>
                </a:lnTo>
                <a:lnTo>
                  <a:pt x="538" y="49"/>
                </a:lnTo>
                <a:lnTo>
                  <a:pt x="541" y="34"/>
                </a:lnTo>
                <a:lnTo>
                  <a:pt x="538" y="28"/>
                </a:lnTo>
                <a:lnTo>
                  <a:pt x="534" y="22"/>
                </a:lnTo>
                <a:lnTo>
                  <a:pt x="534" y="13"/>
                </a:lnTo>
                <a:lnTo>
                  <a:pt x="536" y="7"/>
                </a:lnTo>
                <a:lnTo>
                  <a:pt x="538" y="7"/>
                </a:lnTo>
                <a:lnTo>
                  <a:pt x="545" y="0"/>
                </a:lnTo>
                <a:lnTo>
                  <a:pt x="553" y="5"/>
                </a:lnTo>
                <a:lnTo>
                  <a:pt x="570" y="9"/>
                </a:lnTo>
                <a:lnTo>
                  <a:pt x="579" y="9"/>
                </a:lnTo>
                <a:lnTo>
                  <a:pt x="581" y="9"/>
                </a:lnTo>
                <a:lnTo>
                  <a:pt x="585" y="7"/>
                </a:lnTo>
                <a:lnTo>
                  <a:pt x="594" y="11"/>
                </a:lnTo>
                <a:lnTo>
                  <a:pt x="592" y="24"/>
                </a:lnTo>
                <a:lnTo>
                  <a:pt x="587" y="19"/>
                </a:lnTo>
                <a:lnTo>
                  <a:pt x="592" y="28"/>
                </a:lnTo>
                <a:lnTo>
                  <a:pt x="598" y="34"/>
                </a:lnTo>
                <a:lnTo>
                  <a:pt x="602" y="41"/>
                </a:lnTo>
                <a:lnTo>
                  <a:pt x="604" y="54"/>
                </a:lnTo>
                <a:lnTo>
                  <a:pt x="613" y="68"/>
                </a:lnTo>
                <a:lnTo>
                  <a:pt x="615" y="77"/>
                </a:lnTo>
                <a:lnTo>
                  <a:pt x="626" y="103"/>
                </a:lnTo>
                <a:lnTo>
                  <a:pt x="636" y="124"/>
                </a:lnTo>
                <a:lnTo>
                  <a:pt x="660" y="162"/>
                </a:lnTo>
                <a:lnTo>
                  <a:pt x="700" y="213"/>
                </a:lnTo>
                <a:lnTo>
                  <a:pt x="713" y="228"/>
                </a:lnTo>
                <a:lnTo>
                  <a:pt x="717" y="235"/>
                </a:lnTo>
                <a:lnTo>
                  <a:pt x="722" y="243"/>
                </a:lnTo>
                <a:lnTo>
                  <a:pt x="717" y="250"/>
                </a:lnTo>
                <a:lnTo>
                  <a:pt x="717" y="264"/>
                </a:lnTo>
                <a:lnTo>
                  <a:pt x="722" y="277"/>
                </a:lnTo>
                <a:lnTo>
                  <a:pt x="726" y="284"/>
                </a:lnTo>
                <a:lnTo>
                  <a:pt x="741" y="305"/>
                </a:lnTo>
                <a:lnTo>
                  <a:pt x="734" y="298"/>
                </a:lnTo>
                <a:lnTo>
                  <a:pt x="719" y="275"/>
                </a:lnTo>
                <a:lnTo>
                  <a:pt x="715" y="254"/>
                </a:lnTo>
                <a:lnTo>
                  <a:pt x="715" y="239"/>
                </a:lnTo>
                <a:lnTo>
                  <a:pt x="715" y="230"/>
                </a:lnTo>
                <a:lnTo>
                  <a:pt x="709" y="226"/>
                </a:lnTo>
                <a:lnTo>
                  <a:pt x="700" y="228"/>
                </a:lnTo>
                <a:lnTo>
                  <a:pt x="694" y="222"/>
                </a:lnTo>
                <a:lnTo>
                  <a:pt x="694" y="215"/>
                </a:lnTo>
                <a:lnTo>
                  <a:pt x="687" y="211"/>
                </a:lnTo>
                <a:lnTo>
                  <a:pt x="685" y="211"/>
                </a:lnTo>
                <a:lnTo>
                  <a:pt x="690" y="226"/>
                </a:lnTo>
                <a:lnTo>
                  <a:pt x="698" y="247"/>
                </a:lnTo>
                <a:lnTo>
                  <a:pt x="702" y="254"/>
                </a:lnTo>
                <a:lnTo>
                  <a:pt x="724" y="288"/>
                </a:lnTo>
                <a:lnTo>
                  <a:pt x="751" y="328"/>
                </a:lnTo>
                <a:lnTo>
                  <a:pt x="764" y="354"/>
                </a:lnTo>
                <a:lnTo>
                  <a:pt x="773" y="367"/>
                </a:lnTo>
                <a:lnTo>
                  <a:pt x="773" y="373"/>
                </a:lnTo>
                <a:lnTo>
                  <a:pt x="773" y="377"/>
                </a:lnTo>
                <a:lnTo>
                  <a:pt x="775" y="375"/>
                </a:lnTo>
                <a:lnTo>
                  <a:pt x="781" y="379"/>
                </a:lnTo>
                <a:lnTo>
                  <a:pt x="792" y="394"/>
                </a:lnTo>
                <a:lnTo>
                  <a:pt x="794" y="403"/>
                </a:lnTo>
                <a:lnTo>
                  <a:pt x="798" y="405"/>
                </a:lnTo>
                <a:lnTo>
                  <a:pt x="807" y="431"/>
                </a:lnTo>
                <a:lnTo>
                  <a:pt x="807" y="465"/>
                </a:lnTo>
                <a:lnTo>
                  <a:pt x="809" y="473"/>
                </a:lnTo>
                <a:lnTo>
                  <a:pt x="809" y="494"/>
                </a:lnTo>
                <a:lnTo>
                  <a:pt x="809" y="509"/>
                </a:lnTo>
                <a:lnTo>
                  <a:pt x="811" y="518"/>
                </a:lnTo>
                <a:lnTo>
                  <a:pt x="811" y="524"/>
                </a:lnTo>
                <a:lnTo>
                  <a:pt x="809" y="518"/>
                </a:lnTo>
                <a:lnTo>
                  <a:pt x="807" y="524"/>
                </a:lnTo>
                <a:lnTo>
                  <a:pt x="807" y="531"/>
                </a:lnTo>
                <a:lnTo>
                  <a:pt x="802" y="537"/>
                </a:lnTo>
                <a:lnTo>
                  <a:pt x="800" y="546"/>
                </a:lnTo>
                <a:lnTo>
                  <a:pt x="798" y="552"/>
                </a:lnTo>
                <a:lnTo>
                  <a:pt x="798" y="558"/>
                </a:lnTo>
                <a:lnTo>
                  <a:pt x="796" y="563"/>
                </a:lnTo>
                <a:lnTo>
                  <a:pt x="802" y="578"/>
                </a:lnTo>
                <a:lnTo>
                  <a:pt x="796" y="584"/>
                </a:lnTo>
                <a:lnTo>
                  <a:pt x="794" y="592"/>
                </a:lnTo>
                <a:lnTo>
                  <a:pt x="796" y="599"/>
                </a:lnTo>
                <a:lnTo>
                  <a:pt x="788" y="595"/>
                </a:lnTo>
                <a:lnTo>
                  <a:pt x="792" y="599"/>
                </a:lnTo>
                <a:lnTo>
                  <a:pt x="783" y="595"/>
                </a:lnTo>
                <a:lnTo>
                  <a:pt x="777" y="599"/>
                </a:lnTo>
                <a:lnTo>
                  <a:pt x="773" y="605"/>
                </a:lnTo>
                <a:lnTo>
                  <a:pt x="764" y="609"/>
                </a:lnTo>
                <a:lnTo>
                  <a:pt x="758" y="609"/>
                </a:lnTo>
                <a:lnTo>
                  <a:pt x="749" y="607"/>
                </a:lnTo>
                <a:lnTo>
                  <a:pt x="741" y="614"/>
                </a:lnTo>
                <a:lnTo>
                  <a:pt x="726" y="618"/>
                </a:lnTo>
                <a:lnTo>
                  <a:pt x="719" y="609"/>
                </a:lnTo>
                <a:lnTo>
                  <a:pt x="717" y="603"/>
                </a:lnTo>
                <a:lnTo>
                  <a:pt x="722" y="597"/>
                </a:lnTo>
                <a:lnTo>
                  <a:pt x="730" y="603"/>
                </a:lnTo>
                <a:lnTo>
                  <a:pt x="739" y="607"/>
                </a:lnTo>
                <a:lnTo>
                  <a:pt x="743" y="599"/>
                </a:lnTo>
                <a:lnTo>
                  <a:pt x="736" y="595"/>
                </a:lnTo>
                <a:lnTo>
                  <a:pt x="728" y="595"/>
                </a:lnTo>
                <a:lnTo>
                  <a:pt x="722" y="592"/>
                </a:lnTo>
                <a:lnTo>
                  <a:pt x="709" y="578"/>
                </a:lnTo>
                <a:lnTo>
                  <a:pt x="707" y="571"/>
                </a:lnTo>
                <a:lnTo>
                  <a:pt x="696" y="558"/>
                </a:lnTo>
                <a:lnTo>
                  <a:pt x="690" y="552"/>
                </a:lnTo>
                <a:lnTo>
                  <a:pt x="687" y="546"/>
                </a:lnTo>
                <a:lnTo>
                  <a:pt x="675" y="539"/>
                </a:lnTo>
                <a:lnTo>
                  <a:pt x="670" y="539"/>
                </a:lnTo>
                <a:lnTo>
                  <a:pt x="662" y="539"/>
                </a:lnTo>
                <a:lnTo>
                  <a:pt x="656" y="541"/>
                </a:lnTo>
                <a:lnTo>
                  <a:pt x="647" y="537"/>
                </a:lnTo>
                <a:lnTo>
                  <a:pt x="656" y="533"/>
                </a:lnTo>
                <a:lnTo>
                  <a:pt x="649" y="533"/>
                </a:lnTo>
                <a:lnTo>
                  <a:pt x="636" y="520"/>
                </a:lnTo>
                <a:lnTo>
                  <a:pt x="630" y="492"/>
                </a:lnTo>
                <a:lnTo>
                  <a:pt x="624" y="486"/>
                </a:lnTo>
                <a:lnTo>
                  <a:pt x="615" y="484"/>
                </a:lnTo>
                <a:lnTo>
                  <a:pt x="615" y="480"/>
                </a:lnTo>
                <a:lnTo>
                  <a:pt x="621" y="473"/>
                </a:lnTo>
                <a:lnTo>
                  <a:pt x="621" y="465"/>
                </a:lnTo>
                <a:lnTo>
                  <a:pt x="630" y="454"/>
                </a:lnTo>
                <a:lnTo>
                  <a:pt x="619" y="462"/>
                </a:lnTo>
                <a:lnTo>
                  <a:pt x="619" y="469"/>
                </a:lnTo>
                <a:lnTo>
                  <a:pt x="611" y="477"/>
                </a:lnTo>
                <a:lnTo>
                  <a:pt x="604" y="477"/>
                </a:lnTo>
                <a:lnTo>
                  <a:pt x="604" y="473"/>
                </a:lnTo>
                <a:lnTo>
                  <a:pt x="602" y="465"/>
                </a:lnTo>
                <a:lnTo>
                  <a:pt x="600" y="458"/>
                </a:lnTo>
                <a:lnTo>
                  <a:pt x="600" y="443"/>
                </a:lnTo>
                <a:lnTo>
                  <a:pt x="596" y="437"/>
                </a:lnTo>
                <a:lnTo>
                  <a:pt x="604" y="431"/>
                </a:lnTo>
                <a:lnTo>
                  <a:pt x="602" y="431"/>
                </a:lnTo>
                <a:lnTo>
                  <a:pt x="590" y="437"/>
                </a:lnTo>
                <a:lnTo>
                  <a:pt x="585" y="433"/>
                </a:lnTo>
                <a:lnTo>
                  <a:pt x="579" y="431"/>
                </a:lnTo>
                <a:lnTo>
                  <a:pt x="585" y="437"/>
                </a:lnTo>
                <a:lnTo>
                  <a:pt x="590" y="443"/>
                </a:lnTo>
                <a:lnTo>
                  <a:pt x="592" y="450"/>
                </a:lnTo>
                <a:lnTo>
                  <a:pt x="590" y="450"/>
                </a:lnTo>
                <a:lnTo>
                  <a:pt x="581" y="450"/>
                </a:lnTo>
                <a:lnTo>
                  <a:pt x="575" y="448"/>
                </a:lnTo>
                <a:lnTo>
                  <a:pt x="564" y="435"/>
                </a:lnTo>
                <a:lnTo>
                  <a:pt x="560" y="428"/>
                </a:lnTo>
                <a:lnTo>
                  <a:pt x="543" y="403"/>
                </a:lnTo>
                <a:lnTo>
                  <a:pt x="545" y="401"/>
                </a:lnTo>
                <a:lnTo>
                  <a:pt x="541" y="392"/>
                </a:lnTo>
                <a:lnTo>
                  <a:pt x="526" y="386"/>
                </a:lnTo>
                <a:lnTo>
                  <a:pt x="521" y="379"/>
                </a:lnTo>
                <a:lnTo>
                  <a:pt x="528" y="384"/>
                </a:lnTo>
                <a:lnTo>
                  <a:pt x="528" y="379"/>
                </a:lnTo>
                <a:lnTo>
                  <a:pt x="536" y="377"/>
                </a:lnTo>
                <a:lnTo>
                  <a:pt x="538" y="365"/>
                </a:lnTo>
                <a:lnTo>
                  <a:pt x="549" y="343"/>
                </a:lnTo>
                <a:lnTo>
                  <a:pt x="549" y="337"/>
                </a:lnTo>
                <a:lnTo>
                  <a:pt x="543" y="330"/>
                </a:lnTo>
                <a:lnTo>
                  <a:pt x="536" y="337"/>
                </a:lnTo>
                <a:lnTo>
                  <a:pt x="534" y="330"/>
                </a:lnTo>
                <a:lnTo>
                  <a:pt x="517" y="322"/>
                </a:lnTo>
                <a:lnTo>
                  <a:pt x="517" y="324"/>
                </a:lnTo>
                <a:lnTo>
                  <a:pt x="523" y="330"/>
                </a:lnTo>
                <a:lnTo>
                  <a:pt x="523" y="337"/>
                </a:lnTo>
                <a:lnTo>
                  <a:pt x="526" y="339"/>
                </a:lnTo>
                <a:lnTo>
                  <a:pt x="532" y="339"/>
                </a:lnTo>
                <a:lnTo>
                  <a:pt x="528" y="352"/>
                </a:lnTo>
                <a:lnTo>
                  <a:pt x="523" y="360"/>
                </a:lnTo>
                <a:lnTo>
                  <a:pt x="523" y="356"/>
                </a:lnTo>
                <a:lnTo>
                  <a:pt x="509" y="347"/>
                </a:lnTo>
                <a:lnTo>
                  <a:pt x="517" y="358"/>
                </a:lnTo>
                <a:lnTo>
                  <a:pt x="509" y="352"/>
                </a:lnTo>
                <a:lnTo>
                  <a:pt x="504" y="343"/>
                </a:lnTo>
                <a:lnTo>
                  <a:pt x="509" y="333"/>
                </a:lnTo>
                <a:lnTo>
                  <a:pt x="509" y="318"/>
                </a:lnTo>
                <a:lnTo>
                  <a:pt x="506" y="311"/>
                </a:lnTo>
                <a:lnTo>
                  <a:pt x="513" y="275"/>
                </a:lnTo>
                <a:lnTo>
                  <a:pt x="513" y="267"/>
                </a:lnTo>
                <a:lnTo>
                  <a:pt x="511" y="258"/>
                </a:lnTo>
                <a:lnTo>
                  <a:pt x="511" y="237"/>
                </a:lnTo>
                <a:lnTo>
                  <a:pt x="509" y="235"/>
                </a:lnTo>
                <a:lnTo>
                  <a:pt x="509" y="226"/>
                </a:lnTo>
                <a:lnTo>
                  <a:pt x="500" y="222"/>
                </a:lnTo>
                <a:lnTo>
                  <a:pt x="496" y="215"/>
                </a:lnTo>
                <a:lnTo>
                  <a:pt x="496" y="209"/>
                </a:lnTo>
                <a:lnTo>
                  <a:pt x="483" y="198"/>
                </a:lnTo>
                <a:lnTo>
                  <a:pt x="470" y="201"/>
                </a:lnTo>
                <a:lnTo>
                  <a:pt x="462" y="198"/>
                </a:lnTo>
                <a:lnTo>
                  <a:pt x="457" y="192"/>
                </a:lnTo>
                <a:lnTo>
                  <a:pt x="451" y="188"/>
                </a:lnTo>
                <a:lnTo>
                  <a:pt x="445" y="179"/>
                </a:lnTo>
                <a:lnTo>
                  <a:pt x="423" y="166"/>
                </a:lnTo>
                <a:lnTo>
                  <a:pt x="423" y="160"/>
                </a:lnTo>
                <a:lnTo>
                  <a:pt x="419" y="152"/>
                </a:lnTo>
                <a:lnTo>
                  <a:pt x="404" y="145"/>
                </a:lnTo>
                <a:lnTo>
                  <a:pt x="394" y="130"/>
                </a:lnTo>
                <a:lnTo>
                  <a:pt x="381" y="122"/>
                </a:lnTo>
                <a:lnTo>
                  <a:pt x="372" y="120"/>
                </a:lnTo>
                <a:lnTo>
                  <a:pt x="357" y="111"/>
                </a:lnTo>
                <a:lnTo>
                  <a:pt x="353" y="111"/>
                </a:lnTo>
                <a:lnTo>
                  <a:pt x="345" y="113"/>
                </a:lnTo>
                <a:lnTo>
                  <a:pt x="332" y="115"/>
                </a:lnTo>
                <a:lnTo>
                  <a:pt x="325" y="120"/>
                </a:lnTo>
                <a:lnTo>
                  <a:pt x="321" y="128"/>
                </a:lnTo>
                <a:lnTo>
                  <a:pt x="323" y="130"/>
                </a:lnTo>
                <a:lnTo>
                  <a:pt x="315" y="128"/>
                </a:lnTo>
                <a:lnTo>
                  <a:pt x="323" y="132"/>
                </a:lnTo>
                <a:lnTo>
                  <a:pt x="325" y="139"/>
                </a:lnTo>
                <a:lnTo>
                  <a:pt x="319" y="137"/>
                </a:lnTo>
                <a:lnTo>
                  <a:pt x="313" y="139"/>
                </a:lnTo>
                <a:lnTo>
                  <a:pt x="306" y="141"/>
                </a:lnTo>
                <a:lnTo>
                  <a:pt x="285" y="160"/>
                </a:lnTo>
                <a:lnTo>
                  <a:pt x="276" y="160"/>
                </a:lnTo>
                <a:lnTo>
                  <a:pt x="276" y="156"/>
                </a:lnTo>
                <a:lnTo>
                  <a:pt x="268" y="162"/>
                </a:lnTo>
                <a:lnTo>
                  <a:pt x="268" y="166"/>
                </a:lnTo>
                <a:lnTo>
                  <a:pt x="259" y="166"/>
                </a:lnTo>
                <a:lnTo>
                  <a:pt x="245" y="171"/>
                </a:lnTo>
                <a:lnTo>
                  <a:pt x="242" y="173"/>
                </a:lnTo>
                <a:lnTo>
                  <a:pt x="236" y="173"/>
                </a:lnTo>
                <a:lnTo>
                  <a:pt x="228" y="171"/>
                </a:lnTo>
                <a:lnTo>
                  <a:pt x="225" y="164"/>
                </a:lnTo>
                <a:lnTo>
                  <a:pt x="225" y="156"/>
                </a:lnTo>
                <a:lnTo>
                  <a:pt x="228" y="162"/>
                </a:lnTo>
                <a:lnTo>
                  <a:pt x="230" y="171"/>
                </a:lnTo>
                <a:lnTo>
                  <a:pt x="236" y="169"/>
                </a:lnTo>
                <a:lnTo>
                  <a:pt x="236" y="162"/>
                </a:lnTo>
                <a:lnTo>
                  <a:pt x="232" y="154"/>
                </a:lnTo>
                <a:lnTo>
                  <a:pt x="223" y="147"/>
                </a:lnTo>
                <a:lnTo>
                  <a:pt x="217" y="145"/>
                </a:lnTo>
                <a:lnTo>
                  <a:pt x="210" y="141"/>
                </a:lnTo>
                <a:lnTo>
                  <a:pt x="213" y="141"/>
                </a:lnTo>
                <a:lnTo>
                  <a:pt x="210" y="139"/>
                </a:lnTo>
                <a:lnTo>
                  <a:pt x="202" y="134"/>
                </a:lnTo>
                <a:lnTo>
                  <a:pt x="196" y="128"/>
                </a:lnTo>
                <a:lnTo>
                  <a:pt x="210" y="132"/>
                </a:lnTo>
                <a:lnTo>
                  <a:pt x="217" y="139"/>
                </a:lnTo>
                <a:lnTo>
                  <a:pt x="221" y="132"/>
                </a:lnTo>
                <a:lnTo>
                  <a:pt x="215" y="134"/>
                </a:lnTo>
                <a:lnTo>
                  <a:pt x="210" y="126"/>
                </a:lnTo>
                <a:lnTo>
                  <a:pt x="202" y="128"/>
                </a:lnTo>
                <a:lnTo>
                  <a:pt x="191" y="122"/>
                </a:lnTo>
                <a:lnTo>
                  <a:pt x="196" y="115"/>
                </a:lnTo>
                <a:lnTo>
                  <a:pt x="202" y="113"/>
                </a:lnTo>
                <a:lnTo>
                  <a:pt x="202" y="105"/>
                </a:lnTo>
                <a:lnTo>
                  <a:pt x="191" y="113"/>
                </a:lnTo>
                <a:lnTo>
                  <a:pt x="185" y="111"/>
                </a:lnTo>
                <a:lnTo>
                  <a:pt x="179" y="111"/>
                </a:lnTo>
                <a:lnTo>
                  <a:pt x="181" y="117"/>
                </a:lnTo>
                <a:lnTo>
                  <a:pt x="187" y="122"/>
                </a:lnTo>
                <a:lnTo>
                  <a:pt x="189" y="128"/>
                </a:lnTo>
                <a:lnTo>
                  <a:pt x="174" y="120"/>
                </a:lnTo>
                <a:lnTo>
                  <a:pt x="157" y="113"/>
                </a:lnTo>
                <a:lnTo>
                  <a:pt x="127" y="107"/>
                </a:lnTo>
                <a:lnTo>
                  <a:pt x="121" y="107"/>
                </a:lnTo>
                <a:lnTo>
                  <a:pt x="115" y="105"/>
                </a:lnTo>
                <a:lnTo>
                  <a:pt x="127" y="107"/>
                </a:lnTo>
                <a:lnTo>
                  <a:pt x="130" y="103"/>
                </a:lnTo>
                <a:lnTo>
                  <a:pt x="136" y="100"/>
                </a:lnTo>
                <a:lnTo>
                  <a:pt x="144" y="105"/>
                </a:lnTo>
                <a:lnTo>
                  <a:pt x="151" y="105"/>
                </a:lnTo>
                <a:lnTo>
                  <a:pt x="147" y="100"/>
                </a:lnTo>
                <a:lnTo>
                  <a:pt x="134" y="94"/>
                </a:lnTo>
                <a:lnTo>
                  <a:pt x="127" y="96"/>
                </a:lnTo>
                <a:lnTo>
                  <a:pt x="121" y="100"/>
                </a:lnTo>
                <a:lnTo>
                  <a:pt x="119" y="94"/>
                </a:lnTo>
                <a:lnTo>
                  <a:pt x="104" y="107"/>
                </a:lnTo>
                <a:lnTo>
                  <a:pt x="100" y="107"/>
                </a:lnTo>
                <a:lnTo>
                  <a:pt x="81" y="109"/>
                </a:lnTo>
                <a:lnTo>
                  <a:pt x="59" y="115"/>
                </a:lnTo>
                <a:lnTo>
                  <a:pt x="51" y="115"/>
                </a:lnTo>
                <a:lnTo>
                  <a:pt x="53" y="113"/>
                </a:lnTo>
                <a:lnTo>
                  <a:pt x="64" y="111"/>
                </a:lnTo>
                <a:lnTo>
                  <a:pt x="70" y="105"/>
                </a:lnTo>
                <a:lnTo>
                  <a:pt x="61" y="98"/>
                </a:lnTo>
                <a:lnTo>
                  <a:pt x="61" y="90"/>
                </a:lnTo>
                <a:lnTo>
                  <a:pt x="59" y="98"/>
                </a:lnTo>
                <a:lnTo>
                  <a:pt x="55" y="105"/>
                </a:lnTo>
                <a:lnTo>
                  <a:pt x="51" y="96"/>
                </a:lnTo>
                <a:lnTo>
                  <a:pt x="47" y="100"/>
                </a:lnTo>
                <a:lnTo>
                  <a:pt x="47" y="100"/>
                </a:lnTo>
                <a:lnTo>
                  <a:pt x="49" y="103"/>
                </a:lnTo>
                <a:lnTo>
                  <a:pt x="44" y="111"/>
                </a:lnTo>
                <a:lnTo>
                  <a:pt x="38" y="122"/>
                </a:lnTo>
                <a:lnTo>
                  <a:pt x="32" y="126"/>
                </a:lnTo>
                <a:lnTo>
                  <a:pt x="25" y="128"/>
                </a:lnTo>
                <a:lnTo>
                  <a:pt x="21" y="128"/>
                </a:lnTo>
                <a:lnTo>
                  <a:pt x="23" y="120"/>
                </a:lnTo>
                <a:lnTo>
                  <a:pt x="32" y="113"/>
                </a:lnTo>
                <a:lnTo>
                  <a:pt x="29" y="109"/>
                </a:lnTo>
                <a:lnTo>
                  <a:pt x="23" y="10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6" name="Freeform 752"/>
          <p:cNvSpPr>
            <a:spLocks/>
          </p:cNvSpPr>
          <p:nvPr/>
        </p:nvSpPr>
        <p:spPr bwMode="auto">
          <a:xfrm>
            <a:off x="5740400" y="4975346"/>
            <a:ext cx="107950" cy="26988"/>
          </a:xfrm>
          <a:custGeom>
            <a:avLst/>
            <a:gdLst>
              <a:gd name="T0" fmla="*/ 62 w 68"/>
              <a:gd name="T1" fmla="*/ 0 h 17"/>
              <a:gd name="T2" fmla="*/ 68 w 68"/>
              <a:gd name="T3" fmla="*/ 0 h 17"/>
              <a:gd name="T4" fmla="*/ 53 w 68"/>
              <a:gd name="T5" fmla="*/ 2 h 17"/>
              <a:gd name="T6" fmla="*/ 6 w 68"/>
              <a:gd name="T7" fmla="*/ 17 h 17"/>
              <a:gd name="T8" fmla="*/ 0 w 68"/>
              <a:gd name="T9" fmla="*/ 17 h 17"/>
              <a:gd name="T10" fmla="*/ 17 w 68"/>
              <a:gd name="T11" fmla="*/ 13 h 17"/>
              <a:gd name="T12" fmla="*/ 23 w 68"/>
              <a:gd name="T13" fmla="*/ 8 h 17"/>
              <a:gd name="T14" fmla="*/ 30 w 68"/>
              <a:gd name="T15" fmla="*/ 8 h 17"/>
              <a:gd name="T16" fmla="*/ 47 w 68"/>
              <a:gd name="T17" fmla="*/ 2 h 17"/>
              <a:gd name="T18" fmla="*/ 62 w 68"/>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7">
                <a:moveTo>
                  <a:pt x="62" y="0"/>
                </a:moveTo>
                <a:lnTo>
                  <a:pt x="68" y="0"/>
                </a:lnTo>
                <a:lnTo>
                  <a:pt x="53" y="2"/>
                </a:lnTo>
                <a:lnTo>
                  <a:pt x="6" y="17"/>
                </a:lnTo>
                <a:lnTo>
                  <a:pt x="0" y="17"/>
                </a:lnTo>
                <a:lnTo>
                  <a:pt x="17" y="13"/>
                </a:lnTo>
                <a:lnTo>
                  <a:pt x="23" y="8"/>
                </a:lnTo>
                <a:lnTo>
                  <a:pt x="30" y="8"/>
                </a:lnTo>
                <a:lnTo>
                  <a:pt x="47" y="2"/>
                </a:lnTo>
                <a:lnTo>
                  <a:pt x="62"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7" name="Freeform 753"/>
          <p:cNvSpPr>
            <a:spLocks/>
          </p:cNvSpPr>
          <p:nvPr/>
        </p:nvSpPr>
        <p:spPr bwMode="auto">
          <a:xfrm>
            <a:off x="5740400" y="4975346"/>
            <a:ext cx="107950" cy="26988"/>
          </a:xfrm>
          <a:custGeom>
            <a:avLst/>
            <a:gdLst>
              <a:gd name="T0" fmla="*/ 62 w 68"/>
              <a:gd name="T1" fmla="*/ 0 h 17"/>
              <a:gd name="T2" fmla="*/ 68 w 68"/>
              <a:gd name="T3" fmla="*/ 0 h 17"/>
              <a:gd name="T4" fmla="*/ 53 w 68"/>
              <a:gd name="T5" fmla="*/ 2 h 17"/>
              <a:gd name="T6" fmla="*/ 6 w 68"/>
              <a:gd name="T7" fmla="*/ 17 h 17"/>
              <a:gd name="T8" fmla="*/ 0 w 68"/>
              <a:gd name="T9" fmla="*/ 17 h 17"/>
              <a:gd name="T10" fmla="*/ 17 w 68"/>
              <a:gd name="T11" fmla="*/ 13 h 17"/>
              <a:gd name="T12" fmla="*/ 23 w 68"/>
              <a:gd name="T13" fmla="*/ 8 h 17"/>
              <a:gd name="T14" fmla="*/ 30 w 68"/>
              <a:gd name="T15" fmla="*/ 8 h 17"/>
              <a:gd name="T16" fmla="*/ 47 w 68"/>
              <a:gd name="T17" fmla="*/ 2 h 17"/>
              <a:gd name="T18" fmla="*/ 62 w 68"/>
              <a:gd name="T1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8" h="17">
                <a:moveTo>
                  <a:pt x="62" y="0"/>
                </a:moveTo>
                <a:lnTo>
                  <a:pt x="68" y="0"/>
                </a:lnTo>
                <a:lnTo>
                  <a:pt x="53" y="2"/>
                </a:lnTo>
                <a:lnTo>
                  <a:pt x="6" y="17"/>
                </a:lnTo>
                <a:lnTo>
                  <a:pt x="0" y="17"/>
                </a:lnTo>
                <a:lnTo>
                  <a:pt x="17" y="13"/>
                </a:lnTo>
                <a:lnTo>
                  <a:pt x="23" y="8"/>
                </a:lnTo>
                <a:lnTo>
                  <a:pt x="30" y="8"/>
                </a:lnTo>
                <a:lnTo>
                  <a:pt x="47" y="2"/>
                </a:lnTo>
                <a:lnTo>
                  <a:pt x="6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48" name="Freeform 754"/>
          <p:cNvSpPr>
            <a:spLocks/>
          </p:cNvSpPr>
          <p:nvPr/>
        </p:nvSpPr>
        <p:spPr bwMode="auto">
          <a:xfrm>
            <a:off x="5862637" y="2794121"/>
            <a:ext cx="590550" cy="679450"/>
          </a:xfrm>
          <a:custGeom>
            <a:avLst/>
            <a:gdLst>
              <a:gd name="T0" fmla="*/ 74 w 372"/>
              <a:gd name="T1" fmla="*/ 72 h 428"/>
              <a:gd name="T2" fmla="*/ 110 w 372"/>
              <a:gd name="T3" fmla="*/ 68 h 428"/>
              <a:gd name="T4" fmla="*/ 134 w 372"/>
              <a:gd name="T5" fmla="*/ 75 h 428"/>
              <a:gd name="T6" fmla="*/ 151 w 372"/>
              <a:gd name="T7" fmla="*/ 83 h 428"/>
              <a:gd name="T8" fmla="*/ 166 w 372"/>
              <a:gd name="T9" fmla="*/ 77 h 428"/>
              <a:gd name="T10" fmla="*/ 159 w 372"/>
              <a:gd name="T11" fmla="*/ 87 h 428"/>
              <a:gd name="T12" fmla="*/ 159 w 372"/>
              <a:gd name="T13" fmla="*/ 94 h 428"/>
              <a:gd name="T14" fmla="*/ 183 w 372"/>
              <a:gd name="T15" fmla="*/ 87 h 428"/>
              <a:gd name="T16" fmla="*/ 198 w 372"/>
              <a:gd name="T17" fmla="*/ 94 h 428"/>
              <a:gd name="T18" fmla="*/ 213 w 372"/>
              <a:gd name="T19" fmla="*/ 85 h 428"/>
              <a:gd name="T20" fmla="*/ 234 w 372"/>
              <a:gd name="T21" fmla="*/ 72 h 428"/>
              <a:gd name="T22" fmla="*/ 255 w 372"/>
              <a:gd name="T23" fmla="*/ 72 h 428"/>
              <a:gd name="T24" fmla="*/ 276 w 372"/>
              <a:gd name="T25" fmla="*/ 49 h 428"/>
              <a:gd name="T26" fmla="*/ 289 w 372"/>
              <a:gd name="T27" fmla="*/ 36 h 428"/>
              <a:gd name="T28" fmla="*/ 347 w 372"/>
              <a:gd name="T29" fmla="*/ 0 h 428"/>
              <a:gd name="T30" fmla="*/ 372 w 372"/>
              <a:gd name="T31" fmla="*/ 151 h 428"/>
              <a:gd name="T32" fmla="*/ 364 w 372"/>
              <a:gd name="T33" fmla="*/ 153 h 428"/>
              <a:gd name="T34" fmla="*/ 366 w 372"/>
              <a:gd name="T35" fmla="*/ 168 h 428"/>
              <a:gd name="T36" fmla="*/ 368 w 372"/>
              <a:gd name="T37" fmla="*/ 196 h 428"/>
              <a:gd name="T38" fmla="*/ 366 w 372"/>
              <a:gd name="T39" fmla="*/ 226 h 428"/>
              <a:gd name="T40" fmla="*/ 364 w 372"/>
              <a:gd name="T41" fmla="*/ 234 h 428"/>
              <a:gd name="T42" fmla="*/ 364 w 372"/>
              <a:gd name="T43" fmla="*/ 249 h 428"/>
              <a:gd name="T44" fmla="*/ 362 w 372"/>
              <a:gd name="T45" fmla="*/ 271 h 428"/>
              <a:gd name="T46" fmla="*/ 342 w 372"/>
              <a:gd name="T47" fmla="*/ 294 h 428"/>
              <a:gd name="T48" fmla="*/ 317 w 372"/>
              <a:gd name="T49" fmla="*/ 300 h 428"/>
              <a:gd name="T50" fmla="*/ 311 w 372"/>
              <a:gd name="T51" fmla="*/ 317 h 428"/>
              <a:gd name="T52" fmla="*/ 298 w 372"/>
              <a:gd name="T53" fmla="*/ 330 h 428"/>
              <a:gd name="T54" fmla="*/ 291 w 372"/>
              <a:gd name="T55" fmla="*/ 345 h 428"/>
              <a:gd name="T56" fmla="*/ 294 w 372"/>
              <a:gd name="T57" fmla="*/ 358 h 428"/>
              <a:gd name="T58" fmla="*/ 283 w 372"/>
              <a:gd name="T59" fmla="*/ 356 h 428"/>
              <a:gd name="T60" fmla="*/ 272 w 372"/>
              <a:gd name="T61" fmla="*/ 360 h 428"/>
              <a:gd name="T62" fmla="*/ 268 w 372"/>
              <a:gd name="T63" fmla="*/ 375 h 428"/>
              <a:gd name="T64" fmla="*/ 264 w 372"/>
              <a:gd name="T65" fmla="*/ 386 h 428"/>
              <a:gd name="T66" fmla="*/ 268 w 372"/>
              <a:gd name="T67" fmla="*/ 403 h 428"/>
              <a:gd name="T68" fmla="*/ 262 w 372"/>
              <a:gd name="T69" fmla="*/ 415 h 428"/>
              <a:gd name="T70" fmla="*/ 245 w 372"/>
              <a:gd name="T71" fmla="*/ 428 h 428"/>
              <a:gd name="T72" fmla="*/ 238 w 372"/>
              <a:gd name="T73" fmla="*/ 428 h 428"/>
              <a:gd name="T74" fmla="*/ 225 w 372"/>
              <a:gd name="T75" fmla="*/ 415 h 428"/>
              <a:gd name="T76" fmla="*/ 210 w 372"/>
              <a:gd name="T77" fmla="*/ 407 h 428"/>
              <a:gd name="T78" fmla="*/ 198 w 372"/>
              <a:gd name="T79" fmla="*/ 398 h 428"/>
              <a:gd name="T80" fmla="*/ 185 w 372"/>
              <a:gd name="T81" fmla="*/ 413 h 428"/>
              <a:gd name="T82" fmla="*/ 172 w 372"/>
              <a:gd name="T83" fmla="*/ 415 h 428"/>
              <a:gd name="T84" fmla="*/ 155 w 372"/>
              <a:gd name="T85" fmla="*/ 409 h 428"/>
              <a:gd name="T86" fmla="*/ 144 w 372"/>
              <a:gd name="T87" fmla="*/ 415 h 428"/>
              <a:gd name="T88" fmla="*/ 121 w 372"/>
              <a:gd name="T89" fmla="*/ 405 h 428"/>
              <a:gd name="T90" fmla="*/ 102 w 372"/>
              <a:gd name="T91" fmla="*/ 407 h 428"/>
              <a:gd name="T92" fmla="*/ 85 w 372"/>
              <a:gd name="T93" fmla="*/ 390 h 428"/>
              <a:gd name="T94" fmla="*/ 64 w 372"/>
              <a:gd name="T95" fmla="*/ 375 h 428"/>
              <a:gd name="T96" fmla="*/ 44 w 372"/>
              <a:gd name="T97" fmla="*/ 373 h 428"/>
              <a:gd name="T98" fmla="*/ 12 w 372"/>
              <a:gd name="T99" fmla="*/ 19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428">
                <a:moveTo>
                  <a:pt x="0" y="85"/>
                </a:moveTo>
                <a:lnTo>
                  <a:pt x="74" y="72"/>
                </a:lnTo>
                <a:lnTo>
                  <a:pt x="108" y="66"/>
                </a:lnTo>
                <a:lnTo>
                  <a:pt x="110" y="68"/>
                </a:lnTo>
                <a:lnTo>
                  <a:pt x="125" y="70"/>
                </a:lnTo>
                <a:lnTo>
                  <a:pt x="134" y="75"/>
                </a:lnTo>
                <a:lnTo>
                  <a:pt x="144" y="77"/>
                </a:lnTo>
                <a:lnTo>
                  <a:pt x="151" y="83"/>
                </a:lnTo>
                <a:lnTo>
                  <a:pt x="157" y="83"/>
                </a:lnTo>
                <a:lnTo>
                  <a:pt x="166" y="77"/>
                </a:lnTo>
                <a:lnTo>
                  <a:pt x="172" y="83"/>
                </a:lnTo>
                <a:lnTo>
                  <a:pt x="159" y="87"/>
                </a:lnTo>
                <a:lnTo>
                  <a:pt x="153" y="94"/>
                </a:lnTo>
                <a:lnTo>
                  <a:pt x="159" y="94"/>
                </a:lnTo>
                <a:lnTo>
                  <a:pt x="168" y="87"/>
                </a:lnTo>
                <a:lnTo>
                  <a:pt x="183" y="87"/>
                </a:lnTo>
                <a:lnTo>
                  <a:pt x="189" y="92"/>
                </a:lnTo>
                <a:lnTo>
                  <a:pt x="198" y="94"/>
                </a:lnTo>
                <a:lnTo>
                  <a:pt x="204" y="87"/>
                </a:lnTo>
                <a:lnTo>
                  <a:pt x="213" y="85"/>
                </a:lnTo>
                <a:lnTo>
                  <a:pt x="219" y="81"/>
                </a:lnTo>
                <a:lnTo>
                  <a:pt x="234" y="72"/>
                </a:lnTo>
                <a:lnTo>
                  <a:pt x="240" y="75"/>
                </a:lnTo>
                <a:lnTo>
                  <a:pt x="255" y="72"/>
                </a:lnTo>
                <a:lnTo>
                  <a:pt x="270" y="60"/>
                </a:lnTo>
                <a:lnTo>
                  <a:pt x="276" y="49"/>
                </a:lnTo>
                <a:lnTo>
                  <a:pt x="283" y="43"/>
                </a:lnTo>
                <a:lnTo>
                  <a:pt x="289" y="36"/>
                </a:lnTo>
                <a:lnTo>
                  <a:pt x="304" y="26"/>
                </a:lnTo>
                <a:lnTo>
                  <a:pt x="347" y="0"/>
                </a:lnTo>
                <a:lnTo>
                  <a:pt x="347" y="4"/>
                </a:lnTo>
                <a:lnTo>
                  <a:pt x="372" y="151"/>
                </a:lnTo>
                <a:lnTo>
                  <a:pt x="368" y="153"/>
                </a:lnTo>
                <a:lnTo>
                  <a:pt x="364" y="153"/>
                </a:lnTo>
                <a:lnTo>
                  <a:pt x="362" y="162"/>
                </a:lnTo>
                <a:lnTo>
                  <a:pt x="366" y="168"/>
                </a:lnTo>
                <a:lnTo>
                  <a:pt x="372" y="190"/>
                </a:lnTo>
                <a:lnTo>
                  <a:pt x="368" y="196"/>
                </a:lnTo>
                <a:lnTo>
                  <a:pt x="366" y="217"/>
                </a:lnTo>
                <a:lnTo>
                  <a:pt x="366" y="226"/>
                </a:lnTo>
                <a:lnTo>
                  <a:pt x="366" y="234"/>
                </a:lnTo>
                <a:lnTo>
                  <a:pt x="364" y="234"/>
                </a:lnTo>
                <a:lnTo>
                  <a:pt x="364" y="243"/>
                </a:lnTo>
                <a:lnTo>
                  <a:pt x="364" y="249"/>
                </a:lnTo>
                <a:lnTo>
                  <a:pt x="364" y="258"/>
                </a:lnTo>
                <a:lnTo>
                  <a:pt x="362" y="271"/>
                </a:lnTo>
                <a:lnTo>
                  <a:pt x="351" y="279"/>
                </a:lnTo>
                <a:lnTo>
                  <a:pt x="342" y="294"/>
                </a:lnTo>
                <a:lnTo>
                  <a:pt x="330" y="307"/>
                </a:lnTo>
                <a:lnTo>
                  <a:pt x="317" y="300"/>
                </a:lnTo>
                <a:lnTo>
                  <a:pt x="311" y="311"/>
                </a:lnTo>
                <a:lnTo>
                  <a:pt x="311" y="317"/>
                </a:lnTo>
                <a:lnTo>
                  <a:pt x="300" y="324"/>
                </a:lnTo>
                <a:lnTo>
                  <a:pt x="298" y="330"/>
                </a:lnTo>
                <a:lnTo>
                  <a:pt x="298" y="337"/>
                </a:lnTo>
                <a:lnTo>
                  <a:pt x="291" y="345"/>
                </a:lnTo>
                <a:lnTo>
                  <a:pt x="298" y="351"/>
                </a:lnTo>
                <a:lnTo>
                  <a:pt x="294" y="358"/>
                </a:lnTo>
                <a:lnTo>
                  <a:pt x="291" y="366"/>
                </a:lnTo>
                <a:lnTo>
                  <a:pt x="283" y="356"/>
                </a:lnTo>
                <a:lnTo>
                  <a:pt x="276" y="354"/>
                </a:lnTo>
                <a:lnTo>
                  <a:pt x="272" y="360"/>
                </a:lnTo>
                <a:lnTo>
                  <a:pt x="268" y="366"/>
                </a:lnTo>
                <a:lnTo>
                  <a:pt x="268" y="375"/>
                </a:lnTo>
                <a:lnTo>
                  <a:pt x="266" y="377"/>
                </a:lnTo>
                <a:lnTo>
                  <a:pt x="264" y="386"/>
                </a:lnTo>
                <a:lnTo>
                  <a:pt x="268" y="390"/>
                </a:lnTo>
                <a:lnTo>
                  <a:pt x="268" y="403"/>
                </a:lnTo>
                <a:lnTo>
                  <a:pt x="262" y="409"/>
                </a:lnTo>
                <a:lnTo>
                  <a:pt x="262" y="415"/>
                </a:lnTo>
                <a:lnTo>
                  <a:pt x="255" y="422"/>
                </a:lnTo>
                <a:lnTo>
                  <a:pt x="245" y="428"/>
                </a:lnTo>
                <a:lnTo>
                  <a:pt x="238" y="428"/>
                </a:lnTo>
                <a:lnTo>
                  <a:pt x="238" y="428"/>
                </a:lnTo>
                <a:lnTo>
                  <a:pt x="232" y="422"/>
                </a:lnTo>
                <a:lnTo>
                  <a:pt x="225" y="415"/>
                </a:lnTo>
                <a:lnTo>
                  <a:pt x="217" y="413"/>
                </a:lnTo>
                <a:lnTo>
                  <a:pt x="210" y="407"/>
                </a:lnTo>
                <a:lnTo>
                  <a:pt x="206" y="394"/>
                </a:lnTo>
                <a:lnTo>
                  <a:pt x="198" y="398"/>
                </a:lnTo>
                <a:lnTo>
                  <a:pt x="189" y="407"/>
                </a:lnTo>
                <a:lnTo>
                  <a:pt x="185" y="413"/>
                </a:lnTo>
                <a:lnTo>
                  <a:pt x="179" y="413"/>
                </a:lnTo>
                <a:lnTo>
                  <a:pt x="172" y="415"/>
                </a:lnTo>
                <a:lnTo>
                  <a:pt x="164" y="411"/>
                </a:lnTo>
                <a:lnTo>
                  <a:pt x="155" y="409"/>
                </a:lnTo>
                <a:lnTo>
                  <a:pt x="149" y="409"/>
                </a:lnTo>
                <a:lnTo>
                  <a:pt x="144" y="415"/>
                </a:lnTo>
                <a:lnTo>
                  <a:pt x="136" y="417"/>
                </a:lnTo>
                <a:lnTo>
                  <a:pt x="121" y="405"/>
                </a:lnTo>
                <a:lnTo>
                  <a:pt x="117" y="405"/>
                </a:lnTo>
                <a:lnTo>
                  <a:pt x="102" y="407"/>
                </a:lnTo>
                <a:lnTo>
                  <a:pt x="95" y="405"/>
                </a:lnTo>
                <a:lnTo>
                  <a:pt x="85" y="390"/>
                </a:lnTo>
                <a:lnTo>
                  <a:pt x="81" y="381"/>
                </a:lnTo>
                <a:lnTo>
                  <a:pt x="64" y="375"/>
                </a:lnTo>
                <a:lnTo>
                  <a:pt x="51" y="379"/>
                </a:lnTo>
                <a:lnTo>
                  <a:pt x="44" y="373"/>
                </a:lnTo>
                <a:lnTo>
                  <a:pt x="34" y="379"/>
                </a:lnTo>
                <a:lnTo>
                  <a:pt x="12" y="190"/>
                </a:lnTo>
                <a:lnTo>
                  <a:pt x="0" y="8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49" name="Freeform 755"/>
          <p:cNvSpPr>
            <a:spLocks/>
          </p:cNvSpPr>
          <p:nvPr/>
        </p:nvSpPr>
        <p:spPr bwMode="auto">
          <a:xfrm>
            <a:off x="5862637" y="2794121"/>
            <a:ext cx="590550" cy="679450"/>
          </a:xfrm>
          <a:custGeom>
            <a:avLst/>
            <a:gdLst>
              <a:gd name="T0" fmla="*/ 74 w 372"/>
              <a:gd name="T1" fmla="*/ 72 h 428"/>
              <a:gd name="T2" fmla="*/ 110 w 372"/>
              <a:gd name="T3" fmla="*/ 68 h 428"/>
              <a:gd name="T4" fmla="*/ 134 w 372"/>
              <a:gd name="T5" fmla="*/ 75 h 428"/>
              <a:gd name="T6" fmla="*/ 151 w 372"/>
              <a:gd name="T7" fmla="*/ 83 h 428"/>
              <a:gd name="T8" fmla="*/ 166 w 372"/>
              <a:gd name="T9" fmla="*/ 77 h 428"/>
              <a:gd name="T10" fmla="*/ 159 w 372"/>
              <a:gd name="T11" fmla="*/ 87 h 428"/>
              <a:gd name="T12" fmla="*/ 159 w 372"/>
              <a:gd name="T13" fmla="*/ 94 h 428"/>
              <a:gd name="T14" fmla="*/ 183 w 372"/>
              <a:gd name="T15" fmla="*/ 87 h 428"/>
              <a:gd name="T16" fmla="*/ 198 w 372"/>
              <a:gd name="T17" fmla="*/ 94 h 428"/>
              <a:gd name="T18" fmla="*/ 213 w 372"/>
              <a:gd name="T19" fmla="*/ 85 h 428"/>
              <a:gd name="T20" fmla="*/ 234 w 372"/>
              <a:gd name="T21" fmla="*/ 72 h 428"/>
              <a:gd name="T22" fmla="*/ 255 w 372"/>
              <a:gd name="T23" fmla="*/ 72 h 428"/>
              <a:gd name="T24" fmla="*/ 276 w 372"/>
              <a:gd name="T25" fmla="*/ 49 h 428"/>
              <a:gd name="T26" fmla="*/ 289 w 372"/>
              <a:gd name="T27" fmla="*/ 36 h 428"/>
              <a:gd name="T28" fmla="*/ 347 w 372"/>
              <a:gd name="T29" fmla="*/ 0 h 428"/>
              <a:gd name="T30" fmla="*/ 372 w 372"/>
              <a:gd name="T31" fmla="*/ 151 h 428"/>
              <a:gd name="T32" fmla="*/ 364 w 372"/>
              <a:gd name="T33" fmla="*/ 153 h 428"/>
              <a:gd name="T34" fmla="*/ 366 w 372"/>
              <a:gd name="T35" fmla="*/ 168 h 428"/>
              <a:gd name="T36" fmla="*/ 368 w 372"/>
              <a:gd name="T37" fmla="*/ 196 h 428"/>
              <a:gd name="T38" fmla="*/ 366 w 372"/>
              <a:gd name="T39" fmla="*/ 226 h 428"/>
              <a:gd name="T40" fmla="*/ 364 w 372"/>
              <a:gd name="T41" fmla="*/ 234 h 428"/>
              <a:gd name="T42" fmla="*/ 364 w 372"/>
              <a:gd name="T43" fmla="*/ 249 h 428"/>
              <a:gd name="T44" fmla="*/ 362 w 372"/>
              <a:gd name="T45" fmla="*/ 271 h 428"/>
              <a:gd name="T46" fmla="*/ 342 w 372"/>
              <a:gd name="T47" fmla="*/ 294 h 428"/>
              <a:gd name="T48" fmla="*/ 317 w 372"/>
              <a:gd name="T49" fmla="*/ 300 h 428"/>
              <a:gd name="T50" fmla="*/ 311 w 372"/>
              <a:gd name="T51" fmla="*/ 317 h 428"/>
              <a:gd name="T52" fmla="*/ 298 w 372"/>
              <a:gd name="T53" fmla="*/ 330 h 428"/>
              <a:gd name="T54" fmla="*/ 291 w 372"/>
              <a:gd name="T55" fmla="*/ 345 h 428"/>
              <a:gd name="T56" fmla="*/ 294 w 372"/>
              <a:gd name="T57" fmla="*/ 358 h 428"/>
              <a:gd name="T58" fmla="*/ 283 w 372"/>
              <a:gd name="T59" fmla="*/ 356 h 428"/>
              <a:gd name="T60" fmla="*/ 272 w 372"/>
              <a:gd name="T61" fmla="*/ 360 h 428"/>
              <a:gd name="T62" fmla="*/ 268 w 372"/>
              <a:gd name="T63" fmla="*/ 375 h 428"/>
              <a:gd name="T64" fmla="*/ 264 w 372"/>
              <a:gd name="T65" fmla="*/ 386 h 428"/>
              <a:gd name="T66" fmla="*/ 268 w 372"/>
              <a:gd name="T67" fmla="*/ 403 h 428"/>
              <a:gd name="T68" fmla="*/ 262 w 372"/>
              <a:gd name="T69" fmla="*/ 415 h 428"/>
              <a:gd name="T70" fmla="*/ 245 w 372"/>
              <a:gd name="T71" fmla="*/ 428 h 428"/>
              <a:gd name="T72" fmla="*/ 238 w 372"/>
              <a:gd name="T73" fmla="*/ 428 h 428"/>
              <a:gd name="T74" fmla="*/ 225 w 372"/>
              <a:gd name="T75" fmla="*/ 415 h 428"/>
              <a:gd name="T76" fmla="*/ 210 w 372"/>
              <a:gd name="T77" fmla="*/ 407 h 428"/>
              <a:gd name="T78" fmla="*/ 198 w 372"/>
              <a:gd name="T79" fmla="*/ 398 h 428"/>
              <a:gd name="T80" fmla="*/ 185 w 372"/>
              <a:gd name="T81" fmla="*/ 413 h 428"/>
              <a:gd name="T82" fmla="*/ 172 w 372"/>
              <a:gd name="T83" fmla="*/ 415 h 428"/>
              <a:gd name="T84" fmla="*/ 155 w 372"/>
              <a:gd name="T85" fmla="*/ 409 h 428"/>
              <a:gd name="T86" fmla="*/ 144 w 372"/>
              <a:gd name="T87" fmla="*/ 415 h 428"/>
              <a:gd name="T88" fmla="*/ 121 w 372"/>
              <a:gd name="T89" fmla="*/ 405 h 428"/>
              <a:gd name="T90" fmla="*/ 102 w 372"/>
              <a:gd name="T91" fmla="*/ 407 h 428"/>
              <a:gd name="T92" fmla="*/ 85 w 372"/>
              <a:gd name="T93" fmla="*/ 390 h 428"/>
              <a:gd name="T94" fmla="*/ 64 w 372"/>
              <a:gd name="T95" fmla="*/ 375 h 428"/>
              <a:gd name="T96" fmla="*/ 44 w 372"/>
              <a:gd name="T97" fmla="*/ 373 h 428"/>
              <a:gd name="T98" fmla="*/ 12 w 372"/>
              <a:gd name="T99" fmla="*/ 190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72" h="428">
                <a:moveTo>
                  <a:pt x="0" y="85"/>
                </a:moveTo>
                <a:lnTo>
                  <a:pt x="74" y="72"/>
                </a:lnTo>
                <a:lnTo>
                  <a:pt x="108" y="66"/>
                </a:lnTo>
                <a:lnTo>
                  <a:pt x="110" y="68"/>
                </a:lnTo>
                <a:lnTo>
                  <a:pt x="125" y="70"/>
                </a:lnTo>
                <a:lnTo>
                  <a:pt x="134" y="75"/>
                </a:lnTo>
                <a:lnTo>
                  <a:pt x="144" y="77"/>
                </a:lnTo>
                <a:lnTo>
                  <a:pt x="151" y="83"/>
                </a:lnTo>
                <a:lnTo>
                  <a:pt x="157" y="83"/>
                </a:lnTo>
                <a:lnTo>
                  <a:pt x="166" y="77"/>
                </a:lnTo>
                <a:lnTo>
                  <a:pt x="172" y="83"/>
                </a:lnTo>
                <a:lnTo>
                  <a:pt x="159" y="87"/>
                </a:lnTo>
                <a:lnTo>
                  <a:pt x="153" y="94"/>
                </a:lnTo>
                <a:lnTo>
                  <a:pt x="159" y="94"/>
                </a:lnTo>
                <a:lnTo>
                  <a:pt x="168" y="87"/>
                </a:lnTo>
                <a:lnTo>
                  <a:pt x="183" y="87"/>
                </a:lnTo>
                <a:lnTo>
                  <a:pt x="189" y="92"/>
                </a:lnTo>
                <a:lnTo>
                  <a:pt x="198" y="94"/>
                </a:lnTo>
                <a:lnTo>
                  <a:pt x="204" y="87"/>
                </a:lnTo>
                <a:lnTo>
                  <a:pt x="213" y="85"/>
                </a:lnTo>
                <a:lnTo>
                  <a:pt x="219" y="81"/>
                </a:lnTo>
                <a:lnTo>
                  <a:pt x="234" y="72"/>
                </a:lnTo>
                <a:lnTo>
                  <a:pt x="240" y="75"/>
                </a:lnTo>
                <a:lnTo>
                  <a:pt x="255" y="72"/>
                </a:lnTo>
                <a:lnTo>
                  <a:pt x="270" y="60"/>
                </a:lnTo>
                <a:lnTo>
                  <a:pt x="276" y="49"/>
                </a:lnTo>
                <a:lnTo>
                  <a:pt x="283" y="43"/>
                </a:lnTo>
                <a:lnTo>
                  <a:pt x="289" y="36"/>
                </a:lnTo>
                <a:lnTo>
                  <a:pt x="304" y="26"/>
                </a:lnTo>
                <a:lnTo>
                  <a:pt x="347" y="0"/>
                </a:lnTo>
                <a:lnTo>
                  <a:pt x="347" y="4"/>
                </a:lnTo>
                <a:lnTo>
                  <a:pt x="372" y="151"/>
                </a:lnTo>
                <a:lnTo>
                  <a:pt x="368" y="153"/>
                </a:lnTo>
                <a:lnTo>
                  <a:pt x="364" y="153"/>
                </a:lnTo>
                <a:lnTo>
                  <a:pt x="362" y="162"/>
                </a:lnTo>
                <a:lnTo>
                  <a:pt x="366" y="168"/>
                </a:lnTo>
                <a:lnTo>
                  <a:pt x="372" y="190"/>
                </a:lnTo>
                <a:lnTo>
                  <a:pt x="368" y="196"/>
                </a:lnTo>
                <a:lnTo>
                  <a:pt x="366" y="217"/>
                </a:lnTo>
                <a:lnTo>
                  <a:pt x="366" y="226"/>
                </a:lnTo>
                <a:lnTo>
                  <a:pt x="366" y="234"/>
                </a:lnTo>
                <a:lnTo>
                  <a:pt x="364" y="234"/>
                </a:lnTo>
                <a:lnTo>
                  <a:pt x="364" y="243"/>
                </a:lnTo>
                <a:lnTo>
                  <a:pt x="364" y="249"/>
                </a:lnTo>
                <a:lnTo>
                  <a:pt x="364" y="258"/>
                </a:lnTo>
                <a:lnTo>
                  <a:pt x="362" y="271"/>
                </a:lnTo>
                <a:lnTo>
                  <a:pt x="351" y="279"/>
                </a:lnTo>
                <a:lnTo>
                  <a:pt x="342" y="294"/>
                </a:lnTo>
                <a:lnTo>
                  <a:pt x="330" y="307"/>
                </a:lnTo>
                <a:lnTo>
                  <a:pt x="317" y="300"/>
                </a:lnTo>
                <a:lnTo>
                  <a:pt x="311" y="311"/>
                </a:lnTo>
                <a:lnTo>
                  <a:pt x="311" y="317"/>
                </a:lnTo>
                <a:lnTo>
                  <a:pt x="300" y="324"/>
                </a:lnTo>
                <a:lnTo>
                  <a:pt x="298" y="330"/>
                </a:lnTo>
                <a:lnTo>
                  <a:pt x="298" y="337"/>
                </a:lnTo>
                <a:lnTo>
                  <a:pt x="291" y="345"/>
                </a:lnTo>
                <a:lnTo>
                  <a:pt x="298" y="351"/>
                </a:lnTo>
                <a:lnTo>
                  <a:pt x="294" y="358"/>
                </a:lnTo>
                <a:lnTo>
                  <a:pt x="291" y="366"/>
                </a:lnTo>
                <a:lnTo>
                  <a:pt x="283" y="356"/>
                </a:lnTo>
                <a:lnTo>
                  <a:pt x="276" y="354"/>
                </a:lnTo>
                <a:lnTo>
                  <a:pt x="272" y="360"/>
                </a:lnTo>
                <a:lnTo>
                  <a:pt x="268" y="366"/>
                </a:lnTo>
                <a:lnTo>
                  <a:pt x="268" y="375"/>
                </a:lnTo>
                <a:lnTo>
                  <a:pt x="266" y="377"/>
                </a:lnTo>
                <a:lnTo>
                  <a:pt x="264" y="386"/>
                </a:lnTo>
                <a:lnTo>
                  <a:pt x="268" y="390"/>
                </a:lnTo>
                <a:lnTo>
                  <a:pt x="268" y="403"/>
                </a:lnTo>
                <a:lnTo>
                  <a:pt x="262" y="409"/>
                </a:lnTo>
                <a:lnTo>
                  <a:pt x="262" y="415"/>
                </a:lnTo>
                <a:lnTo>
                  <a:pt x="255" y="422"/>
                </a:lnTo>
                <a:lnTo>
                  <a:pt x="245" y="428"/>
                </a:lnTo>
                <a:lnTo>
                  <a:pt x="238" y="428"/>
                </a:lnTo>
                <a:lnTo>
                  <a:pt x="238" y="428"/>
                </a:lnTo>
                <a:lnTo>
                  <a:pt x="232" y="422"/>
                </a:lnTo>
                <a:lnTo>
                  <a:pt x="225" y="415"/>
                </a:lnTo>
                <a:lnTo>
                  <a:pt x="217" y="413"/>
                </a:lnTo>
                <a:lnTo>
                  <a:pt x="210" y="407"/>
                </a:lnTo>
                <a:lnTo>
                  <a:pt x="206" y="394"/>
                </a:lnTo>
                <a:lnTo>
                  <a:pt x="198" y="398"/>
                </a:lnTo>
                <a:lnTo>
                  <a:pt x="189" y="407"/>
                </a:lnTo>
                <a:lnTo>
                  <a:pt x="185" y="413"/>
                </a:lnTo>
                <a:lnTo>
                  <a:pt x="179" y="413"/>
                </a:lnTo>
                <a:lnTo>
                  <a:pt x="172" y="415"/>
                </a:lnTo>
                <a:lnTo>
                  <a:pt x="164" y="411"/>
                </a:lnTo>
                <a:lnTo>
                  <a:pt x="155" y="409"/>
                </a:lnTo>
                <a:lnTo>
                  <a:pt x="149" y="409"/>
                </a:lnTo>
                <a:lnTo>
                  <a:pt x="144" y="415"/>
                </a:lnTo>
                <a:lnTo>
                  <a:pt x="136" y="417"/>
                </a:lnTo>
                <a:lnTo>
                  <a:pt x="121" y="405"/>
                </a:lnTo>
                <a:lnTo>
                  <a:pt x="117" y="405"/>
                </a:lnTo>
                <a:lnTo>
                  <a:pt x="102" y="407"/>
                </a:lnTo>
                <a:lnTo>
                  <a:pt x="95" y="405"/>
                </a:lnTo>
                <a:lnTo>
                  <a:pt x="85" y="390"/>
                </a:lnTo>
                <a:lnTo>
                  <a:pt x="81" y="381"/>
                </a:lnTo>
                <a:lnTo>
                  <a:pt x="64" y="375"/>
                </a:lnTo>
                <a:lnTo>
                  <a:pt x="51" y="379"/>
                </a:lnTo>
                <a:lnTo>
                  <a:pt x="44" y="373"/>
                </a:lnTo>
                <a:lnTo>
                  <a:pt x="34" y="379"/>
                </a:lnTo>
                <a:lnTo>
                  <a:pt x="12" y="190"/>
                </a:lnTo>
                <a:lnTo>
                  <a:pt x="0" y="8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0" name="Freeform 756"/>
          <p:cNvSpPr>
            <a:spLocks/>
          </p:cNvSpPr>
          <p:nvPr/>
        </p:nvSpPr>
        <p:spPr bwMode="auto">
          <a:xfrm>
            <a:off x="5895975" y="4092696"/>
            <a:ext cx="777875" cy="801688"/>
          </a:xfrm>
          <a:custGeom>
            <a:avLst/>
            <a:gdLst>
              <a:gd name="T0" fmla="*/ 117 w 490"/>
              <a:gd name="T1" fmla="*/ 17 h 505"/>
              <a:gd name="T2" fmla="*/ 213 w 490"/>
              <a:gd name="T3" fmla="*/ 25 h 505"/>
              <a:gd name="T4" fmla="*/ 221 w 490"/>
              <a:gd name="T5" fmla="*/ 45 h 505"/>
              <a:gd name="T6" fmla="*/ 253 w 490"/>
              <a:gd name="T7" fmla="*/ 55 h 505"/>
              <a:gd name="T8" fmla="*/ 270 w 490"/>
              <a:gd name="T9" fmla="*/ 77 h 505"/>
              <a:gd name="T10" fmla="*/ 307 w 490"/>
              <a:gd name="T11" fmla="*/ 117 h 505"/>
              <a:gd name="T12" fmla="*/ 332 w 490"/>
              <a:gd name="T13" fmla="*/ 138 h 505"/>
              <a:gd name="T14" fmla="*/ 356 w 490"/>
              <a:gd name="T15" fmla="*/ 153 h 505"/>
              <a:gd name="T16" fmla="*/ 364 w 490"/>
              <a:gd name="T17" fmla="*/ 168 h 505"/>
              <a:gd name="T18" fmla="*/ 381 w 490"/>
              <a:gd name="T19" fmla="*/ 183 h 505"/>
              <a:gd name="T20" fmla="*/ 394 w 490"/>
              <a:gd name="T21" fmla="*/ 194 h 505"/>
              <a:gd name="T22" fmla="*/ 419 w 490"/>
              <a:gd name="T23" fmla="*/ 219 h 505"/>
              <a:gd name="T24" fmla="*/ 424 w 490"/>
              <a:gd name="T25" fmla="*/ 243 h 505"/>
              <a:gd name="T26" fmla="*/ 447 w 490"/>
              <a:gd name="T27" fmla="*/ 258 h 505"/>
              <a:gd name="T28" fmla="*/ 456 w 490"/>
              <a:gd name="T29" fmla="*/ 281 h 505"/>
              <a:gd name="T30" fmla="*/ 477 w 490"/>
              <a:gd name="T31" fmla="*/ 296 h 505"/>
              <a:gd name="T32" fmla="*/ 490 w 490"/>
              <a:gd name="T33" fmla="*/ 300 h 505"/>
              <a:gd name="T34" fmla="*/ 479 w 490"/>
              <a:gd name="T35" fmla="*/ 319 h 505"/>
              <a:gd name="T36" fmla="*/ 464 w 490"/>
              <a:gd name="T37" fmla="*/ 324 h 505"/>
              <a:gd name="T38" fmla="*/ 460 w 490"/>
              <a:gd name="T39" fmla="*/ 339 h 505"/>
              <a:gd name="T40" fmla="*/ 468 w 490"/>
              <a:gd name="T41" fmla="*/ 347 h 505"/>
              <a:gd name="T42" fmla="*/ 462 w 490"/>
              <a:gd name="T43" fmla="*/ 356 h 505"/>
              <a:gd name="T44" fmla="*/ 464 w 490"/>
              <a:gd name="T45" fmla="*/ 364 h 505"/>
              <a:gd name="T46" fmla="*/ 456 w 490"/>
              <a:gd name="T47" fmla="*/ 385 h 505"/>
              <a:gd name="T48" fmla="*/ 439 w 490"/>
              <a:gd name="T49" fmla="*/ 383 h 505"/>
              <a:gd name="T50" fmla="*/ 462 w 490"/>
              <a:gd name="T51" fmla="*/ 390 h 505"/>
              <a:gd name="T52" fmla="*/ 445 w 490"/>
              <a:gd name="T53" fmla="*/ 402 h 505"/>
              <a:gd name="T54" fmla="*/ 449 w 490"/>
              <a:gd name="T55" fmla="*/ 419 h 505"/>
              <a:gd name="T56" fmla="*/ 445 w 490"/>
              <a:gd name="T57" fmla="*/ 428 h 505"/>
              <a:gd name="T58" fmla="*/ 445 w 490"/>
              <a:gd name="T59" fmla="*/ 441 h 505"/>
              <a:gd name="T60" fmla="*/ 445 w 490"/>
              <a:gd name="T61" fmla="*/ 458 h 505"/>
              <a:gd name="T62" fmla="*/ 417 w 490"/>
              <a:gd name="T63" fmla="*/ 454 h 505"/>
              <a:gd name="T64" fmla="*/ 400 w 490"/>
              <a:gd name="T65" fmla="*/ 456 h 505"/>
              <a:gd name="T66" fmla="*/ 402 w 490"/>
              <a:gd name="T67" fmla="*/ 477 h 505"/>
              <a:gd name="T68" fmla="*/ 396 w 490"/>
              <a:gd name="T69" fmla="*/ 505 h 505"/>
              <a:gd name="T70" fmla="*/ 377 w 490"/>
              <a:gd name="T71" fmla="*/ 483 h 505"/>
              <a:gd name="T72" fmla="*/ 121 w 490"/>
              <a:gd name="T73" fmla="*/ 488 h 505"/>
              <a:gd name="T74" fmla="*/ 104 w 490"/>
              <a:gd name="T75" fmla="*/ 458 h 505"/>
              <a:gd name="T76" fmla="*/ 100 w 490"/>
              <a:gd name="T77" fmla="*/ 428 h 505"/>
              <a:gd name="T78" fmla="*/ 98 w 490"/>
              <a:gd name="T79" fmla="*/ 402 h 505"/>
              <a:gd name="T80" fmla="*/ 89 w 490"/>
              <a:gd name="T81" fmla="*/ 368 h 505"/>
              <a:gd name="T82" fmla="*/ 96 w 490"/>
              <a:gd name="T83" fmla="*/ 339 h 505"/>
              <a:gd name="T84" fmla="*/ 94 w 490"/>
              <a:gd name="T85" fmla="*/ 324 h 505"/>
              <a:gd name="T86" fmla="*/ 92 w 490"/>
              <a:gd name="T87" fmla="*/ 300 h 505"/>
              <a:gd name="T88" fmla="*/ 72 w 490"/>
              <a:gd name="T89" fmla="*/ 270 h 505"/>
              <a:gd name="T90" fmla="*/ 34 w 490"/>
              <a:gd name="T91" fmla="*/ 13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505">
                <a:moveTo>
                  <a:pt x="0" y="30"/>
                </a:moveTo>
                <a:lnTo>
                  <a:pt x="81" y="19"/>
                </a:lnTo>
                <a:lnTo>
                  <a:pt x="117" y="17"/>
                </a:lnTo>
                <a:lnTo>
                  <a:pt x="228" y="0"/>
                </a:lnTo>
                <a:lnTo>
                  <a:pt x="226" y="6"/>
                </a:lnTo>
                <a:lnTo>
                  <a:pt x="213" y="25"/>
                </a:lnTo>
                <a:lnTo>
                  <a:pt x="211" y="34"/>
                </a:lnTo>
                <a:lnTo>
                  <a:pt x="215" y="40"/>
                </a:lnTo>
                <a:lnTo>
                  <a:pt x="221" y="45"/>
                </a:lnTo>
                <a:lnTo>
                  <a:pt x="228" y="45"/>
                </a:lnTo>
                <a:lnTo>
                  <a:pt x="243" y="57"/>
                </a:lnTo>
                <a:lnTo>
                  <a:pt x="253" y="55"/>
                </a:lnTo>
                <a:lnTo>
                  <a:pt x="260" y="62"/>
                </a:lnTo>
                <a:lnTo>
                  <a:pt x="264" y="68"/>
                </a:lnTo>
                <a:lnTo>
                  <a:pt x="270" y="77"/>
                </a:lnTo>
                <a:lnTo>
                  <a:pt x="275" y="83"/>
                </a:lnTo>
                <a:lnTo>
                  <a:pt x="292" y="106"/>
                </a:lnTo>
                <a:lnTo>
                  <a:pt x="307" y="117"/>
                </a:lnTo>
                <a:lnTo>
                  <a:pt x="321" y="123"/>
                </a:lnTo>
                <a:lnTo>
                  <a:pt x="328" y="132"/>
                </a:lnTo>
                <a:lnTo>
                  <a:pt x="332" y="138"/>
                </a:lnTo>
                <a:lnTo>
                  <a:pt x="339" y="143"/>
                </a:lnTo>
                <a:lnTo>
                  <a:pt x="345" y="145"/>
                </a:lnTo>
                <a:lnTo>
                  <a:pt x="356" y="153"/>
                </a:lnTo>
                <a:lnTo>
                  <a:pt x="362" y="158"/>
                </a:lnTo>
                <a:lnTo>
                  <a:pt x="362" y="162"/>
                </a:lnTo>
                <a:lnTo>
                  <a:pt x="364" y="168"/>
                </a:lnTo>
                <a:lnTo>
                  <a:pt x="373" y="172"/>
                </a:lnTo>
                <a:lnTo>
                  <a:pt x="373" y="179"/>
                </a:lnTo>
                <a:lnTo>
                  <a:pt x="381" y="183"/>
                </a:lnTo>
                <a:lnTo>
                  <a:pt x="381" y="183"/>
                </a:lnTo>
                <a:lnTo>
                  <a:pt x="387" y="192"/>
                </a:lnTo>
                <a:lnTo>
                  <a:pt x="394" y="194"/>
                </a:lnTo>
                <a:lnTo>
                  <a:pt x="409" y="202"/>
                </a:lnTo>
                <a:lnTo>
                  <a:pt x="411" y="209"/>
                </a:lnTo>
                <a:lnTo>
                  <a:pt x="419" y="219"/>
                </a:lnTo>
                <a:lnTo>
                  <a:pt x="422" y="228"/>
                </a:lnTo>
                <a:lnTo>
                  <a:pt x="422" y="234"/>
                </a:lnTo>
                <a:lnTo>
                  <a:pt x="424" y="243"/>
                </a:lnTo>
                <a:lnTo>
                  <a:pt x="432" y="247"/>
                </a:lnTo>
                <a:lnTo>
                  <a:pt x="441" y="251"/>
                </a:lnTo>
                <a:lnTo>
                  <a:pt x="447" y="258"/>
                </a:lnTo>
                <a:lnTo>
                  <a:pt x="451" y="266"/>
                </a:lnTo>
                <a:lnTo>
                  <a:pt x="456" y="275"/>
                </a:lnTo>
                <a:lnTo>
                  <a:pt x="456" y="281"/>
                </a:lnTo>
                <a:lnTo>
                  <a:pt x="458" y="287"/>
                </a:lnTo>
                <a:lnTo>
                  <a:pt x="462" y="294"/>
                </a:lnTo>
                <a:lnTo>
                  <a:pt x="477" y="296"/>
                </a:lnTo>
                <a:lnTo>
                  <a:pt x="479" y="298"/>
                </a:lnTo>
                <a:lnTo>
                  <a:pt x="483" y="300"/>
                </a:lnTo>
                <a:lnTo>
                  <a:pt x="490" y="300"/>
                </a:lnTo>
                <a:lnTo>
                  <a:pt x="485" y="309"/>
                </a:lnTo>
                <a:lnTo>
                  <a:pt x="479" y="313"/>
                </a:lnTo>
                <a:lnTo>
                  <a:pt x="479" y="319"/>
                </a:lnTo>
                <a:lnTo>
                  <a:pt x="473" y="319"/>
                </a:lnTo>
                <a:lnTo>
                  <a:pt x="464" y="317"/>
                </a:lnTo>
                <a:lnTo>
                  <a:pt x="464" y="324"/>
                </a:lnTo>
                <a:lnTo>
                  <a:pt x="473" y="330"/>
                </a:lnTo>
                <a:lnTo>
                  <a:pt x="466" y="339"/>
                </a:lnTo>
                <a:lnTo>
                  <a:pt x="460" y="339"/>
                </a:lnTo>
                <a:lnTo>
                  <a:pt x="460" y="345"/>
                </a:lnTo>
                <a:lnTo>
                  <a:pt x="466" y="343"/>
                </a:lnTo>
                <a:lnTo>
                  <a:pt x="468" y="347"/>
                </a:lnTo>
                <a:lnTo>
                  <a:pt x="464" y="353"/>
                </a:lnTo>
                <a:lnTo>
                  <a:pt x="458" y="349"/>
                </a:lnTo>
                <a:lnTo>
                  <a:pt x="462" y="356"/>
                </a:lnTo>
                <a:lnTo>
                  <a:pt x="454" y="362"/>
                </a:lnTo>
                <a:lnTo>
                  <a:pt x="458" y="366"/>
                </a:lnTo>
                <a:lnTo>
                  <a:pt x="464" y="364"/>
                </a:lnTo>
                <a:lnTo>
                  <a:pt x="460" y="377"/>
                </a:lnTo>
                <a:lnTo>
                  <a:pt x="456" y="377"/>
                </a:lnTo>
                <a:lnTo>
                  <a:pt x="456" y="385"/>
                </a:lnTo>
                <a:lnTo>
                  <a:pt x="449" y="385"/>
                </a:lnTo>
                <a:lnTo>
                  <a:pt x="441" y="383"/>
                </a:lnTo>
                <a:lnTo>
                  <a:pt x="439" y="383"/>
                </a:lnTo>
                <a:lnTo>
                  <a:pt x="447" y="388"/>
                </a:lnTo>
                <a:lnTo>
                  <a:pt x="454" y="388"/>
                </a:lnTo>
                <a:lnTo>
                  <a:pt x="462" y="390"/>
                </a:lnTo>
                <a:lnTo>
                  <a:pt x="460" y="396"/>
                </a:lnTo>
                <a:lnTo>
                  <a:pt x="454" y="407"/>
                </a:lnTo>
                <a:lnTo>
                  <a:pt x="445" y="402"/>
                </a:lnTo>
                <a:lnTo>
                  <a:pt x="443" y="411"/>
                </a:lnTo>
                <a:lnTo>
                  <a:pt x="454" y="411"/>
                </a:lnTo>
                <a:lnTo>
                  <a:pt x="449" y="419"/>
                </a:lnTo>
                <a:lnTo>
                  <a:pt x="443" y="415"/>
                </a:lnTo>
                <a:lnTo>
                  <a:pt x="449" y="422"/>
                </a:lnTo>
                <a:lnTo>
                  <a:pt x="445" y="428"/>
                </a:lnTo>
                <a:lnTo>
                  <a:pt x="449" y="428"/>
                </a:lnTo>
                <a:lnTo>
                  <a:pt x="447" y="434"/>
                </a:lnTo>
                <a:lnTo>
                  <a:pt x="445" y="441"/>
                </a:lnTo>
                <a:lnTo>
                  <a:pt x="449" y="449"/>
                </a:lnTo>
                <a:lnTo>
                  <a:pt x="449" y="456"/>
                </a:lnTo>
                <a:lnTo>
                  <a:pt x="445" y="458"/>
                </a:lnTo>
                <a:lnTo>
                  <a:pt x="443" y="458"/>
                </a:lnTo>
                <a:lnTo>
                  <a:pt x="434" y="458"/>
                </a:lnTo>
                <a:lnTo>
                  <a:pt x="417" y="454"/>
                </a:lnTo>
                <a:lnTo>
                  <a:pt x="409" y="449"/>
                </a:lnTo>
                <a:lnTo>
                  <a:pt x="402" y="456"/>
                </a:lnTo>
                <a:lnTo>
                  <a:pt x="400" y="456"/>
                </a:lnTo>
                <a:lnTo>
                  <a:pt x="398" y="462"/>
                </a:lnTo>
                <a:lnTo>
                  <a:pt x="398" y="471"/>
                </a:lnTo>
                <a:lnTo>
                  <a:pt x="402" y="477"/>
                </a:lnTo>
                <a:lnTo>
                  <a:pt x="405" y="483"/>
                </a:lnTo>
                <a:lnTo>
                  <a:pt x="402" y="498"/>
                </a:lnTo>
                <a:lnTo>
                  <a:pt x="396" y="505"/>
                </a:lnTo>
                <a:lnTo>
                  <a:pt x="390" y="503"/>
                </a:lnTo>
                <a:lnTo>
                  <a:pt x="383" y="490"/>
                </a:lnTo>
                <a:lnTo>
                  <a:pt x="377" y="483"/>
                </a:lnTo>
                <a:lnTo>
                  <a:pt x="130" y="503"/>
                </a:lnTo>
                <a:lnTo>
                  <a:pt x="123" y="494"/>
                </a:lnTo>
                <a:lnTo>
                  <a:pt x="121" y="488"/>
                </a:lnTo>
                <a:lnTo>
                  <a:pt x="111" y="473"/>
                </a:lnTo>
                <a:lnTo>
                  <a:pt x="111" y="468"/>
                </a:lnTo>
                <a:lnTo>
                  <a:pt x="104" y="458"/>
                </a:lnTo>
                <a:lnTo>
                  <a:pt x="100" y="451"/>
                </a:lnTo>
                <a:lnTo>
                  <a:pt x="98" y="443"/>
                </a:lnTo>
                <a:lnTo>
                  <a:pt x="100" y="428"/>
                </a:lnTo>
                <a:lnTo>
                  <a:pt x="100" y="419"/>
                </a:lnTo>
                <a:lnTo>
                  <a:pt x="102" y="413"/>
                </a:lnTo>
                <a:lnTo>
                  <a:pt x="98" y="402"/>
                </a:lnTo>
                <a:lnTo>
                  <a:pt x="92" y="396"/>
                </a:lnTo>
                <a:lnTo>
                  <a:pt x="87" y="381"/>
                </a:lnTo>
                <a:lnTo>
                  <a:pt x="89" y="368"/>
                </a:lnTo>
                <a:lnTo>
                  <a:pt x="92" y="360"/>
                </a:lnTo>
                <a:lnTo>
                  <a:pt x="92" y="345"/>
                </a:lnTo>
                <a:lnTo>
                  <a:pt x="96" y="339"/>
                </a:lnTo>
                <a:lnTo>
                  <a:pt x="102" y="334"/>
                </a:lnTo>
                <a:lnTo>
                  <a:pt x="102" y="326"/>
                </a:lnTo>
                <a:lnTo>
                  <a:pt x="94" y="324"/>
                </a:lnTo>
                <a:lnTo>
                  <a:pt x="96" y="313"/>
                </a:lnTo>
                <a:lnTo>
                  <a:pt x="92" y="304"/>
                </a:lnTo>
                <a:lnTo>
                  <a:pt x="92" y="300"/>
                </a:lnTo>
                <a:lnTo>
                  <a:pt x="81" y="292"/>
                </a:lnTo>
                <a:lnTo>
                  <a:pt x="77" y="279"/>
                </a:lnTo>
                <a:lnTo>
                  <a:pt x="72" y="270"/>
                </a:lnTo>
                <a:lnTo>
                  <a:pt x="70" y="264"/>
                </a:lnTo>
                <a:lnTo>
                  <a:pt x="68" y="260"/>
                </a:lnTo>
                <a:lnTo>
                  <a:pt x="34" y="136"/>
                </a:lnTo>
                <a:lnTo>
                  <a:pt x="0" y="30"/>
                </a:lnTo>
                <a:close/>
              </a:path>
            </a:pathLst>
          </a:custGeom>
          <a:pattFill prst="wdUpDiag">
            <a:fgClr>
              <a:srgbClr val="FFC9C9"/>
            </a:fgClr>
            <a:bgClr>
              <a:srgbClr val="FF6969"/>
            </a:bgClr>
          </a:pattFill>
          <a:ln>
            <a:noFill/>
          </a:ln>
        </p:spPr>
        <p:txBody>
          <a:bodyPr vert="horz" wrap="square" lIns="91440" tIns="45720" rIns="91440" bIns="45720" numCol="1" anchor="t" anchorCtr="0" compatLnSpc="1">
            <a:prstTxWarp prst="textNoShape">
              <a:avLst/>
            </a:prstTxWarp>
          </a:bodyPr>
          <a:lstStyle/>
          <a:p>
            <a:endParaRPr lang="en-US"/>
          </a:p>
        </p:txBody>
      </p:sp>
      <p:sp>
        <p:nvSpPr>
          <p:cNvPr id="1351" name="Freeform 757"/>
          <p:cNvSpPr>
            <a:spLocks/>
          </p:cNvSpPr>
          <p:nvPr/>
        </p:nvSpPr>
        <p:spPr bwMode="auto">
          <a:xfrm>
            <a:off x="5895975" y="4092696"/>
            <a:ext cx="777875" cy="801688"/>
          </a:xfrm>
          <a:custGeom>
            <a:avLst/>
            <a:gdLst>
              <a:gd name="T0" fmla="*/ 117 w 490"/>
              <a:gd name="T1" fmla="*/ 17 h 505"/>
              <a:gd name="T2" fmla="*/ 213 w 490"/>
              <a:gd name="T3" fmla="*/ 25 h 505"/>
              <a:gd name="T4" fmla="*/ 221 w 490"/>
              <a:gd name="T5" fmla="*/ 45 h 505"/>
              <a:gd name="T6" fmla="*/ 253 w 490"/>
              <a:gd name="T7" fmla="*/ 55 h 505"/>
              <a:gd name="T8" fmla="*/ 270 w 490"/>
              <a:gd name="T9" fmla="*/ 77 h 505"/>
              <a:gd name="T10" fmla="*/ 307 w 490"/>
              <a:gd name="T11" fmla="*/ 117 h 505"/>
              <a:gd name="T12" fmla="*/ 332 w 490"/>
              <a:gd name="T13" fmla="*/ 138 h 505"/>
              <a:gd name="T14" fmla="*/ 356 w 490"/>
              <a:gd name="T15" fmla="*/ 153 h 505"/>
              <a:gd name="T16" fmla="*/ 364 w 490"/>
              <a:gd name="T17" fmla="*/ 168 h 505"/>
              <a:gd name="T18" fmla="*/ 381 w 490"/>
              <a:gd name="T19" fmla="*/ 183 h 505"/>
              <a:gd name="T20" fmla="*/ 394 w 490"/>
              <a:gd name="T21" fmla="*/ 194 h 505"/>
              <a:gd name="T22" fmla="*/ 419 w 490"/>
              <a:gd name="T23" fmla="*/ 219 h 505"/>
              <a:gd name="T24" fmla="*/ 424 w 490"/>
              <a:gd name="T25" fmla="*/ 243 h 505"/>
              <a:gd name="T26" fmla="*/ 447 w 490"/>
              <a:gd name="T27" fmla="*/ 258 h 505"/>
              <a:gd name="T28" fmla="*/ 456 w 490"/>
              <a:gd name="T29" fmla="*/ 281 h 505"/>
              <a:gd name="T30" fmla="*/ 477 w 490"/>
              <a:gd name="T31" fmla="*/ 296 h 505"/>
              <a:gd name="T32" fmla="*/ 490 w 490"/>
              <a:gd name="T33" fmla="*/ 300 h 505"/>
              <a:gd name="T34" fmla="*/ 479 w 490"/>
              <a:gd name="T35" fmla="*/ 319 h 505"/>
              <a:gd name="T36" fmla="*/ 464 w 490"/>
              <a:gd name="T37" fmla="*/ 324 h 505"/>
              <a:gd name="T38" fmla="*/ 460 w 490"/>
              <a:gd name="T39" fmla="*/ 339 h 505"/>
              <a:gd name="T40" fmla="*/ 468 w 490"/>
              <a:gd name="T41" fmla="*/ 347 h 505"/>
              <a:gd name="T42" fmla="*/ 462 w 490"/>
              <a:gd name="T43" fmla="*/ 356 h 505"/>
              <a:gd name="T44" fmla="*/ 464 w 490"/>
              <a:gd name="T45" fmla="*/ 364 h 505"/>
              <a:gd name="T46" fmla="*/ 456 w 490"/>
              <a:gd name="T47" fmla="*/ 385 h 505"/>
              <a:gd name="T48" fmla="*/ 439 w 490"/>
              <a:gd name="T49" fmla="*/ 383 h 505"/>
              <a:gd name="T50" fmla="*/ 462 w 490"/>
              <a:gd name="T51" fmla="*/ 390 h 505"/>
              <a:gd name="T52" fmla="*/ 445 w 490"/>
              <a:gd name="T53" fmla="*/ 402 h 505"/>
              <a:gd name="T54" fmla="*/ 449 w 490"/>
              <a:gd name="T55" fmla="*/ 419 h 505"/>
              <a:gd name="T56" fmla="*/ 445 w 490"/>
              <a:gd name="T57" fmla="*/ 428 h 505"/>
              <a:gd name="T58" fmla="*/ 445 w 490"/>
              <a:gd name="T59" fmla="*/ 441 h 505"/>
              <a:gd name="T60" fmla="*/ 445 w 490"/>
              <a:gd name="T61" fmla="*/ 458 h 505"/>
              <a:gd name="T62" fmla="*/ 417 w 490"/>
              <a:gd name="T63" fmla="*/ 454 h 505"/>
              <a:gd name="T64" fmla="*/ 400 w 490"/>
              <a:gd name="T65" fmla="*/ 456 h 505"/>
              <a:gd name="T66" fmla="*/ 402 w 490"/>
              <a:gd name="T67" fmla="*/ 477 h 505"/>
              <a:gd name="T68" fmla="*/ 396 w 490"/>
              <a:gd name="T69" fmla="*/ 505 h 505"/>
              <a:gd name="T70" fmla="*/ 377 w 490"/>
              <a:gd name="T71" fmla="*/ 483 h 505"/>
              <a:gd name="T72" fmla="*/ 121 w 490"/>
              <a:gd name="T73" fmla="*/ 488 h 505"/>
              <a:gd name="T74" fmla="*/ 104 w 490"/>
              <a:gd name="T75" fmla="*/ 458 h 505"/>
              <a:gd name="T76" fmla="*/ 100 w 490"/>
              <a:gd name="T77" fmla="*/ 428 h 505"/>
              <a:gd name="T78" fmla="*/ 98 w 490"/>
              <a:gd name="T79" fmla="*/ 402 h 505"/>
              <a:gd name="T80" fmla="*/ 89 w 490"/>
              <a:gd name="T81" fmla="*/ 368 h 505"/>
              <a:gd name="T82" fmla="*/ 96 w 490"/>
              <a:gd name="T83" fmla="*/ 339 h 505"/>
              <a:gd name="T84" fmla="*/ 94 w 490"/>
              <a:gd name="T85" fmla="*/ 324 h 505"/>
              <a:gd name="T86" fmla="*/ 92 w 490"/>
              <a:gd name="T87" fmla="*/ 300 h 505"/>
              <a:gd name="T88" fmla="*/ 72 w 490"/>
              <a:gd name="T89" fmla="*/ 270 h 505"/>
              <a:gd name="T90" fmla="*/ 34 w 490"/>
              <a:gd name="T91" fmla="*/ 136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0" h="505">
                <a:moveTo>
                  <a:pt x="0" y="30"/>
                </a:moveTo>
                <a:lnTo>
                  <a:pt x="81" y="19"/>
                </a:lnTo>
                <a:lnTo>
                  <a:pt x="117" y="17"/>
                </a:lnTo>
                <a:lnTo>
                  <a:pt x="228" y="0"/>
                </a:lnTo>
                <a:lnTo>
                  <a:pt x="226" y="6"/>
                </a:lnTo>
                <a:lnTo>
                  <a:pt x="213" y="25"/>
                </a:lnTo>
                <a:lnTo>
                  <a:pt x="211" y="34"/>
                </a:lnTo>
                <a:lnTo>
                  <a:pt x="215" y="40"/>
                </a:lnTo>
                <a:lnTo>
                  <a:pt x="221" y="45"/>
                </a:lnTo>
                <a:lnTo>
                  <a:pt x="228" y="45"/>
                </a:lnTo>
                <a:lnTo>
                  <a:pt x="243" y="57"/>
                </a:lnTo>
                <a:lnTo>
                  <a:pt x="253" y="55"/>
                </a:lnTo>
                <a:lnTo>
                  <a:pt x="260" y="62"/>
                </a:lnTo>
                <a:lnTo>
                  <a:pt x="264" y="68"/>
                </a:lnTo>
                <a:lnTo>
                  <a:pt x="270" y="77"/>
                </a:lnTo>
                <a:lnTo>
                  <a:pt x="275" y="83"/>
                </a:lnTo>
                <a:lnTo>
                  <a:pt x="292" y="106"/>
                </a:lnTo>
                <a:lnTo>
                  <a:pt x="307" y="117"/>
                </a:lnTo>
                <a:lnTo>
                  <a:pt x="321" y="123"/>
                </a:lnTo>
                <a:lnTo>
                  <a:pt x="328" y="132"/>
                </a:lnTo>
                <a:lnTo>
                  <a:pt x="332" y="138"/>
                </a:lnTo>
                <a:lnTo>
                  <a:pt x="339" y="143"/>
                </a:lnTo>
                <a:lnTo>
                  <a:pt x="345" y="145"/>
                </a:lnTo>
                <a:lnTo>
                  <a:pt x="356" y="153"/>
                </a:lnTo>
                <a:lnTo>
                  <a:pt x="362" y="158"/>
                </a:lnTo>
                <a:lnTo>
                  <a:pt x="362" y="162"/>
                </a:lnTo>
                <a:lnTo>
                  <a:pt x="364" y="168"/>
                </a:lnTo>
                <a:lnTo>
                  <a:pt x="373" y="172"/>
                </a:lnTo>
                <a:lnTo>
                  <a:pt x="373" y="179"/>
                </a:lnTo>
                <a:lnTo>
                  <a:pt x="381" y="183"/>
                </a:lnTo>
                <a:lnTo>
                  <a:pt x="381" y="183"/>
                </a:lnTo>
                <a:lnTo>
                  <a:pt x="387" y="192"/>
                </a:lnTo>
                <a:lnTo>
                  <a:pt x="394" y="194"/>
                </a:lnTo>
                <a:lnTo>
                  <a:pt x="409" y="202"/>
                </a:lnTo>
                <a:lnTo>
                  <a:pt x="411" y="209"/>
                </a:lnTo>
                <a:lnTo>
                  <a:pt x="419" y="219"/>
                </a:lnTo>
                <a:lnTo>
                  <a:pt x="422" y="228"/>
                </a:lnTo>
                <a:lnTo>
                  <a:pt x="422" y="234"/>
                </a:lnTo>
                <a:lnTo>
                  <a:pt x="424" y="243"/>
                </a:lnTo>
                <a:lnTo>
                  <a:pt x="432" y="247"/>
                </a:lnTo>
                <a:lnTo>
                  <a:pt x="441" y="251"/>
                </a:lnTo>
                <a:lnTo>
                  <a:pt x="447" y="258"/>
                </a:lnTo>
                <a:lnTo>
                  <a:pt x="451" y="266"/>
                </a:lnTo>
                <a:lnTo>
                  <a:pt x="456" y="275"/>
                </a:lnTo>
                <a:lnTo>
                  <a:pt x="456" y="281"/>
                </a:lnTo>
                <a:lnTo>
                  <a:pt x="458" y="287"/>
                </a:lnTo>
                <a:lnTo>
                  <a:pt x="462" y="294"/>
                </a:lnTo>
                <a:lnTo>
                  <a:pt x="477" y="296"/>
                </a:lnTo>
                <a:lnTo>
                  <a:pt x="479" y="298"/>
                </a:lnTo>
                <a:lnTo>
                  <a:pt x="483" y="300"/>
                </a:lnTo>
                <a:lnTo>
                  <a:pt x="490" y="300"/>
                </a:lnTo>
                <a:lnTo>
                  <a:pt x="485" y="309"/>
                </a:lnTo>
                <a:lnTo>
                  <a:pt x="479" y="313"/>
                </a:lnTo>
                <a:lnTo>
                  <a:pt x="479" y="319"/>
                </a:lnTo>
                <a:lnTo>
                  <a:pt x="473" y="319"/>
                </a:lnTo>
                <a:lnTo>
                  <a:pt x="464" y="317"/>
                </a:lnTo>
                <a:lnTo>
                  <a:pt x="464" y="324"/>
                </a:lnTo>
                <a:lnTo>
                  <a:pt x="473" y="330"/>
                </a:lnTo>
                <a:lnTo>
                  <a:pt x="466" y="339"/>
                </a:lnTo>
                <a:lnTo>
                  <a:pt x="460" y="339"/>
                </a:lnTo>
                <a:lnTo>
                  <a:pt x="460" y="345"/>
                </a:lnTo>
                <a:lnTo>
                  <a:pt x="466" y="343"/>
                </a:lnTo>
                <a:lnTo>
                  <a:pt x="468" y="347"/>
                </a:lnTo>
                <a:lnTo>
                  <a:pt x="464" y="353"/>
                </a:lnTo>
                <a:lnTo>
                  <a:pt x="458" y="349"/>
                </a:lnTo>
                <a:lnTo>
                  <a:pt x="462" y="356"/>
                </a:lnTo>
                <a:lnTo>
                  <a:pt x="454" y="362"/>
                </a:lnTo>
                <a:lnTo>
                  <a:pt x="458" y="366"/>
                </a:lnTo>
                <a:lnTo>
                  <a:pt x="464" y="364"/>
                </a:lnTo>
                <a:lnTo>
                  <a:pt x="460" y="377"/>
                </a:lnTo>
                <a:lnTo>
                  <a:pt x="456" y="377"/>
                </a:lnTo>
                <a:lnTo>
                  <a:pt x="456" y="385"/>
                </a:lnTo>
                <a:lnTo>
                  <a:pt x="449" y="385"/>
                </a:lnTo>
                <a:lnTo>
                  <a:pt x="441" y="383"/>
                </a:lnTo>
                <a:lnTo>
                  <a:pt x="439" y="383"/>
                </a:lnTo>
                <a:lnTo>
                  <a:pt x="447" y="388"/>
                </a:lnTo>
                <a:lnTo>
                  <a:pt x="454" y="388"/>
                </a:lnTo>
                <a:lnTo>
                  <a:pt x="462" y="390"/>
                </a:lnTo>
                <a:lnTo>
                  <a:pt x="460" y="396"/>
                </a:lnTo>
                <a:lnTo>
                  <a:pt x="454" y="407"/>
                </a:lnTo>
                <a:lnTo>
                  <a:pt x="445" y="402"/>
                </a:lnTo>
                <a:lnTo>
                  <a:pt x="443" y="411"/>
                </a:lnTo>
                <a:lnTo>
                  <a:pt x="454" y="411"/>
                </a:lnTo>
                <a:lnTo>
                  <a:pt x="449" y="419"/>
                </a:lnTo>
                <a:lnTo>
                  <a:pt x="443" y="415"/>
                </a:lnTo>
                <a:lnTo>
                  <a:pt x="449" y="422"/>
                </a:lnTo>
                <a:lnTo>
                  <a:pt x="445" y="428"/>
                </a:lnTo>
                <a:lnTo>
                  <a:pt x="449" y="428"/>
                </a:lnTo>
                <a:lnTo>
                  <a:pt x="447" y="434"/>
                </a:lnTo>
                <a:lnTo>
                  <a:pt x="445" y="441"/>
                </a:lnTo>
                <a:lnTo>
                  <a:pt x="449" y="449"/>
                </a:lnTo>
                <a:lnTo>
                  <a:pt x="449" y="456"/>
                </a:lnTo>
                <a:lnTo>
                  <a:pt x="445" y="458"/>
                </a:lnTo>
                <a:lnTo>
                  <a:pt x="443" y="458"/>
                </a:lnTo>
                <a:lnTo>
                  <a:pt x="434" y="458"/>
                </a:lnTo>
                <a:lnTo>
                  <a:pt x="417" y="454"/>
                </a:lnTo>
                <a:lnTo>
                  <a:pt x="409" y="449"/>
                </a:lnTo>
                <a:lnTo>
                  <a:pt x="402" y="456"/>
                </a:lnTo>
                <a:lnTo>
                  <a:pt x="400" y="456"/>
                </a:lnTo>
                <a:lnTo>
                  <a:pt x="398" y="462"/>
                </a:lnTo>
                <a:lnTo>
                  <a:pt x="398" y="471"/>
                </a:lnTo>
                <a:lnTo>
                  <a:pt x="402" y="477"/>
                </a:lnTo>
                <a:lnTo>
                  <a:pt x="405" y="483"/>
                </a:lnTo>
                <a:lnTo>
                  <a:pt x="402" y="498"/>
                </a:lnTo>
                <a:lnTo>
                  <a:pt x="396" y="505"/>
                </a:lnTo>
                <a:lnTo>
                  <a:pt x="390" y="503"/>
                </a:lnTo>
                <a:lnTo>
                  <a:pt x="383" y="490"/>
                </a:lnTo>
                <a:lnTo>
                  <a:pt x="377" y="483"/>
                </a:lnTo>
                <a:lnTo>
                  <a:pt x="130" y="503"/>
                </a:lnTo>
                <a:lnTo>
                  <a:pt x="123" y="494"/>
                </a:lnTo>
                <a:lnTo>
                  <a:pt x="121" y="488"/>
                </a:lnTo>
                <a:lnTo>
                  <a:pt x="111" y="473"/>
                </a:lnTo>
                <a:lnTo>
                  <a:pt x="111" y="468"/>
                </a:lnTo>
                <a:lnTo>
                  <a:pt x="104" y="458"/>
                </a:lnTo>
                <a:lnTo>
                  <a:pt x="100" y="451"/>
                </a:lnTo>
                <a:lnTo>
                  <a:pt x="98" y="443"/>
                </a:lnTo>
                <a:lnTo>
                  <a:pt x="100" y="428"/>
                </a:lnTo>
                <a:lnTo>
                  <a:pt x="100" y="419"/>
                </a:lnTo>
                <a:lnTo>
                  <a:pt x="102" y="413"/>
                </a:lnTo>
                <a:lnTo>
                  <a:pt x="98" y="402"/>
                </a:lnTo>
                <a:lnTo>
                  <a:pt x="92" y="396"/>
                </a:lnTo>
                <a:lnTo>
                  <a:pt x="87" y="381"/>
                </a:lnTo>
                <a:lnTo>
                  <a:pt x="89" y="368"/>
                </a:lnTo>
                <a:lnTo>
                  <a:pt x="92" y="360"/>
                </a:lnTo>
                <a:lnTo>
                  <a:pt x="92" y="345"/>
                </a:lnTo>
                <a:lnTo>
                  <a:pt x="96" y="339"/>
                </a:lnTo>
                <a:lnTo>
                  <a:pt x="102" y="334"/>
                </a:lnTo>
                <a:lnTo>
                  <a:pt x="102" y="326"/>
                </a:lnTo>
                <a:lnTo>
                  <a:pt x="94" y="324"/>
                </a:lnTo>
                <a:lnTo>
                  <a:pt x="96" y="313"/>
                </a:lnTo>
                <a:lnTo>
                  <a:pt x="92" y="304"/>
                </a:lnTo>
                <a:lnTo>
                  <a:pt x="92" y="300"/>
                </a:lnTo>
                <a:lnTo>
                  <a:pt x="81" y="292"/>
                </a:lnTo>
                <a:lnTo>
                  <a:pt x="77" y="279"/>
                </a:lnTo>
                <a:lnTo>
                  <a:pt x="72" y="270"/>
                </a:lnTo>
                <a:lnTo>
                  <a:pt x="70" y="264"/>
                </a:lnTo>
                <a:lnTo>
                  <a:pt x="68" y="260"/>
                </a:lnTo>
                <a:lnTo>
                  <a:pt x="34" y="136"/>
                </a:lnTo>
                <a:lnTo>
                  <a:pt x="0" y="3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2" name="Freeform 758"/>
          <p:cNvSpPr>
            <a:spLocks/>
          </p:cNvSpPr>
          <p:nvPr/>
        </p:nvSpPr>
        <p:spPr bwMode="auto">
          <a:xfrm>
            <a:off x="6240462" y="3033834"/>
            <a:ext cx="628650" cy="633413"/>
          </a:xfrm>
          <a:custGeom>
            <a:avLst/>
            <a:gdLst>
              <a:gd name="T0" fmla="*/ 7 w 396"/>
              <a:gd name="T1" fmla="*/ 277 h 399"/>
              <a:gd name="T2" fmla="*/ 24 w 396"/>
              <a:gd name="T3" fmla="*/ 258 h 399"/>
              <a:gd name="T4" fmla="*/ 26 w 396"/>
              <a:gd name="T5" fmla="*/ 235 h 399"/>
              <a:gd name="T6" fmla="*/ 30 w 396"/>
              <a:gd name="T7" fmla="*/ 215 h 399"/>
              <a:gd name="T8" fmla="*/ 45 w 396"/>
              <a:gd name="T9" fmla="*/ 205 h 399"/>
              <a:gd name="T10" fmla="*/ 60 w 396"/>
              <a:gd name="T11" fmla="*/ 200 h 399"/>
              <a:gd name="T12" fmla="*/ 60 w 396"/>
              <a:gd name="T13" fmla="*/ 179 h 399"/>
              <a:gd name="T14" fmla="*/ 73 w 396"/>
              <a:gd name="T15" fmla="*/ 160 h 399"/>
              <a:gd name="T16" fmla="*/ 104 w 396"/>
              <a:gd name="T17" fmla="*/ 143 h 399"/>
              <a:gd name="T18" fmla="*/ 126 w 396"/>
              <a:gd name="T19" fmla="*/ 107 h 399"/>
              <a:gd name="T20" fmla="*/ 126 w 396"/>
              <a:gd name="T21" fmla="*/ 83 h 399"/>
              <a:gd name="T22" fmla="*/ 128 w 396"/>
              <a:gd name="T23" fmla="*/ 66 h 399"/>
              <a:gd name="T24" fmla="*/ 128 w 396"/>
              <a:gd name="T25" fmla="*/ 17 h 399"/>
              <a:gd name="T26" fmla="*/ 130 w 396"/>
              <a:gd name="T27" fmla="*/ 2 h 399"/>
              <a:gd name="T28" fmla="*/ 241 w 396"/>
              <a:gd name="T29" fmla="*/ 85 h 399"/>
              <a:gd name="T30" fmla="*/ 264 w 396"/>
              <a:gd name="T31" fmla="*/ 130 h 399"/>
              <a:gd name="T32" fmla="*/ 277 w 396"/>
              <a:gd name="T33" fmla="*/ 109 h 399"/>
              <a:gd name="T34" fmla="*/ 300 w 396"/>
              <a:gd name="T35" fmla="*/ 94 h 399"/>
              <a:gd name="T36" fmla="*/ 311 w 396"/>
              <a:gd name="T37" fmla="*/ 92 h 399"/>
              <a:gd name="T38" fmla="*/ 330 w 396"/>
              <a:gd name="T39" fmla="*/ 85 h 399"/>
              <a:gd name="T40" fmla="*/ 347 w 396"/>
              <a:gd name="T41" fmla="*/ 71 h 399"/>
              <a:gd name="T42" fmla="*/ 366 w 396"/>
              <a:gd name="T43" fmla="*/ 75 h 399"/>
              <a:gd name="T44" fmla="*/ 381 w 396"/>
              <a:gd name="T45" fmla="*/ 83 h 399"/>
              <a:gd name="T46" fmla="*/ 394 w 396"/>
              <a:gd name="T47" fmla="*/ 98 h 399"/>
              <a:gd name="T48" fmla="*/ 390 w 396"/>
              <a:gd name="T49" fmla="*/ 122 h 399"/>
              <a:gd name="T50" fmla="*/ 343 w 396"/>
              <a:gd name="T51" fmla="*/ 111 h 399"/>
              <a:gd name="T52" fmla="*/ 337 w 396"/>
              <a:gd name="T53" fmla="*/ 141 h 399"/>
              <a:gd name="T54" fmla="*/ 320 w 396"/>
              <a:gd name="T55" fmla="*/ 162 h 399"/>
              <a:gd name="T56" fmla="*/ 298 w 396"/>
              <a:gd name="T57" fmla="*/ 179 h 399"/>
              <a:gd name="T58" fmla="*/ 292 w 396"/>
              <a:gd name="T59" fmla="*/ 203 h 399"/>
              <a:gd name="T60" fmla="*/ 277 w 396"/>
              <a:gd name="T61" fmla="*/ 228 h 399"/>
              <a:gd name="T62" fmla="*/ 256 w 396"/>
              <a:gd name="T63" fmla="*/ 215 h 399"/>
              <a:gd name="T64" fmla="*/ 247 w 396"/>
              <a:gd name="T65" fmla="*/ 241 h 399"/>
              <a:gd name="T66" fmla="*/ 234 w 396"/>
              <a:gd name="T67" fmla="*/ 264 h 399"/>
              <a:gd name="T68" fmla="*/ 224 w 396"/>
              <a:gd name="T69" fmla="*/ 296 h 399"/>
              <a:gd name="T70" fmla="*/ 219 w 396"/>
              <a:gd name="T71" fmla="*/ 333 h 399"/>
              <a:gd name="T72" fmla="*/ 215 w 396"/>
              <a:gd name="T73" fmla="*/ 347 h 399"/>
              <a:gd name="T74" fmla="*/ 179 w 396"/>
              <a:gd name="T75" fmla="*/ 367 h 399"/>
              <a:gd name="T76" fmla="*/ 166 w 396"/>
              <a:gd name="T77" fmla="*/ 377 h 399"/>
              <a:gd name="T78" fmla="*/ 136 w 396"/>
              <a:gd name="T79" fmla="*/ 388 h 399"/>
              <a:gd name="T80" fmla="*/ 107 w 396"/>
              <a:gd name="T81" fmla="*/ 399 h 399"/>
              <a:gd name="T82" fmla="*/ 75 w 396"/>
              <a:gd name="T83" fmla="*/ 382 h 399"/>
              <a:gd name="T84" fmla="*/ 53 w 396"/>
              <a:gd name="T85" fmla="*/ 367 h 399"/>
              <a:gd name="T86" fmla="*/ 17 w 396"/>
              <a:gd name="T87" fmla="*/ 330 h 399"/>
              <a:gd name="T88" fmla="*/ 4 w 396"/>
              <a:gd name="T89" fmla="*/ 294 h 399"/>
              <a:gd name="T90" fmla="*/ 0 w 396"/>
              <a:gd name="T91" fmla="*/ 2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6" h="399">
                <a:moveTo>
                  <a:pt x="0" y="277"/>
                </a:moveTo>
                <a:lnTo>
                  <a:pt x="0" y="277"/>
                </a:lnTo>
                <a:lnTo>
                  <a:pt x="7" y="277"/>
                </a:lnTo>
                <a:lnTo>
                  <a:pt x="17" y="271"/>
                </a:lnTo>
                <a:lnTo>
                  <a:pt x="24" y="264"/>
                </a:lnTo>
                <a:lnTo>
                  <a:pt x="24" y="258"/>
                </a:lnTo>
                <a:lnTo>
                  <a:pt x="30" y="252"/>
                </a:lnTo>
                <a:lnTo>
                  <a:pt x="30" y="239"/>
                </a:lnTo>
                <a:lnTo>
                  <a:pt x="26" y="235"/>
                </a:lnTo>
                <a:lnTo>
                  <a:pt x="28" y="226"/>
                </a:lnTo>
                <a:lnTo>
                  <a:pt x="30" y="224"/>
                </a:lnTo>
                <a:lnTo>
                  <a:pt x="30" y="215"/>
                </a:lnTo>
                <a:lnTo>
                  <a:pt x="34" y="209"/>
                </a:lnTo>
                <a:lnTo>
                  <a:pt x="38" y="203"/>
                </a:lnTo>
                <a:lnTo>
                  <a:pt x="45" y="205"/>
                </a:lnTo>
                <a:lnTo>
                  <a:pt x="53" y="215"/>
                </a:lnTo>
                <a:lnTo>
                  <a:pt x="56" y="207"/>
                </a:lnTo>
                <a:lnTo>
                  <a:pt x="60" y="200"/>
                </a:lnTo>
                <a:lnTo>
                  <a:pt x="53" y="194"/>
                </a:lnTo>
                <a:lnTo>
                  <a:pt x="60" y="186"/>
                </a:lnTo>
                <a:lnTo>
                  <a:pt x="60" y="179"/>
                </a:lnTo>
                <a:lnTo>
                  <a:pt x="62" y="173"/>
                </a:lnTo>
                <a:lnTo>
                  <a:pt x="73" y="166"/>
                </a:lnTo>
                <a:lnTo>
                  <a:pt x="73" y="160"/>
                </a:lnTo>
                <a:lnTo>
                  <a:pt x="79" y="149"/>
                </a:lnTo>
                <a:lnTo>
                  <a:pt x="92" y="156"/>
                </a:lnTo>
                <a:lnTo>
                  <a:pt x="104" y="143"/>
                </a:lnTo>
                <a:lnTo>
                  <a:pt x="113" y="128"/>
                </a:lnTo>
                <a:lnTo>
                  <a:pt x="124" y="120"/>
                </a:lnTo>
                <a:lnTo>
                  <a:pt x="126" y="107"/>
                </a:lnTo>
                <a:lnTo>
                  <a:pt x="126" y="98"/>
                </a:lnTo>
                <a:lnTo>
                  <a:pt x="126" y="92"/>
                </a:lnTo>
                <a:lnTo>
                  <a:pt x="126" y="83"/>
                </a:lnTo>
                <a:lnTo>
                  <a:pt x="128" y="83"/>
                </a:lnTo>
                <a:lnTo>
                  <a:pt x="128" y="75"/>
                </a:lnTo>
                <a:lnTo>
                  <a:pt x="128" y="66"/>
                </a:lnTo>
                <a:lnTo>
                  <a:pt x="130" y="45"/>
                </a:lnTo>
                <a:lnTo>
                  <a:pt x="134" y="39"/>
                </a:lnTo>
                <a:lnTo>
                  <a:pt x="128" y="17"/>
                </a:lnTo>
                <a:lnTo>
                  <a:pt x="124" y="11"/>
                </a:lnTo>
                <a:lnTo>
                  <a:pt x="126" y="2"/>
                </a:lnTo>
                <a:lnTo>
                  <a:pt x="130" y="2"/>
                </a:lnTo>
                <a:lnTo>
                  <a:pt x="134" y="0"/>
                </a:lnTo>
                <a:lnTo>
                  <a:pt x="153" y="102"/>
                </a:lnTo>
                <a:lnTo>
                  <a:pt x="241" y="85"/>
                </a:lnTo>
                <a:lnTo>
                  <a:pt x="249" y="145"/>
                </a:lnTo>
                <a:lnTo>
                  <a:pt x="256" y="137"/>
                </a:lnTo>
                <a:lnTo>
                  <a:pt x="264" y="130"/>
                </a:lnTo>
                <a:lnTo>
                  <a:pt x="268" y="124"/>
                </a:lnTo>
                <a:lnTo>
                  <a:pt x="275" y="115"/>
                </a:lnTo>
                <a:lnTo>
                  <a:pt x="277" y="109"/>
                </a:lnTo>
                <a:lnTo>
                  <a:pt x="283" y="107"/>
                </a:lnTo>
                <a:lnTo>
                  <a:pt x="290" y="109"/>
                </a:lnTo>
                <a:lnTo>
                  <a:pt x="300" y="94"/>
                </a:lnTo>
                <a:lnTo>
                  <a:pt x="300" y="85"/>
                </a:lnTo>
                <a:lnTo>
                  <a:pt x="303" y="85"/>
                </a:lnTo>
                <a:lnTo>
                  <a:pt x="311" y="92"/>
                </a:lnTo>
                <a:lnTo>
                  <a:pt x="317" y="94"/>
                </a:lnTo>
                <a:lnTo>
                  <a:pt x="328" y="92"/>
                </a:lnTo>
                <a:lnTo>
                  <a:pt x="330" y="85"/>
                </a:lnTo>
                <a:lnTo>
                  <a:pt x="337" y="79"/>
                </a:lnTo>
                <a:lnTo>
                  <a:pt x="343" y="79"/>
                </a:lnTo>
                <a:lnTo>
                  <a:pt x="347" y="71"/>
                </a:lnTo>
                <a:lnTo>
                  <a:pt x="354" y="68"/>
                </a:lnTo>
                <a:lnTo>
                  <a:pt x="360" y="71"/>
                </a:lnTo>
                <a:lnTo>
                  <a:pt x="366" y="75"/>
                </a:lnTo>
                <a:lnTo>
                  <a:pt x="381" y="75"/>
                </a:lnTo>
                <a:lnTo>
                  <a:pt x="383" y="75"/>
                </a:lnTo>
                <a:lnTo>
                  <a:pt x="381" y="83"/>
                </a:lnTo>
                <a:lnTo>
                  <a:pt x="388" y="83"/>
                </a:lnTo>
                <a:lnTo>
                  <a:pt x="388" y="92"/>
                </a:lnTo>
                <a:lnTo>
                  <a:pt x="394" y="98"/>
                </a:lnTo>
                <a:lnTo>
                  <a:pt x="396" y="102"/>
                </a:lnTo>
                <a:lnTo>
                  <a:pt x="394" y="115"/>
                </a:lnTo>
                <a:lnTo>
                  <a:pt x="390" y="122"/>
                </a:lnTo>
                <a:lnTo>
                  <a:pt x="349" y="100"/>
                </a:lnTo>
                <a:lnTo>
                  <a:pt x="341" y="105"/>
                </a:lnTo>
                <a:lnTo>
                  <a:pt x="343" y="111"/>
                </a:lnTo>
                <a:lnTo>
                  <a:pt x="341" y="120"/>
                </a:lnTo>
                <a:lnTo>
                  <a:pt x="341" y="134"/>
                </a:lnTo>
                <a:lnTo>
                  <a:pt x="337" y="141"/>
                </a:lnTo>
                <a:lnTo>
                  <a:pt x="332" y="156"/>
                </a:lnTo>
                <a:lnTo>
                  <a:pt x="326" y="162"/>
                </a:lnTo>
                <a:lnTo>
                  <a:pt x="320" y="162"/>
                </a:lnTo>
                <a:lnTo>
                  <a:pt x="313" y="177"/>
                </a:lnTo>
                <a:lnTo>
                  <a:pt x="307" y="179"/>
                </a:lnTo>
                <a:lnTo>
                  <a:pt x="298" y="179"/>
                </a:lnTo>
                <a:lnTo>
                  <a:pt x="296" y="186"/>
                </a:lnTo>
                <a:lnTo>
                  <a:pt x="294" y="196"/>
                </a:lnTo>
                <a:lnTo>
                  <a:pt x="292" y="203"/>
                </a:lnTo>
                <a:lnTo>
                  <a:pt x="288" y="218"/>
                </a:lnTo>
                <a:lnTo>
                  <a:pt x="285" y="226"/>
                </a:lnTo>
                <a:lnTo>
                  <a:pt x="277" y="228"/>
                </a:lnTo>
                <a:lnTo>
                  <a:pt x="264" y="226"/>
                </a:lnTo>
                <a:lnTo>
                  <a:pt x="262" y="222"/>
                </a:lnTo>
                <a:lnTo>
                  <a:pt x="256" y="215"/>
                </a:lnTo>
                <a:lnTo>
                  <a:pt x="247" y="218"/>
                </a:lnTo>
                <a:lnTo>
                  <a:pt x="247" y="232"/>
                </a:lnTo>
                <a:lnTo>
                  <a:pt x="247" y="241"/>
                </a:lnTo>
                <a:lnTo>
                  <a:pt x="245" y="243"/>
                </a:lnTo>
                <a:lnTo>
                  <a:pt x="241" y="258"/>
                </a:lnTo>
                <a:lnTo>
                  <a:pt x="234" y="264"/>
                </a:lnTo>
                <a:lnTo>
                  <a:pt x="234" y="273"/>
                </a:lnTo>
                <a:lnTo>
                  <a:pt x="230" y="288"/>
                </a:lnTo>
                <a:lnTo>
                  <a:pt x="224" y="296"/>
                </a:lnTo>
                <a:lnTo>
                  <a:pt x="215" y="311"/>
                </a:lnTo>
                <a:lnTo>
                  <a:pt x="213" y="324"/>
                </a:lnTo>
                <a:lnTo>
                  <a:pt x="219" y="333"/>
                </a:lnTo>
                <a:lnTo>
                  <a:pt x="213" y="339"/>
                </a:lnTo>
                <a:lnTo>
                  <a:pt x="215" y="345"/>
                </a:lnTo>
                <a:lnTo>
                  <a:pt x="215" y="347"/>
                </a:lnTo>
                <a:lnTo>
                  <a:pt x="200" y="356"/>
                </a:lnTo>
                <a:lnTo>
                  <a:pt x="192" y="356"/>
                </a:lnTo>
                <a:lnTo>
                  <a:pt x="179" y="367"/>
                </a:lnTo>
                <a:lnTo>
                  <a:pt x="168" y="364"/>
                </a:lnTo>
                <a:lnTo>
                  <a:pt x="168" y="371"/>
                </a:lnTo>
                <a:lnTo>
                  <a:pt x="166" y="377"/>
                </a:lnTo>
                <a:lnTo>
                  <a:pt x="158" y="379"/>
                </a:lnTo>
                <a:lnTo>
                  <a:pt x="143" y="386"/>
                </a:lnTo>
                <a:lnTo>
                  <a:pt x="136" y="388"/>
                </a:lnTo>
                <a:lnTo>
                  <a:pt x="124" y="384"/>
                </a:lnTo>
                <a:lnTo>
                  <a:pt x="122" y="390"/>
                </a:lnTo>
                <a:lnTo>
                  <a:pt x="107" y="399"/>
                </a:lnTo>
                <a:lnTo>
                  <a:pt x="96" y="396"/>
                </a:lnTo>
                <a:lnTo>
                  <a:pt x="81" y="388"/>
                </a:lnTo>
                <a:lnTo>
                  <a:pt x="75" y="382"/>
                </a:lnTo>
                <a:lnTo>
                  <a:pt x="68" y="375"/>
                </a:lnTo>
                <a:lnTo>
                  <a:pt x="68" y="367"/>
                </a:lnTo>
                <a:lnTo>
                  <a:pt x="53" y="367"/>
                </a:lnTo>
                <a:lnTo>
                  <a:pt x="38" y="356"/>
                </a:lnTo>
                <a:lnTo>
                  <a:pt x="24" y="337"/>
                </a:lnTo>
                <a:lnTo>
                  <a:pt x="17" y="330"/>
                </a:lnTo>
                <a:lnTo>
                  <a:pt x="15" y="324"/>
                </a:lnTo>
                <a:lnTo>
                  <a:pt x="0" y="307"/>
                </a:lnTo>
                <a:lnTo>
                  <a:pt x="4" y="294"/>
                </a:lnTo>
                <a:lnTo>
                  <a:pt x="2" y="286"/>
                </a:lnTo>
                <a:lnTo>
                  <a:pt x="0" y="281"/>
                </a:lnTo>
                <a:lnTo>
                  <a:pt x="0" y="27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353" name="Freeform 759"/>
          <p:cNvSpPr>
            <a:spLocks/>
          </p:cNvSpPr>
          <p:nvPr/>
        </p:nvSpPr>
        <p:spPr bwMode="auto">
          <a:xfrm>
            <a:off x="6240462" y="3033834"/>
            <a:ext cx="628650" cy="633413"/>
          </a:xfrm>
          <a:custGeom>
            <a:avLst/>
            <a:gdLst>
              <a:gd name="T0" fmla="*/ 7 w 396"/>
              <a:gd name="T1" fmla="*/ 277 h 399"/>
              <a:gd name="T2" fmla="*/ 24 w 396"/>
              <a:gd name="T3" fmla="*/ 258 h 399"/>
              <a:gd name="T4" fmla="*/ 26 w 396"/>
              <a:gd name="T5" fmla="*/ 235 h 399"/>
              <a:gd name="T6" fmla="*/ 30 w 396"/>
              <a:gd name="T7" fmla="*/ 215 h 399"/>
              <a:gd name="T8" fmla="*/ 45 w 396"/>
              <a:gd name="T9" fmla="*/ 205 h 399"/>
              <a:gd name="T10" fmla="*/ 60 w 396"/>
              <a:gd name="T11" fmla="*/ 200 h 399"/>
              <a:gd name="T12" fmla="*/ 60 w 396"/>
              <a:gd name="T13" fmla="*/ 179 h 399"/>
              <a:gd name="T14" fmla="*/ 73 w 396"/>
              <a:gd name="T15" fmla="*/ 160 h 399"/>
              <a:gd name="T16" fmla="*/ 104 w 396"/>
              <a:gd name="T17" fmla="*/ 143 h 399"/>
              <a:gd name="T18" fmla="*/ 126 w 396"/>
              <a:gd name="T19" fmla="*/ 107 h 399"/>
              <a:gd name="T20" fmla="*/ 126 w 396"/>
              <a:gd name="T21" fmla="*/ 83 h 399"/>
              <a:gd name="T22" fmla="*/ 128 w 396"/>
              <a:gd name="T23" fmla="*/ 66 h 399"/>
              <a:gd name="T24" fmla="*/ 128 w 396"/>
              <a:gd name="T25" fmla="*/ 17 h 399"/>
              <a:gd name="T26" fmla="*/ 130 w 396"/>
              <a:gd name="T27" fmla="*/ 2 h 399"/>
              <a:gd name="T28" fmla="*/ 241 w 396"/>
              <a:gd name="T29" fmla="*/ 85 h 399"/>
              <a:gd name="T30" fmla="*/ 264 w 396"/>
              <a:gd name="T31" fmla="*/ 130 h 399"/>
              <a:gd name="T32" fmla="*/ 277 w 396"/>
              <a:gd name="T33" fmla="*/ 109 h 399"/>
              <a:gd name="T34" fmla="*/ 300 w 396"/>
              <a:gd name="T35" fmla="*/ 94 h 399"/>
              <a:gd name="T36" fmla="*/ 311 w 396"/>
              <a:gd name="T37" fmla="*/ 92 h 399"/>
              <a:gd name="T38" fmla="*/ 330 w 396"/>
              <a:gd name="T39" fmla="*/ 85 h 399"/>
              <a:gd name="T40" fmla="*/ 347 w 396"/>
              <a:gd name="T41" fmla="*/ 71 h 399"/>
              <a:gd name="T42" fmla="*/ 366 w 396"/>
              <a:gd name="T43" fmla="*/ 75 h 399"/>
              <a:gd name="T44" fmla="*/ 381 w 396"/>
              <a:gd name="T45" fmla="*/ 83 h 399"/>
              <a:gd name="T46" fmla="*/ 394 w 396"/>
              <a:gd name="T47" fmla="*/ 98 h 399"/>
              <a:gd name="T48" fmla="*/ 390 w 396"/>
              <a:gd name="T49" fmla="*/ 122 h 399"/>
              <a:gd name="T50" fmla="*/ 343 w 396"/>
              <a:gd name="T51" fmla="*/ 111 h 399"/>
              <a:gd name="T52" fmla="*/ 337 w 396"/>
              <a:gd name="T53" fmla="*/ 141 h 399"/>
              <a:gd name="T54" fmla="*/ 320 w 396"/>
              <a:gd name="T55" fmla="*/ 162 h 399"/>
              <a:gd name="T56" fmla="*/ 298 w 396"/>
              <a:gd name="T57" fmla="*/ 179 h 399"/>
              <a:gd name="T58" fmla="*/ 292 w 396"/>
              <a:gd name="T59" fmla="*/ 203 h 399"/>
              <a:gd name="T60" fmla="*/ 277 w 396"/>
              <a:gd name="T61" fmla="*/ 228 h 399"/>
              <a:gd name="T62" fmla="*/ 256 w 396"/>
              <a:gd name="T63" fmla="*/ 215 h 399"/>
              <a:gd name="T64" fmla="*/ 247 w 396"/>
              <a:gd name="T65" fmla="*/ 241 h 399"/>
              <a:gd name="T66" fmla="*/ 234 w 396"/>
              <a:gd name="T67" fmla="*/ 264 h 399"/>
              <a:gd name="T68" fmla="*/ 224 w 396"/>
              <a:gd name="T69" fmla="*/ 296 h 399"/>
              <a:gd name="T70" fmla="*/ 219 w 396"/>
              <a:gd name="T71" fmla="*/ 333 h 399"/>
              <a:gd name="T72" fmla="*/ 215 w 396"/>
              <a:gd name="T73" fmla="*/ 347 h 399"/>
              <a:gd name="T74" fmla="*/ 179 w 396"/>
              <a:gd name="T75" fmla="*/ 367 h 399"/>
              <a:gd name="T76" fmla="*/ 166 w 396"/>
              <a:gd name="T77" fmla="*/ 377 h 399"/>
              <a:gd name="T78" fmla="*/ 136 w 396"/>
              <a:gd name="T79" fmla="*/ 388 h 399"/>
              <a:gd name="T80" fmla="*/ 107 w 396"/>
              <a:gd name="T81" fmla="*/ 399 h 399"/>
              <a:gd name="T82" fmla="*/ 75 w 396"/>
              <a:gd name="T83" fmla="*/ 382 h 399"/>
              <a:gd name="T84" fmla="*/ 53 w 396"/>
              <a:gd name="T85" fmla="*/ 367 h 399"/>
              <a:gd name="T86" fmla="*/ 17 w 396"/>
              <a:gd name="T87" fmla="*/ 330 h 399"/>
              <a:gd name="T88" fmla="*/ 4 w 396"/>
              <a:gd name="T89" fmla="*/ 294 h 399"/>
              <a:gd name="T90" fmla="*/ 0 w 396"/>
              <a:gd name="T91" fmla="*/ 277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96" h="399">
                <a:moveTo>
                  <a:pt x="0" y="277"/>
                </a:moveTo>
                <a:lnTo>
                  <a:pt x="0" y="277"/>
                </a:lnTo>
                <a:lnTo>
                  <a:pt x="7" y="277"/>
                </a:lnTo>
                <a:lnTo>
                  <a:pt x="17" y="271"/>
                </a:lnTo>
                <a:lnTo>
                  <a:pt x="24" y="264"/>
                </a:lnTo>
                <a:lnTo>
                  <a:pt x="24" y="258"/>
                </a:lnTo>
                <a:lnTo>
                  <a:pt x="30" y="252"/>
                </a:lnTo>
                <a:lnTo>
                  <a:pt x="30" y="239"/>
                </a:lnTo>
                <a:lnTo>
                  <a:pt x="26" y="235"/>
                </a:lnTo>
                <a:lnTo>
                  <a:pt x="28" y="226"/>
                </a:lnTo>
                <a:lnTo>
                  <a:pt x="30" y="224"/>
                </a:lnTo>
                <a:lnTo>
                  <a:pt x="30" y="215"/>
                </a:lnTo>
                <a:lnTo>
                  <a:pt x="34" y="209"/>
                </a:lnTo>
                <a:lnTo>
                  <a:pt x="38" y="203"/>
                </a:lnTo>
                <a:lnTo>
                  <a:pt x="45" y="205"/>
                </a:lnTo>
                <a:lnTo>
                  <a:pt x="53" y="215"/>
                </a:lnTo>
                <a:lnTo>
                  <a:pt x="56" y="207"/>
                </a:lnTo>
                <a:lnTo>
                  <a:pt x="60" y="200"/>
                </a:lnTo>
                <a:lnTo>
                  <a:pt x="53" y="194"/>
                </a:lnTo>
                <a:lnTo>
                  <a:pt x="60" y="186"/>
                </a:lnTo>
                <a:lnTo>
                  <a:pt x="60" y="179"/>
                </a:lnTo>
                <a:lnTo>
                  <a:pt x="62" y="173"/>
                </a:lnTo>
                <a:lnTo>
                  <a:pt x="73" y="166"/>
                </a:lnTo>
                <a:lnTo>
                  <a:pt x="73" y="160"/>
                </a:lnTo>
                <a:lnTo>
                  <a:pt x="79" y="149"/>
                </a:lnTo>
                <a:lnTo>
                  <a:pt x="92" y="156"/>
                </a:lnTo>
                <a:lnTo>
                  <a:pt x="104" y="143"/>
                </a:lnTo>
                <a:lnTo>
                  <a:pt x="113" y="128"/>
                </a:lnTo>
                <a:lnTo>
                  <a:pt x="124" y="120"/>
                </a:lnTo>
                <a:lnTo>
                  <a:pt x="126" y="107"/>
                </a:lnTo>
                <a:lnTo>
                  <a:pt x="126" y="98"/>
                </a:lnTo>
                <a:lnTo>
                  <a:pt x="126" y="92"/>
                </a:lnTo>
                <a:lnTo>
                  <a:pt x="126" y="83"/>
                </a:lnTo>
                <a:lnTo>
                  <a:pt x="128" y="83"/>
                </a:lnTo>
                <a:lnTo>
                  <a:pt x="128" y="75"/>
                </a:lnTo>
                <a:lnTo>
                  <a:pt x="128" y="66"/>
                </a:lnTo>
                <a:lnTo>
                  <a:pt x="130" y="45"/>
                </a:lnTo>
                <a:lnTo>
                  <a:pt x="134" y="39"/>
                </a:lnTo>
                <a:lnTo>
                  <a:pt x="128" y="17"/>
                </a:lnTo>
                <a:lnTo>
                  <a:pt x="124" y="11"/>
                </a:lnTo>
                <a:lnTo>
                  <a:pt x="126" y="2"/>
                </a:lnTo>
                <a:lnTo>
                  <a:pt x="130" y="2"/>
                </a:lnTo>
                <a:lnTo>
                  <a:pt x="134" y="0"/>
                </a:lnTo>
                <a:lnTo>
                  <a:pt x="153" y="102"/>
                </a:lnTo>
                <a:lnTo>
                  <a:pt x="241" y="85"/>
                </a:lnTo>
                <a:lnTo>
                  <a:pt x="249" y="145"/>
                </a:lnTo>
                <a:lnTo>
                  <a:pt x="256" y="137"/>
                </a:lnTo>
                <a:lnTo>
                  <a:pt x="264" y="130"/>
                </a:lnTo>
                <a:lnTo>
                  <a:pt x="268" y="124"/>
                </a:lnTo>
                <a:lnTo>
                  <a:pt x="275" y="115"/>
                </a:lnTo>
                <a:lnTo>
                  <a:pt x="277" y="109"/>
                </a:lnTo>
                <a:lnTo>
                  <a:pt x="283" y="107"/>
                </a:lnTo>
                <a:lnTo>
                  <a:pt x="290" y="109"/>
                </a:lnTo>
                <a:lnTo>
                  <a:pt x="300" y="94"/>
                </a:lnTo>
                <a:lnTo>
                  <a:pt x="300" y="85"/>
                </a:lnTo>
                <a:lnTo>
                  <a:pt x="303" y="85"/>
                </a:lnTo>
                <a:lnTo>
                  <a:pt x="311" y="92"/>
                </a:lnTo>
                <a:lnTo>
                  <a:pt x="317" y="94"/>
                </a:lnTo>
                <a:lnTo>
                  <a:pt x="328" y="92"/>
                </a:lnTo>
                <a:lnTo>
                  <a:pt x="330" y="85"/>
                </a:lnTo>
                <a:lnTo>
                  <a:pt x="337" y="79"/>
                </a:lnTo>
                <a:lnTo>
                  <a:pt x="343" y="79"/>
                </a:lnTo>
                <a:lnTo>
                  <a:pt x="347" y="71"/>
                </a:lnTo>
                <a:lnTo>
                  <a:pt x="354" y="68"/>
                </a:lnTo>
                <a:lnTo>
                  <a:pt x="360" y="71"/>
                </a:lnTo>
                <a:lnTo>
                  <a:pt x="366" y="75"/>
                </a:lnTo>
                <a:lnTo>
                  <a:pt x="381" y="75"/>
                </a:lnTo>
                <a:lnTo>
                  <a:pt x="383" y="75"/>
                </a:lnTo>
                <a:lnTo>
                  <a:pt x="381" y="83"/>
                </a:lnTo>
                <a:lnTo>
                  <a:pt x="388" y="83"/>
                </a:lnTo>
                <a:lnTo>
                  <a:pt x="388" y="92"/>
                </a:lnTo>
                <a:lnTo>
                  <a:pt x="394" y="98"/>
                </a:lnTo>
                <a:lnTo>
                  <a:pt x="396" y="102"/>
                </a:lnTo>
                <a:lnTo>
                  <a:pt x="394" y="115"/>
                </a:lnTo>
                <a:lnTo>
                  <a:pt x="390" y="122"/>
                </a:lnTo>
                <a:lnTo>
                  <a:pt x="349" y="100"/>
                </a:lnTo>
                <a:lnTo>
                  <a:pt x="341" y="105"/>
                </a:lnTo>
                <a:lnTo>
                  <a:pt x="343" y="111"/>
                </a:lnTo>
                <a:lnTo>
                  <a:pt x="341" y="120"/>
                </a:lnTo>
                <a:lnTo>
                  <a:pt x="341" y="134"/>
                </a:lnTo>
                <a:lnTo>
                  <a:pt x="337" y="141"/>
                </a:lnTo>
                <a:lnTo>
                  <a:pt x="332" y="156"/>
                </a:lnTo>
                <a:lnTo>
                  <a:pt x="326" y="162"/>
                </a:lnTo>
                <a:lnTo>
                  <a:pt x="320" y="162"/>
                </a:lnTo>
                <a:lnTo>
                  <a:pt x="313" y="177"/>
                </a:lnTo>
                <a:lnTo>
                  <a:pt x="307" y="179"/>
                </a:lnTo>
                <a:lnTo>
                  <a:pt x="298" y="179"/>
                </a:lnTo>
                <a:lnTo>
                  <a:pt x="296" y="186"/>
                </a:lnTo>
                <a:lnTo>
                  <a:pt x="294" y="196"/>
                </a:lnTo>
                <a:lnTo>
                  <a:pt x="292" y="203"/>
                </a:lnTo>
                <a:lnTo>
                  <a:pt x="288" y="218"/>
                </a:lnTo>
                <a:lnTo>
                  <a:pt x="285" y="226"/>
                </a:lnTo>
                <a:lnTo>
                  <a:pt x="277" y="228"/>
                </a:lnTo>
                <a:lnTo>
                  <a:pt x="264" y="226"/>
                </a:lnTo>
                <a:lnTo>
                  <a:pt x="262" y="222"/>
                </a:lnTo>
                <a:lnTo>
                  <a:pt x="256" y="215"/>
                </a:lnTo>
                <a:lnTo>
                  <a:pt x="247" y="218"/>
                </a:lnTo>
                <a:lnTo>
                  <a:pt x="247" y="232"/>
                </a:lnTo>
                <a:lnTo>
                  <a:pt x="247" y="241"/>
                </a:lnTo>
                <a:lnTo>
                  <a:pt x="245" y="243"/>
                </a:lnTo>
                <a:lnTo>
                  <a:pt x="241" y="258"/>
                </a:lnTo>
                <a:lnTo>
                  <a:pt x="234" y="264"/>
                </a:lnTo>
                <a:lnTo>
                  <a:pt x="234" y="273"/>
                </a:lnTo>
                <a:lnTo>
                  <a:pt x="230" y="288"/>
                </a:lnTo>
                <a:lnTo>
                  <a:pt x="224" y="296"/>
                </a:lnTo>
                <a:lnTo>
                  <a:pt x="215" y="311"/>
                </a:lnTo>
                <a:lnTo>
                  <a:pt x="213" y="324"/>
                </a:lnTo>
                <a:lnTo>
                  <a:pt x="219" y="333"/>
                </a:lnTo>
                <a:lnTo>
                  <a:pt x="213" y="339"/>
                </a:lnTo>
                <a:lnTo>
                  <a:pt x="215" y="345"/>
                </a:lnTo>
                <a:lnTo>
                  <a:pt x="215" y="347"/>
                </a:lnTo>
                <a:lnTo>
                  <a:pt x="200" y="356"/>
                </a:lnTo>
                <a:lnTo>
                  <a:pt x="192" y="356"/>
                </a:lnTo>
                <a:lnTo>
                  <a:pt x="179" y="367"/>
                </a:lnTo>
                <a:lnTo>
                  <a:pt x="168" y="364"/>
                </a:lnTo>
                <a:lnTo>
                  <a:pt x="168" y="371"/>
                </a:lnTo>
                <a:lnTo>
                  <a:pt x="166" y="377"/>
                </a:lnTo>
                <a:lnTo>
                  <a:pt x="158" y="379"/>
                </a:lnTo>
                <a:lnTo>
                  <a:pt x="143" y="386"/>
                </a:lnTo>
                <a:lnTo>
                  <a:pt x="136" y="388"/>
                </a:lnTo>
                <a:lnTo>
                  <a:pt x="124" y="384"/>
                </a:lnTo>
                <a:lnTo>
                  <a:pt x="122" y="390"/>
                </a:lnTo>
                <a:lnTo>
                  <a:pt x="107" y="399"/>
                </a:lnTo>
                <a:lnTo>
                  <a:pt x="96" y="396"/>
                </a:lnTo>
                <a:lnTo>
                  <a:pt x="81" y="388"/>
                </a:lnTo>
                <a:lnTo>
                  <a:pt x="75" y="382"/>
                </a:lnTo>
                <a:lnTo>
                  <a:pt x="68" y="375"/>
                </a:lnTo>
                <a:lnTo>
                  <a:pt x="68" y="367"/>
                </a:lnTo>
                <a:lnTo>
                  <a:pt x="53" y="367"/>
                </a:lnTo>
                <a:lnTo>
                  <a:pt x="38" y="356"/>
                </a:lnTo>
                <a:lnTo>
                  <a:pt x="24" y="337"/>
                </a:lnTo>
                <a:lnTo>
                  <a:pt x="17" y="330"/>
                </a:lnTo>
                <a:lnTo>
                  <a:pt x="15" y="324"/>
                </a:lnTo>
                <a:lnTo>
                  <a:pt x="0" y="307"/>
                </a:lnTo>
                <a:lnTo>
                  <a:pt x="4" y="294"/>
                </a:lnTo>
                <a:lnTo>
                  <a:pt x="2" y="286"/>
                </a:lnTo>
                <a:lnTo>
                  <a:pt x="0" y="281"/>
                </a:lnTo>
                <a:lnTo>
                  <a:pt x="0" y="27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4" name="Freeform 760"/>
          <p:cNvSpPr>
            <a:spLocks/>
          </p:cNvSpPr>
          <p:nvPr/>
        </p:nvSpPr>
        <p:spPr bwMode="auto">
          <a:xfrm>
            <a:off x="6230937" y="4021259"/>
            <a:ext cx="712788" cy="547688"/>
          </a:xfrm>
          <a:custGeom>
            <a:avLst/>
            <a:gdLst>
              <a:gd name="T0" fmla="*/ 47 w 449"/>
              <a:gd name="T1" fmla="*/ 32 h 345"/>
              <a:gd name="T2" fmla="*/ 81 w 449"/>
              <a:gd name="T3" fmla="*/ 13 h 345"/>
              <a:gd name="T4" fmla="*/ 198 w 449"/>
              <a:gd name="T5" fmla="*/ 0 h 345"/>
              <a:gd name="T6" fmla="*/ 223 w 449"/>
              <a:gd name="T7" fmla="*/ 15 h 345"/>
              <a:gd name="T8" fmla="*/ 230 w 449"/>
              <a:gd name="T9" fmla="*/ 32 h 345"/>
              <a:gd name="T10" fmla="*/ 449 w 449"/>
              <a:gd name="T11" fmla="*/ 100 h 345"/>
              <a:gd name="T12" fmla="*/ 426 w 449"/>
              <a:gd name="T13" fmla="*/ 126 h 345"/>
              <a:gd name="T14" fmla="*/ 406 w 449"/>
              <a:gd name="T15" fmla="*/ 185 h 345"/>
              <a:gd name="T16" fmla="*/ 402 w 449"/>
              <a:gd name="T17" fmla="*/ 160 h 345"/>
              <a:gd name="T18" fmla="*/ 396 w 449"/>
              <a:gd name="T19" fmla="*/ 179 h 345"/>
              <a:gd name="T20" fmla="*/ 400 w 449"/>
              <a:gd name="T21" fmla="*/ 196 h 345"/>
              <a:gd name="T22" fmla="*/ 394 w 449"/>
              <a:gd name="T23" fmla="*/ 205 h 345"/>
              <a:gd name="T24" fmla="*/ 377 w 449"/>
              <a:gd name="T25" fmla="*/ 211 h 345"/>
              <a:gd name="T26" fmla="*/ 370 w 449"/>
              <a:gd name="T27" fmla="*/ 230 h 345"/>
              <a:gd name="T28" fmla="*/ 353 w 449"/>
              <a:gd name="T29" fmla="*/ 245 h 345"/>
              <a:gd name="T30" fmla="*/ 347 w 449"/>
              <a:gd name="T31" fmla="*/ 249 h 345"/>
              <a:gd name="T32" fmla="*/ 343 w 449"/>
              <a:gd name="T33" fmla="*/ 262 h 345"/>
              <a:gd name="T34" fmla="*/ 330 w 449"/>
              <a:gd name="T35" fmla="*/ 275 h 345"/>
              <a:gd name="T36" fmla="*/ 319 w 449"/>
              <a:gd name="T37" fmla="*/ 281 h 345"/>
              <a:gd name="T38" fmla="*/ 298 w 449"/>
              <a:gd name="T39" fmla="*/ 283 h 345"/>
              <a:gd name="T40" fmla="*/ 296 w 449"/>
              <a:gd name="T41" fmla="*/ 292 h 345"/>
              <a:gd name="T42" fmla="*/ 302 w 449"/>
              <a:gd name="T43" fmla="*/ 303 h 345"/>
              <a:gd name="T44" fmla="*/ 298 w 449"/>
              <a:gd name="T45" fmla="*/ 313 h 345"/>
              <a:gd name="T46" fmla="*/ 285 w 449"/>
              <a:gd name="T47" fmla="*/ 311 h 345"/>
              <a:gd name="T48" fmla="*/ 268 w 449"/>
              <a:gd name="T49" fmla="*/ 292 h 345"/>
              <a:gd name="T50" fmla="*/ 281 w 449"/>
              <a:gd name="T51" fmla="*/ 318 h 345"/>
              <a:gd name="T52" fmla="*/ 279 w 449"/>
              <a:gd name="T53" fmla="*/ 330 h 345"/>
              <a:gd name="T54" fmla="*/ 272 w 449"/>
              <a:gd name="T55" fmla="*/ 345 h 345"/>
              <a:gd name="T56" fmla="*/ 251 w 449"/>
              <a:gd name="T57" fmla="*/ 339 h 345"/>
              <a:gd name="T58" fmla="*/ 245 w 449"/>
              <a:gd name="T59" fmla="*/ 320 h 345"/>
              <a:gd name="T60" fmla="*/ 230 w 449"/>
              <a:gd name="T61" fmla="*/ 296 h 345"/>
              <a:gd name="T62" fmla="*/ 211 w 449"/>
              <a:gd name="T63" fmla="*/ 279 h 345"/>
              <a:gd name="T64" fmla="*/ 200 w 449"/>
              <a:gd name="T65" fmla="*/ 254 h 345"/>
              <a:gd name="T66" fmla="*/ 176 w 449"/>
              <a:gd name="T67" fmla="*/ 237 h 345"/>
              <a:gd name="T68" fmla="*/ 162 w 449"/>
              <a:gd name="T69" fmla="*/ 224 h 345"/>
              <a:gd name="T70" fmla="*/ 151 w 449"/>
              <a:gd name="T71" fmla="*/ 207 h 345"/>
              <a:gd name="T72" fmla="*/ 134 w 449"/>
              <a:gd name="T73" fmla="*/ 190 h 345"/>
              <a:gd name="T74" fmla="*/ 117 w 449"/>
              <a:gd name="T75" fmla="*/ 177 h 345"/>
              <a:gd name="T76" fmla="*/ 81 w 449"/>
              <a:gd name="T77" fmla="*/ 151 h 345"/>
              <a:gd name="T78" fmla="*/ 53 w 449"/>
              <a:gd name="T79" fmla="*/ 113 h 345"/>
              <a:gd name="T80" fmla="*/ 32 w 449"/>
              <a:gd name="T81" fmla="*/ 102 h 345"/>
              <a:gd name="T82" fmla="*/ 4 w 449"/>
              <a:gd name="T83" fmla="*/ 85 h 345"/>
              <a:gd name="T84" fmla="*/ 15 w 449"/>
              <a:gd name="T85" fmla="*/ 5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9" h="345">
                <a:moveTo>
                  <a:pt x="17" y="45"/>
                </a:moveTo>
                <a:lnTo>
                  <a:pt x="40" y="32"/>
                </a:lnTo>
                <a:lnTo>
                  <a:pt x="47" y="32"/>
                </a:lnTo>
                <a:lnTo>
                  <a:pt x="59" y="21"/>
                </a:lnTo>
                <a:lnTo>
                  <a:pt x="72" y="17"/>
                </a:lnTo>
                <a:lnTo>
                  <a:pt x="81" y="13"/>
                </a:lnTo>
                <a:lnTo>
                  <a:pt x="87" y="11"/>
                </a:lnTo>
                <a:lnTo>
                  <a:pt x="168" y="2"/>
                </a:lnTo>
                <a:lnTo>
                  <a:pt x="198" y="0"/>
                </a:lnTo>
                <a:lnTo>
                  <a:pt x="206" y="7"/>
                </a:lnTo>
                <a:lnTo>
                  <a:pt x="213" y="4"/>
                </a:lnTo>
                <a:lnTo>
                  <a:pt x="223" y="15"/>
                </a:lnTo>
                <a:lnTo>
                  <a:pt x="228" y="24"/>
                </a:lnTo>
                <a:lnTo>
                  <a:pt x="228" y="30"/>
                </a:lnTo>
                <a:lnTo>
                  <a:pt x="230" y="32"/>
                </a:lnTo>
                <a:lnTo>
                  <a:pt x="330" y="15"/>
                </a:lnTo>
                <a:lnTo>
                  <a:pt x="445" y="98"/>
                </a:lnTo>
                <a:lnTo>
                  <a:pt x="449" y="100"/>
                </a:lnTo>
                <a:lnTo>
                  <a:pt x="449" y="105"/>
                </a:lnTo>
                <a:lnTo>
                  <a:pt x="443" y="109"/>
                </a:lnTo>
                <a:lnTo>
                  <a:pt x="426" y="126"/>
                </a:lnTo>
                <a:lnTo>
                  <a:pt x="411" y="154"/>
                </a:lnTo>
                <a:lnTo>
                  <a:pt x="406" y="162"/>
                </a:lnTo>
                <a:lnTo>
                  <a:pt x="406" y="185"/>
                </a:lnTo>
                <a:lnTo>
                  <a:pt x="404" y="179"/>
                </a:lnTo>
                <a:lnTo>
                  <a:pt x="398" y="175"/>
                </a:lnTo>
                <a:lnTo>
                  <a:pt x="402" y="160"/>
                </a:lnTo>
                <a:lnTo>
                  <a:pt x="400" y="162"/>
                </a:lnTo>
                <a:lnTo>
                  <a:pt x="396" y="171"/>
                </a:lnTo>
                <a:lnTo>
                  <a:pt x="396" y="179"/>
                </a:lnTo>
                <a:lnTo>
                  <a:pt x="402" y="183"/>
                </a:lnTo>
                <a:lnTo>
                  <a:pt x="406" y="190"/>
                </a:lnTo>
                <a:lnTo>
                  <a:pt x="400" y="196"/>
                </a:lnTo>
                <a:lnTo>
                  <a:pt x="394" y="194"/>
                </a:lnTo>
                <a:lnTo>
                  <a:pt x="400" y="198"/>
                </a:lnTo>
                <a:lnTo>
                  <a:pt x="394" y="205"/>
                </a:lnTo>
                <a:lnTo>
                  <a:pt x="392" y="211"/>
                </a:lnTo>
                <a:lnTo>
                  <a:pt x="385" y="213"/>
                </a:lnTo>
                <a:lnTo>
                  <a:pt x="377" y="211"/>
                </a:lnTo>
                <a:lnTo>
                  <a:pt x="372" y="220"/>
                </a:lnTo>
                <a:lnTo>
                  <a:pt x="375" y="226"/>
                </a:lnTo>
                <a:lnTo>
                  <a:pt x="370" y="230"/>
                </a:lnTo>
                <a:lnTo>
                  <a:pt x="366" y="237"/>
                </a:lnTo>
                <a:lnTo>
                  <a:pt x="360" y="243"/>
                </a:lnTo>
                <a:lnTo>
                  <a:pt x="353" y="245"/>
                </a:lnTo>
                <a:lnTo>
                  <a:pt x="351" y="239"/>
                </a:lnTo>
                <a:lnTo>
                  <a:pt x="345" y="239"/>
                </a:lnTo>
                <a:lnTo>
                  <a:pt x="347" y="249"/>
                </a:lnTo>
                <a:lnTo>
                  <a:pt x="353" y="252"/>
                </a:lnTo>
                <a:lnTo>
                  <a:pt x="351" y="260"/>
                </a:lnTo>
                <a:lnTo>
                  <a:pt x="343" y="262"/>
                </a:lnTo>
                <a:lnTo>
                  <a:pt x="345" y="266"/>
                </a:lnTo>
                <a:lnTo>
                  <a:pt x="336" y="269"/>
                </a:lnTo>
                <a:lnTo>
                  <a:pt x="330" y="275"/>
                </a:lnTo>
                <a:lnTo>
                  <a:pt x="321" y="271"/>
                </a:lnTo>
                <a:lnTo>
                  <a:pt x="328" y="275"/>
                </a:lnTo>
                <a:lnTo>
                  <a:pt x="319" y="281"/>
                </a:lnTo>
                <a:lnTo>
                  <a:pt x="313" y="281"/>
                </a:lnTo>
                <a:lnTo>
                  <a:pt x="306" y="286"/>
                </a:lnTo>
                <a:lnTo>
                  <a:pt x="298" y="283"/>
                </a:lnTo>
                <a:lnTo>
                  <a:pt x="283" y="290"/>
                </a:lnTo>
                <a:lnTo>
                  <a:pt x="289" y="290"/>
                </a:lnTo>
                <a:lnTo>
                  <a:pt x="296" y="292"/>
                </a:lnTo>
                <a:lnTo>
                  <a:pt x="304" y="292"/>
                </a:lnTo>
                <a:lnTo>
                  <a:pt x="306" y="296"/>
                </a:lnTo>
                <a:lnTo>
                  <a:pt x="302" y="303"/>
                </a:lnTo>
                <a:lnTo>
                  <a:pt x="309" y="296"/>
                </a:lnTo>
                <a:lnTo>
                  <a:pt x="304" y="307"/>
                </a:lnTo>
                <a:lnTo>
                  <a:pt x="298" y="313"/>
                </a:lnTo>
                <a:lnTo>
                  <a:pt x="289" y="309"/>
                </a:lnTo>
                <a:lnTo>
                  <a:pt x="285" y="296"/>
                </a:lnTo>
                <a:lnTo>
                  <a:pt x="285" y="311"/>
                </a:lnTo>
                <a:lnTo>
                  <a:pt x="279" y="305"/>
                </a:lnTo>
                <a:lnTo>
                  <a:pt x="274" y="298"/>
                </a:lnTo>
                <a:lnTo>
                  <a:pt x="268" y="292"/>
                </a:lnTo>
                <a:lnTo>
                  <a:pt x="277" y="305"/>
                </a:lnTo>
                <a:lnTo>
                  <a:pt x="279" y="313"/>
                </a:lnTo>
                <a:lnTo>
                  <a:pt x="281" y="318"/>
                </a:lnTo>
                <a:lnTo>
                  <a:pt x="287" y="324"/>
                </a:lnTo>
                <a:lnTo>
                  <a:pt x="283" y="330"/>
                </a:lnTo>
                <a:lnTo>
                  <a:pt x="279" y="330"/>
                </a:lnTo>
                <a:lnTo>
                  <a:pt x="279" y="324"/>
                </a:lnTo>
                <a:lnTo>
                  <a:pt x="277" y="330"/>
                </a:lnTo>
                <a:lnTo>
                  <a:pt x="272" y="345"/>
                </a:lnTo>
                <a:lnTo>
                  <a:pt x="268" y="343"/>
                </a:lnTo>
                <a:lnTo>
                  <a:pt x="266" y="341"/>
                </a:lnTo>
                <a:lnTo>
                  <a:pt x="251" y="339"/>
                </a:lnTo>
                <a:lnTo>
                  <a:pt x="247" y="332"/>
                </a:lnTo>
                <a:lnTo>
                  <a:pt x="245" y="326"/>
                </a:lnTo>
                <a:lnTo>
                  <a:pt x="245" y="320"/>
                </a:lnTo>
                <a:lnTo>
                  <a:pt x="240" y="311"/>
                </a:lnTo>
                <a:lnTo>
                  <a:pt x="236" y="303"/>
                </a:lnTo>
                <a:lnTo>
                  <a:pt x="230" y="296"/>
                </a:lnTo>
                <a:lnTo>
                  <a:pt x="221" y="292"/>
                </a:lnTo>
                <a:lnTo>
                  <a:pt x="213" y="288"/>
                </a:lnTo>
                <a:lnTo>
                  <a:pt x="211" y="279"/>
                </a:lnTo>
                <a:lnTo>
                  <a:pt x="211" y="273"/>
                </a:lnTo>
                <a:lnTo>
                  <a:pt x="208" y="264"/>
                </a:lnTo>
                <a:lnTo>
                  <a:pt x="200" y="254"/>
                </a:lnTo>
                <a:lnTo>
                  <a:pt x="198" y="247"/>
                </a:lnTo>
                <a:lnTo>
                  <a:pt x="183" y="239"/>
                </a:lnTo>
                <a:lnTo>
                  <a:pt x="176" y="237"/>
                </a:lnTo>
                <a:lnTo>
                  <a:pt x="170" y="228"/>
                </a:lnTo>
                <a:lnTo>
                  <a:pt x="170" y="228"/>
                </a:lnTo>
                <a:lnTo>
                  <a:pt x="162" y="224"/>
                </a:lnTo>
                <a:lnTo>
                  <a:pt x="162" y="217"/>
                </a:lnTo>
                <a:lnTo>
                  <a:pt x="153" y="213"/>
                </a:lnTo>
                <a:lnTo>
                  <a:pt x="151" y="207"/>
                </a:lnTo>
                <a:lnTo>
                  <a:pt x="151" y="203"/>
                </a:lnTo>
                <a:lnTo>
                  <a:pt x="145" y="198"/>
                </a:lnTo>
                <a:lnTo>
                  <a:pt x="134" y="190"/>
                </a:lnTo>
                <a:lnTo>
                  <a:pt x="128" y="188"/>
                </a:lnTo>
                <a:lnTo>
                  <a:pt x="121" y="183"/>
                </a:lnTo>
                <a:lnTo>
                  <a:pt x="117" y="177"/>
                </a:lnTo>
                <a:lnTo>
                  <a:pt x="110" y="168"/>
                </a:lnTo>
                <a:lnTo>
                  <a:pt x="96" y="162"/>
                </a:lnTo>
                <a:lnTo>
                  <a:pt x="81" y="151"/>
                </a:lnTo>
                <a:lnTo>
                  <a:pt x="64" y="128"/>
                </a:lnTo>
                <a:lnTo>
                  <a:pt x="59" y="122"/>
                </a:lnTo>
                <a:lnTo>
                  <a:pt x="53" y="113"/>
                </a:lnTo>
                <a:lnTo>
                  <a:pt x="49" y="107"/>
                </a:lnTo>
                <a:lnTo>
                  <a:pt x="42" y="100"/>
                </a:lnTo>
                <a:lnTo>
                  <a:pt x="32" y="102"/>
                </a:lnTo>
                <a:lnTo>
                  <a:pt x="17" y="90"/>
                </a:lnTo>
                <a:lnTo>
                  <a:pt x="10" y="90"/>
                </a:lnTo>
                <a:lnTo>
                  <a:pt x="4" y="85"/>
                </a:lnTo>
                <a:lnTo>
                  <a:pt x="0" y="79"/>
                </a:lnTo>
                <a:lnTo>
                  <a:pt x="2" y="70"/>
                </a:lnTo>
                <a:lnTo>
                  <a:pt x="15" y="51"/>
                </a:lnTo>
                <a:lnTo>
                  <a:pt x="17" y="45"/>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355" name="Freeform 761"/>
          <p:cNvSpPr>
            <a:spLocks/>
          </p:cNvSpPr>
          <p:nvPr/>
        </p:nvSpPr>
        <p:spPr bwMode="auto">
          <a:xfrm>
            <a:off x="6230937" y="4021259"/>
            <a:ext cx="712788" cy="547688"/>
          </a:xfrm>
          <a:custGeom>
            <a:avLst/>
            <a:gdLst>
              <a:gd name="T0" fmla="*/ 47 w 449"/>
              <a:gd name="T1" fmla="*/ 32 h 345"/>
              <a:gd name="T2" fmla="*/ 81 w 449"/>
              <a:gd name="T3" fmla="*/ 13 h 345"/>
              <a:gd name="T4" fmla="*/ 198 w 449"/>
              <a:gd name="T5" fmla="*/ 0 h 345"/>
              <a:gd name="T6" fmla="*/ 223 w 449"/>
              <a:gd name="T7" fmla="*/ 15 h 345"/>
              <a:gd name="T8" fmla="*/ 230 w 449"/>
              <a:gd name="T9" fmla="*/ 32 h 345"/>
              <a:gd name="T10" fmla="*/ 449 w 449"/>
              <a:gd name="T11" fmla="*/ 100 h 345"/>
              <a:gd name="T12" fmla="*/ 426 w 449"/>
              <a:gd name="T13" fmla="*/ 126 h 345"/>
              <a:gd name="T14" fmla="*/ 406 w 449"/>
              <a:gd name="T15" fmla="*/ 185 h 345"/>
              <a:gd name="T16" fmla="*/ 402 w 449"/>
              <a:gd name="T17" fmla="*/ 160 h 345"/>
              <a:gd name="T18" fmla="*/ 396 w 449"/>
              <a:gd name="T19" fmla="*/ 179 h 345"/>
              <a:gd name="T20" fmla="*/ 400 w 449"/>
              <a:gd name="T21" fmla="*/ 196 h 345"/>
              <a:gd name="T22" fmla="*/ 394 w 449"/>
              <a:gd name="T23" fmla="*/ 205 h 345"/>
              <a:gd name="T24" fmla="*/ 377 w 449"/>
              <a:gd name="T25" fmla="*/ 211 h 345"/>
              <a:gd name="T26" fmla="*/ 370 w 449"/>
              <a:gd name="T27" fmla="*/ 230 h 345"/>
              <a:gd name="T28" fmla="*/ 353 w 449"/>
              <a:gd name="T29" fmla="*/ 245 h 345"/>
              <a:gd name="T30" fmla="*/ 347 w 449"/>
              <a:gd name="T31" fmla="*/ 249 h 345"/>
              <a:gd name="T32" fmla="*/ 343 w 449"/>
              <a:gd name="T33" fmla="*/ 262 h 345"/>
              <a:gd name="T34" fmla="*/ 330 w 449"/>
              <a:gd name="T35" fmla="*/ 275 h 345"/>
              <a:gd name="T36" fmla="*/ 319 w 449"/>
              <a:gd name="T37" fmla="*/ 281 h 345"/>
              <a:gd name="T38" fmla="*/ 298 w 449"/>
              <a:gd name="T39" fmla="*/ 283 h 345"/>
              <a:gd name="T40" fmla="*/ 296 w 449"/>
              <a:gd name="T41" fmla="*/ 292 h 345"/>
              <a:gd name="T42" fmla="*/ 302 w 449"/>
              <a:gd name="T43" fmla="*/ 303 h 345"/>
              <a:gd name="T44" fmla="*/ 298 w 449"/>
              <a:gd name="T45" fmla="*/ 313 h 345"/>
              <a:gd name="T46" fmla="*/ 285 w 449"/>
              <a:gd name="T47" fmla="*/ 311 h 345"/>
              <a:gd name="T48" fmla="*/ 268 w 449"/>
              <a:gd name="T49" fmla="*/ 292 h 345"/>
              <a:gd name="T50" fmla="*/ 281 w 449"/>
              <a:gd name="T51" fmla="*/ 318 h 345"/>
              <a:gd name="T52" fmla="*/ 279 w 449"/>
              <a:gd name="T53" fmla="*/ 330 h 345"/>
              <a:gd name="T54" fmla="*/ 272 w 449"/>
              <a:gd name="T55" fmla="*/ 345 h 345"/>
              <a:gd name="T56" fmla="*/ 251 w 449"/>
              <a:gd name="T57" fmla="*/ 339 h 345"/>
              <a:gd name="T58" fmla="*/ 245 w 449"/>
              <a:gd name="T59" fmla="*/ 320 h 345"/>
              <a:gd name="T60" fmla="*/ 230 w 449"/>
              <a:gd name="T61" fmla="*/ 296 h 345"/>
              <a:gd name="T62" fmla="*/ 211 w 449"/>
              <a:gd name="T63" fmla="*/ 279 h 345"/>
              <a:gd name="T64" fmla="*/ 200 w 449"/>
              <a:gd name="T65" fmla="*/ 254 h 345"/>
              <a:gd name="T66" fmla="*/ 176 w 449"/>
              <a:gd name="T67" fmla="*/ 237 h 345"/>
              <a:gd name="T68" fmla="*/ 162 w 449"/>
              <a:gd name="T69" fmla="*/ 224 h 345"/>
              <a:gd name="T70" fmla="*/ 151 w 449"/>
              <a:gd name="T71" fmla="*/ 207 h 345"/>
              <a:gd name="T72" fmla="*/ 134 w 449"/>
              <a:gd name="T73" fmla="*/ 190 h 345"/>
              <a:gd name="T74" fmla="*/ 117 w 449"/>
              <a:gd name="T75" fmla="*/ 177 h 345"/>
              <a:gd name="T76" fmla="*/ 81 w 449"/>
              <a:gd name="T77" fmla="*/ 151 h 345"/>
              <a:gd name="T78" fmla="*/ 53 w 449"/>
              <a:gd name="T79" fmla="*/ 113 h 345"/>
              <a:gd name="T80" fmla="*/ 32 w 449"/>
              <a:gd name="T81" fmla="*/ 102 h 345"/>
              <a:gd name="T82" fmla="*/ 4 w 449"/>
              <a:gd name="T83" fmla="*/ 85 h 345"/>
              <a:gd name="T84" fmla="*/ 15 w 449"/>
              <a:gd name="T85" fmla="*/ 51 h 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49" h="345">
                <a:moveTo>
                  <a:pt x="17" y="45"/>
                </a:moveTo>
                <a:lnTo>
                  <a:pt x="40" y="32"/>
                </a:lnTo>
                <a:lnTo>
                  <a:pt x="47" y="32"/>
                </a:lnTo>
                <a:lnTo>
                  <a:pt x="59" y="21"/>
                </a:lnTo>
                <a:lnTo>
                  <a:pt x="72" y="17"/>
                </a:lnTo>
                <a:lnTo>
                  <a:pt x="81" y="13"/>
                </a:lnTo>
                <a:lnTo>
                  <a:pt x="87" y="11"/>
                </a:lnTo>
                <a:lnTo>
                  <a:pt x="168" y="2"/>
                </a:lnTo>
                <a:lnTo>
                  <a:pt x="198" y="0"/>
                </a:lnTo>
                <a:lnTo>
                  <a:pt x="206" y="7"/>
                </a:lnTo>
                <a:lnTo>
                  <a:pt x="213" y="4"/>
                </a:lnTo>
                <a:lnTo>
                  <a:pt x="223" y="15"/>
                </a:lnTo>
                <a:lnTo>
                  <a:pt x="228" y="24"/>
                </a:lnTo>
                <a:lnTo>
                  <a:pt x="228" y="30"/>
                </a:lnTo>
                <a:lnTo>
                  <a:pt x="230" y="32"/>
                </a:lnTo>
                <a:lnTo>
                  <a:pt x="330" y="15"/>
                </a:lnTo>
                <a:lnTo>
                  <a:pt x="445" y="98"/>
                </a:lnTo>
                <a:lnTo>
                  <a:pt x="449" y="100"/>
                </a:lnTo>
                <a:lnTo>
                  <a:pt x="449" y="105"/>
                </a:lnTo>
                <a:lnTo>
                  <a:pt x="443" y="109"/>
                </a:lnTo>
                <a:lnTo>
                  <a:pt x="426" y="126"/>
                </a:lnTo>
                <a:lnTo>
                  <a:pt x="411" y="154"/>
                </a:lnTo>
                <a:lnTo>
                  <a:pt x="406" y="162"/>
                </a:lnTo>
                <a:lnTo>
                  <a:pt x="406" y="185"/>
                </a:lnTo>
                <a:lnTo>
                  <a:pt x="404" y="179"/>
                </a:lnTo>
                <a:lnTo>
                  <a:pt x="398" y="175"/>
                </a:lnTo>
                <a:lnTo>
                  <a:pt x="402" y="160"/>
                </a:lnTo>
                <a:lnTo>
                  <a:pt x="400" y="162"/>
                </a:lnTo>
                <a:lnTo>
                  <a:pt x="396" y="171"/>
                </a:lnTo>
                <a:lnTo>
                  <a:pt x="396" y="179"/>
                </a:lnTo>
                <a:lnTo>
                  <a:pt x="402" y="183"/>
                </a:lnTo>
                <a:lnTo>
                  <a:pt x="406" y="190"/>
                </a:lnTo>
                <a:lnTo>
                  <a:pt x="400" y="196"/>
                </a:lnTo>
                <a:lnTo>
                  <a:pt x="394" y="194"/>
                </a:lnTo>
                <a:lnTo>
                  <a:pt x="400" y="198"/>
                </a:lnTo>
                <a:lnTo>
                  <a:pt x="394" y="205"/>
                </a:lnTo>
                <a:lnTo>
                  <a:pt x="392" y="211"/>
                </a:lnTo>
                <a:lnTo>
                  <a:pt x="385" y="213"/>
                </a:lnTo>
                <a:lnTo>
                  <a:pt x="377" y="211"/>
                </a:lnTo>
                <a:lnTo>
                  <a:pt x="372" y="220"/>
                </a:lnTo>
                <a:lnTo>
                  <a:pt x="375" y="226"/>
                </a:lnTo>
                <a:lnTo>
                  <a:pt x="370" y="230"/>
                </a:lnTo>
                <a:lnTo>
                  <a:pt x="366" y="237"/>
                </a:lnTo>
                <a:lnTo>
                  <a:pt x="360" y="243"/>
                </a:lnTo>
                <a:lnTo>
                  <a:pt x="353" y="245"/>
                </a:lnTo>
                <a:lnTo>
                  <a:pt x="351" y="239"/>
                </a:lnTo>
                <a:lnTo>
                  <a:pt x="345" y="239"/>
                </a:lnTo>
                <a:lnTo>
                  <a:pt x="347" y="249"/>
                </a:lnTo>
                <a:lnTo>
                  <a:pt x="353" y="252"/>
                </a:lnTo>
                <a:lnTo>
                  <a:pt x="351" y="260"/>
                </a:lnTo>
                <a:lnTo>
                  <a:pt x="343" y="262"/>
                </a:lnTo>
                <a:lnTo>
                  <a:pt x="345" y="266"/>
                </a:lnTo>
                <a:lnTo>
                  <a:pt x="336" y="269"/>
                </a:lnTo>
                <a:lnTo>
                  <a:pt x="330" y="275"/>
                </a:lnTo>
                <a:lnTo>
                  <a:pt x="321" y="271"/>
                </a:lnTo>
                <a:lnTo>
                  <a:pt x="328" y="275"/>
                </a:lnTo>
                <a:lnTo>
                  <a:pt x="319" y="281"/>
                </a:lnTo>
                <a:lnTo>
                  <a:pt x="313" y="281"/>
                </a:lnTo>
                <a:lnTo>
                  <a:pt x="306" y="286"/>
                </a:lnTo>
                <a:lnTo>
                  <a:pt x="298" y="283"/>
                </a:lnTo>
                <a:lnTo>
                  <a:pt x="283" y="290"/>
                </a:lnTo>
                <a:lnTo>
                  <a:pt x="289" y="290"/>
                </a:lnTo>
                <a:lnTo>
                  <a:pt x="296" y="292"/>
                </a:lnTo>
                <a:lnTo>
                  <a:pt x="304" y="292"/>
                </a:lnTo>
                <a:lnTo>
                  <a:pt x="306" y="296"/>
                </a:lnTo>
                <a:lnTo>
                  <a:pt x="302" y="303"/>
                </a:lnTo>
                <a:lnTo>
                  <a:pt x="309" y="296"/>
                </a:lnTo>
                <a:lnTo>
                  <a:pt x="304" y="307"/>
                </a:lnTo>
                <a:lnTo>
                  <a:pt x="298" y="313"/>
                </a:lnTo>
                <a:lnTo>
                  <a:pt x="289" y="309"/>
                </a:lnTo>
                <a:lnTo>
                  <a:pt x="285" y="296"/>
                </a:lnTo>
                <a:lnTo>
                  <a:pt x="285" y="311"/>
                </a:lnTo>
                <a:lnTo>
                  <a:pt x="279" y="305"/>
                </a:lnTo>
                <a:lnTo>
                  <a:pt x="274" y="298"/>
                </a:lnTo>
                <a:lnTo>
                  <a:pt x="268" y="292"/>
                </a:lnTo>
                <a:lnTo>
                  <a:pt x="277" y="305"/>
                </a:lnTo>
                <a:lnTo>
                  <a:pt x="279" y="313"/>
                </a:lnTo>
                <a:lnTo>
                  <a:pt x="281" y="318"/>
                </a:lnTo>
                <a:lnTo>
                  <a:pt x="287" y="324"/>
                </a:lnTo>
                <a:lnTo>
                  <a:pt x="283" y="330"/>
                </a:lnTo>
                <a:lnTo>
                  <a:pt x="279" y="330"/>
                </a:lnTo>
                <a:lnTo>
                  <a:pt x="279" y="324"/>
                </a:lnTo>
                <a:lnTo>
                  <a:pt x="277" y="330"/>
                </a:lnTo>
                <a:lnTo>
                  <a:pt x="272" y="345"/>
                </a:lnTo>
                <a:lnTo>
                  <a:pt x="268" y="343"/>
                </a:lnTo>
                <a:lnTo>
                  <a:pt x="266" y="341"/>
                </a:lnTo>
                <a:lnTo>
                  <a:pt x="251" y="339"/>
                </a:lnTo>
                <a:lnTo>
                  <a:pt x="247" y="332"/>
                </a:lnTo>
                <a:lnTo>
                  <a:pt x="245" y="326"/>
                </a:lnTo>
                <a:lnTo>
                  <a:pt x="245" y="320"/>
                </a:lnTo>
                <a:lnTo>
                  <a:pt x="240" y="311"/>
                </a:lnTo>
                <a:lnTo>
                  <a:pt x="236" y="303"/>
                </a:lnTo>
                <a:lnTo>
                  <a:pt x="230" y="296"/>
                </a:lnTo>
                <a:lnTo>
                  <a:pt x="221" y="292"/>
                </a:lnTo>
                <a:lnTo>
                  <a:pt x="213" y="288"/>
                </a:lnTo>
                <a:lnTo>
                  <a:pt x="211" y="279"/>
                </a:lnTo>
                <a:lnTo>
                  <a:pt x="211" y="273"/>
                </a:lnTo>
                <a:lnTo>
                  <a:pt x="208" y="264"/>
                </a:lnTo>
                <a:lnTo>
                  <a:pt x="200" y="254"/>
                </a:lnTo>
                <a:lnTo>
                  <a:pt x="198" y="247"/>
                </a:lnTo>
                <a:lnTo>
                  <a:pt x="183" y="239"/>
                </a:lnTo>
                <a:lnTo>
                  <a:pt x="176" y="237"/>
                </a:lnTo>
                <a:lnTo>
                  <a:pt x="170" y="228"/>
                </a:lnTo>
                <a:lnTo>
                  <a:pt x="170" y="228"/>
                </a:lnTo>
                <a:lnTo>
                  <a:pt x="162" y="224"/>
                </a:lnTo>
                <a:lnTo>
                  <a:pt x="162" y="217"/>
                </a:lnTo>
                <a:lnTo>
                  <a:pt x="153" y="213"/>
                </a:lnTo>
                <a:lnTo>
                  <a:pt x="151" y="207"/>
                </a:lnTo>
                <a:lnTo>
                  <a:pt x="151" y="203"/>
                </a:lnTo>
                <a:lnTo>
                  <a:pt x="145" y="198"/>
                </a:lnTo>
                <a:lnTo>
                  <a:pt x="134" y="190"/>
                </a:lnTo>
                <a:lnTo>
                  <a:pt x="128" y="188"/>
                </a:lnTo>
                <a:lnTo>
                  <a:pt x="121" y="183"/>
                </a:lnTo>
                <a:lnTo>
                  <a:pt x="117" y="177"/>
                </a:lnTo>
                <a:lnTo>
                  <a:pt x="110" y="168"/>
                </a:lnTo>
                <a:lnTo>
                  <a:pt x="96" y="162"/>
                </a:lnTo>
                <a:lnTo>
                  <a:pt x="81" y="151"/>
                </a:lnTo>
                <a:lnTo>
                  <a:pt x="64" y="128"/>
                </a:lnTo>
                <a:lnTo>
                  <a:pt x="59" y="122"/>
                </a:lnTo>
                <a:lnTo>
                  <a:pt x="53" y="113"/>
                </a:lnTo>
                <a:lnTo>
                  <a:pt x="49" y="107"/>
                </a:lnTo>
                <a:lnTo>
                  <a:pt x="42" y="100"/>
                </a:lnTo>
                <a:lnTo>
                  <a:pt x="32" y="102"/>
                </a:lnTo>
                <a:lnTo>
                  <a:pt x="17" y="90"/>
                </a:lnTo>
                <a:lnTo>
                  <a:pt x="10" y="90"/>
                </a:lnTo>
                <a:lnTo>
                  <a:pt x="4" y="85"/>
                </a:lnTo>
                <a:lnTo>
                  <a:pt x="0" y="79"/>
                </a:lnTo>
                <a:lnTo>
                  <a:pt x="2" y="70"/>
                </a:lnTo>
                <a:lnTo>
                  <a:pt x="15" y="51"/>
                </a:lnTo>
                <a:lnTo>
                  <a:pt x="17" y="4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6" name="Freeform 762"/>
          <p:cNvSpPr>
            <a:spLocks/>
          </p:cNvSpPr>
          <p:nvPr/>
        </p:nvSpPr>
        <p:spPr bwMode="auto">
          <a:xfrm>
            <a:off x="6413500" y="2659184"/>
            <a:ext cx="820738" cy="536575"/>
          </a:xfrm>
          <a:custGeom>
            <a:avLst/>
            <a:gdLst>
              <a:gd name="T0" fmla="*/ 10 w 517"/>
              <a:gd name="T1" fmla="*/ 81 h 338"/>
              <a:gd name="T2" fmla="*/ 32 w 517"/>
              <a:gd name="T3" fmla="*/ 62 h 338"/>
              <a:gd name="T4" fmla="*/ 55 w 517"/>
              <a:gd name="T5" fmla="*/ 45 h 338"/>
              <a:gd name="T6" fmla="*/ 61 w 517"/>
              <a:gd name="T7" fmla="*/ 72 h 338"/>
              <a:gd name="T8" fmla="*/ 230 w 517"/>
              <a:gd name="T9" fmla="*/ 40 h 338"/>
              <a:gd name="T10" fmla="*/ 421 w 517"/>
              <a:gd name="T11" fmla="*/ 0 h 338"/>
              <a:gd name="T12" fmla="*/ 430 w 517"/>
              <a:gd name="T13" fmla="*/ 4 h 338"/>
              <a:gd name="T14" fmla="*/ 438 w 517"/>
              <a:gd name="T15" fmla="*/ 10 h 338"/>
              <a:gd name="T16" fmla="*/ 453 w 517"/>
              <a:gd name="T17" fmla="*/ 32 h 338"/>
              <a:gd name="T18" fmla="*/ 462 w 517"/>
              <a:gd name="T19" fmla="*/ 47 h 338"/>
              <a:gd name="T20" fmla="*/ 481 w 517"/>
              <a:gd name="T21" fmla="*/ 51 h 338"/>
              <a:gd name="T22" fmla="*/ 489 w 517"/>
              <a:gd name="T23" fmla="*/ 57 h 338"/>
              <a:gd name="T24" fmla="*/ 479 w 517"/>
              <a:gd name="T25" fmla="*/ 74 h 338"/>
              <a:gd name="T26" fmla="*/ 470 w 517"/>
              <a:gd name="T27" fmla="*/ 100 h 338"/>
              <a:gd name="T28" fmla="*/ 466 w 517"/>
              <a:gd name="T29" fmla="*/ 113 h 338"/>
              <a:gd name="T30" fmla="*/ 472 w 517"/>
              <a:gd name="T31" fmla="*/ 121 h 338"/>
              <a:gd name="T32" fmla="*/ 466 w 517"/>
              <a:gd name="T33" fmla="*/ 134 h 338"/>
              <a:gd name="T34" fmla="*/ 475 w 517"/>
              <a:gd name="T35" fmla="*/ 153 h 338"/>
              <a:gd name="T36" fmla="*/ 483 w 517"/>
              <a:gd name="T37" fmla="*/ 164 h 338"/>
              <a:gd name="T38" fmla="*/ 494 w 517"/>
              <a:gd name="T39" fmla="*/ 170 h 338"/>
              <a:gd name="T40" fmla="*/ 517 w 517"/>
              <a:gd name="T41" fmla="*/ 189 h 338"/>
              <a:gd name="T42" fmla="*/ 504 w 517"/>
              <a:gd name="T43" fmla="*/ 204 h 338"/>
              <a:gd name="T44" fmla="*/ 498 w 517"/>
              <a:gd name="T45" fmla="*/ 213 h 338"/>
              <a:gd name="T46" fmla="*/ 496 w 517"/>
              <a:gd name="T47" fmla="*/ 213 h 338"/>
              <a:gd name="T48" fmla="*/ 492 w 517"/>
              <a:gd name="T49" fmla="*/ 228 h 338"/>
              <a:gd name="T50" fmla="*/ 477 w 517"/>
              <a:gd name="T51" fmla="*/ 234 h 338"/>
              <a:gd name="T52" fmla="*/ 468 w 517"/>
              <a:gd name="T53" fmla="*/ 241 h 338"/>
              <a:gd name="T54" fmla="*/ 455 w 517"/>
              <a:gd name="T55" fmla="*/ 241 h 338"/>
              <a:gd name="T56" fmla="*/ 445 w 517"/>
              <a:gd name="T57" fmla="*/ 253 h 338"/>
              <a:gd name="T58" fmla="*/ 277 w 517"/>
              <a:gd name="T59" fmla="*/ 294 h 338"/>
              <a:gd name="T60" fmla="*/ 44 w 517"/>
              <a:gd name="T61" fmla="*/ 338 h 338"/>
              <a:gd name="T62" fmla="*/ 0 w 517"/>
              <a:gd name="T63" fmla="*/ 8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7" h="338">
                <a:moveTo>
                  <a:pt x="0" y="85"/>
                </a:moveTo>
                <a:lnTo>
                  <a:pt x="10" y="81"/>
                </a:lnTo>
                <a:lnTo>
                  <a:pt x="23" y="68"/>
                </a:lnTo>
                <a:lnTo>
                  <a:pt x="32" y="62"/>
                </a:lnTo>
                <a:lnTo>
                  <a:pt x="32" y="64"/>
                </a:lnTo>
                <a:lnTo>
                  <a:pt x="55" y="45"/>
                </a:lnTo>
                <a:lnTo>
                  <a:pt x="57" y="47"/>
                </a:lnTo>
                <a:lnTo>
                  <a:pt x="61" y="72"/>
                </a:lnTo>
                <a:lnTo>
                  <a:pt x="128" y="62"/>
                </a:lnTo>
                <a:lnTo>
                  <a:pt x="230" y="40"/>
                </a:lnTo>
                <a:lnTo>
                  <a:pt x="345" y="17"/>
                </a:lnTo>
                <a:lnTo>
                  <a:pt x="421" y="0"/>
                </a:lnTo>
                <a:lnTo>
                  <a:pt x="421" y="0"/>
                </a:lnTo>
                <a:lnTo>
                  <a:pt x="430" y="4"/>
                </a:lnTo>
                <a:lnTo>
                  <a:pt x="432" y="10"/>
                </a:lnTo>
                <a:lnTo>
                  <a:pt x="438" y="10"/>
                </a:lnTo>
                <a:lnTo>
                  <a:pt x="447" y="17"/>
                </a:lnTo>
                <a:lnTo>
                  <a:pt x="453" y="32"/>
                </a:lnTo>
                <a:lnTo>
                  <a:pt x="455" y="38"/>
                </a:lnTo>
                <a:lnTo>
                  <a:pt x="462" y="47"/>
                </a:lnTo>
                <a:lnTo>
                  <a:pt x="475" y="51"/>
                </a:lnTo>
                <a:lnTo>
                  <a:pt x="481" y="51"/>
                </a:lnTo>
                <a:lnTo>
                  <a:pt x="489" y="55"/>
                </a:lnTo>
                <a:lnTo>
                  <a:pt x="489" y="57"/>
                </a:lnTo>
                <a:lnTo>
                  <a:pt x="483" y="68"/>
                </a:lnTo>
                <a:lnTo>
                  <a:pt x="479" y="74"/>
                </a:lnTo>
                <a:lnTo>
                  <a:pt x="479" y="81"/>
                </a:lnTo>
                <a:lnTo>
                  <a:pt x="470" y="100"/>
                </a:lnTo>
                <a:lnTo>
                  <a:pt x="464" y="106"/>
                </a:lnTo>
                <a:lnTo>
                  <a:pt x="466" y="113"/>
                </a:lnTo>
                <a:lnTo>
                  <a:pt x="470" y="113"/>
                </a:lnTo>
                <a:lnTo>
                  <a:pt x="472" y="121"/>
                </a:lnTo>
                <a:lnTo>
                  <a:pt x="470" y="128"/>
                </a:lnTo>
                <a:lnTo>
                  <a:pt x="466" y="134"/>
                </a:lnTo>
                <a:lnTo>
                  <a:pt x="468" y="147"/>
                </a:lnTo>
                <a:lnTo>
                  <a:pt x="475" y="153"/>
                </a:lnTo>
                <a:lnTo>
                  <a:pt x="481" y="157"/>
                </a:lnTo>
                <a:lnTo>
                  <a:pt x="483" y="164"/>
                </a:lnTo>
                <a:lnTo>
                  <a:pt x="489" y="168"/>
                </a:lnTo>
                <a:lnTo>
                  <a:pt x="494" y="170"/>
                </a:lnTo>
                <a:lnTo>
                  <a:pt x="500" y="177"/>
                </a:lnTo>
                <a:lnTo>
                  <a:pt x="517" y="189"/>
                </a:lnTo>
                <a:lnTo>
                  <a:pt x="513" y="196"/>
                </a:lnTo>
                <a:lnTo>
                  <a:pt x="504" y="204"/>
                </a:lnTo>
                <a:lnTo>
                  <a:pt x="500" y="211"/>
                </a:lnTo>
                <a:lnTo>
                  <a:pt x="498" y="213"/>
                </a:lnTo>
                <a:lnTo>
                  <a:pt x="498" y="213"/>
                </a:lnTo>
                <a:lnTo>
                  <a:pt x="496" y="213"/>
                </a:lnTo>
                <a:lnTo>
                  <a:pt x="492" y="219"/>
                </a:lnTo>
                <a:lnTo>
                  <a:pt x="492" y="228"/>
                </a:lnTo>
                <a:lnTo>
                  <a:pt x="485" y="232"/>
                </a:lnTo>
                <a:lnTo>
                  <a:pt x="477" y="234"/>
                </a:lnTo>
                <a:lnTo>
                  <a:pt x="470" y="243"/>
                </a:lnTo>
                <a:lnTo>
                  <a:pt x="468" y="241"/>
                </a:lnTo>
                <a:lnTo>
                  <a:pt x="462" y="241"/>
                </a:lnTo>
                <a:lnTo>
                  <a:pt x="455" y="241"/>
                </a:lnTo>
                <a:lnTo>
                  <a:pt x="449" y="245"/>
                </a:lnTo>
                <a:lnTo>
                  <a:pt x="445" y="253"/>
                </a:lnTo>
                <a:lnTo>
                  <a:pt x="443" y="260"/>
                </a:lnTo>
                <a:lnTo>
                  <a:pt x="277" y="294"/>
                </a:lnTo>
                <a:lnTo>
                  <a:pt x="132" y="321"/>
                </a:lnTo>
                <a:lnTo>
                  <a:pt x="44" y="338"/>
                </a:lnTo>
                <a:lnTo>
                  <a:pt x="25" y="236"/>
                </a:lnTo>
                <a:lnTo>
                  <a:pt x="0" y="89"/>
                </a:lnTo>
                <a:lnTo>
                  <a:pt x="0" y="8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7" name="Freeform 763"/>
          <p:cNvSpPr>
            <a:spLocks/>
          </p:cNvSpPr>
          <p:nvPr/>
        </p:nvSpPr>
        <p:spPr bwMode="auto">
          <a:xfrm>
            <a:off x="6413500" y="2659184"/>
            <a:ext cx="820738" cy="536575"/>
          </a:xfrm>
          <a:custGeom>
            <a:avLst/>
            <a:gdLst>
              <a:gd name="T0" fmla="*/ 10 w 517"/>
              <a:gd name="T1" fmla="*/ 81 h 338"/>
              <a:gd name="T2" fmla="*/ 32 w 517"/>
              <a:gd name="T3" fmla="*/ 62 h 338"/>
              <a:gd name="T4" fmla="*/ 55 w 517"/>
              <a:gd name="T5" fmla="*/ 45 h 338"/>
              <a:gd name="T6" fmla="*/ 61 w 517"/>
              <a:gd name="T7" fmla="*/ 72 h 338"/>
              <a:gd name="T8" fmla="*/ 230 w 517"/>
              <a:gd name="T9" fmla="*/ 40 h 338"/>
              <a:gd name="T10" fmla="*/ 421 w 517"/>
              <a:gd name="T11" fmla="*/ 0 h 338"/>
              <a:gd name="T12" fmla="*/ 430 w 517"/>
              <a:gd name="T13" fmla="*/ 4 h 338"/>
              <a:gd name="T14" fmla="*/ 438 w 517"/>
              <a:gd name="T15" fmla="*/ 10 h 338"/>
              <a:gd name="T16" fmla="*/ 453 w 517"/>
              <a:gd name="T17" fmla="*/ 32 h 338"/>
              <a:gd name="T18" fmla="*/ 462 w 517"/>
              <a:gd name="T19" fmla="*/ 47 h 338"/>
              <a:gd name="T20" fmla="*/ 481 w 517"/>
              <a:gd name="T21" fmla="*/ 51 h 338"/>
              <a:gd name="T22" fmla="*/ 489 w 517"/>
              <a:gd name="T23" fmla="*/ 57 h 338"/>
              <a:gd name="T24" fmla="*/ 479 w 517"/>
              <a:gd name="T25" fmla="*/ 74 h 338"/>
              <a:gd name="T26" fmla="*/ 470 w 517"/>
              <a:gd name="T27" fmla="*/ 100 h 338"/>
              <a:gd name="T28" fmla="*/ 466 w 517"/>
              <a:gd name="T29" fmla="*/ 113 h 338"/>
              <a:gd name="T30" fmla="*/ 472 w 517"/>
              <a:gd name="T31" fmla="*/ 121 h 338"/>
              <a:gd name="T32" fmla="*/ 466 w 517"/>
              <a:gd name="T33" fmla="*/ 134 h 338"/>
              <a:gd name="T34" fmla="*/ 475 w 517"/>
              <a:gd name="T35" fmla="*/ 153 h 338"/>
              <a:gd name="T36" fmla="*/ 483 w 517"/>
              <a:gd name="T37" fmla="*/ 164 h 338"/>
              <a:gd name="T38" fmla="*/ 494 w 517"/>
              <a:gd name="T39" fmla="*/ 170 h 338"/>
              <a:gd name="T40" fmla="*/ 517 w 517"/>
              <a:gd name="T41" fmla="*/ 189 h 338"/>
              <a:gd name="T42" fmla="*/ 504 w 517"/>
              <a:gd name="T43" fmla="*/ 204 h 338"/>
              <a:gd name="T44" fmla="*/ 498 w 517"/>
              <a:gd name="T45" fmla="*/ 213 h 338"/>
              <a:gd name="T46" fmla="*/ 496 w 517"/>
              <a:gd name="T47" fmla="*/ 213 h 338"/>
              <a:gd name="T48" fmla="*/ 492 w 517"/>
              <a:gd name="T49" fmla="*/ 228 h 338"/>
              <a:gd name="T50" fmla="*/ 477 w 517"/>
              <a:gd name="T51" fmla="*/ 234 h 338"/>
              <a:gd name="T52" fmla="*/ 468 w 517"/>
              <a:gd name="T53" fmla="*/ 241 h 338"/>
              <a:gd name="T54" fmla="*/ 455 w 517"/>
              <a:gd name="T55" fmla="*/ 241 h 338"/>
              <a:gd name="T56" fmla="*/ 445 w 517"/>
              <a:gd name="T57" fmla="*/ 253 h 338"/>
              <a:gd name="T58" fmla="*/ 277 w 517"/>
              <a:gd name="T59" fmla="*/ 294 h 338"/>
              <a:gd name="T60" fmla="*/ 44 w 517"/>
              <a:gd name="T61" fmla="*/ 338 h 338"/>
              <a:gd name="T62" fmla="*/ 0 w 517"/>
              <a:gd name="T63" fmla="*/ 89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17" h="338">
                <a:moveTo>
                  <a:pt x="0" y="85"/>
                </a:moveTo>
                <a:lnTo>
                  <a:pt x="10" y="81"/>
                </a:lnTo>
                <a:lnTo>
                  <a:pt x="23" y="68"/>
                </a:lnTo>
                <a:lnTo>
                  <a:pt x="32" y="62"/>
                </a:lnTo>
                <a:lnTo>
                  <a:pt x="32" y="64"/>
                </a:lnTo>
                <a:lnTo>
                  <a:pt x="55" y="45"/>
                </a:lnTo>
                <a:lnTo>
                  <a:pt x="57" y="47"/>
                </a:lnTo>
                <a:lnTo>
                  <a:pt x="61" y="72"/>
                </a:lnTo>
                <a:lnTo>
                  <a:pt x="128" y="62"/>
                </a:lnTo>
                <a:lnTo>
                  <a:pt x="230" y="40"/>
                </a:lnTo>
                <a:lnTo>
                  <a:pt x="345" y="17"/>
                </a:lnTo>
                <a:lnTo>
                  <a:pt x="421" y="0"/>
                </a:lnTo>
                <a:lnTo>
                  <a:pt x="421" y="0"/>
                </a:lnTo>
                <a:lnTo>
                  <a:pt x="430" y="4"/>
                </a:lnTo>
                <a:lnTo>
                  <a:pt x="432" y="10"/>
                </a:lnTo>
                <a:lnTo>
                  <a:pt x="438" y="10"/>
                </a:lnTo>
                <a:lnTo>
                  <a:pt x="447" y="17"/>
                </a:lnTo>
                <a:lnTo>
                  <a:pt x="453" y="32"/>
                </a:lnTo>
                <a:lnTo>
                  <a:pt x="455" y="38"/>
                </a:lnTo>
                <a:lnTo>
                  <a:pt x="462" y="47"/>
                </a:lnTo>
                <a:lnTo>
                  <a:pt x="475" y="51"/>
                </a:lnTo>
                <a:lnTo>
                  <a:pt x="481" y="51"/>
                </a:lnTo>
                <a:lnTo>
                  <a:pt x="489" y="55"/>
                </a:lnTo>
                <a:lnTo>
                  <a:pt x="489" y="57"/>
                </a:lnTo>
                <a:lnTo>
                  <a:pt x="483" y="68"/>
                </a:lnTo>
                <a:lnTo>
                  <a:pt x="479" y="74"/>
                </a:lnTo>
                <a:lnTo>
                  <a:pt x="479" y="81"/>
                </a:lnTo>
                <a:lnTo>
                  <a:pt x="470" y="100"/>
                </a:lnTo>
                <a:lnTo>
                  <a:pt x="464" y="106"/>
                </a:lnTo>
                <a:lnTo>
                  <a:pt x="466" y="113"/>
                </a:lnTo>
                <a:lnTo>
                  <a:pt x="470" y="113"/>
                </a:lnTo>
                <a:lnTo>
                  <a:pt x="472" y="121"/>
                </a:lnTo>
                <a:lnTo>
                  <a:pt x="470" y="128"/>
                </a:lnTo>
                <a:lnTo>
                  <a:pt x="466" y="134"/>
                </a:lnTo>
                <a:lnTo>
                  <a:pt x="468" y="147"/>
                </a:lnTo>
                <a:lnTo>
                  <a:pt x="475" y="153"/>
                </a:lnTo>
                <a:lnTo>
                  <a:pt x="481" y="157"/>
                </a:lnTo>
                <a:lnTo>
                  <a:pt x="483" y="164"/>
                </a:lnTo>
                <a:lnTo>
                  <a:pt x="489" y="168"/>
                </a:lnTo>
                <a:lnTo>
                  <a:pt x="494" y="170"/>
                </a:lnTo>
                <a:lnTo>
                  <a:pt x="500" y="177"/>
                </a:lnTo>
                <a:lnTo>
                  <a:pt x="517" y="189"/>
                </a:lnTo>
                <a:lnTo>
                  <a:pt x="513" y="196"/>
                </a:lnTo>
                <a:lnTo>
                  <a:pt x="504" y="204"/>
                </a:lnTo>
                <a:lnTo>
                  <a:pt x="500" y="211"/>
                </a:lnTo>
                <a:lnTo>
                  <a:pt x="498" y="213"/>
                </a:lnTo>
                <a:lnTo>
                  <a:pt x="498" y="213"/>
                </a:lnTo>
                <a:lnTo>
                  <a:pt x="496" y="213"/>
                </a:lnTo>
                <a:lnTo>
                  <a:pt x="492" y="219"/>
                </a:lnTo>
                <a:lnTo>
                  <a:pt x="492" y="228"/>
                </a:lnTo>
                <a:lnTo>
                  <a:pt x="485" y="232"/>
                </a:lnTo>
                <a:lnTo>
                  <a:pt x="477" y="234"/>
                </a:lnTo>
                <a:lnTo>
                  <a:pt x="470" y="243"/>
                </a:lnTo>
                <a:lnTo>
                  <a:pt x="468" y="241"/>
                </a:lnTo>
                <a:lnTo>
                  <a:pt x="462" y="241"/>
                </a:lnTo>
                <a:lnTo>
                  <a:pt x="455" y="241"/>
                </a:lnTo>
                <a:lnTo>
                  <a:pt x="449" y="245"/>
                </a:lnTo>
                <a:lnTo>
                  <a:pt x="445" y="253"/>
                </a:lnTo>
                <a:lnTo>
                  <a:pt x="443" y="260"/>
                </a:lnTo>
                <a:lnTo>
                  <a:pt x="277" y="294"/>
                </a:lnTo>
                <a:lnTo>
                  <a:pt x="132" y="321"/>
                </a:lnTo>
                <a:lnTo>
                  <a:pt x="44" y="338"/>
                </a:lnTo>
                <a:lnTo>
                  <a:pt x="25" y="236"/>
                </a:lnTo>
                <a:lnTo>
                  <a:pt x="0" y="89"/>
                </a:lnTo>
                <a:lnTo>
                  <a:pt x="0" y="8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58" name="Freeform 764"/>
          <p:cNvSpPr>
            <a:spLocks/>
          </p:cNvSpPr>
          <p:nvPr/>
        </p:nvSpPr>
        <p:spPr bwMode="auto">
          <a:xfrm>
            <a:off x="6565900" y="2563934"/>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59" name="Freeform 765"/>
          <p:cNvSpPr>
            <a:spLocks/>
          </p:cNvSpPr>
          <p:nvPr/>
        </p:nvSpPr>
        <p:spPr bwMode="auto">
          <a:xfrm>
            <a:off x="6565900" y="2563934"/>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0" name="Freeform 766"/>
          <p:cNvSpPr>
            <a:spLocks/>
          </p:cNvSpPr>
          <p:nvPr/>
        </p:nvSpPr>
        <p:spPr bwMode="auto">
          <a:xfrm>
            <a:off x="6575425" y="2581396"/>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1" name="Freeform 767"/>
          <p:cNvSpPr>
            <a:spLocks/>
          </p:cNvSpPr>
          <p:nvPr/>
        </p:nvSpPr>
        <p:spPr bwMode="auto">
          <a:xfrm>
            <a:off x="6575425" y="2581396"/>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2" name="Freeform 768"/>
          <p:cNvSpPr>
            <a:spLocks/>
          </p:cNvSpPr>
          <p:nvPr/>
        </p:nvSpPr>
        <p:spPr bwMode="auto">
          <a:xfrm>
            <a:off x="6964362" y="3237034"/>
            <a:ext cx="30163" cy="30163"/>
          </a:xfrm>
          <a:custGeom>
            <a:avLst/>
            <a:gdLst>
              <a:gd name="T0" fmla="*/ 0 w 19"/>
              <a:gd name="T1" fmla="*/ 6 h 19"/>
              <a:gd name="T2" fmla="*/ 10 w 19"/>
              <a:gd name="T3" fmla="*/ 0 h 19"/>
              <a:gd name="T4" fmla="*/ 19 w 19"/>
              <a:gd name="T5" fmla="*/ 6 h 19"/>
              <a:gd name="T6" fmla="*/ 17 w 19"/>
              <a:gd name="T7" fmla="*/ 13 h 19"/>
              <a:gd name="T8" fmla="*/ 13 w 19"/>
              <a:gd name="T9" fmla="*/ 19 h 19"/>
              <a:gd name="T10" fmla="*/ 13 w 19"/>
              <a:gd name="T11" fmla="*/ 13 h 19"/>
              <a:gd name="T12" fmla="*/ 6 w 19"/>
              <a:gd name="T13" fmla="*/ 9 h 19"/>
              <a:gd name="T14" fmla="*/ 0 w 19"/>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0" y="6"/>
                </a:moveTo>
                <a:lnTo>
                  <a:pt x="10" y="0"/>
                </a:lnTo>
                <a:lnTo>
                  <a:pt x="19" y="6"/>
                </a:lnTo>
                <a:lnTo>
                  <a:pt x="17" y="13"/>
                </a:lnTo>
                <a:lnTo>
                  <a:pt x="13" y="19"/>
                </a:lnTo>
                <a:lnTo>
                  <a:pt x="13" y="13"/>
                </a:lnTo>
                <a:lnTo>
                  <a:pt x="6" y="9"/>
                </a:lnTo>
                <a:lnTo>
                  <a:pt x="0" y="6"/>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63" name="Freeform 769"/>
          <p:cNvSpPr>
            <a:spLocks/>
          </p:cNvSpPr>
          <p:nvPr/>
        </p:nvSpPr>
        <p:spPr bwMode="auto">
          <a:xfrm>
            <a:off x="6964362" y="3237034"/>
            <a:ext cx="30163" cy="30163"/>
          </a:xfrm>
          <a:custGeom>
            <a:avLst/>
            <a:gdLst>
              <a:gd name="T0" fmla="*/ 0 w 19"/>
              <a:gd name="T1" fmla="*/ 6 h 19"/>
              <a:gd name="T2" fmla="*/ 10 w 19"/>
              <a:gd name="T3" fmla="*/ 0 h 19"/>
              <a:gd name="T4" fmla="*/ 19 w 19"/>
              <a:gd name="T5" fmla="*/ 6 h 19"/>
              <a:gd name="T6" fmla="*/ 17 w 19"/>
              <a:gd name="T7" fmla="*/ 13 h 19"/>
              <a:gd name="T8" fmla="*/ 13 w 19"/>
              <a:gd name="T9" fmla="*/ 19 h 19"/>
              <a:gd name="T10" fmla="*/ 13 w 19"/>
              <a:gd name="T11" fmla="*/ 13 h 19"/>
              <a:gd name="T12" fmla="*/ 6 w 19"/>
              <a:gd name="T13" fmla="*/ 9 h 19"/>
              <a:gd name="T14" fmla="*/ 0 w 19"/>
              <a:gd name="T15" fmla="*/ 6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9" h="19">
                <a:moveTo>
                  <a:pt x="0" y="6"/>
                </a:moveTo>
                <a:lnTo>
                  <a:pt x="10" y="0"/>
                </a:lnTo>
                <a:lnTo>
                  <a:pt x="19" y="6"/>
                </a:lnTo>
                <a:lnTo>
                  <a:pt x="17" y="13"/>
                </a:lnTo>
                <a:lnTo>
                  <a:pt x="13" y="19"/>
                </a:lnTo>
                <a:lnTo>
                  <a:pt x="13" y="13"/>
                </a:lnTo>
                <a:lnTo>
                  <a:pt x="6" y="9"/>
                </a:lnTo>
                <a:lnTo>
                  <a:pt x="0" y="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4" name="Freeform 770"/>
          <p:cNvSpPr>
            <a:spLocks/>
          </p:cNvSpPr>
          <p:nvPr/>
        </p:nvSpPr>
        <p:spPr bwMode="auto">
          <a:xfrm>
            <a:off x="7116762" y="3041771"/>
            <a:ext cx="147638" cy="249238"/>
          </a:xfrm>
          <a:custGeom>
            <a:avLst/>
            <a:gdLst>
              <a:gd name="T0" fmla="*/ 0 w 93"/>
              <a:gd name="T1" fmla="*/ 19 h 157"/>
              <a:gd name="T2" fmla="*/ 2 w 93"/>
              <a:gd name="T3" fmla="*/ 12 h 157"/>
              <a:gd name="T4" fmla="*/ 6 w 93"/>
              <a:gd name="T5" fmla="*/ 4 h 157"/>
              <a:gd name="T6" fmla="*/ 12 w 93"/>
              <a:gd name="T7" fmla="*/ 0 h 157"/>
              <a:gd name="T8" fmla="*/ 19 w 93"/>
              <a:gd name="T9" fmla="*/ 0 h 157"/>
              <a:gd name="T10" fmla="*/ 25 w 93"/>
              <a:gd name="T11" fmla="*/ 0 h 157"/>
              <a:gd name="T12" fmla="*/ 27 w 93"/>
              <a:gd name="T13" fmla="*/ 2 h 157"/>
              <a:gd name="T14" fmla="*/ 23 w 93"/>
              <a:gd name="T15" fmla="*/ 6 h 157"/>
              <a:gd name="T16" fmla="*/ 23 w 93"/>
              <a:gd name="T17" fmla="*/ 12 h 157"/>
              <a:gd name="T18" fmla="*/ 21 w 93"/>
              <a:gd name="T19" fmla="*/ 19 h 157"/>
              <a:gd name="T20" fmla="*/ 17 w 93"/>
              <a:gd name="T21" fmla="*/ 25 h 157"/>
              <a:gd name="T22" fmla="*/ 23 w 93"/>
              <a:gd name="T23" fmla="*/ 31 h 157"/>
              <a:gd name="T24" fmla="*/ 21 w 93"/>
              <a:gd name="T25" fmla="*/ 38 h 157"/>
              <a:gd name="T26" fmla="*/ 25 w 93"/>
              <a:gd name="T27" fmla="*/ 46 h 157"/>
              <a:gd name="T28" fmla="*/ 32 w 93"/>
              <a:gd name="T29" fmla="*/ 53 h 157"/>
              <a:gd name="T30" fmla="*/ 40 w 93"/>
              <a:gd name="T31" fmla="*/ 57 h 157"/>
              <a:gd name="T32" fmla="*/ 44 w 93"/>
              <a:gd name="T33" fmla="*/ 66 h 157"/>
              <a:gd name="T34" fmla="*/ 44 w 93"/>
              <a:gd name="T35" fmla="*/ 72 h 157"/>
              <a:gd name="T36" fmla="*/ 49 w 93"/>
              <a:gd name="T37" fmla="*/ 83 h 157"/>
              <a:gd name="T38" fmla="*/ 57 w 93"/>
              <a:gd name="T39" fmla="*/ 89 h 157"/>
              <a:gd name="T40" fmla="*/ 59 w 93"/>
              <a:gd name="T41" fmla="*/ 97 h 157"/>
              <a:gd name="T42" fmla="*/ 74 w 93"/>
              <a:gd name="T43" fmla="*/ 108 h 157"/>
              <a:gd name="T44" fmla="*/ 81 w 93"/>
              <a:gd name="T45" fmla="*/ 108 h 157"/>
              <a:gd name="T46" fmla="*/ 83 w 93"/>
              <a:gd name="T47" fmla="*/ 110 h 157"/>
              <a:gd name="T48" fmla="*/ 81 w 93"/>
              <a:gd name="T49" fmla="*/ 119 h 157"/>
              <a:gd name="T50" fmla="*/ 81 w 93"/>
              <a:gd name="T51" fmla="*/ 125 h 157"/>
              <a:gd name="T52" fmla="*/ 85 w 93"/>
              <a:gd name="T53" fmla="*/ 125 h 157"/>
              <a:gd name="T54" fmla="*/ 78 w 93"/>
              <a:gd name="T55" fmla="*/ 134 h 157"/>
              <a:gd name="T56" fmla="*/ 81 w 93"/>
              <a:gd name="T57" fmla="*/ 132 h 157"/>
              <a:gd name="T58" fmla="*/ 89 w 93"/>
              <a:gd name="T59" fmla="*/ 129 h 157"/>
              <a:gd name="T60" fmla="*/ 93 w 93"/>
              <a:gd name="T61" fmla="*/ 144 h 157"/>
              <a:gd name="T62" fmla="*/ 91 w 93"/>
              <a:gd name="T63" fmla="*/ 144 h 157"/>
              <a:gd name="T64" fmla="*/ 89 w 93"/>
              <a:gd name="T65" fmla="*/ 144 h 157"/>
              <a:gd name="T66" fmla="*/ 38 w 93"/>
              <a:gd name="T67" fmla="*/ 157 h 157"/>
              <a:gd name="T68" fmla="*/ 34 w 93"/>
              <a:gd name="T69" fmla="*/ 149 h 157"/>
              <a:gd name="T70" fmla="*/ 23 w 93"/>
              <a:gd name="T71" fmla="*/ 100 h 157"/>
              <a:gd name="T72" fmla="*/ 0 w 93"/>
              <a:gd name="T73" fmla="*/ 1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57">
                <a:moveTo>
                  <a:pt x="0" y="19"/>
                </a:moveTo>
                <a:lnTo>
                  <a:pt x="2" y="12"/>
                </a:lnTo>
                <a:lnTo>
                  <a:pt x="6" y="4"/>
                </a:lnTo>
                <a:lnTo>
                  <a:pt x="12" y="0"/>
                </a:lnTo>
                <a:lnTo>
                  <a:pt x="19" y="0"/>
                </a:lnTo>
                <a:lnTo>
                  <a:pt x="25" y="0"/>
                </a:lnTo>
                <a:lnTo>
                  <a:pt x="27" y="2"/>
                </a:lnTo>
                <a:lnTo>
                  <a:pt x="23" y="6"/>
                </a:lnTo>
                <a:lnTo>
                  <a:pt x="23" y="12"/>
                </a:lnTo>
                <a:lnTo>
                  <a:pt x="21" y="19"/>
                </a:lnTo>
                <a:lnTo>
                  <a:pt x="17" y="25"/>
                </a:lnTo>
                <a:lnTo>
                  <a:pt x="23" y="31"/>
                </a:lnTo>
                <a:lnTo>
                  <a:pt x="21" y="38"/>
                </a:lnTo>
                <a:lnTo>
                  <a:pt x="25" y="46"/>
                </a:lnTo>
                <a:lnTo>
                  <a:pt x="32" y="53"/>
                </a:lnTo>
                <a:lnTo>
                  <a:pt x="40" y="57"/>
                </a:lnTo>
                <a:lnTo>
                  <a:pt x="44" y="66"/>
                </a:lnTo>
                <a:lnTo>
                  <a:pt x="44" y="72"/>
                </a:lnTo>
                <a:lnTo>
                  <a:pt x="49" y="83"/>
                </a:lnTo>
                <a:lnTo>
                  <a:pt x="57" y="89"/>
                </a:lnTo>
                <a:lnTo>
                  <a:pt x="59" y="97"/>
                </a:lnTo>
                <a:lnTo>
                  <a:pt x="74" y="108"/>
                </a:lnTo>
                <a:lnTo>
                  <a:pt x="81" y="108"/>
                </a:lnTo>
                <a:lnTo>
                  <a:pt x="83" y="110"/>
                </a:lnTo>
                <a:lnTo>
                  <a:pt x="81" y="119"/>
                </a:lnTo>
                <a:lnTo>
                  <a:pt x="81" y="125"/>
                </a:lnTo>
                <a:lnTo>
                  <a:pt x="85" y="125"/>
                </a:lnTo>
                <a:lnTo>
                  <a:pt x="78" y="134"/>
                </a:lnTo>
                <a:lnTo>
                  <a:pt x="81" y="132"/>
                </a:lnTo>
                <a:lnTo>
                  <a:pt x="89" y="129"/>
                </a:lnTo>
                <a:lnTo>
                  <a:pt x="93" y="144"/>
                </a:lnTo>
                <a:lnTo>
                  <a:pt x="91" y="144"/>
                </a:lnTo>
                <a:lnTo>
                  <a:pt x="89" y="144"/>
                </a:lnTo>
                <a:lnTo>
                  <a:pt x="38" y="157"/>
                </a:lnTo>
                <a:lnTo>
                  <a:pt x="34" y="149"/>
                </a:lnTo>
                <a:lnTo>
                  <a:pt x="23" y="100"/>
                </a:lnTo>
                <a:lnTo>
                  <a:pt x="0" y="19"/>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65" name="Freeform 771"/>
          <p:cNvSpPr>
            <a:spLocks/>
          </p:cNvSpPr>
          <p:nvPr/>
        </p:nvSpPr>
        <p:spPr bwMode="auto">
          <a:xfrm>
            <a:off x="7116762" y="3041771"/>
            <a:ext cx="147638" cy="249238"/>
          </a:xfrm>
          <a:custGeom>
            <a:avLst/>
            <a:gdLst>
              <a:gd name="T0" fmla="*/ 0 w 93"/>
              <a:gd name="T1" fmla="*/ 19 h 157"/>
              <a:gd name="T2" fmla="*/ 2 w 93"/>
              <a:gd name="T3" fmla="*/ 12 h 157"/>
              <a:gd name="T4" fmla="*/ 6 w 93"/>
              <a:gd name="T5" fmla="*/ 4 h 157"/>
              <a:gd name="T6" fmla="*/ 12 w 93"/>
              <a:gd name="T7" fmla="*/ 0 h 157"/>
              <a:gd name="T8" fmla="*/ 19 w 93"/>
              <a:gd name="T9" fmla="*/ 0 h 157"/>
              <a:gd name="T10" fmla="*/ 25 w 93"/>
              <a:gd name="T11" fmla="*/ 0 h 157"/>
              <a:gd name="T12" fmla="*/ 27 w 93"/>
              <a:gd name="T13" fmla="*/ 2 h 157"/>
              <a:gd name="T14" fmla="*/ 23 w 93"/>
              <a:gd name="T15" fmla="*/ 6 h 157"/>
              <a:gd name="T16" fmla="*/ 23 w 93"/>
              <a:gd name="T17" fmla="*/ 12 h 157"/>
              <a:gd name="T18" fmla="*/ 21 w 93"/>
              <a:gd name="T19" fmla="*/ 19 h 157"/>
              <a:gd name="T20" fmla="*/ 17 w 93"/>
              <a:gd name="T21" fmla="*/ 25 h 157"/>
              <a:gd name="T22" fmla="*/ 23 w 93"/>
              <a:gd name="T23" fmla="*/ 31 h 157"/>
              <a:gd name="T24" fmla="*/ 21 w 93"/>
              <a:gd name="T25" fmla="*/ 38 h 157"/>
              <a:gd name="T26" fmla="*/ 25 w 93"/>
              <a:gd name="T27" fmla="*/ 46 h 157"/>
              <a:gd name="T28" fmla="*/ 32 w 93"/>
              <a:gd name="T29" fmla="*/ 53 h 157"/>
              <a:gd name="T30" fmla="*/ 40 w 93"/>
              <a:gd name="T31" fmla="*/ 57 h 157"/>
              <a:gd name="T32" fmla="*/ 44 w 93"/>
              <a:gd name="T33" fmla="*/ 66 h 157"/>
              <a:gd name="T34" fmla="*/ 44 w 93"/>
              <a:gd name="T35" fmla="*/ 72 h 157"/>
              <a:gd name="T36" fmla="*/ 49 w 93"/>
              <a:gd name="T37" fmla="*/ 83 h 157"/>
              <a:gd name="T38" fmla="*/ 57 w 93"/>
              <a:gd name="T39" fmla="*/ 89 h 157"/>
              <a:gd name="T40" fmla="*/ 59 w 93"/>
              <a:gd name="T41" fmla="*/ 97 h 157"/>
              <a:gd name="T42" fmla="*/ 74 w 93"/>
              <a:gd name="T43" fmla="*/ 108 h 157"/>
              <a:gd name="T44" fmla="*/ 81 w 93"/>
              <a:gd name="T45" fmla="*/ 108 h 157"/>
              <a:gd name="T46" fmla="*/ 83 w 93"/>
              <a:gd name="T47" fmla="*/ 110 h 157"/>
              <a:gd name="T48" fmla="*/ 81 w 93"/>
              <a:gd name="T49" fmla="*/ 119 h 157"/>
              <a:gd name="T50" fmla="*/ 81 w 93"/>
              <a:gd name="T51" fmla="*/ 125 h 157"/>
              <a:gd name="T52" fmla="*/ 85 w 93"/>
              <a:gd name="T53" fmla="*/ 125 h 157"/>
              <a:gd name="T54" fmla="*/ 78 w 93"/>
              <a:gd name="T55" fmla="*/ 134 h 157"/>
              <a:gd name="T56" fmla="*/ 81 w 93"/>
              <a:gd name="T57" fmla="*/ 132 h 157"/>
              <a:gd name="T58" fmla="*/ 89 w 93"/>
              <a:gd name="T59" fmla="*/ 129 h 157"/>
              <a:gd name="T60" fmla="*/ 93 w 93"/>
              <a:gd name="T61" fmla="*/ 144 h 157"/>
              <a:gd name="T62" fmla="*/ 91 w 93"/>
              <a:gd name="T63" fmla="*/ 144 h 157"/>
              <a:gd name="T64" fmla="*/ 89 w 93"/>
              <a:gd name="T65" fmla="*/ 144 h 157"/>
              <a:gd name="T66" fmla="*/ 38 w 93"/>
              <a:gd name="T67" fmla="*/ 157 h 157"/>
              <a:gd name="T68" fmla="*/ 34 w 93"/>
              <a:gd name="T69" fmla="*/ 149 h 157"/>
              <a:gd name="T70" fmla="*/ 23 w 93"/>
              <a:gd name="T71" fmla="*/ 100 h 157"/>
              <a:gd name="T72" fmla="*/ 0 w 93"/>
              <a:gd name="T73" fmla="*/ 19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93" h="157">
                <a:moveTo>
                  <a:pt x="0" y="19"/>
                </a:moveTo>
                <a:lnTo>
                  <a:pt x="2" y="12"/>
                </a:lnTo>
                <a:lnTo>
                  <a:pt x="6" y="4"/>
                </a:lnTo>
                <a:lnTo>
                  <a:pt x="12" y="0"/>
                </a:lnTo>
                <a:lnTo>
                  <a:pt x="19" y="0"/>
                </a:lnTo>
                <a:lnTo>
                  <a:pt x="25" y="0"/>
                </a:lnTo>
                <a:lnTo>
                  <a:pt x="27" y="2"/>
                </a:lnTo>
                <a:lnTo>
                  <a:pt x="23" y="6"/>
                </a:lnTo>
                <a:lnTo>
                  <a:pt x="23" y="12"/>
                </a:lnTo>
                <a:lnTo>
                  <a:pt x="21" y="19"/>
                </a:lnTo>
                <a:lnTo>
                  <a:pt x="17" y="25"/>
                </a:lnTo>
                <a:lnTo>
                  <a:pt x="23" y="31"/>
                </a:lnTo>
                <a:lnTo>
                  <a:pt x="21" y="38"/>
                </a:lnTo>
                <a:lnTo>
                  <a:pt x="25" y="46"/>
                </a:lnTo>
                <a:lnTo>
                  <a:pt x="32" y="53"/>
                </a:lnTo>
                <a:lnTo>
                  <a:pt x="40" y="57"/>
                </a:lnTo>
                <a:lnTo>
                  <a:pt x="44" y="66"/>
                </a:lnTo>
                <a:lnTo>
                  <a:pt x="44" y="72"/>
                </a:lnTo>
                <a:lnTo>
                  <a:pt x="49" y="83"/>
                </a:lnTo>
                <a:lnTo>
                  <a:pt x="57" y="89"/>
                </a:lnTo>
                <a:lnTo>
                  <a:pt x="59" y="97"/>
                </a:lnTo>
                <a:lnTo>
                  <a:pt x="74" y="108"/>
                </a:lnTo>
                <a:lnTo>
                  <a:pt x="81" y="108"/>
                </a:lnTo>
                <a:lnTo>
                  <a:pt x="83" y="110"/>
                </a:lnTo>
                <a:lnTo>
                  <a:pt x="81" y="119"/>
                </a:lnTo>
                <a:lnTo>
                  <a:pt x="81" y="125"/>
                </a:lnTo>
                <a:lnTo>
                  <a:pt x="85" y="125"/>
                </a:lnTo>
                <a:lnTo>
                  <a:pt x="78" y="134"/>
                </a:lnTo>
                <a:lnTo>
                  <a:pt x="81" y="132"/>
                </a:lnTo>
                <a:lnTo>
                  <a:pt x="89" y="129"/>
                </a:lnTo>
                <a:lnTo>
                  <a:pt x="93" y="144"/>
                </a:lnTo>
                <a:lnTo>
                  <a:pt x="91" y="144"/>
                </a:lnTo>
                <a:lnTo>
                  <a:pt x="89" y="144"/>
                </a:lnTo>
                <a:lnTo>
                  <a:pt x="38" y="157"/>
                </a:lnTo>
                <a:lnTo>
                  <a:pt x="34" y="149"/>
                </a:lnTo>
                <a:lnTo>
                  <a:pt x="23" y="100"/>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6" name="Freeform 772"/>
          <p:cNvSpPr>
            <a:spLocks/>
          </p:cNvSpPr>
          <p:nvPr/>
        </p:nvSpPr>
        <p:spPr bwMode="auto">
          <a:xfrm>
            <a:off x="7150100" y="2749671"/>
            <a:ext cx="188913" cy="433388"/>
          </a:xfrm>
          <a:custGeom>
            <a:avLst/>
            <a:gdLst>
              <a:gd name="T0" fmla="*/ 2 w 119"/>
              <a:gd name="T1" fmla="*/ 203 h 273"/>
              <a:gd name="T2" fmla="*/ 8 w 119"/>
              <a:gd name="T3" fmla="*/ 186 h 273"/>
              <a:gd name="T4" fmla="*/ 19 w 119"/>
              <a:gd name="T5" fmla="*/ 177 h 273"/>
              <a:gd name="T6" fmla="*/ 30 w 119"/>
              <a:gd name="T7" fmla="*/ 171 h 273"/>
              <a:gd name="T8" fmla="*/ 32 w 119"/>
              <a:gd name="T9" fmla="*/ 156 h 273"/>
              <a:gd name="T10" fmla="*/ 34 w 119"/>
              <a:gd name="T11" fmla="*/ 156 h 273"/>
              <a:gd name="T12" fmla="*/ 40 w 119"/>
              <a:gd name="T13" fmla="*/ 147 h 273"/>
              <a:gd name="T14" fmla="*/ 53 w 119"/>
              <a:gd name="T15" fmla="*/ 132 h 273"/>
              <a:gd name="T16" fmla="*/ 30 w 119"/>
              <a:gd name="T17" fmla="*/ 113 h 273"/>
              <a:gd name="T18" fmla="*/ 19 w 119"/>
              <a:gd name="T19" fmla="*/ 107 h 273"/>
              <a:gd name="T20" fmla="*/ 11 w 119"/>
              <a:gd name="T21" fmla="*/ 96 h 273"/>
              <a:gd name="T22" fmla="*/ 2 w 119"/>
              <a:gd name="T23" fmla="*/ 77 h 273"/>
              <a:gd name="T24" fmla="*/ 8 w 119"/>
              <a:gd name="T25" fmla="*/ 64 h 273"/>
              <a:gd name="T26" fmla="*/ 2 w 119"/>
              <a:gd name="T27" fmla="*/ 56 h 273"/>
              <a:gd name="T28" fmla="*/ 6 w 119"/>
              <a:gd name="T29" fmla="*/ 43 h 273"/>
              <a:gd name="T30" fmla="*/ 15 w 119"/>
              <a:gd name="T31" fmla="*/ 17 h 273"/>
              <a:gd name="T32" fmla="*/ 25 w 119"/>
              <a:gd name="T33" fmla="*/ 0 h 273"/>
              <a:gd name="T34" fmla="*/ 102 w 119"/>
              <a:gd name="T35" fmla="*/ 32 h 273"/>
              <a:gd name="T36" fmla="*/ 98 w 119"/>
              <a:gd name="T37" fmla="*/ 51 h 273"/>
              <a:gd name="T38" fmla="*/ 92 w 119"/>
              <a:gd name="T39" fmla="*/ 62 h 273"/>
              <a:gd name="T40" fmla="*/ 85 w 119"/>
              <a:gd name="T41" fmla="*/ 71 h 273"/>
              <a:gd name="T42" fmla="*/ 92 w 119"/>
              <a:gd name="T43" fmla="*/ 92 h 273"/>
              <a:gd name="T44" fmla="*/ 113 w 119"/>
              <a:gd name="T45" fmla="*/ 92 h 273"/>
              <a:gd name="T46" fmla="*/ 115 w 119"/>
              <a:gd name="T47" fmla="*/ 124 h 273"/>
              <a:gd name="T48" fmla="*/ 119 w 119"/>
              <a:gd name="T49" fmla="*/ 152 h 273"/>
              <a:gd name="T50" fmla="*/ 115 w 119"/>
              <a:gd name="T51" fmla="*/ 145 h 273"/>
              <a:gd name="T52" fmla="*/ 113 w 119"/>
              <a:gd name="T53" fmla="*/ 132 h 273"/>
              <a:gd name="T54" fmla="*/ 109 w 119"/>
              <a:gd name="T55" fmla="*/ 141 h 273"/>
              <a:gd name="T56" fmla="*/ 113 w 119"/>
              <a:gd name="T57" fmla="*/ 158 h 273"/>
              <a:gd name="T58" fmla="*/ 115 w 119"/>
              <a:gd name="T59" fmla="*/ 173 h 273"/>
              <a:gd name="T60" fmla="*/ 106 w 119"/>
              <a:gd name="T61" fmla="*/ 186 h 273"/>
              <a:gd name="T62" fmla="*/ 98 w 119"/>
              <a:gd name="T63" fmla="*/ 198 h 273"/>
              <a:gd name="T64" fmla="*/ 96 w 119"/>
              <a:gd name="T65" fmla="*/ 211 h 273"/>
              <a:gd name="T66" fmla="*/ 94 w 119"/>
              <a:gd name="T67" fmla="*/ 218 h 273"/>
              <a:gd name="T68" fmla="*/ 87 w 119"/>
              <a:gd name="T69" fmla="*/ 228 h 273"/>
              <a:gd name="T70" fmla="*/ 87 w 119"/>
              <a:gd name="T71" fmla="*/ 237 h 273"/>
              <a:gd name="T72" fmla="*/ 79 w 119"/>
              <a:gd name="T73" fmla="*/ 260 h 273"/>
              <a:gd name="T74" fmla="*/ 74 w 119"/>
              <a:gd name="T75" fmla="*/ 271 h 273"/>
              <a:gd name="T76" fmla="*/ 66 w 119"/>
              <a:gd name="T77" fmla="*/ 264 h 273"/>
              <a:gd name="T78" fmla="*/ 66 w 119"/>
              <a:gd name="T79" fmla="*/ 245 h 273"/>
              <a:gd name="T80" fmla="*/ 45 w 119"/>
              <a:gd name="T81" fmla="*/ 250 h 273"/>
              <a:gd name="T82" fmla="*/ 25 w 119"/>
              <a:gd name="T83" fmla="*/ 235 h 273"/>
              <a:gd name="T84" fmla="*/ 4 w 119"/>
              <a:gd name="T85" fmla="*/ 222 h 273"/>
              <a:gd name="T86" fmla="*/ 4 w 119"/>
              <a:gd name="T87" fmla="*/ 218 h 273"/>
              <a:gd name="T88" fmla="*/ 0 w 119"/>
              <a:gd name="T89" fmla="*/ 20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273">
                <a:moveTo>
                  <a:pt x="0" y="209"/>
                </a:moveTo>
                <a:lnTo>
                  <a:pt x="2" y="203"/>
                </a:lnTo>
                <a:lnTo>
                  <a:pt x="4" y="194"/>
                </a:lnTo>
                <a:lnTo>
                  <a:pt x="8" y="186"/>
                </a:lnTo>
                <a:lnTo>
                  <a:pt x="15" y="179"/>
                </a:lnTo>
                <a:lnTo>
                  <a:pt x="19" y="177"/>
                </a:lnTo>
                <a:lnTo>
                  <a:pt x="21" y="177"/>
                </a:lnTo>
                <a:lnTo>
                  <a:pt x="30" y="171"/>
                </a:lnTo>
                <a:lnTo>
                  <a:pt x="30" y="164"/>
                </a:lnTo>
                <a:lnTo>
                  <a:pt x="32" y="156"/>
                </a:lnTo>
                <a:lnTo>
                  <a:pt x="34" y="156"/>
                </a:lnTo>
                <a:lnTo>
                  <a:pt x="34" y="156"/>
                </a:lnTo>
                <a:lnTo>
                  <a:pt x="36" y="154"/>
                </a:lnTo>
                <a:lnTo>
                  <a:pt x="40" y="147"/>
                </a:lnTo>
                <a:lnTo>
                  <a:pt x="49" y="139"/>
                </a:lnTo>
                <a:lnTo>
                  <a:pt x="53" y="132"/>
                </a:lnTo>
                <a:lnTo>
                  <a:pt x="36" y="120"/>
                </a:lnTo>
                <a:lnTo>
                  <a:pt x="30" y="113"/>
                </a:lnTo>
                <a:lnTo>
                  <a:pt x="25" y="111"/>
                </a:lnTo>
                <a:lnTo>
                  <a:pt x="19" y="107"/>
                </a:lnTo>
                <a:lnTo>
                  <a:pt x="17" y="100"/>
                </a:lnTo>
                <a:lnTo>
                  <a:pt x="11" y="96"/>
                </a:lnTo>
                <a:lnTo>
                  <a:pt x="4" y="90"/>
                </a:lnTo>
                <a:lnTo>
                  <a:pt x="2" y="77"/>
                </a:lnTo>
                <a:lnTo>
                  <a:pt x="6" y="71"/>
                </a:lnTo>
                <a:lnTo>
                  <a:pt x="8" y="64"/>
                </a:lnTo>
                <a:lnTo>
                  <a:pt x="6" y="56"/>
                </a:lnTo>
                <a:lnTo>
                  <a:pt x="2" y="56"/>
                </a:lnTo>
                <a:lnTo>
                  <a:pt x="0" y="49"/>
                </a:lnTo>
                <a:lnTo>
                  <a:pt x="6" y="43"/>
                </a:lnTo>
                <a:lnTo>
                  <a:pt x="15" y="24"/>
                </a:lnTo>
                <a:lnTo>
                  <a:pt x="15" y="17"/>
                </a:lnTo>
                <a:lnTo>
                  <a:pt x="19" y="11"/>
                </a:lnTo>
                <a:lnTo>
                  <a:pt x="25" y="0"/>
                </a:lnTo>
                <a:lnTo>
                  <a:pt x="100" y="26"/>
                </a:lnTo>
                <a:lnTo>
                  <a:pt x="102" y="32"/>
                </a:lnTo>
                <a:lnTo>
                  <a:pt x="100" y="41"/>
                </a:lnTo>
                <a:lnTo>
                  <a:pt x="98" y="51"/>
                </a:lnTo>
                <a:lnTo>
                  <a:pt x="98" y="56"/>
                </a:lnTo>
                <a:lnTo>
                  <a:pt x="92" y="62"/>
                </a:lnTo>
                <a:lnTo>
                  <a:pt x="89" y="62"/>
                </a:lnTo>
                <a:lnTo>
                  <a:pt x="85" y="71"/>
                </a:lnTo>
                <a:lnTo>
                  <a:pt x="85" y="90"/>
                </a:lnTo>
                <a:lnTo>
                  <a:pt x="92" y="92"/>
                </a:lnTo>
                <a:lnTo>
                  <a:pt x="98" y="90"/>
                </a:lnTo>
                <a:lnTo>
                  <a:pt x="113" y="92"/>
                </a:lnTo>
                <a:lnTo>
                  <a:pt x="115" y="100"/>
                </a:lnTo>
                <a:lnTo>
                  <a:pt x="115" y="124"/>
                </a:lnTo>
                <a:lnTo>
                  <a:pt x="117" y="130"/>
                </a:lnTo>
                <a:lnTo>
                  <a:pt x="119" y="152"/>
                </a:lnTo>
                <a:lnTo>
                  <a:pt x="117" y="160"/>
                </a:lnTo>
                <a:lnTo>
                  <a:pt x="115" y="145"/>
                </a:lnTo>
                <a:lnTo>
                  <a:pt x="117" y="139"/>
                </a:lnTo>
                <a:lnTo>
                  <a:pt x="113" y="132"/>
                </a:lnTo>
                <a:lnTo>
                  <a:pt x="113" y="139"/>
                </a:lnTo>
                <a:lnTo>
                  <a:pt x="109" y="141"/>
                </a:lnTo>
                <a:lnTo>
                  <a:pt x="113" y="147"/>
                </a:lnTo>
                <a:lnTo>
                  <a:pt x="113" y="158"/>
                </a:lnTo>
                <a:lnTo>
                  <a:pt x="111" y="164"/>
                </a:lnTo>
                <a:lnTo>
                  <a:pt x="115" y="173"/>
                </a:lnTo>
                <a:lnTo>
                  <a:pt x="113" y="179"/>
                </a:lnTo>
                <a:lnTo>
                  <a:pt x="106" y="186"/>
                </a:lnTo>
                <a:lnTo>
                  <a:pt x="106" y="194"/>
                </a:lnTo>
                <a:lnTo>
                  <a:pt x="98" y="198"/>
                </a:lnTo>
                <a:lnTo>
                  <a:pt x="102" y="205"/>
                </a:lnTo>
                <a:lnTo>
                  <a:pt x="96" y="211"/>
                </a:lnTo>
                <a:lnTo>
                  <a:pt x="100" y="218"/>
                </a:lnTo>
                <a:lnTo>
                  <a:pt x="94" y="218"/>
                </a:lnTo>
                <a:lnTo>
                  <a:pt x="87" y="226"/>
                </a:lnTo>
                <a:lnTo>
                  <a:pt x="87" y="228"/>
                </a:lnTo>
                <a:lnTo>
                  <a:pt x="89" y="230"/>
                </a:lnTo>
                <a:lnTo>
                  <a:pt x="87" y="237"/>
                </a:lnTo>
                <a:lnTo>
                  <a:pt x="85" y="252"/>
                </a:lnTo>
                <a:lnTo>
                  <a:pt x="79" y="260"/>
                </a:lnTo>
                <a:lnTo>
                  <a:pt x="79" y="267"/>
                </a:lnTo>
                <a:lnTo>
                  <a:pt x="74" y="271"/>
                </a:lnTo>
                <a:lnTo>
                  <a:pt x="66" y="273"/>
                </a:lnTo>
                <a:lnTo>
                  <a:pt x="66" y="264"/>
                </a:lnTo>
                <a:lnTo>
                  <a:pt x="68" y="254"/>
                </a:lnTo>
                <a:lnTo>
                  <a:pt x="66" y="245"/>
                </a:lnTo>
                <a:lnTo>
                  <a:pt x="51" y="245"/>
                </a:lnTo>
                <a:lnTo>
                  <a:pt x="45" y="250"/>
                </a:lnTo>
                <a:lnTo>
                  <a:pt x="32" y="239"/>
                </a:lnTo>
                <a:lnTo>
                  <a:pt x="25" y="235"/>
                </a:lnTo>
                <a:lnTo>
                  <a:pt x="17" y="233"/>
                </a:lnTo>
                <a:lnTo>
                  <a:pt x="4" y="222"/>
                </a:lnTo>
                <a:lnTo>
                  <a:pt x="4" y="218"/>
                </a:lnTo>
                <a:lnTo>
                  <a:pt x="4" y="218"/>
                </a:lnTo>
                <a:lnTo>
                  <a:pt x="0" y="211"/>
                </a:lnTo>
                <a:lnTo>
                  <a:pt x="0" y="209"/>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67" name="Freeform 773"/>
          <p:cNvSpPr>
            <a:spLocks/>
          </p:cNvSpPr>
          <p:nvPr/>
        </p:nvSpPr>
        <p:spPr bwMode="auto">
          <a:xfrm>
            <a:off x="7150100" y="2749671"/>
            <a:ext cx="188913" cy="433388"/>
          </a:xfrm>
          <a:custGeom>
            <a:avLst/>
            <a:gdLst>
              <a:gd name="T0" fmla="*/ 2 w 119"/>
              <a:gd name="T1" fmla="*/ 203 h 273"/>
              <a:gd name="T2" fmla="*/ 8 w 119"/>
              <a:gd name="T3" fmla="*/ 186 h 273"/>
              <a:gd name="T4" fmla="*/ 19 w 119"/>
              <a:gd name="T5" fmla="*/ 177 h 273"/>
              <a:gd name="T6" fmla="*/ 30 w 119"/>
              <a:gd name="T7" fmla="*/ 171 h 273"/>
              <a:gd name="T8" fmla="*/ 32 w 119"/>
              <a:gd name="T9" fmla="*/ 156 h 273"/>
              <a:gd name="T10" fmla="*/ 34 w 119"/>
              <a:gd name="T11" fmla="*/ 156 h 273"/>
              <a:gd name="T12" fmla="*/ 40 w 119"/>
              <a:gd name="T13" fmla="*/ 147 h 273"/>
              <a:gd name="T14" fmla="*/ 53 w 119"/>
              <a:gd name="T15" fmla="*/ 132 h 273"/>
              <a:gd name="T16" fmla="*/ 30 w 119"/>
              <a:gd name="T17" fmla="*/ 113 h 273"/>
              <a:gd name="T18" fmla="*/ 19 w 119"/>
              <a:gd name="T19" fmla="*/ 107 h 273"/>
              <a:gd name="T20" fmla="*/ 11 w 119"/>
              <a:gd name="T21" fmla="*/ 96 h 273"/>
              <a:gd name="T22" fmla="*/ 2 w 119"/>
              <a:gd name="T23" fmla="*/ 77 h 273"/>
              <a:gd name="T24" fmla="*/ 8 w 119"/>
              <a:gd name="T25" fmla="*/ 64 h 273"/>
              <a:gd name="T26" fmla="*/ 2 w 119"/>
              <a:gd name="T27" fmla="*/ 56 h 273"/>
              <a:gd name="T28" fmla="*/ 6 w 119"/>
              <a:gd name="T29" fmla="*/ 43 h 273"/>
              <a:gd name="T30" fmla="*/ 15 w 119"/>
              <a:gd name="T31" fmla="*/ 17 h 273"/>
              <a:gd name="T32" fmla="*/ 25 w 119"/>
              <a:gd name="T33" fmla="*/ 0 h 273"/>
              <a:gd name="T34" fmla="*/ 102 w 119"/>
              <a:gd name="T35" fmla="*/ 32 h 273"/>
              <a:gd name="T36" fmla="*/ 98 w 119"/>
              <a:gd name="T37" fmla="*/ 51 h 273"/>
              <a:gd name="T38" fmla="*/ 92 w 119"/>
              <a:gd name="T39" fmla="*/ 62 h 273"/>
              <a:gd name="T40" fmla="*/ 85 w 119"/>
              <a:gd name="T41" fmla="*/ 71 h 273"/>
              <a:gd name="T42" fmla="*/ 92 w 119"/>
              <a:gd name="T43" fmla="*/ 92 h 273"/>
              <a:gd name="T44" fmla="*/ 113 w 119"/>
              <a:gd name="T45" fmla="*/ 92 h 273"/>
              <a:gd name="T46" fmla="*/ 115 w 119"/>
              <a:gd name="T47" fmla="*/ 124 h 273"/>
              <a:gd name="T48" fmla="*/ 119 w 119"/>
              <a:gd name="T49" fmla="*/ 152 h 273"/>
              <a:gd name="T50" fmla="*/ 115 w 119"/>
              <a:gd name="T51" fmla="*/ 145 h 273"/>
              <a:gd name="T52" fmla="*/ 113 w 119"/>
              <a:gd name="T53" fmla="*/ 132 h 273"/>
              <a:gd name="T54" fmla="*/ 109 w 119"/>
              <a:gd name="T55" fmla="*/ 141 h 273"/>
              <a:gd name="T56" fmla="*/ 113 w 119"/>
              <a:gd name="T57" fmla="*/ 158 h 273"/>
              <a:gd name="T58" fmla="*/ 115 w 119"/>
              <a:gd name="T59" fmla="*/ 173 h 273"/>
              <a:gd name="T60" fmla="*/ 106 w 119"/>
              <a:gd name="T61" fmla="*/ 186 h 273"/>
              <a:gd name="T62" fmla="*/ 98 w 119"/>
              <a:gd name="T63" fmla="*/ 198 h 273"/>
              <a:gd name="T64" fmla="*/ 96 w 119"/>
              <a:gd name="T65" fmla="*/ 211 h 273"/>
              <a:gd name="T66" fmla="*/ 94 w 119"/>
              <a:gd name="T67" fmla="*/ 218 h 273"/>
              <a:gd name="T68" fmla="*/ 87 w 119"/>
              <a:gd name="T69" fmla="*/ 228 h 273"/>
              <a:gd name="T70" fmla="*/ 87 w 119"/>
              <a:gd name="T71" fmla="*/ 237 h 273"/>
              <a:gd name="T72" fmla="*/ 79 w 119"/>
              <a:gd name="T73" fmla="*/ 260 h 273"/>
              <a:gd name="T74" fmla="*/ 74 w 119"/>
              <a:gd name="T75" fmla="*/ 271 h 273"/>
              <a:gd name="T76" fmla="*/ 66 w 119"/>
              <a:gd name="T77" fmla="*/ 264 h 273"/>
              <a:gd name="T78" fmla="*/ 66 w 119"/>
              <a:gd name="T79" fmla="*/ 245 h 273"/>
              <a:gd name="T80" fmla="*/ 45 w 119"/>
              <a:gd name="T81" fmla="*/ 250 h 273"/>
              <a:gd name="T82" fmla="*/ 25 w 119"/>
              <a:gd name="T83" fmla="*/ 235 h 273"/>
              <a:gd name="T84" fmla="*/ 4 w 119"/>
              <a:gd name="T85" fmla="*/ 222 h 273"/>
              <a:gd name="T86" fmla="*/ 4 w 119"/>
              <a:gd name="T87" fmla="*/ 218 h 273"/>
              <a:gd name="T88" fmla="*/ 0 w 119"/>
              <a:gd name="T89" fmla="*/ 20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19" h="273">
                <a:moveTo>
                  <a:pt x="0" y="209"/>
                </a:moveTo>
                <a:lnTo>
                  <a:pt x="2" y="203"/>
                </a:lnTo>
                <a:lnTo>
                  <a:pt x="4" y="194"/>
                </a:lnTo>
                <a:lnTo>
                  <a:pt x="8" y="186"/>
                </a:lnTo>
                <a:lnTo>
                  <a:pt x="15" y="179"/>
                </a:lnTo>
                <a:lnTo>
                  <a:pt x="19" y="177"/>
                </a:lnTo>
                <a:lnTo>
                  <a:pt x="21" y="177"/>
                </a:lnTo>
                <a:lnTo>
                  <a:pt x="30" y="171"/>
                </a:lnTo>
                <a:lnTo>
                  <a:pt x="30" y="164"/>
                </a:lnTo>
                <a:lnTo>
                  <a:pt x="32" y="156"/>
                </a:lnTo>
                <a:lnTo>
                  <a:pt x="34" y="156"/>
                </a:lnTo>
                <a:lnTo>
                  <a:pt x="34" y="156"/>
                </a:lnTo>
                <a:lnTo>
                  <a:pt x="36" y="154"/>
                </a:lnTo>
                <a:lnTo>
                  <a:pt x="40" y="147"/>
                </a:lnTo>
                <a:lnTo>
                  <a:pt x="49" y="139"/>
                </a:lnTo>
                <a:lnTo>
                  <a:pt x="53" y="132"/>
                </a:lnTo>
                <a:lnTo>
                  <a:pt x="36" y="120"/>
                </a:lnTo>
                <a:lnTo>
                  <a:pt x="30" y="113"/>
                </a:lnTo>
                <a:lnTo>
                  <a:pt x="25" y="111"/>
                </a:lnTo>
                <a:lnTo>
                  <a:pt x="19" y="107"/>
                </a:lnTo>
                <a:lnTo>
                  <a:pt x="17" y="100"/>
                </a:lnTo>
                <a:lnTo>
                  <a:pt x="11" y="96"/>
                </a:lnTo>
                <a:lnTo>
                  <a:pt x="4" y="90"/>
                </a:lnTo>
                <a:lnTo>
                  <a:pt x="2" y="77"/>
                </a:lnTo>
                <a:lnTo>
                  <a:pt x="6" y="71"/>
                </a:lnTo>
                <a:lnTo>
                  <a:pt x="8" y="64"/>
                </a:lnTo>
                <a:lnTo>
                  <a:pt x="6" y="56"/>
                </a:lnTo>
                <a:lnTo>
                  <a:pt x="2" y="56"/>
                </a:lnTo>
                <a:lnTo>
                  <a:pt x="0" y="49"/>
                </a:lnTo>
                <a:lnTo>
                  <a:pt x="6" y="43"/>
                </a:lnTo>
                <a:lnTo>
                  <a:pt x="15" y="24"/>
                </a:lnTo>
                <a:lnTo>
                  <a:pt x="15" y="17"/>
                </a:lnTo>
                <a:lnTo>
                  <a:pt x="19" y="11"/>
                </a:lnTo>
                <a:lnTo>
                  <a:pt x="25" y="0"/>
                </a:lnTo>
                <a:lnTo>
                  <a:pt x="100" y="26"/>
                </a:lnTo>
                <a:lnTo>
                  <a:pt x="102" y="32"/>
                </a:lnTo>
                <a:lnTo>
                  <a:pt x="100" y="41"/>
                </a:lnTo>
                <a:lnTo>
                  <a:pt x="98" y="51"/>
                </a:lnTo>
                <a:lnTo>
                  <a:pt x="98" y="56"/>
                </a:lnTo>
                <a:lnTo>
                  <a:pt x="92" y="62"/>
                </a:lnTo>
                <a:lnTo>
                  <a:pt x="89" y="62"/>
                </a:lnTo>
                <a:lnTo>
                  <a:pt x="85" y="71"/>
                </a:lnTo>
                <a:lnTo>
                  <a:pt x="85" y="90"/>
                </a:lnTo>
                <a:lnTo>
                  <a:pt x="92" y="92"/>
                </a:lnTo>
                <a:lnTo>
                  <a:pt x="98" y="90"/>
                </a:lnTo>
                <a:lnTo>
                  <a:pt x="113" y="92"/>
                </a:lnTo>
                <a:lnTo>
                  <a:pt x="115" y="100"/>
                </a:lnTo>
                <a:lnTo>
                  <a:pt x="115" y="124"/>
                </a:lnTo>
                <a:lnTo>
                  <a:pt x="117" y="130"/>
                </a:lnTo>
                <a:lnTo>
                  <a:pt x="119" y="152"/>
                </a:lnTo>
                <a:lnTo>
                  <a:pt x="117" y="160"/>
                </a:lnTo>
                <a:lnTo>
                  <a:pt x="115" y="145"/>
                </a:lnTo>
                <a:lnTo>
                  <a:pt x="117" y="139"/>
                </a:lnTo>
                <a:lnTo>
                  <a:pt x="113" y="132"/>
                </a:lnTo>
                <a:lnTo>
                  <a:pt x="113" y="139"/>
                </a:lnTo>
                <a:lnTo>
                  <a:pt x="109" y="141"/>
                </a:lnTo>
                <a:lnTo>
                  <a:pt x="113" y="147"/>
                </a:lnTo>
                <a:lnTo>
                  <a:pt x="113" y="158"/>
                </a:lnTo>
                <a:lnTo>
                  <a:pt x="111" y="164"/>
                </a:lnTo>
                <a:lnTo>
                  <a:pt x="115" y="173"/>
                </a:lnTo>
                <a:lnTo>
                  <a:pt x="113" y="179"/>
                </a:lnTo>
                <a:lnTo>
                  <a:pt x="106" y="186"/>
                </a:lnTo>
                <a:lnTo>
                  <a:pt x="106" y="194"/>
                </a:lnTo>
                <a:lnTo>
                  <a:pt x="98" y="198"/>
                </a:lnTo>
                <a:lnTo>
                  <a:pt x="102" y="205"/>
                </a:lnTo>
                <a:lnTo>
                  <a:pt x="96" y="211"/>
                </a:lnTo>
                <a:lnTo>
                  <a:pt x="100" y="218"/>
                </a:lnTo>
                <a:lnTo>
                  <a:pt x="94" y="218"/>
                </a:lnTo>
                <a:lnTo>
                  <a:pt x="87" y="226"/>
                </a:lnTo>
                <a:lnTo>
                  <a:pt x="87" y="228"/>
                </a:lnTo>
                <a:lnTo>
                  <a:pt x="89" y="230"/>
                </a:lnTo>
                <a:lnTo>
                  <a:pt x="87" y="237"/>
                </a:lnTo>
                <a:lnTo>
                  <a:pt x="85" y="252"/>
                </a:lnTo>
                <a:lnTo>
                  <a:pt x="79" y="260"/>
                </a:lnTo>
                <a:lnTo>
                  <a:pt x="79" y="267"/>
                </a:lnTo>
                <a:lnTo>
                  <a:pt x="74" y="271"/>
                </a:lnTo>
                <a:lnTo>
                  <a:pt x="66" y="273"/>
                </a:lnTo>
                <a:lnTo>
                  <a:pt x="66" y="264"/>
                </a:lnTo>
                <a:lnTo>
                  <a:pt x="68" y="254"/>
                </a:lnTo>
                <a:lnTo>
                  <a:pt x="66" y="245"/>
                </a:lnTo>
                <a:lnTo>
                  <a:pt x="51" y="245"/>
                </a:lnTo>
                <a:lnTo>
                  <a:pt x="45" y="250"/>
                </a:lnTo>
                <a:lnTo>
                  <a:pt x="32" y="239"/>
                </a:lnTo>
                <a:lnTo>
                  <a:pt x="25" y="235"/>
                </a:lnTo>
                <a:lnTo>
                  <a:pt x="17" y="233"/>
                </a:lnTo>
                <a:lnTo>
                  <a:pt x="4" y="222"/>
                </a:lnTo>
                <a:lnTo>
                  <a:pt x="4" y="218"/>
                </a:lnTo>
                <a:lnTo>
                  <a:pt x="4" y="218"/>
                </a:lnTo>
                <a:lnTo>
                  <a:pt x="0" y="211"/>
                </a:lnTo>
                <a:lnTo>
                  <a:pt x="0" y="20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69" name="Freeform 775"/>
          <p:cNvSpPr>
            <a:spLocks/>
          </p:cNvSpPr>
          <p:nvPr/>
        </p:nvSpPr>
        <p:spPr bwMode="auto">
          <a:xfrm>
            <a:off x="6808788" y="3313445"/>
            <a:ext cx="1095375" cy="625475"/>
          </a:xfrm>
          <a:custGeom>
            <a:avLst/>
            <a:gdLst>
              <a:gd name="T0" fmla="*/ 30 w 690"/>
              <a:gd name="T1" fmla="*/ 377 h 394"/>
              <a:gd name="T2" fmla="*/ 62 w 690"/>
              <a:gd name="T3" fmla="*/ 354 h 394"/>
              <a:gd name="T4" fmla="*/ 77 w 690"/>
              <a:gd name="T5" fmla="*/ 326 h 394"/>
              <a:gd name="T6" fmla="*/ 134 w 690"/>
              <a:gd name="T7" fmla="*/ 275 h 394"/>
              <a:gd name="T8" fmla="*/ 173 w 690"/>
              <a:gd name="T9" fmla="*/ 299 h 394"/>
              <a:gd name="T10" fmla="*/ 209 w 690"/>
              <a:gd name="T11" fmla="*/ 286 h 394"/>
              <a:gd name="T12" fmla="*/ 234 w 690"/>
              <a:gd name="T13" fmla="*/ 264 h 394"/>
              <a:gd name="T14" fmla="*/ 281 w 690"/>
              <a:gd name="T15" fmla="*/ 247 h 394"/>
              <a:gd name="T16" fmla="*/ 279 w 690"/>
              <a:gd name="T17" fmla="*/ 224 h 394"/>
              <a:gd name="T18" fmla="*/ 300 w 690"/>
              <a:gd name="T19" fmla="*/ 173 h 394"/>
              <a:gd name="T20" fmla="*/ 313 w 690"/>
              <a:gd name="T21" fmla="*/ 141 h 394"/>
              <a:gd name="T22" fmla="*/ 328 w 690"/>
              <a:gd name="T23" fmla="*/ 122 h 394"/>
              <a:gd name="T24" fmla="*/ 354 w 690"/>
              <a:gd name="T25" fmla="*/ 118 h 394"/>
              <a:gd name="T26" fmla="*/ 364 w 690"/>
              <a:gd name="T27" fmla="*/ 79 h 394"/>
              <a:gd name="T28" fmla="*/ 392 w 690"/>
              <a:gd name="T29" fmla="*/ 62 h 394"/>
              <a:gd name="T30" fmla="*/ 407 w 690"/>
              <a:gd name="T31" fmla="*/ 20 h 394"/>
              <a:gd name="T32" fmla="*/ 456 w 690"/>
              <a:gd name="T33" fmla="*/ 22 h 394"/>
              <a:gd name="T34" fmla="*/ 483 w 690"/>
              <a:gd name="T35" fmla="*/ 7 h 394"/>
              <a:gd name="T36" fmla="*/ 503 w 690"/>
              <a:gd name="T37" fmla="*/ 24 h 394"/>
              <a:gd name="T38" fmla="*/ 528 w 690"/>
              <a:gd name="T39" fmla="*/ 37 h 394"/>
              <a:gd name="T40" fmla="*/ 528 w 690"/>
              <a:gd name="T41" fmla="*/ 64 h 394"/>
              <a:gd name="T42" fmla="*/ 520 w 690"/>
              <a:gd name="T43" fmla="*/ 69 h 394"/>
              <a:gd name="T44" fmla="*/ 520 w 690"/>
              <a:gd name="T45" fmla="*/ 103 h 394"/>
              <a:gd name="T46" fmla="*/ 547 w 690"/>
              <a:gd name="T47" fmla="*/ 96 h 394"/>
              <a:gd name="T48" fmla="*/ 571 w 690"/>
              <a:gd name="T49" fmla="*/ 113 h 394"/>
              <a:gd name="T50" fmla="*/ 594 w 690"/>
              <a:gd name="T51" fmla="*/ 122 h 394"/>
              <a:gd name="T52" fmla="*/ 609 w 690"/>
              <a:gd name="T53" fmla="*/ 128 h 394"/>
              <a:gd name="T54" fmla="*/ 622 w 690"/>
              <a:gd name="T55" fmla="*/ 147 h 394"/>
              <a:gd name="T56" fmla="*/ 609 w 690"/>
              <a:gd name="T57" fmla="*/ 160 h 394"/>
              <a:gd name="T58" fmla="*/ 577 w 690"/>
              <a:gd name="T59" fmla="*/ 141 h 394"/>
              <a:gd name="T60" fmla="*/ 547 w 690"/>
              <a:gd name="T61" fmla="*/ 120 h 394"/>
              <a:gd name="T62" fmla="*/ 567 w 690"/>
              <a:gd name="T63" fmla="*/ 137 h 394"/>
              <a:gd name="T64" fmla="*/ 598 w 690"/>
              <a:gd name="T65" fmla="*/ 160 h 394"/>
              <a:gd name="T66" fmla="*/ 622 w 690"/>
              <a:gd name="T67" fmla="*/ 175 h 394"/>
              <a:gd name="T68" fmla="*/ 637 w 690"/>
              <a:gd name="T69" fmla="*/ 192 h 394"/>
              <a:gd name="T70" fmla="*/ 618 w 690"/>
              <a:gd name="T71" fmla="*/ 194 h 394"/>
              <a:gd name="T72" fmla="*/ 592 w 690"/>
              <a:gd name="T73" fmla="*/ 190 h 394"/>
              <a:gd name="T74" fmla="*/ 620 w 690"/>
              <a:gd name="T75" fmla="*/ 213 h 394"/>
              <a:gd name="T76" fmla="*/ 641 w 690"/>
              <a:gd name="T77" fmla="*/ 226 h 394"/>
              <a:gd name="T78" fmla="*/ 624 w 690"/>
              <a:gd name="T79" fmla="*/ 233 h 394"/>
              <a:gd name="T80" fmla="*/ 596 w 690"/>
              <a:gd name="T81" fmla="*/ 222 h 394"/>
              <a:gd name="T82" fmla="*/ 579 w 690"/>
              <a:gd name="T83" fmla="*/ 220 h 394"/>
              <a:gd name="T84" fmla="*/ 547 w 690"/>
              <a:gd name="T85" fmla="*/ 218 h 394"/>
              <a:gd name="T86" fmla="*/ 596 w 690"/>
              <a:gd name="T87" fmla="*/ 224 h 394"/>
              <a:gd name="T88" fmla="*/ 611 w 690"/>
              <a:gd name="T89" fmla="*/ 235 h 394"/>
              <a:gd name="T90" fmla="*/ 633 w 690"/>
              <a:gd name="T91" fmla="*/ 247 h 394"/>
              <a:gd name="T92" fmla="*/ 643 w 690"/>
              <a:gd name="T93" fmla="*/ 239 h 394"/>
              <a:gd name="T94" fmla="*/ 690 w 690"/>
              <a:gd name="T95" fmla="*/ 275 h 394"/>
              <a:gd name="T96" fmla="*/ 677 w 690"/>
              <a:gd name="T97" fmla="*/ 271 h 394"/>
              <a:gd name="T98" fmla="*/ 673 w 690"/>
              <a:gd name="T99" fmla="*/ 279 h 394"/>
              <a:gd name="T100" fmla="*/ 222 w 690"/>
              <a:gd name="T101" fmla="*/ 365 h 394"/>
              <a:gd name="T102" fmla="*/ 139 w 690"/>
              <a:gd name="T103" fmla="*/ 375 h 394"/>
              <a:gd name="T104" fmla="*/ 0 w 690"/>
              <a:gd name="T10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0" h="394">
                <a:moveTo>
                  <a:pt x="0" y="394"/>
                </a:moveTo>
                <a:lnTo>
                  <a:pt x="15" y="384"/>
                </a:lnTo>
                <a:lnTo>
                  <a:pt x="21" y="384"/>
                </a:lnTo>
                <a:lnTo>
                  <a:pt x="30" y="377"/>
                </a:lnTo>
                <a:lnTo>
                  <a:pt x="47" y="371"/>
                </a:lnTo>
                <a:lnTo>
                  <a:pt x="47" y="362"/>
                </a:lnTo>
                <a:lnTo>
                  <a:pt x="56" y="358"/>
                </a:lnTo>
                <a:lnTo>
                  <a:pt x="62" y="354"/>
                </a:lnTo>
                <a:lnTo>
                  <a:pt x="68" y="348"/>
                </a:lnTo>
                <a:lnTo>
                  <a:pt x="68" y="341"/>
                </a:lnTo>
                <a:lnTo>
                  <a:pt x="77" y="335"/>
                </a:lnTo>
                <a:lnTo>
                  <a:pt x="77" y="326"/>
                </a:lnTo>
                <a:lnTo>
                  <a:pt x="81" y="318"/>
                </a:lnTo>
                <a:lnTo>
                  <a:pt x="107" y="301"/>
                </a:lnTo>
                <a:lnTo>
                  <a:pt x="134" y="267"/>
                </a:lnTo>
                <a:lnTo>
                  <a:pt x="134" y="275"/>
                </a:lnTo>
                <a:lnTo>
                  <a:pt x="141" y="282"/>
                </a:lnTo>
                <a:lnTo>
                  <a:pt x="147" y="288"/>
                </a:lnTo>
                <a:lnTo>
                  <a:pt x="162" y="296"/>
                </a:lnTo>
                <a:lnTo>
                  <a:pt x="173" y="299"/>
                </a:lnTo>
                <a:lnTo>
                  <a:pt x="188" y="290"/>
                </a:lnTo>
                <a:lnTo>
                  <a:pt x="190" y="284"/>
                </a:lnTo>
                <a:lnTo>
                  <a:pt x="202" y="288"/>
                </a:lnTo>
                <a:lnTo>
                  <a:pt x="209" y="286"/>
                </a:lnTo>
                <a:lnTo>
                  <a:pt x="224" y="279"/>
                </a:lnTo>
                <a:lnTo>
                  <a:pt x="232" y="277"/>
                </a:lnTo>
                <a:lnTo>
                  <a:pt x="234" y="271"/>
                </a:lnTo>
                <a:lnTo>
                  <a:pt x="234" y="264"/>
                </a:lnTo>
                <a:lnTo>
                  <a:pt x="245" y="267"/>
                </a:lnTo>
                <a:lnTo>
                  <a:pt x="258" y="256"/>
                </a:lnTo>
                <a:lnTo>
                  <a:pt x="266" y="256"/>
                </a:lnTo>
                <a:lnTo>
                  <a:pt x="281" y="247"/>
                </a:lnTo>
                <a:lnTo>
                  <a:pt x="281" y="245"/>
                </a:lnTo>
                <a:lnTo>
                  <a:pt x="279" y="239"/>
                </a:lnTo>
                <a:lnTo>
                  <a:pt x="285" y="233"/>
                </a:lnTo>
                <a:lnTo>
                  <a:pt x="279" y="224"/>
                </a:lnTo>
                <a:lnTo>
                  <a:pt x="281" y="211"/>
                </a:lnTo>
                <a:lnTo>
                  <a:pt x="290" y="196"/>
                </a:lnTo>
                <a:lnTo>
                  <a:pt x="296" y="188"/>
                </a:lnTo>
                <a:lnTo>
                  <a:pt x="300" y="173"/>
                </a:lnTo>
                <a:lnTo>
                  <a:pt x="300" y="164"/>
                </a:lnTo>
                <a:lnTo>
                  <a:pt x="307" y="158"/>
                </a:lnTo>
                <a:lnTo>
                  <a:pt x="311" y="143"/>
                </a:lnTo>
                <a:lnTo>
                  <a:pt x="313" y="141"/>
                </a:lnTo>
                <a:lnTo>
                  <a:pt x="313" y="132"/>
                </a:lnTo>
                <a:lnTo>
                  <a:pt x="313" y="118"/>
                </a:lnTo>
                <a:lnTo>
                  <a:pt x="322" y="115"/>
                </a:lnTo>
                <a:lnTo>
                  <a:pt x="328" y="122"/>
                </a:lnTo>
                <a:lnTo>
                  <a:pt x="330" y="126"/>
                </a:lnTo>
                <a:lnTo>
                  <a:pt x="343" y="128"/>
                </a:lnTo>
                <a:lnTo>
                  <a:pt x="351" y="126"/>
                </a:lnTo>
                <a:lnTo>
                  <a:pt x="354" y="118"/>
                </a:lnTo>
                <a:lnTo>
                  <a:pt x="358" y="103"/>
                </a:lnTo>
                <a:lnTo>
                  <a:pt x="360" y="96"/>
                </a:lnTo>
                <a:lnTo>
                  <a:pt x="362" y="86"/>
                </a:lnTo>
                <a:lnTo>
                  <a:pt x="364" y="79"/>
                </a:lnTo>
                <a:lnTo>
                  <a:pt x="373" y="79"/>
                </a:lnTo>
                <a:lnTo>
                  <a:pt x="379" y="77"/>
                </a:lnTo>
                <a:lnTo>
                  <a:pt x="386" y="62"/>
                </a:lnTo>
                <a:lnTo>
                  <a:pt x="392" y="62"/>
                </a:lnTo>
                <a:lnTo>
                  <a:pt x="398" y="56"/>
                </a:lnTo>
                <a:lnTo>
                  <a:pt x="403" y="41"/>
                </a:lnTo>
                <a:lnTo>
                  <a:pt x="407" y="34"/>
                </a:lnTo>
                <a:lnTo>
                  <a:pt x="407" y="20"/>
                </a:lnTo>
                <a:lnTo>
                  <a:pt x="409" y="11"/>
                </a:lnTo>
                <a:lnTo>
                  <a:pt x="407" y="5"/>
                </a:lnTo>
                <a:lnTo>
                  <a:pt x="415" y="0"/>
                </a:lnTo>
                <a:lnTo>
                  <a:pt x="456" y="22"/>
                </a:lnTo>
                <a:lnTo>
                  <a:pt x="460" y="15"/>
                </a:lnTo>
                <a:lnTo>
                  <a:pt x="462" y="2"/>
                </a:lnTo>
                <a:lnTo>
                  <a:pt x="477" y="2"/>
                </a:lnTo>
                <a:lnTo>
                  <a:pt x="483" y="7"/>
                </a:lnTo>
                <a:lnTo>
                  <a:pt x="488" y="13"/>
                </a:lnTo>
                <a:lnTo>
                  <a:pt x="486" y="20"/>
                </a:lnTo>
                <a:lnTo>
                  <a:pt x="494" y="26"/>
                </a:lnTo>
                <a:lnTo>
                  <a:pt x="503" y="24"/>
                </a:lnTo>
                <a:lnTo>
                  <a:pt x="511" y="28"/>
                </a:lnTo>
                <a:lnTo>
                  <a:pt x="518" y="32"/>
                </a:lnTo>
                <a:lnTo>
                  <a:pt x="522" y="34"/>
                </a:lnTo>
                <a:lnTo>
                  <a:pt x="528" y="37"/>
                </a:lnTo>
                <a:lnTo>
                  <a:pt x="532" y="45"/>
                </a:lnTo>
                <a:lnTo>
                  <a:pt x="532" y="49"/>
                </a:lnTo>
                <a:lnTo>
                  <a:pt x="535" y="56"/>
                </a:lnTo>
                <a:lnTo>
                  <a:pt x="528" y="64"/>
                </a:lnTo>
                <a:lnTo>
                  <a:pt x="528" y="66"/>
                </a:lnTo>
                <a:lnTo>
                  <a:pt x="526" y="71"/>
                </a:lnTo>
                <a:lnTo>
                  <a:pt x="524" y="71"/>
                </a:lnTo>
                <a:lnTo>
                  <a:pt x="520" y="69"/>
                </a:lnTo>
                <a:lnTo>
                  <a:pt x="518" y="90"/>
                </a:lnTo>
                <a:lnTo>
                  <a:pt x="520" y="96"/>
                </a:lnTo>
                <a:lnTo>
                  <a:pt x="518" y="96"/>
                </a:lnTo>
                <a:lnTo>
                  <a:pt x="520" y="103"/>
                </a:lnTo>
                <a:lnTo>
                  <a:pt x="526" y="105"/>
                </a:lnTo>
                <a:lnTo>
                  <a:pt x="530" y="103"/>
                </a:lnTo>
                <a:lnTo>
                  <a:pt x="539" y="96"/>
                </a:lnTo>
                <a:lnTo>
                  <a:pt x="547" y="96"/>
                </a:lnTo>
                <a:lnTo>
                  <a:pt x="547" y="103"/>
                </a:lnTo>
                <a:lnTo>
                  <a:pt x="558" y="113"/>
                </a:lnTo>
                <a:lnTo>
                  <a:pt x="562" y="115"/>
                </a:lnTo>
                <a:lnTo>
                  <a:pt x="571" y="113"/>
                </a:lnTo>
                <a:lnTo>
                  <a:pt x="573" y="115"/>
                </a:lnTo>
                <a:lnTo>
                  <a:pt x="586" y="113"/>
                </a:lnTo>
                <a:lnTo>
                  <a:pt x="588" y="115"/>
                </a:lnTo>
                <a:lnTo>
                  <a:pt x="594" y="122"/>
                </a:lnTo>
                <a:lnTo>
                  <a:pt x="594" y="126"/>
                </a:lnTo>
                <a:lnTo>
                  <a:pt x="603" y="126"/>
                </a:lnTo>
                <a:lnTo>
                  <a:pt x="603" y="128"/>
                </a:lnTo>
                <a:lnTo>
                  <a:pt x="609" y="128"/>
                </a:lnTo>
                <a:lnTo>
                  <a:pt x="624" y="135"/>
                </a:lnTo>
                <a:lnTo>
                  <a:pt x="624" y="141"/>
                </a:lnTo>
                <a:lnTo>
                  <a:pt x="618" y="141"/>
                </a:lnTo>
                <a:lnTo>
                  <a:pt x="622" y="147"/>
                </a:lnTo>
                <a:lnTo>
                  <a:pt x="622" y="156"/>
                </a:lnTo>
                <a:lnTo>
                  <a:pt x="618" y="164"/>
                </a:lnTo>
                <a:lnTo>
                  <a:pt x="609" y="162"/>
                </a:lnTo>
                <a:lnTo>
                  <a:pt x="609" y="160"/>
                </a:lnTo>
                <a:lnTo>
                  <a:pt x="603" y="160"/>
                </a:lnTo>
                <a:lnTo>
                  <a:pt x="588" y="149"/>
                </a:lnTo>
                <a:lnTo>
                  <a:pt x="584" y="147"/>
                </a:lnTo>
                <a:lnTo>
                  <a:pt x="577" y="141"/>
                </a:lnTo>
                <a:lnTo>
                  <a:pt x="571" y="137"/>
                </a:lnTo>
                <a:lnTo>
                  <a:pt x="564" y="130"/>
                </a:lnTo>
                <a:lnTo>
                  <a:pt x="556" y="124"/>
                </a:lnTo>
                <a:lnTo>
                  <a:pt x="547" y="120"/>
                </a:lnTo>
                <a:lnTo>
                  <a:pt x="541" y="122"/>
                </a:lnTo>
                <a:lnTo>
                  <a:pt x="547" y="122"/>
                </a:lnTo>
                <a:lnTo>
                  <a:pt x="562" y="130"/>
                </a:lnTo>
                <a:lnTo>
                  <a:pt x="567" y="137"/>
                </a:lnTo>
                <a:lnTo>
                  <a:pt x="571" y="141"/>
                </a:lnTo>
                <a:lnTo>
                  <a:pt x="577" y="145"/>
                </a:lnTo>
                <a:lnTo>
                  <a:pt x="584" y="154"/>
                </a:lnTo>
                <a:lnTo>
                  <a:pt x="598" y="160"/>
                </a:lnTo>
                <a:lnTo>
                  <a:pt x="601" y="164"/>
                </a:lnTo>
                <a:lnTo>
                  <a:pt x="607" y="169"/>
                </a:lnTo>
                <a:lnTo>
                  <a:pt x="613" y="169"/>
                </a:lnTo>
                <a:lnTo>
                  <a:pt x="622" y="175"/>
                </a:lnTo>
                <a:lnTo>
                  <a:pt x="618" y="177"/>
                </a:lnTo>
                <a:lnTo>
                  <a:pt x="626" y="179"/>
                </a:lnTo>
                <a:lnTo>
                  <a:pt x="633" y="179"/>
                </a:lnTo>
                <a:lnTo>
                  <a:pt x="637" y="192"/>
                </a:lnTo>
                <a:lnTo>
                  <a:pt x="635" y="198"/>
                </a:lnTo>
                <a:lnTo>
                  <a:pt x="628" y="194"/>
                </a:lnTo>
                <a:lnTo>
                  <a:pt x="620" y="192"/>
                </a:lnTo>
                <a:lnTo>
                  <a:pt x="618" y="194"/>
                </a:lnTo>
                <a:lnTo>
                  <a:pt x="624" y="201"/>
                </a:lnTo>
                <a:lnTo>
                  <a:pt x="620" y="209"/>
                </a:lnTo>
                <a:lnTo>
                  <a:pt x="607" y="203"/>
                </a:lnTo>
                <a:lnTo>
                  <a:pt x="592" y="190"/>
                </a:lnTo>
                <a:lnTo>
                  <a:pt x="584" y="188"/>
                </a:lnTo>
                <a:lnTo>
                  <a:pt x="601" y="201"/>
                </a:lnTo>
                <a:lnTo>
                  <a:pt x="607" y="207"/>
                </a:lnTo>
                <a:lnTo>
                  <a:pt x="620" y="213"/>
                </a:lnTo>
                <a:lnTo>
                  <a:pt x="628" y="211"/>
                </a:lnTo>
                <a:lnTo>
                  <a:pt x="630" y="218"/>
                </a:lnTo>
                <a:lnTo>
                  <a:pt x="639" y="220"/>
                </a:lnTo>
                <a:lnTo>
                  <a:pt x="641" y="226"/>
                </a:lnTo>
                <a:lnTo>
                  <a:pt x="639" y="235"/>
                </a:lnTo>
                <a:lnTo>
                  <a:pt x="635" y="237"/>
                </a:lnTo>
                <a:lnTo>
                  <a:pt x="630" y="241"/>
                </a:lnTo>
                <a:lnTo>
                  <a:pt x="624" y="233"/>
                </a:lnTo>
                <a:lnTo>
                  <a:pt x="616" y="230"/>
                </a:lnTo>
                <a:lnTo>
                  <a:pt x="609" y="224"/>
                </a:lnTo>
                <a:lnTo>
                  <a:pt x="603" y="215"/>
                </a:lnTo>
                <a:lnTo>
                  <a:pt x="596" y="222"/>
                </a:lnTo>
                <a:lnTo>
                  <a:pt x="590" y="218"/>
                </a:lnTo>
                <a:lnTo>
                  <a:pt x="581" y="211"/>
                </a:lnTo>
                <a:lnTo>
                  <a:pt x="581" y="220"/>
                </a:lnTo>
                <a:lnTo>
                  <a:pt x="579" y="220"/>
                </a:lnTo>
                <a:lnTo>
                  <a:pt x="571" y="213"/>
                </a:lnTo>
                <a:lnTo>
                  <a:pt x="556" y="215"/>
                </a:lnTo>
                <a:lnTo>
                  <a:pt x="550" y="213"/>
                </a:lnTo>
                <a:lnTo>
                  <a:pt x="547" y="218"/>
                </a:lnTo>
                <a:lnTo>
                  <a:pt x="569" y="218"/>
                </a:lnTo>
                <a:lnTo>
                  <a:pt x="584" y="224"/>
                </a:lnTo>
                <a:lnTo>
                  <a:pt x="590" y="222"/>
                </a:lnTo>
                <a:lnTo>
                  <a:pt x="596" y="224"/>
                </a:lnTo>
                <a:lnTo>
                  <a:pt x="605" y="222"/>
                </a:lnTo>
                <a:lnTo>
                  <a:pt x="607" y="228"/>
                </a:lnTo>
                <a:lnTo>
                  <a:pt x="611" y="237"/>
                </a:lnTo>
                <a:lnTo>
                  <a:pt x="611" y="235"/>
                </a:lnTo>
                <a:lnTo>
                  <a:pt x="620" y="241"/>
                </a:lnTo>
                <a:lnTo>
                  <a:pt x="626" y="247"/>
                </a:lnTo>
                <a:lnTo>
                  <a:pt x="624" y="254"/>
                </a:lnTo>
                <a:lnTo>
                  <a:pt x="633" y="247"/>
                </a:lnTo>
                <a:lnTo>
                  <a:pt x="637" y="247"/>
                </a:lnTo>
                <a:lnTo>
                  <a:pt x="643" y="252"/>
                </a:lnTo>
                <a:lnTo>
                  <a:pt x="641" y="247"/>
                </a:lnTo>
                <a:lnTo>
                  <a:pt x="643" y="239"/>
                </a:lnTo>
                <a:lnTo>
                  <a:pt x="650" y="241"/>
                </a:lnTo>
                <a:lnTo>
                  <a:pt x="671" y="239"/>
                </a:lnTo>
                <a:lnTo>
                  <a:pt x="677" y="254"/>
                </a:lnTo>
                <a:lnTo>
                  <a:pt x="690" y="275"/>
                </a:lnTo>
                <a:lnTo>
                  <a:pt x="688" y="277"/>
                </a:lnTo>
                <a:lnTo>
                  <a:pt x="684" y="269"/>
                </a:lnTo>
                <a:lnTo>
                  <a:pt x="677" y="262"/>
                </a:lnTo>
                <a:lnTo>
                  <a:pt x="677" y="271"/>
                </a:lnTo>
                <a:lnTo>
                  <a:pt x="679" y="277"/>
                </a:lnTo>
                <a:lnTo>
                  <a:pt x="675" y="279"/>
                </a:lnTo>
                <a:lnTo>
                  <a:pt x="671" y="275"/>
                </a:lnTo>
                <a:lnTo>
                  <a:pt x="673" y="279"/>
                </a:lnTo>
                <a:lnTo>
                  <a:pt x="586" y="299"/>
                </a:lnTo>
                <a:lnTo>
                  <a:pt x="488" y="318"/>
                </a:lnTo>
                <a:lnTo>
                  <a:pt x="292" y="354"/>
                </a:lnTo>
                <a:lnTo>
                  <a:pt x="222" y="365"/>
                </a:lnTo>
                <a:lnTo>
                  <a:pt x="192" y="369"/>
                </a:lnTo>
                <a:lnTo>
                  <a:pt x="179" y="367"/>
                </a:lnTo>
                <a:lnTo>
                  <a:pt x="168" y="369"/>
                </a:lnTo>
                <a:lnTo>
                  <a:pt x="139" y="375"/>
                </a:lnTo>
                <a:lnTo>
                  <a:pt x="102" y="379"/>
                </a:lnTo>
                <a:lnTo>
                  <a:pt x="43" y="390"/>
                </a:lnTo>
                <a:lnTo>
                  <a:pt x="28" y="390"/>
                </a:lnTo>
                <a:lnTo>
                  <a:pt x="0" y="39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8" name="Group 7"/>
          <p:cNvGrpSpPr/>
          <p:nvPr/>
        </p:nvGrpSpPr>
        <p:grpSpPr>
          <a:xfrm>
            <a:off x="6142113" y="3192584"/>
            <a:ext cx="1101725" cy="625475"/>
            <a:chOff x="6135687" y="3240088"/>
            <a:chExt cx="1101725" cy="625475"/>
          </a:xfrm>
          <a:solidFill>
            <a:srgbClr val="0070C0"/>
          </a:solidFill>
        </p:grpSpPr>
        <p:sp>
          <p:nvSpPr>
            <p:cNvPr id="1368" name="Freeform 774"/>
            <p:cNvSpPr>
              <a:spLocks/>
            </p:cNvSpPr>
            <p:nvPr/>
          </p:nvSpPr>
          <p:spPr bwMode="auto">
            <a:xfrm>
              <a:off x="6135687" y="3240088"/>
              <a:ext cx="1095375" cy="625475"/>
            </a:xfrm>
            <a:custGeom>
              <a:avLst/>
              <a:gdLst>
                <a:gd name="T0" fmla="*/ 30 w 690"/>
                <a:gd name="T1" fmla="*/ 377 h 394"/>
                <a:gd name="T2" fmla="*/ 62 w 690"/>
                <a:gd name="T3" fmla="*/ 354 h 394"/>
                <a:gd name="T4" fmla="*/ 77 w 690"/>
                <a:gd name="T5" fmla="*/ 326 h 394"/>
                <a:gd name="T6" fmla="*/ 134 w 690"/>
                <a:gd name="T7" fmla="*/ 275 h 394"/>
                <a:gd name="T8" fmla="*/ 173 w 690"/>
                <a:gd name="T9" fmla="*/ 299 h 394"/>
                <a:gd name="T10" fmla="*/ 209 w 690"/>
                <a:gd name="T11" fmla="*/ 286 h 394"/>
                <a:gd name="T12" fmla="*/ 234 w 690"/>
                <a:gd name="T13" fmla="*/ 264 h 394"/>
                <a:gd name="T14" fmla="*/ 281 w 690"/>
                <a:gd name="T15" fmla="*/ 247 h 394"/>
                <a:gd name="T16" fmla="*/ 279 w 690"/>
                <a:gd name="T17" fmla="*/ 224 h 394"/>
                <a:gd name="T18" fmla="*/ 300 w 690"/>
                <a:gd name="T19" fmla="*/ 173 h 394"/>
                <a:gd name="T20" fmla="*/ 313 w 690"/>
                <a:gd name="T21" fmla="*/ 141 h 394"/>
                <a:gd name="T22" fmla="*/ 328 w 690"/>
                <a:gd name="T23" fmla="*/ 122 h 394"/>
                <a:gd name="T24" fmla="*/ 354 w 690"/>
                <a:gd name="T25" fmla="*/ 118 h 394"/>
                <a:gd name="T26" fmla="*/ 364 w 690"/>
                <a:gd name="T27" fmla="*/ 79 h 394"/>
                <a:gd name="T28" fmla="*/ 392 w 690"/>
                <a:gd name="T29" fmla="*/ 62 h 394"/>
                <a:gd name="T30" fmla="*/ 407 w 690"/>
                <a:gd name="T31" fmla="*/ 20 h 394"/>
                <a:gd name="T32" fmla="*/ 456 w 690"/>
                <a:gd name="T33" fmla="*/ 22 h 394"/>
                <a:gd name="T34" fmla="*/ 483 w 690"/>
                <a:gd name="T35" fmla="*/ 7 h 394"/>
                <a:gd name="T36" fmla="*/ 503 w 690"/>
                <a:gd name="T37" fmla="*/ 24 h 394"/>
                <a:gd name="T38" fmla="*/ 528 w 690"/>
                <a:gd name="T39" fmla="*/ 37 h 394"/>
                <a:gd name="T40" fmla="*/ 528 w 690"/>
                <a:gd name="T41" fmla="*/ 64 h 394"/>
                <a:gd name="T42" fmla="*/ 520 w 690"/>
                <a:gd name="T43" fmla="*/ 69 h 394"/>
                <a:gd name="T44" fmla="*/ 520 w 690"/>
                <a:gd name="T45" fmla="*/ 103 h 394"/>
                <a:gd name="T46" fmla="*/ 547 w 690"/>
                <a:gd name="T47" fmla="*/ 96 h 394"/>
                <a:gd name="T48" fmla="*/ 571 w 690"/>
                <a:gd name="T49" fmla="*/ 113 h 394"/>
                <a:gd name="T50" fmla="*/ 594 w 690"/>
                <a:gd name="T51" fmla="*/ 122 h 394"/>
                <a:gd name="T52" fmla="*/ 609 w 690"/>
                <a:gd name="T53" fmla="*/ 128 h 394"/>
                <a:gd name="T54" fmla="*/ 622 w 690"/>
                <a:gd name="T55" fmla="*/ 147 h 394"/>
                <a:gd name="T56" fmla="*/ 609 w 690"/>
                <a:gd name="T57" fmla="*/ 160 h 394"/>
                <a:gd name="T58" fmla="*/ 577 w 690"/>
                <a:gd name="T59" fmla="*/ 141 h 394"/>
                <a:gd name="T60" fmla="*/ 547 w 690"/>
                <a:gd name="T61" fmla="*/ 120 h 394"/>
                <a:gd name="T62" fmla="*/ 567 w 690"/>
                <a:gd name="T63" fmla="*/ 137 h 394"/>
                <a:gd name="T64" fmla="*/ 598 w 690"/>
                <a:gd name="T65" fmla="*/ 160 h 394"/>
                <a:gd name="T66" fmla="*/ 622 w 690"/>
                <a:gd name="T67" fmla="*/ 175 h 394"/>
                <a:gd name="T68" fmla="*/ 637 w 690"/>
                <a:gd name="T69" fmla="*/ 192 h 394"/>
                <a:gd name="T70" fmla="*/ 618 w 690"/>
                <a:gd name="T71" fmla="*/ 194 h 394"/>
                <a:gd name="T72" fmla="*/ 592 w 690"/>
                <a:gd name="T73" fmla="*/ 190 h 394"/>
                <a:gd name="T74" fmla="*/ 620 w 690"/>
                <a:gd name="T75" fmla="*/ 213 h 394"/>
                <a:gd name="T76" fmla="*/ 641 w 690"/>
                <a:gd name="T77" fmla="*/ 226 h 394"/>
                <a:gd name="T78" fmla="*/ 624 w 690"/>
                <a:gd name="T79" fmla="*/ 233 h 394"/>
                <a:gd name="T80" fmla="*/ 596 w 690"/>
                <a:gd name="T81" fmla="*/ 222 h 394"/>
                <a:gd name="T82" fmla="*/ 579 w 690"/>
                <a:gd name="T83" fmla="*/ 220 h 394"/>
                <a:gd name="T84" fmla="*/ 547 w 690"/>
                <a:gd name="T85" fmla="*/ 218 h 394"/>
                <a:gd name="T86" fmla="*/ 596 w 690"/>
                <a:gd name="T87" fmla="*/ 224 h 394"/>
                <a:gd name="T88" fmla="*/ 611 w 690"/>
                <a:gd name="T89" fmla="*/ 235 h 394"/>
                <a:gd name="T90" fmla="*/ 633 w 690"/>
                <a:gd name="T91" fmla="*/ 247 h 394"/>
                <a:gd name="T92" fmla="*/ 643 w 690"/>
                <a:gd name="T93" fmla="*/ 239 h 394"/>
                <a:gd name="T94" fmla="*/ 690 w 690"/>
                <a:gd name="T95" fmla="*/ 275 h 394"/>
                <a:gd name="T96" fmla="*/ 677 w 690"/>
                <a:gd name="T97" fmla="*/ 271 h 394"/>
                <a:gd name="T98" fmla="*/ 673 w 690"/>
                <a:gd name="T99" fmla="*/ 279 h 394"/>
                <a:gd name="T100" fmla="*/ 222 w 690"/>
                <a:gd name="T101" fmla="*/ 365 h 394"/>
                <a:gd name="T102" fmla="*/ 139 w 690"/>
                <a:gd name="T103" fmla="*/ 375 h 394"/>
                <a:gd name="T104" fmla="*/ 0 w 690"/>
                <a:gd name="T105" fmla="*/ 394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690" h="394">
                  <a:moveTo>
                    <a:pt x="0" y="394"/>
                  </a:moveTo>
                  <a:lnTo>
                    <a:pt x="15" y="384"/>
                  </a:lnTo>
                  <a:lnTo>
                    <a:pt x="21" y="384"/>
                  </a:lnTo>
                  <a:lnTo>
                    <a:pt x="30" y="377"/>
                  </a:lnTo>
                  <a:lnTo>
                    <a:pt x="47" y="371"/>
                  </a:lnTo>
                  <a:lnTo>
                    <a:pt x="47" y="362"/>
                  </a:lnTo>
                  <a:lnTo>
                    <a:pt x="56" y="358"/>
                  </a:lnTo>
                  <a:lnTo>
                    <a:pt x="62" y="354"/>
                  </a:lnTo>
                  <a:lnTo>
                    <a:pt x="68" y="348"/>
                  </a:lnTo>
                  <a:lnTo>
                    <a:pt x="68" y="341"/>
                  </a:lnTo>
                  <a:lnTo>
                    <a:pt x="77" y="335"/>
                  </a:lnTo>
                  <a:lnTo>
                    <a:pt x="77" y="326"/>
                  </a:lnTo>
                  <a:lnTo>
                    <a:pt x="81" y="318"/>
                  </a:lnTo>
                  <a:lnTo>
                    <a:pt x="107" y="301"/>
                  </a:lnTo>
                  <a:lnTo>
                    <a:pt x="134" y="267"/>
                  </a:lnTo>
                  <a:lnTo>
                    <a:pt x="134" y="275"/>
                  </a:lnTo>
                  <a:lnTo>
                    <a:pt x="141" y="282"/>
                  </a:lnTo>
                  <a:lnTo>
                    <a:pt x="147" y="288"/>
                  </a:lnTo>
                  <a:lnTo>
                    <a:pt x="162" y="296"/>
                  </a:lnTo>
                  <a:lnTo>
                    <a:pt x="173" y="299"/>
                  </a:lnTo>
                  <a:lnTo>
                    <a:pt x="188" y="290"/>
                  </a:lnTo>
                  <a:lnTo>
                    <a:pt x="190" y="284"/>
                  </a:lnTo>
                  <a:lnTo>
                    <a:pt x="202" y="288"/>
                  </a:lnTo>
                  <a:lnTo>
                    <a:pt x="209" y="286"/>
                  </a:lnTo>
                  <a:lnTo>
                    <a:pt x="224" y="279"/>
                  </a:lnTo>
                  <a:lnTo>
                    <a:pt x="232" y="277"/>
                  </a:lnTo>
                  <a:lnTo>
                    <a:pt x="234" y="271"/>
                  </a:lnTo>
                  <a:lnTo>
                    <a:pt x="234" y="264"/>
                  </a:lnTo>
                  <a:lnTo>
                    <a:pt x="245" y="267"/>
                  </a:lnTo>
                  <a:lnTo>
                    <a:pt x="258" y="256"/>
                  </a:lnTo>
                  <a:lnTo>
                    <a:pt x="266" y="256"/>
                  </a:lnTo>
                  <a:lnTo>
                    <a:pt x="281" y="247"/>
                  </a:lnTo>
                  <a:lnTo>
                    <a:pt x="281" y="245"/>
                  </a:lnTo>
                  <a:lnTo>
                    <a:pt x="279" y="239"/>
                  </a:lnTo>
                  <a:lnTo>
                    <a:pt x="285" y="233"/>
                  </a:lnTo>
                  <a:lnTo>
                    <a:pt x="279" y="224"/>
                  </a:lnTo>
                  <a:lnTo>
                    <a:pt x="281" y="211"/>
                  </a:lnTo>
                  <a:lnTo>
                    <a:pt x="290" y="196"/>
                  </a:lnTo>
                  <a:lnTo>
                    <a:pt x="296" y="188"/>
                  </a:lnTo>
                  <a:lnTo>
                    <a:pt x="300" y="173"/>
                  </a:lnTo>
                  <a:lnTo>
                    <a:pt x="300" y="164"/>
                  </a:lnTo>
                  <a:lnTo>
                    <a:pt x="307" y="158"/>
                  </a:lnTo>
                  <a:lnTo>
                    <a:pt x="311" y="143"/>
                  </a:lnTo>
                  <a:lnTo>
                    <a:pt x="313" y="141"/>
                  </a:lnTo>
                  <a:lnTo>
                    <a:pt x="313" y="132"/>
                  </a:lnTo>
                  <a:lnTo>
                    <a:pt x="313" y="118"/>
                  </a:lnTo>
                  <a:lnTo>
                    <a:pt x="322" y="115"/>
                  </a:lnTo>
                  <a:lnTo>
                    <a:pt x="328" y="122"/>
                  </a:lnTo>
                  <a:lnTo>
                    <a:pt x="330" y="126"/>
                  </a:lnTo>
                  <a:lnTo>
                    <a:pt x="343" y="128"/>
                  </a:lnTo>
                  <a:lnTo>
                    <a:pt x="351" y="126"/>
                  </a:lnTo>
                  <a:lnTo>
                    <a:pt x="354" y="118"/>
                  </a:lnTo>
                  <a:lnTo>
                    <a:pt x="358" y="103"/>
                  </a:lnTo>
                  <a:lnTo>
                    <a:pt x="360" y="96"/>
                  </a:lnTo>
                  <a:lnTo>
                    <a:pt x="362" y="86"/>
                  </a:lnTo>
                  <a:lnTo>
                    <a:pt x="364" y="79"/>
                  </a:lnTo>
                  <a:lnTo>
                    <a:pt x="373" y="79"/>
                  </a:lnTo>
                  <a:lnTo>
                    <a:pt x="379" y="77"/>
                  </a:lnTo>
                  <a:lnTo>
                    <a:pt x="386" y="62"/>
                  </a:lnTo>
                  <a:lnTo>
                    <a:pt x="392" y="62"/>
                  </a:lnTo>
                  <a:lnTo>
                    <a:pt x="398" y="56"/>
                  </a:lnTo>
                  <a:lnTo>
                    <a:pt x="403" y="41"/>
                  </a:lnTo>
                  <a:lnTo>
                    <a:pt x="407" y="34"/>
                  </a:lnTo>
                  <a:lnTo>
                    <a:pt x="407" y="20"/>
                  </a:lnTo>
                  <a:lnTo>
                    <a:pt x="409" y="11"/>
                  </a:lnTo>
                  <a:lnTo>
                    <a:pt x="407" y="5"/>
                  </a:lnTo>
                  <a:lnTo>
                    <a:pt x="415" y="0"/>
                  </a:lnTo>
                  <a:lnTo>
                    <a:pt x="456" y="22"/>
                  </a:lnTo>
                  <a:lnTo>
                    <a:pt x="460" y="15"/>
                  </a:lnTo>
                  <a:lnTo>
                    <a:pt x="462" y="2"/>
                  </a:lnTo>
                  <a:lnTo>
                    <a:pt x="477" y="2"/>
                  </a:lnTo>
                  <a:lnTo>
                    <a:pt x="483" y="7"/>
                  </a:lnTo>
                  <a:lnTo>
                    <a:pt x="488" y="13"/>
                  </a:lnTo>
                  <a:lnTo>
                    <a:pt x="486" y="20"/>
                  </a:lnTo>
                  <a:lnTo>
                    <a:pt x="494" y="26"/>
                  </a:lnTo>
                  <a:lnTo>
                    <a:pt x="503" y="24"/>
                  </a:lnTo>
                  <a:lnTo>
                    <a:pt x="511" y="28"/>
                  </a:lnTo>
                  <a:lnTo>
                    <a:pt x="518" y="32"/>
                  </a:lnTo>
                  <a:lnTo>
                    <a:pt x="522" y="34"/>
                  </a:lnTo>
                  <a:lnTo>
                    <a:pt x="528" y="37"/>
                  </a:lnTo>
                  <a:lnTo>
                    <a:pt x="532" y="45"/>
                  </a:lnTo>
                  <a:lnTo>
                    <a:pt x="532" y="49"/>
                  </a:lnTo>
                  <a:lnTo>
                    <a:pt x="535" y="56"/>
                  </a:lnTo>
                  <a:lnTo>
                    <a:pt x="528" y="64"/>
                  </a:lnTo>
                  <a:lnTo>
                    <a:pt x="528" y="66"/>
                  </a:lnTo>
                  <a:lnTo>
                    <a:pt x="526" y="71"/>
                  </a:lnTo>
                  <a:lnTo>
                    <a:pt x="524" y="71"/>
                  </a:lnTo>
                  <a:lnTo>
                    <a:pt x="520" y="69"/>
                  </a:lnTo>
                  <a:lnTo>
                    <a:pt x="518" y="90"/>
                  </a:lnTo>
                  <a:lnTo>
                    <a:pt x="520" y="96"/>
                  </a:lnTo>
                  <a:lnTo>
                    <a:pt x="518" y="96"/>
                  </a:lnTo>
                  <a:lnTo>
                    <a:pt x="520" y="103"/>
                  </a:lnTo>
                  <a:lnTo>
                    <a:pt x="526" y="105"/>
                  </a:lnTo>
                  <a:lnTo>
                    <a:pt x="530" y="103"/>
                  </a:lnTo>
                  <a:lnTo>
                    <a:pt x="539" y="96"/>
                  </a:lnTo>
                  <a:lnTo>
                    <a:pt x="547" y="96"/>
                  </a:lnTo>
                  <a:lnTo>
                    <a:pt x="547" y="103"/>
                  </a:lnTo>
                  <a:lnTo>
                    <a:pt x="558" y="113"/>
                  </a:lnTo>
                  <a:lnTo>
                    <a:pt x="562" y="115"/>
                  </a:lnTo>
                  <a:lnTo>
                    <a:pt x="571" y="113"/>
                  </a:lnTo>
                  <a:lnTo>
                    <a:pt x="573" y="115"/>
                  </a:lnTo>
                  <a:lnTo>
                    <a:pt x="586" y="113"/>
                  </a:lnTo>
                  <a:lnTo>
                    <a:pt x="588" y="115"/>
                  </a:lnTo>
                  <a:lnTo>
                    <a:pt x="594" y="122"/>
                  </a:lnTo>
                  <a:lnTo>
                    <a:pt x="594" y="126"/>
                  </a:lnTo>
                  <a:lnTo>
                    <a:pt x="603" y="126"/>
                  </a:lnTo>
                  <a:lnTo>
                    <a:pt x="603" y="128"/>
                  </a:lnTo>
                  <a:lnTo>
                    <a:pt x="609" y="128"/>
                  </a:lnTo>
                  <a:lnTo>
                    <a:pt x="624" y="135"/>
                  </a:lnTo>
                  <a:lnTo>
                    <a:pt x="624" y="141"/>
                  </a:lnTo>
                  <a:lnTo>
                    <a:pt x="618" y="141"/>
                  </a:lnTo>
                  <a:lnTo>
                    <a:pt x="622" y="147"/>
                  </a:lnTo>
                  <a:lnTo>
                    <a:pt x="622" y="156"/>
                  </a:lnTo>
                  <a:lnTo>
                    <a:pt x="618" y="164"/>
                  </a:lnTo>
                  <a:lnTo>
                    <a:pt x="609" y="162"/>
                  </a:lnTo>
                  <a:lnTo>
                    <a:pt x="609" y="160"/>
                  </a:lnTo>
                  <a:lnTo>
                    <a:pt x="603" y="160"/>
                  </a:lnTo>
                  <a:lnTo>
                    <a:pt x="588" y="149"/>
                  </a:lnTo>
                  <a:lnTo>
                    <a:pt x="584" y="147"/>
                  </a:lnTo>
                  <a:lnTo>
                    <a:pt x="577" y="141"/>
                  </a:lnTo>
                  <a:lnTo>
                    <a:pt x="571" y="137"/>
                  </a:lnTo>
                  <a:lnTo>
                    <a:pt x="564" y="130"/>
                  </a:lnTo>
                  <a:lnTo>
                    <a:pt x="556" y="124"/>
                  </a:lnTo>
                  <a:lnTo>
                    <a:pt x="547" y="120"/>
                  </a:lnTo>
                  <a:lnTo>
                    <a:pt x="541" y="122"/>
                  </a:lnTo>
                  <a:lnTo>
                    <a:pt x="547" y="122"/>
                  </a:lnTo>
                  <a:lnTo>
                    <a:pt x="562" y="130"/>
                  </a:lnTo>
                  <a:lnTo>
                    <a:pt x="567" y="137"/>
                  </a:lnTo>
                  <a:lnTo>
                    <a:pt x="571" y="141"/>
                  </a:lnTo>
                  <a:lnTo>
                    <a:pt x="577" y="145"/>
                  </a:lnTo>
                  <a:lnTo>
                    <a:pt x="584" y="154"/>
                  </a:lnTo>
                  <a:lnTo>
                    <a:pt x="598" y="160"/>
                  </a:lnTo>
                  <a:lnTo>
                    <a:pt x="601" y="164"/>
                  </a:lnTo>
                  <a:lnTo>
                    <a:pt x="607" y="169"/>
                  </a:lnTo>
                  <a:lnTo>
                    <a:pt x="613" y="169"/>
                  </a:lnTo>
                  <a:lnTo>
                    <a:pt x="622" y="175"/>
                  </a:lnTo>
                  <a:lnTo>
                    <a:pt x="618" y="177"/>
                  </a:lnTo>
                  <a:lnTo>
                    <a:pt x="626" y="179"/>
                  </a:lnTo>
                  <a:lnTo>
                    <a:pt x="633" y="179"/>
                  </a:lnTo>
                  <a:lnTo>
                    <a:pt x="637" y="192"/>
                  </a:lnTo>
                  <a:lnTo>
                    <a:pt x="635" y="198"/>
                  </a:lnTo>
                  <a:lnTo>
                    <a:pt x="628" y="194"/>
                  </a:lnTo>
                  <a:lnTo>
                    <a:pt x="620" y="192"/>
                  </a:lnTo>
                  <a:lnTo>
                    <a:pt x="618" y="194"/>
                  </a:lnTo>
                  <a:lnTo>
                    <a:pt x="624" y="201"/>
                  </a:lnTo>
                  <a:lnTo>
                    <a:pt x="620" y="209"/>
                  </a:lnTo>
                  <a:lnTo>
                    <a:pt x="607" y="203"/>
                  </a:lnTo>
                  <a:lnTo>
                    <a:pt x="592" y="190"/>
                  </a:lnTo>
                  <a:lnTo>
                    <a:pt x="584" y="188"/>
                  </a:lnTo>
                  <a:lnTo>
                    <a:pt x="601" y="201"/>
                  </a:lnTo>
                  <a:lnTo>
                    <a:pt x="607" y="207"/>
                  </a:lnTo>
                  <a:lnTo>
                    <a:pt x="620" y="213"/>
                  </a:lnTo>
                  <a:lnTo>
                    <a:pt x="628" y="211"/>
                  </a:lnTo>
                  <a:lnTo>
                    <a:pt x="630" y="218"/>
                  </a:lnTo>
                  <a:lnTo>
                    <a:pt x="639" y="220"/>
                  </a:lnTo>
                  <a:lnTo>
                    <a:pt x="641" y="226"/>
                  </a:lnTo>
                  <a:lnTo>
                    <a:pt x="639" y="235"/>
                  </a:lnTo>
                  <a:lnTo>
                    <a:pt x="635" y="237"/>
                  </a:lnTo>
                  <a:lnTo>
                    <a:pt x="630" y="241"/>
                  </a:lnTo>
                  <a:lnTo>
                    <a:pt x="624" y="233"/>
                  </a:lnTo>
                  <a:lnTo>
                    <a:pt x="616" y="230"/>
                  </a:lnTo>
                  <a:lnTo>
                    <a:pt x="609" y="224"/>
                  </a:lnTo>
                  <a:lnTo>
                    <a:pt x="603" y="215"/>
                  </a:lnTo>
                  <a:lnTo>
                    <a:pt x="596" y="222"/>
                  </a:lnTo>
                  <a:lnTo>
                    <a:pt x="590" y="218"/>
                  </a:lnTo>
                  <a:lnTo>
                    <a:pt x="581" y="211"/>
                  </a:lnTo>
                  <a:lnTo>
                    <a:pt x="581" y="220"/>
                  </a:lnTo>
                  <a:lnTo>
                    <a:pt x="579" y="220"/>
                  </a:lnTo>
                  <a:lnTo>
                    <a:pt x="571" y="213"/>
                  </a:lnTo>
                  <a:lnTo>
                    <a:pt x="556" y="215"/>
                  </a:lnTo>
                  <a:lnTo>
                    <a:pt x="550" y="213"/>
                  </a:lnTo>
                  <a:lnTo>
                    <a:pt x="547" y="218"/>
                  </a:lnTo>
                  <a:lnTo>
                    <a:pt x="569" y="218"/>
                  </a:lnTo>
                  <a:lnTo>
                    <a:pt x="584" y="224"/>
                  </a:lnTo>
                  <a:lnTo>
                    <a:pt x="590" y="222"/>
                  </a:lnTo>
                  <a:lnTo>
                    <a:pt x="596" y="224"/>
                  </a:lnTo>
                  <a:lnTo>
                    <a:pt x="605" y="222"/>
                  </a:lnTo>
                  <a:lnTo>
                    <a:pt x="607" y="228"/>
                  </a:lnTo>
                  <a:lnTo>
                    <a:pt x="611" y="237"/>
                  </a:lnTo>
                  <a:lnTo>
                    <a:pt x="611" y="235"/>
                  </a:lnTo>
                  <a:lnTo>
                    <a:pt x="620" y="241"/>
                  </a:lnTo>
                  <a:lnTo>
                    <a:pt x="626" y="247"/>
                  </a:lnTo>
                  <a:lnTo>
                    <a:pt x="624" y="254"/>
                  </a:lnTo>
                  <a:lnTo>
                    <a:pt x="633" y="247"/>
                  </a:lnTo>
                  <a:lnTo>
                    <a:pt x="637" y="247"/>
                  </a:lnTo>
                  <a:lnTo>
                    <a:pt x="643" y="252"/>
                  </a:lnTo>
                  <a:lnTo>
                    <a:pt x="641" y="247"/>
                  </a:lnTo>
                  <a:lnTo>
                    <a:pt x="643" y="239"/>
                  </a:lnTo>
                  <a:lnTo>
                    <a:pt x="650" y="241"/>
                  </a:lnTo>
                  <a:lnTo>
                    <a:pt x="671" y="239"/>
                  </a:lnTo>
                  <a:lnTo>
                    <a:pt x="677" y="254"/>
                  </a:lnTo>
                  <a:lnTo>
                    <a:pt x="690" y="275"/>
                  </a:lnTo>
                  <a:lnTo>
                    <a:pt x="688" y="277"/>
                  </a:lnTo>
                  <a:lnTo>
                    <a:pt x="684" y="269"/>
                  </a:lnTo>
                  <a:lnTo>
                    <a:pt x="677" y="262"/>
                  </a:lnTo>
                  <a:lnTo>
                    <a:pt x="677" y="271"/>
                  </a:lnTo>
                  <a:lnTo>
                    <a:pt x="679" y="277"/>
                  </a:lnTo>
                  <a:lnTo>
                    <a:pt x="675" y="279"/>
                  </a:lnTo>
                  <a:lnTo>
                    <a:pt x="671" y="275"/>
                  </a:lnTo>
                  <a:lnTo>
                    <a:pt x="673" y="279"/>
                  </a:lnTo>
                  <a:lnTo>
                    <a:pt x="586" y="299"/>
                  </a:lnTo>
                  <a:lnTo>
                    <a:pt x="488" y="318"/>
                  </a:lnTo>
                  <a:lnTo>
                    <a:pt x="292" y="354"/>
                  </a:lnTo>
                  <a:lnTo>
                    <a:pt x="222" y="365"/>
                  </a:lnTo>
                  <a:lnTo>
                    <a:pt x="192" y="369"/>
                  </a:lnTo>
                  <a:lnTo>
                    <a:pt x="179" y="367"/>
                  </a:lnTo>
                  <a:lnTo>
                    <a:pt x="168" y="369"/>
                  </a:lnTo>
                  <a:lnTo>
                    <a:pt x="139" y="375"/>
                  </a:lnTo>
                  <a:lnTo>
                    <a:pt x="102" y="379"/>
                  </a:lnTo>
                  <a:lnTo>
                    <a:pt x="43" y="390"/>
                  </a:lnTo>
                  <a:lnTo>
                    <a:pt x="28" y="390"/>
                  </a:lnTo>
                  <a:lnTo>
                    <a:pt x="0" y="3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0" name="Freeform 776"/>
            <p:cNvSpPr>
              <a:spLocks/>
            </p:cNvSpPr>
            <p:nvPr/>
          </p:nvSpPr>
          <p:spPr bwMode="auto">
            <a:xfrm>
              <a:off x="7180262" y="3403600"/>
              <a:ext cx="57150" cy="171450"/>
            </a:xfrm>
            <a:custGeom>
              <a:avLst/>
              <a:gdLst>
                <a:gd name="T0" fmla="*/ 13 w 36"/>
                <a:gd name="T1" fmla="*/ 81 h 108"/>
                <a:gd name="T2" fmla="*/ 13 w 36"/>
                <a:gd name="T3" fmla="*/ 93 h 108"/>
                <a:gd name="T4" fmla="*/ 9 w 36"/>
                <a:gd name="T5" fmla="*/ 108 h 108"/>
                <a:gd name="T6" fmla="*/ 0 w 36"/>
                <a:gd name="T7" fmla="*/ 98 h 108"/>
                <a:gd name="T8" fmla="*/ 0 w 36"/>
                <a:gd name="T9" fmla="*/ 83 h 108"/>
                <a:gd name="T10" fmla="*/ 2 w 36"/>
                <a:gd name="T11" fmla="*/ 81 h 108"/>
                <a:gd name="T12" fmla="*/ 0 w 36"/>
                <a:gd name="T13" fmla="*/ 74 h 108"/>
                <a:gd name="T14" fmla="*/ 0 w 36"/>
                <a:gd name="T15" fmla="*/ 59 h 108"/>
                <a:gd name="T16" fmla="*/ 6 w 36"/>
                <a:gd name="T17" fmla="*/ 46 h 108"/>
                <a:gd name="T18" fmla="*/ 6 w 36"/>
                <a:gd name="T19" fmla="*/ 32 h 108"/>
                <a:gd name="T20" fmla="*/ 13 w 36"/>
                <a:gd name="T21" fmla="*/ 32 h 108"/>
                <a:gd name="T22" fmla="*/ 15 w 36"/>
                <a:gd name="T23" fmla="*/ 25 h 108"/>
                <a:gd name="T24" fmla="*/ 9 w 36"/>
                <a:gd name="T25" fmla="*/ 19 h 108"/>
                <a:gd name="T26" fmla="*/ 15 w 36"/>
                <a:gd name="T27" fmla="*/ 12 h 108"/>
                <a:gd name="T28" fmla="*/ 21 w 36"/>
                <a:gd name="T29" fmla="*/ 6 h 108"/>
                <a:gd name="T30" fmla="*/ 36 w 36"/>
                <a:gd name="T31" fmla="*/ 0 h 108"/>
                <a:gd name="T32" fmla="*/ 34 w 36"/>
                <a:gd name="T33" fmla="*/ 10 h 108"/>
                <a:gd name="T34" fmla="*/ 36 w 36"/>
                <a:gd name="T35" fmla="*/ 17 h 108"/>
                <a:gd name="T36" fmla="*/ 30 w 36"/>
                <a:gd name="T37" fmla="*/ 27 h 108"/>
                <a:gd name="T38" fmla="*/ 28 w 36"/>
                <a:gd name="T39" fmla="*/ 42 h 108"/>
                <a:gd name="T40" fmla="*/ 28 w 36"/>
                <a:gd name="T41" fmla="*/ 57 h 108"/>
                <a:gd name="T42" fmla="*/ 26 w 36"/>
                <a:gd name="T43" fmla="*/ 63 h 108"/>
                <a:gd name="T44" fmla="*/ 26 w 36"/>
                <a:gd name="T45" fmla="*/ 63 h 108"/>
                <a:gd name="T46" fmla="*/ 19 w 36"/>
                <a:gd name="T47" fmla="*/ 59 h 108"/>
                <a:gd name="T48" fmla="*/ 17 w 36"/>
                <a:gd name="T49" fmla="*/ 66 h 108"/>
                <a:gd name="T50" fmla="*/ 13 w 36"/>
                <a:gd name="T51" fmla="*/ 74 h 108"/>
                <a:gd name="T52" fmla="*/ 13 w 36"/>
                <a:gd name="T53"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08">
                  <a:moveTo>
                    <a:pt x="13" y="81"/>
                  </a:moveTo>
                  <a:lnTo>
                    <a:pt x="13" y="93"/>
                  </a:lnTo>
                  <a:lnTo>
                    <a:pt x="9" y="108"/>
                  </a:lnTo>
                  <a:lnTo>
                    <a:pt x="0" y="98"/>
                  </a:lnTo>
                  <a:lnTo>
                    <a:pt x="0" y="83"/>
                  </a:lnTo>
                  <a:lnTo>
                    <a:pt x="2" y="81"/>
                  </a:lnTo>
                  <a:lnTo>
                    <a:pt x="0" y="74"/>
                  </a:lnTo>
                  <a:lnTo>
                    <a:pt x="0" y="59"/>
                  </a:lnTo>
                  <a:lnTo>
                    <a:pt x="6" y="46"/>
                  </a:lnTo>
                  <a:lnTo>
                    <a:pt x="6" y="32"/>
                  </a:lnTo>
                  <a:lnTo>
                    <a:pt x="13" y="32"/>
                  </a:lnTo>
                  <a:lnTo>
                    <a:pt x="15" y="25"/>
                  </a:lnTo>
                  <a:lnTo>
                    <a:pt x="9" y="19"/>
                  </a:lnTo>
                  <a:lnTo>
                    <a:pt x="15" y="12"/>
                  </a:lnTo>
                  <a:lnTo>
                    <a:pt x="21" y="6"/>
                  </a:lnTo>
                  <a:lnTo>
                    <a:pt x="36" y="0"/>
                  </a:lnTo>
                  <a:lnTo>
                    <a:pt x="34" y="10"/>
                  </a:lnTo>
                  <a:lnTo>
                    <a:pt x="36" y="17"/>
                  </a:lnTo>
                  <a:lnTo>
                    <a:pt x="30" y="27"/>
                  </a:lnTo>
                  <a:lnTo>
                    <a:pt x="28" y="42"/>
                  </a:lnTo>
                  <a:lnTo>
                    <a:pt x="28" y="57"/>
                  </a:lnTo>
                  <a:lnTo>
                    <a:pt x="26" y="63"/>
                  </a:lnTo>
                  <a:lnTo>
                    <a:pt x="26" y="63"/>
                  </a:lnTo>
                  <a:lnTo>
                    <a:pt x="19" y="59"/>
                  </a:lnTo>
                  <a:lnTo>
                    <a:pt x="17" y="66"/>
                  </a:lnTo>
                  <a:lnTo>
                    <a:pt x="13" y="74"/>
                  </a:lnTo>
                  <a:lnTo>
                    <a:pt x="13"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371" name="Freeform 777"/>
          <p:cNvSpPr>
            <a:spLocks/>
          </p:cNvSpPr>
          <p:nvPr/>
        </p:nvSpPr>
        <p:spPr bwMode="auto">
          <a:xfrm>
            <a:off x="7180262" y="3356096"/>
            <a:ext cx="57150" cy="171450"/>
          </a:xfrm>
          <a:custGeom>
            <a:avLst/>
            <a:gdLst>
              <a:gd name="T0" fmla="*/ 13 w 36"/>
              <a:gd name="T1" fmla="*/ 81 h 108"/>
              <a:gd name="T2" fmla="*/ 13 w 36"/>
              <a:gd name="T3" fmla="*/ 93 h 108"/>
              <a:gd name="T4" fmla="*/ 9 w 36"/>
              <a:gd name="T5" fmla="*/ 108 h 108"/>
              <a:gd name="T6" fmla="*/ 0 w 36"/>
              <a:gd name="T7" fmla="*/ 98 h 108"/>
              <a:gd name="T8" fmla="*/ 0 w 36"/>
              <a:gd name="T9" fmla="*/ 83 h 108"/>
              <a:gd name="T10" fmla="*/ 2 w 36"/>
              <a:gd name="T11" fmla="*/ 81 h 108"/>
              <a:gd name="T12" fmla="*/ 0 w 36"/>
              <a:gd name="T13" fmla="*/ 74 h 108"/>
              <a:gd name="T14" fmla="*/ 0 w 36"/>
              <a:gd name="T15" fmla="*/ 59 h 108"/>
              <a:gd name="T16" fmla="*/ 6 w 36"/>
              <a:gd name="T17" fmla="*/ 46 h 108"/>
              <a:gd name="T18" fmla="*/ 6 w 36"/>
              <a:gd name="T19" fmla="*/ 32 h 108"/>
              <a:gd name="T20" fmla="*/ 13 w 36"/>
              <a:gd name="T21" fmla="*/ 32 h 108"/>
              <a:gd name="T22" fmla="*/ 15 w 36"/>
              <a:gd name="T23" fmla="*/ 25 h 108"/>
              <a:gd name="T24" fmla="*/ 9 w 36"/>
              <a:gd name="T25" fmla="*/ 19 h 108"/>
              <a:gd name="T26" fmla="*/ 15 w 36"/>
              <a:gd name="T27" fmla="*/ 12 h 108"/>
              <a:gd name="T28" fmla="*/ 21 w 36"/>
              <a:gd name="T29" fmla="*/ 6 h 108"/>
              <a:gd name="T30" fmla="*/ 36 w 36"/>
              <a:gd name="T31" fmla="*/ 0 h 108"/>
              <a:gd name="T32" fmla="*/ 34 w 36"/>
              <a:gd name="T33" fmla="*/ 10 h 108"/>
              <a:gd name="T34" fmla="*/ 36 w 36"/>
              <a:gd name="T35" fmla="*/ 17 h 108"/>
              <a:gd name="T36" fmla="*/ 30 w 36"/>
              <a:gd name="T37" fmla="*/ 27 h 108"/>
              <a:gd name="T38" fmla="*/ 28 w 36"/>
              <a:gd name="T39" fmla="*/ 42 h 108"/>
              <a:gd name="T40" fmla="*/ 28 w 36"/>
              <a:gd name="T41" fmla="*/ 57 h 108"/>
              <a:gd name="T42" fmla="*/ 26 w 36"/>
              <a:gd name="T43" fmla="*/ 63 h 108"/>
              <a:gd name="T44" fmla="*/ 26 w 36"/>
              <a:gd name="T45" fmla="*/ 63 h 108"/>
              <a:gd name="T46" fmla="*/ 19 w 36"/>
              <a:gd name="T47" fmla="*/ 59 h 108"/>
              <a:gd name="T48" fmla="*/ 17 w 36"/>
              <a:gd name="T49" fmla="*/ 66 h 108"/>
              <a:gd name="T50" fmla="*/ 13 w 36"/>
              <a:gd name="T51" fmla="*/ 74 h 108"/>
              <a:gd name="T52" fmla="*/ 13 w 36"/>
              <a:gd name="T53" fmla="*/ 81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6" h="108">
                <a:moveTo>
                  <a:pt x="13" y="81"/>
                </a:moveTo>
                <a:lnTo>
                  <a:pt x="13" y="93"/>
                </a:lnTo>
                <a:lnTo>
                  <a:pt x="9" y="108"/>
                </a:lnTo>
                <a:lnTo>
                  <a:pt x="0" y="98"/>
                </a:lnTo>
                <a:lnTo>
                  <a:pt x="0" y="83"/>
                </a:lnTo>
                <a:lnTo>
                  <a:pt x="2" y="81"/>
                </a:lnTo>
                <a:lnTo>
                  <a:pt x="0" y="74"/>
                </a:lnTo>
                <a:lnTo>
                  <a:pt x="0" y="59"/>
                </a:lnTo>
                <a:lnTo>
                  <a:pt x="6" y="46"/>
                </a:lnTo>
                <a:lnTo>
                  <a:pt x="6" y="32"/>
                </a:lnTo>
                <a:lnTo>
                  <a:pt x="13" y="32"/>
                </a:lnTo>
                <a:lnTo>
                  <a:pt x="15" y="25"/>
                </a:lnTo>
                <a:lnTo>
                  <a:pt x="9" y="19"/>
                </a:lnTo>
                <a:lnTo>
                  <a:pt x="15" y="12"/>
                </a:lnTo>
                <a:lnTo>
                  <a:pt x="21" y="6"/>
                </a:lnTo>
                <a:lnTo>
                  <a:pt x="36" y="0"/>
                </a:lnTo>
                <a:lnTo>
                  <a:pt x="34" y="10"/>
                </a:lnTo>
                <a:lnTo>
                  <a:pt x="36" y="17"/>
                </a:lnTo>
                <a:lnTo>
                  <a:pt x="30" y="27"/>
                </a:lnTo>
                <a:lnTo>
                  <a:pt x="28" y="42"/>
                </a:lnTo>
                <a:lnTo>
                  <a:pt x="28" y="57"/>
                </a:lnTo>
                <a:lnTo>
                  <a:pt x="26" y="63"/>
                </a:lnTo>
                <a:lnTo>
                  <a:pt x="26" y="63"/>
                </a:lnTo>
                <a:lnTo>
                  <a:pt x="19" y="59"/>
                </a:lnTo>
                <a:lnTo>
                  <a:pt x="17" y="66"/>
                </a:lnTo>
                <a:lnTo>
                  <a:pt x="13" y="74"/>
                </a:lnTo>
                <a:lnTo>
                  <a:pt x="13" y="8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2" name="Freeform 778"/>
          <p:cNvSpPr>
            <a:spLocks/>
          </p:cNvSpPr>
          <p:nvPr/>
        </p:nvSpPr>
        <p:spPr bwMode="auto">
          <a:xfrm>
            <a:off x="7200900" y="3629146"/>
            <a:ext cx="6350" cy="6350"/>
          </a:xfrm>
          <a:custGeom>
            <a:avLst/>
            <a:gdLst>
              <a:gd name="T0" fmla="*/ 2 w 4"/>
              <a:gd name="T1" fmla="*/ 4 h 4"/>
              <a:gd name="T2" fmla="*/ 0 w 4"/>
              <a:gd name="T3" fmla="*/ 0 h 4"/>
              <a:gd name="T4" fmla="*/ 4 w 4"/>
              <a:gd name="T5" fmla="*/ 4 h 4"/>
              <a:gd name="T6" fmla="*/ 2 w 4"/>
              <a:gd name="T7" fmla="*/ 4 h 4"/>
            </a:gdLst>
            <a:ahLst/>
            <a:cxnLst>
              <a:cxn ang="0">
                <a:pos x="T0" y="T1"/>
              </a:cxn>
              <a:cxn ang="0">
                <a:pos x="T2" y="T3"/>
              </a:cxn>
              <a:cxn ang="0">
                <a:pos x="T4" y="T5"/>
              </a:cxn>
              <a:cxn ang="0">
                <a:pos x="T6" y="T7"/>
              </a:cxn>
            </a:cxnLst>
            <a:rect l="0" t="0" r="r" b="b"/>
            <a:pathLst>
              <a:path w="4" h="4">
                <a:moveTo>
                  <a:pt x="2" y="4"/>
                </a:moveTo>
                <a:lnTo>
                  <a:pt x="0" y="0"/>
                </a:lnTo>
                <a:lnTo>
                  <a:pt x="4" y="4"/>
                </a:lnTo>
                <a:lnTo>
                  <a:pt x="2" y="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3" name="Freeform 779"/>
          <p:cNvSpPr>
            <a:spLocks/>
          </p:cNvSpPr>
          <p:nvPr/>
        </p:nvSpPr>
        <p:spPr bwMode="auto">
          <a:xfrm>
            <a:off x="7200900" y="3629146"/>
            <a:ext cx="6350" cy="6350"/>
          </a:xfrm>
          <a:custGeom>
            <a:avLst/>
            <a:gdLst>
              <a:gd name="T0" fmla="*/ 2 w 4"/>
              <a:gd name="T1" fmla="*/ 4 h 4"/>
              <a:gd name="T2" fmla="*/ 0 w 4"/>
              <a:gd name="T3" fmla="*/ 0 h 4"/>
              <a:gd name="T4" fmla="*/ 4 w 4"/>
              <a:gd name="T5" fmla="*/ 4 h 4"/>
              <a:gd name="T6" fmla="*/ 2 w 4"/>
              <a:gd name="T7" fmla="*/ 4 h 4"/>
            </a:gdLst>
            <a:ahLst/>
            <a:cxnLst>
              <a:cxn ang="0">
                <a:pos x="T0" y="T1"/>
              </a:cxn>
              <a:cxn ang="0">
                <a:pos x="T2" y="T3"/>
              </a:cxn>
              <a:cxn ang="0">
                <a:pos x="T4" y="T5"/>
              </a:cxn>
              <a:cxn ang="0">
                <a:pos x="T6" y="T7"/>
              </a:cxn>
            </a:cxnLst>
            <a:rect l="0" t="0" r="r" b="b"/>
            <a:pathLst>
              <a:path w="4" h="4">
                <a:moveTo>
                  <a:pt x="2" y="4"/>
                </a:moveTo>
                <a:lnTo>
                  <a:pt x="0" y="0"/>
                </a:lnTo>
                <a:lnTo>
                  <a:pt x="4" y="4"/>
                </a:lnTo>
                <a:lnTo>
                  <a:pt x="2" y="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4" name="Freeform 780"/>
          <p:cNvSpPr>
            <a:spLocks/>
          </p:cNvSpPr>
          <p:nvPr/>
        </p:nvSpPr>
        <p:spPr bwMode="auto">
          <a:xfrm>
            <a:off x="7207250" y="2013071"/>
            <a:ext cx="236538" cy="449263"/>
          </a:xfrm>
          <a:custGeom>
            <a:avLst/>
            <a:gdLst>
              <a:gd name="T0" fmla="*/ 0 w 149"/>
              <a:gd name="T1" fmla="*/ 38 h 283"/>
              <a:gd name="T2" fmla="*/ 28 w 149"/>
              <a:gd name="T3" fmla="*/ 30 h 283"/>
              <a:gd name="T4" fmla="*/ 143 w 149"/>
              <a:gd name="T5" fmla="*/ 0 h 283"/>
              <a:gd name="T6" fmla="*/ 141 w 149"/>
              <a:gd name="T7" fmla="*/ 4 h 283"/>
              <a:gd name="T8" fmla="*/ 145 w 149"/>
              <a:gd name="T9" fmla="*/ 13 h 283"/>
              <a:gd name="T10" fmla="*/ 141 w 149"/>
              <a:gd name="T11" fmla="*/ 28 h 283"/>
              <a:gd name="T12" fmla="*/ 143 w 149"/>
              <a:gd name="T13" fmla="*/ 36 h 283"/>
              <a:gd name="T14" fmla="*/ 147 w 149"/>
              <a:gd name="T15" fmla="*/ 43 h 283"/>
              <a:gd name="T16" fmla="*/ 149 w 149"/>
              <a:gd name="T17" fmla="*/ 49 h 283"/>
              <a:gd name="T18" fmla="*/ 149 w 149"/>
              <a:gd name="T19" fmla="*/ 58 h 283"/>
              <a:gd name="T20" fmla="*/ 143 w 149"/>
              <a:gd name="T21" fmla="*/ 68 h 283"/>
              <a:gd name="T22" fmla="*/ 132 w 149"/>
              <a:gd name="T23" fmla="*/ 81 h 283"/>
              <a:gd name="T24" fmla="*/ 128 w 149"/>
              <a:gd name="T25" fmla="*/ 81 h 283"/>
              <a:gd name="T26" fmla="*/ 122 w 149"/>
              <a:gd name="T27" fmla="*/ 89 h 283"/>
              <a:gd name="T28" fmla="*/ 122 w 149"/>
              <a:gd name="T29" fmla="*/ 96 h 283"/>
              <a:gd name="T30" fmla="*/ 126 w 149"/>
              <a:gd name="T31" fmla="*/ 111 h 283"/>
              <a:gd name="T32" fmla="*/ 124 w 149"/>
              <a:gd name="T33" fmla="*/ 124 h 283"/>
              <a:gd name="T34" fmla="*/ 126 w 149"/>
              <a:gd name="T35" fmla="*/ 130 h 283"/>
              <a:gd name="T36" fmla="*/ 122 w 149"/>
              <a:gd name="T37" fmla="*/ 138 h 283"/>
              <a:gd name="T38" fmla="*/ 124 w 149"/>
              <a:gd name="T39" fmla="*/ 145 h 283"/>
              <a:gd name="T40" fmla="*/ 122 w 149"/>
              <a:gd name="T41" fmla="*/ 153 h 283"/>
              <a:gd name="T42" fmla="*/ 117 w 149"/>
              <a:gd name="T43" fmla="*/ 160 h 283"/>
              <a:gd name="T44" fmla="*/ 117 w 149"/>
              <a:gd name="T45" fmla="*/ 170 h 283"/>
              <a:gd name="T46" fmla="*/ 115 w 149"/>
              <a:gd name="T47" fmla="*/ 179 h 283"/>
              <a:gd name="T48" fmla="*/ 122 w 149"/>
              <a:gd name="T49" fmla="*/ 202 h 283"/>
              <a:gd name="T50" fmla="*/ 122 w 149"/>
              <a:gd name="T51" fmla="*/ 217 h 283"/>
              <a:gd name="T52" fmla="*/ 126 w 149"/>
              <a:gd name="T53" fmla="*/ 239 h 283"/>
              <a:gd name="T54" fmla="*/ 122 w 149"/>
              <a:gd name="T55" fmla="*/ 247 h 283"/>
              <a:gd name="T56" fmla="*/ 122 w 149"/>
              <a:gd name="T57" fmla="*/ 253 h 283"/>
              <a:gd name="T58" fmla="*/ 126 w 149"/>
              <a:gd name="T59" fmla="*/ 262 h 283"/>
              <a:gd name="T60" fmla="*/ 132 w 149"/>
              <a:gd name="T61" fmla="*/ 271 h 283"/>
              <a:gd name="T62" fmla="*/ 70 w 149"/>
              <a:gd name="T63" fmla="*/ 283 h 283"/>
              <a:gd name="T64" fmla="*/ 64 w 149"/>
              <a:gd name="T65" fmla="*/ 277 h 283"/>
              <a:gd name="T66" fmla="*/ 66 w 149"/>
              <a:gd name="T67" fmla="*/ 271 h 283"/>
              <a:gd name="T68" fmla="*/ 49 w 149"/>
              <a:gd name="T69" fmla="*/ 198 h 283"/>
              <a:gd name="T70" fmla="*/ 38 w 149"/>
              <a:gd name="T71" fmla="*/ 190 h 283"/>
              <a:gd name="T72" fmla="*/ 34 w 149"/>
              <a:gd name="T73" fmla="*/ 196 h 283"/>
              <a:gd name="T74" fmla="*/ 32 w 149"/>
              <a:gd name="T75" fmla="*/ 190 h 283"/>
              <a:gd name="T76" fmla="*/ 32 w 149"/>
              <a:gd name="T77" fmla="*/ 177 h 283"/>
              <a:gd name="T78" fmla="*/ 28 w 149"/>
              <a:gd name="T79" fmla="*/ 162 h 283"/>
              <a:gd name="T80" fmla="*/ 24 w 149"/>
              <a:gd name="T81" fmla="*/ 156 h 283"/>
              <a:gd name="T82" fmla="*/ 19 w 149"/>
              <a:gd name="T83" fmla="*/ 141 h 283"/>
              <a:gd name="T84" fmla="*/ 19 w 149"/>
              <a:gd name="T85" fmla="*/ 126 h 283"/>
              <a:gd name="T86" fmla="*/ 24 w 149"/>
              <a:gd name="T87" fmla="*/ 124 h 283"/>
              <a:gd name="T88" fmla="*/ 21 w 149"/>
              <a:gd name="T89" fmla="*/ 115 h 283"/>
              <a:gd name="T90" fmla="*/ 19 w 149"/>
              <a:gd name="T91" fmla="*/ 109 h 283"/>
              <a:gd name="T92" fmla="*/ 19 w 149"/>
              <a:gd name="T93" fmla="*/ 100 h 283"/>
              <a:gd name="T94" fmla="*/ 17 w 149"/>
              <a:gd name="T95" fmla="*/ 94 h 283"/>
              <a:gd name="T96" fmla="*/ 11 w 149"/>
              <a:gd name="T97" fmla="*/ 87 h 283"/>
              <a:gd name="T98" fmla="*/ 9 w 149"/>
              <a:gd name="T99" fmla="*/ 79 h 283"/>
              <a:gd name="T100" fmla="*/ 7 w 149"/>
              <a:gd name="T101" fmla="*/ 62 h 283"/>
              <a:gd name="T102" fmla="*/ 2 w 149"/>
              <a:gd name="T103" fmla="*/ 55 h 283"/>
              <a:gd name="T104" fmla="*/ 2 w 149"/>
              <a:gd name="T105" fmla="*/ 47 h 283"/>
              <a:gd name="T106" fmla="*/ 0 w 149"/>
              <a:gd name="T107" fmla="*/ 41 h 283"/>
              <a:gd name="T108" fmla="*/ 0 w 149"/>
              <a:gd name="T109" fmla="*/ 3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83">
                <a:moveTo>
                  <a:pt x="0" y="38"/>
                </a:moveTo>
                <a:lnTo>
                  <a:pt x="28" y="30"/>
                </a:lnTo>
                <a:lnTo>
                  <a:pt x="143" y="0"/>
                </a:lnTo>
                <a:lnTo>
                  <a:pt x="141" y="4"/>
                </a:lnTo>
                <a:lnTo>
                  <a:pt x="145" y="13"/>
                </a:lnTo>
                <a:lnTo>
                  <a:pt x="141" y="28"/>
                </a:lnTo>
                <a:lnTo>
                  <a:pt x="143" y="36"/>
                </a:lnTo>
                <a:lnTo>
                  <a:pt x="147" y="43"/>
                </a:lnTo>
                <a:lnTo>
                  <a:pt x="149" y="49"/>
                </a:lnTo>
                <a:lnTo>
                  <a:pt x="149" y="58"/>
                </a:lnTo>
                <a:lnTo>
                  <a:pt x="143" y="68"/>
                </a:lnTo>
                <a:lnTo>
                  <a:pt x="132" y="81"/>
                </a:lnTo>
                <a:lnTo>
                  <a:pt x="128" y="81"/>
                </a:lnTo>
                <a:lnTo>
                  <a:pt x="122" y="89"/>
                </a:lnTo>
                <a:lnTo>
                  <a:pt x="122" y="96"/>
                </a:lnTo>
                <a:lnTo>
                  <a:pt x="126" y="111"/>
                </a:lnTo>
                <a:lnTo>
                  <a:pt x="124" y="124"/>
                </a:lnTo>
                <a:lnTo>
                  <a:pt x="126" y="130"/>
                </a:lnTo>
                <a:lnTo>
                  <a:pt x="122" y="138"/>
                </a:lnTo>
                <a:lnTo>
                  <a:pt x="124" y="145"/>
                </a:lnTo>
                <a:lnTo>
                  <a:pt x="122" y="153"/>
                </a:lnTo>
                <a:lnTo>
                  <a:pt x="117" y="160"/>
                </a:lnTo>
                <a:lnTo>
                  <a:pt x="117" y="170"/>
                </a:lnTo>
                <a:lnTo>
                  <a:pt x="115" y="179"/>
                </a:lnTo>
                <a:lnTo>
                  <a:pt x="122" y="202"/>
                </a:lnTo>
                <a:lnTo>
                  <a:pt x="122" y="217"/>
                </a:lnTo>
                <a:lnTo>
                  <a:pt x="126" y="239"/>
                </a:lnTo>
                <a:lnTo>
                  <a:pt x="122" y="247"/>
                </a:lnTo>
                <a:lnTo>
                  <a:pt x="122" y="253"/>
                </a:lnTo>
                <a:lnTo>
                  <a:pt x="126" y="262"/>
                </a:lnTo>
                <a:lnTo>
                  <a:pt x="132" y="271"/>
                </a:lnTo>
                <a:lnTo>
                  <a:pt x="70" y="283"/>
                </a:lnTo>
                <a:lnTo>
                  <a:pt x="64" y="277"/>
                </a:lnTo>
                <a:lnTo>
                  <a:pt x="66" y="271"/>
                </a:lnTo>
                <a:lnTo>
                  <a:pt x="49" y="198"/>
                </a:lnTo>
                <a:lnTo>
                  <a:pt x="38" y="190"/>
                </a:lnTo>
                <a:lnTo>
                  <a:pt x="34" y="196"/>
                </a:lnTo>
                <a:lnTo>
                  <a:pt x="32" y="190"/>
                </a:lnTo>
                <a:lnTo>
                  <a:pt x="32" y="177"/>
                </a:lnTo>
                <a:lnTo>
                  <a:pt x="28" y="162"/>
                </a:lnTo>
                <a:lnTo>
                  <a:pt x="24" y="156"/>
                </a:lnTo>
                <a:lnTo>
                  <a:pt x="19" y="141"/>
                </a:lnTo>
                <a:lnTo>
                  <a:pt x="19" y="126"/>
                </a:lnTo>
                <a:lnTo>
                  <a:pt x="24" y="124"/>
                </a:lnTo>
                <a:lnTo>
                  <a:pt x="21" y="115"/>
                </a:lnTo>
                <a:lnTo>
                  <a:pt x="19" y="109"/>
                </a:lnTo>
                <a:lnTo>
                  <a:pt x="19" y="100"/>
                </a:lnTo>
                <a:lnTo>
                  <a:pt x="17" y="94"/>
                </a:lnTo>
                <a:lnTo>
                  <a:pt x="11" y="87"/>
                </a:lnTo>
                <a:lnTo>
                  <a:pt x="9" y="79"/>
                </a:lnTo>
                <a:lnTo>
                  <a:pt x="7" y="62"/>
                </a:lnTo>
                <a:lnTo>
                  <a:pt x="2" y="55"/>
                </a:lnTo>
                <a:lnTo>
                  <a:pt x="2" y="47"/>
                </a:lnTo>
                <a:lnTo>
                  <a:pt x="0" y="41"/>
                </a:lnTo>
                <a:lnTo>
                  <a:pt x="0" y="3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5" name="Freeform 781"/>
          <p:cNvSpPr>
            <a:spLocks/>
          </p:cNvSpPr>
          <p:nvPr/>
        </p:nvSpPr>
        <p:spPr bwMode="auto">
          <a:xfrm>
            <a:off x="7207250" y="2013071"/>
            <a:ext cx="236538" cy="449263"/>
          </a:xfrm>
          <a:custGeom>
            <a:avLst/>
            <a:gdLst>
              <a:gd name="T0" fmla="*/ 0 w 149"/>
              <a:gd name="T1" fmla="*/ 38 h 283"/>
              <a:gd name="T2" fmla="*/ 28 w 149"/>
              <a:gd name="T3" fmla="*/ 30 h 283"/>
              <a:gd name="T4" fmla="*/ 143 w 149"/>
              <a:gd name="T5" fmla="*/ 0 h 283"/>
              <a:gd name="T6" fmla="*/ 141 w 149"/>
              <a:gd name="T7" fmla="*/ 4 h 283"/>
              <a:gd name="T8" fmla="*/ 145 w 149"/>
              <a:gd name="T9" fmla="*/ 13 h 283"/>
              <a:gd name="T10" fmla="*/ 141 w 149"/>
              <a:gd name="T11" fmla="*/ 28 h 283"/>
              <a:gd name="T12" fmla="*/ 143 w 149"/>
              <a:gd name="T13" fmla="*/ 36 h 283"/>
              <a:gd name="T14" fmla="*/ 147 w 149"/>
              <a:gd name="T15" fmla="*/ 43 h 283"/>
              <a:gd name="T16" fmla="*/ 149 w 149"/>
              <a:gd name="T17" fmla="*/ 49 h 283"/>
              <a:gd name="T18" fmla="*/ 149 w 149"/>
              <a:gd name="T19" fmla="*/ 58 h 283"/>
              <a:gd name="T20" fmla="*/ 143 w 149"/>
              <a:gd name="T21" fmla="*/ 68 h 283"/>
              <a:gd name="T22" fmla="*/ 132 w 149"/>
              <a:gd name="T23" fmla="*/ 81 h 283"/>
              <a:gd name="T24" fmla="*/ 128 w 149"/>
              <a:gd name="T25" fmla="*/ 81 h 283"/>
              <a:gd name="T26" fmla="*/ 122 w 149"/>
              <a:gd name="T27" fmla="*/ 89 h 283"/>
              <a:gd name="T28" fmla="*/ 122 w 149"/>
              <a:gd name="T29" fmla="*/ 96 h 283"/>
              <a:gd name="T30" fmla="*/ 126 w 149"/>
              <a:gd name="T31" fmla="*/ 111 h 283"/>
              <a:gd name="T32" fmla="*/ 124 w 149"/>
              <a:gd name="T33" fmla="*/ 124 h 283"/>
              <a:gd name="T34" fmla="*/ 126 w 149"/>
              <a:gd name="T35" fmla="*/ 130 h 283"/>
              <a:gd name="T36" fmla="*/ 122 w 149"/>
              <a:gd name="T37" fmla="*/ 138 h 283"/>
              <a:gd name="T38" fmla="*/ 124 w 149"/>
              <a:gd name="T39" fmla="*/ 145 h 283"/>
              <a:gd name="T40" fmla="*/ 122 w 149"/>
              <a:gd name="T41" fmla="*/ 153 h 283"/>
              <a:gd name="T42" fmla="*/ 117 w 149"/>
              <a:gd name="T43" fmla="*/ 160 h 283"/>
              <a:gd name="T44" fmla="*/ 117 w 149"/>
              <a:gd name="T45" fmla="*/ 170 h 283"/>
              <a:gd name="T46" fmla="*/ 115 w 149"/>
              <a:gd name="T47" fmla="*/ 179 h 283"/>
              <a:gd name="T48" fmla="*/ 122 w 149"/>
              <a:gd name="T49" fmla="*/ 202 h 283"/>
              <a:gd name="T50" fmla="*/ 122 w 149"/>
              <a:gd name="T51" fmla="*/ 217 h 283"/>
              <a:gd name="T52" fmla="*/ 126 w 149"/>
              <a:gd name="T53" fmla="*/ 239 h 283"/>
              <a:gd name="T54" fmla="*/ 122 w 149"/>
              <a:gd name="T55" fmla="*/ 247 h 283"/>
              <a:gd name="T56" fmla="*/ 122 w 149"/>
              <a:gd name="T57" fmla="*/ 253 h 283"/>
              <a:gd name="T58" fmla="*/ 126 w 149"/>
              <a:gd name="T59" fmla="*/ 262 h 283"/>
              <a:gd name="T60" fmla="*/ 132 w 149"/>
              <a:gd name="T61" fmla="*/ 271 h 283"/>
              <a:gd name="T62" fmla="*/ 70 w 149"/>
              <a:gd name="T63" fmla="*/ 283 h 283"/>
              <a:gd name="T64" fmla="*/ 64 w 149"/>
              <a:gd name="T65" fmla="*/ 277 h 283"/>
              <a:gd name="T66" fmla="*/ 66 w 149"/>
              <a:gd name="T67" fmla="*/ 271 h 283"/>
              <a:gd name="T68" fmla="*/ 49 w 149"/>
              <a:gd name="T69" fmla="*/ 198 h 283"/>
              <a:gd name="T70" fmla="*/ 38 w 149"/>
              <a:gd name="T71" fmla="*/ 190 h 283"/>
              <a:gd name="T72" fmla="*/ 34 w 149"/>
              <a:gd name="T73" fmla="*/ 196 h 283"/>
              <a:gd name="T74" fmla="*/ 32 w 149"/>
              <a:gd name="T75" fmla="*/ 190 h 283"/>
              <a:gd name="T76" fmla="*/ 32 w 149"/>
              <a:gd name="T77" fmla="*/ 177 h 283"/>
              <a:gd name="T78" fmla="*/ 28 w 149"/>
              <a:gd name="T79" fmla="*/ 162 h 283"/>
              <a:gd name="T80" fmla="*/ 24 w 149"/>
              <a:gd name="T81" fmla="*/ 156 h 283"/>
              <a:gd name="T82" fmla="*/ 19 w 149"/>
              <a:gd name="T83" fmla="*/ 141 h 283"/>
              <a:gd name="T84" fmla="*/ 19 w 149"/>
              <a:gd name="T85" fmla="*/ 126 h 283"/>
              <a:gd name="T86" fmla="*/ 24 w 149"/>
              <a:gd name="T87" fmla="*/ 124 h 283"/>
              <a:gd name="T88" fmla="*/ 21 w 149"/>
              <a:gd name="T89" fmla="*/ 115 h 283"/>
              <a:gd name="T90" fmla="*/ 19 w 149"/>
              <a:gd name="T91" fmla="*/ 109 h 283"/>
              <a:gd name="T92" fmla="*/ 19 w 149"/>
              <a:gd name="T93" fmla="*/ 100 h 283"/>
              <a:gd name="T94" fmla="*/ 17 w 149"/>
              <a:gd name="T95" fmla="*/ 94 h 283"/>
              <a:gd name="T96" fmla="*/ 11 w 149"/>
              <a:gd name="T97" fmla="*/ 87 h 283"/>
              <a:gd name="T98" fmla="*/ 9 w 149"/>
              <a:gd name="T99" fmla="*/ 79 h 283"/>
              <a:gd name="T100" fmla="*/ 7 w 149"/>
              <a:gd name="T101" fmla="*/ 62 h 283"/>
              <a:gd name="T102" fmla="*/ 2 w 149"/>
              <a:gd name="T103" fmla="*/ 55 h 283"/>
              <a:gd name="T104" fmla="*/ 2 w 149"/>
              <a:gd name="T105" fmla="*/ 47 h 283"/>
              <a:gd name="T106" fmla="*/ 0 w 149"/>
              <a:gd name="T107" fmla="*/ 41 h 283"/>
              <a:gd name="T108" fmla="*/ 0 w 149"/>
              <a:gd name="T109" fmla="*/ 38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9" h="283">
                <a:moveTo>
                  <a:pt x="0" y="38"/>
                </a:moveTo>
                <a:lnTo>
                  <a:pt x="28" y="30"/>
                </a:lnTo>
                <a:lnTo>
                  <a:pt x="143" y="0"/>
                </a:lnTo>
                <a:lnTo>
                  <a:pt x="141" y="4"/>
                </a:lnTo>
                <a:lnTo>
                  <a:pt x="145" y="13"/>
                </a:lnTo>
                <a:lnTo>
                  <a:pt x="141" y="28"/>
                </a:lnTo>
                <a:lnTo>
                  <a:pt x="143" y="36"/>
                </a:lnTo>
                <a:lnTo>
                  <a:pt x="147" y="43"/>
                </a:lnTo>
                <a:lnTo>
                  <a:pt x="149" y="49"/>
                </a:lnTo>
                <a:lnTo>
                  <a:pt x="149" y="58"/>
                </a:lnTo>
                <a:lnTo>
                  <a:pt x="143" y="68"/>
                </a:lnTo>
                <a:lnTo>
                  <a:pt x="132" y="81"/>
                </a:lnTo>
                <a:lnTo>
                  <a:pt x="128" y="81"/>
                </a:lnTo>
                <a:lnTo>
                  <a:pt x="122" y="89"/>
                </a:lnTo>
                <a:lnTo>
                  <a:pt x="122" y="96"/>
                </a:lnTo>
                <a:lnTo>
                  <a:pt x="126" y="111"/>
                </a:lnTo>
                <a:lnTo>
                  <a:pt x="124" y="124"/>
                </a:lnTo>
                <a:lnTo>
                  <a:pt x="126" y="130"/>
                </a:lnTo>
                <a:lnTo>
                  <a:pt x="122" y="138"/>
                </a:lnTo>
                <a:lnTo>
                  <a:pt x="124" y="145"/>
                </a:lnTo>
                <a:lnTo>
                  <a:pt x="122" y="153"/>
                </a:lnTo>
                <a:lnTo>
                  <a:pt x="117" y="160"/>
                </a:lnTo>
                <a:lnTo>
                  <a:pt x="117" y="170"/>
                </a:lnTo>
                <a:lnTo>
                  <a:pt x="115" y="179"/>
                </a:lnTo>
                <a:lnTo>
                  <a:pt x="122" y="202"/>
                </a:lnTo>
                <a:lnTo>
                  <a:pt x="122" y="217"/>
                </a:lnTo>
                <a:lnTo>
                  <a:pt x="126" y="239"/>
                </a:lnTo>
                <a:lnTo>
                  <a:pt x="122" y="247"/>
                </a:lnTo>
                <a:lnTo>
                  <a:pt x="122" y="253"/>
                </a:lnTo>
                <a:lnTo>
                  <a:pt x="126" y="262"/>
                </a:lnTo>
                <a:lnTo>
                  <a:pt x="132" y="271"/>
                </a:lnTo>
                <a:lnTo>
                  <a:pt x="70" y="283"/>
                </a:lnTo>
                <a:lnTo>
                  <a:pt x="64" y="277"/>
                </a:lnTo>
                <a:lnTo>
                  <a:pt x="66" y="271"/>
                </a:lnTo>
                <a:lnTo>
                  <a:pt x="49" y="198"/>
                </a:lnTo>
                <a:lnTo>
                  <a:pt x="38" y="190"/>
                </a:lnTo>
                <a:lnTo>
                  <a:pt x="34" y="196"/>
                </a:lnTo>
                <a:lnTo>
                  <a:pt x="32" y="190"/>
                </a:lnTo>
                <a:lnTo>
                  <a:pt x="32" y="177"/>
                </a:lnTo>
                <a:lnTo>
                  <a:pt x="28" y="162"/>
                </a:lnTo>
                <a:lnTo>
                  <a:pt x="24" y="156"/>
                </a:lnTo>
                <a:lnTo>
                  <a:pt x="19" y="141"/>
                </a:lnTo>
                <a:lnTo>
                  <a:pt x="19" y="126"/>
                </a:lnTo>
                <a:lnTo>
                  <a:pt x="24" y="124"/>
                </a:lnTo>
                <a:lnTo>
                  <a:pt x="21" y="115"/>
                </a:lnTo>
                <a:lnTo>
                  <a:pt x="19" y="109"/>
                </a:lnTo>
                <a:lnTo>
                  <a:pt x="19" y="100"/>
                </a:lnTo>
                <a:lnTo>
                  <a:pt x="17" y="94"/>
                </a:lnTo>
                <a:lnTo>
                  <a:pt x="11" y="87"/>
                </a:lnTo>
                <a:lnTo>
                  <a:pt x="9" y="79"/>
                </a:lnTo>
                <a:lnTo>
                  <a:pt x="7" y="62"/>
                </a:lnTo>
                <a:lnTo>
                  <a:pt x="2" y="55"/>
                </a:lnTo>
                <a:lnTo>
                  <a:pt x="2" y="47"/>
                </a:lnTo>
                <a:lnTo>
                  <a:pt x="0" y="41"/>
                </a:lnTo>
                <a:lnTo>
                  <a:pt x="0" y="3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6" name="Freeform 782"/>
          <p:cNvSpPr>
            <a:spLocks/>
          </p:cNvSpPr>
          <p:nvPr/>
        </p:nvSpPr>
        <p:spPr bwMode="auto">
          <a:xfrm>
            <a:off x="7210425" y="3608509"/>
            <a:ext cx="17463" cy="23813"/>
          </a:xfrm>
          <a:custGeom>
            <a:avLst/>
            <a:gdLst>
              <a:gd name="T0" fmla="*/ 2 w 11"/>
              <a:gd name="T1" fmla="*/ 15 h 15"/>
              <a:gd name="T2" fmla="*/ 0 w 11"/>
              <a:gd name="T3" fmla="*/ 9 h 15"/>
              <a:gd name="T4" fmla="*/ 0 w 11"/>
              <a:gd name="T5" fmla="*/ 0 h 15"/>
              <a:gd name="T6" fmla="*/ 7 w 11"/>
              <a:gd name="T7" fmla="*/ 7 h 15"/>
              <a:gd name="T8" fmla="*/ 11 w 11"/>
              <a:gd name="T9" fmla="*/ 15 h 15"/>
              <a:gd name="T10" fmla="*/ 2 w 11"/>
              <a:gd name="T11" fmla="*/ 15 h 15"/>
            </a:gdLst>
            <a:ahLst/>
            <a:cxnLst>
              <a:cxn ang="0">
                <a:pos x="T0" y="T1"/>
              </a:cxn>
              <a:cxn ang="0">
                <a:pos x="T2" y="T3"/>
              </a:cxn>
              <a:cxn ang="0">
                <a:pos x="T4" y="T5"/>
              </a:cxn>
              <a:cxn ang="0">
                <a:pos x="T6" y="T7"/>
              </a:cxn>
              <a:cxn ang="0">
                <a:pos x="T8" y="T9"/>
              </a:cxn>
              <a:cxn ang="0">
                <a:pos x="T10" y="T11"/>
              </a:cxn>
            </a:cxnLst>
            <a:rect l="0" t="0" r="r" b="b"/>
            <a:pathLst>
              <a:path w="11" h="15">
                <a:moveTo>
                  <a:pt x="2" y="15"/>
                </a:moveTo>
                <a:lnTo>
                  <a:pt x="0" y="9"/>
                </a:lnTo>
                <a:lnTo>
                  <a:pt x="0" y="0"/>
                </a:lnTo>
                <a:lnTo>
                  <a:pt x="7" y="7"/>
                </a:lnTo>
                <a:lnTo>
                  <a:pt x="11" y="15"/>
                </a:lnTo>
                <a:lnTo>
                  <a:pt x="2" y="15"/>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7" name="Freeform 783"/>
          <p:cNvSpPr>
            <a:spLocks/>
          </p:cNvSpPr>
          <p:nvPr/>
        </p:nvSpPr>
        <p:spPr bwMode="auto">
          <a:xfrm>
            <a:off x="7210425" y="3608509"/>
            <a:ext cx="17463" cy="23813"/>
          </a:xfrm>
          <a:custGeom>
            <a:avLst/>
            <a:gdLst>
              <a:gd name="T0" fmla="*/ 2 w 11"/>
              <a:gd name="T1" fmla="*/ 15 h 15"/>
              <a:gd name="T2" fmla="*/ 0 w 11"/>
              <a:gd name="T3" fmla="*/ 9 h 15"/>
              <a:gd name="T4" fmla="*/ 0 w 11"/>
              <a:gd name="T5" fmla="*/ 0 h 15"/>
              <a:gd name="T6" fmla="*/ 7 w 11"/>
              <a:gd name="T7" fmla="*/ 7 h 15"/>
              <a:gd name="T8" fmla="*/ 11 w 11"/>
              <a:gd name="T9" fmla="*/ 15 h 15"/>
              <a:gd name="T10" fmla="*/ 2 w 11"/>
              <a:gd name="T11" fmla="*/ 15 h 15"/>
            </a:gdLst>
            <a:ahLst/>
            <a:cxnLst>
              <a:cxn ang="0">
                <a:pos x="T0" y="T1"/>
              </a:cxn>
              <a:cxn ang="0">
                <a:pos x="T2" y="T3"/>
              </a:cxn>
              <a:cxn ang="0">
                <a:pos x="T4" y="T5"/>
              </a:cxn>
              <a:cxn ang="0">
                <a:pos x="T6" y="T7"/>
              </a:cxn>
              <a:cxn ang="0">
                <a:pos x="T8" y="T9"/>
              </a:cxn>
              <a:cxn ang="0">
                <a:pos x="T10" y="T11"/>
              </a:cxn>
            </a:cxnLst>
            <a:rect l="0" t="0" r="r" b="b"/>
            <a:pathLst>
              <a:path w="11" h="15">
                <a:moveTo>
                  <a:pt x="2" y="15"/>
                </a:moveTo>
                <a:lnTo>
                  <a:pt x="0" y="9"/>
                </a:lnTo>
                <a:lnTo>
                  <a:pt x="0" y="0"/>
                </a:lnTo>
                <a:lnTo>
                  <a:pt x="7" y="7"/>
                </a:lnTo>
                <a:lnTo>
                  <a:pt x="11" y="15"/>
                </a:lnTo>
                <a:lnTo>
                  <a:pt x="2" y="1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78" name="Freeform 784"/>
          <p:cNvSpPr>
            <a:spLocks/>
          </p:cNvSpPr>
          <p:nvPr/>
        </p:nvSpPr>
        <p:spPr bwMode="auto">
          <a:xfrm>
            <a:off x="7245350" y="3302121"/>
            <a:ext cx="19050" cy="80963"/>
          </a:xfrm>
          <a:custGeom>
            <a:avLst/>
            <a:gdLst>
              <a:gd name="T0" fmla="*/ 6 w 12"/>
              <a:gd name="T1" fmla="*/ 31 h 51"/>
              <a:gd name="T2" fmla="*/ 2 w 12"/>
              <a:gd name="T3" fmla="*/ 38 h 51"/>
              <a:gd name="T4" fmla="*/ 2 w 12"/>
              <a:gd name="T5" fmla="*/ 44 h 51"/>
              <a:gd name="T6" fmla="*/ 0 w 12"/>
              <a:gd name="T7" fmla="*/ 51 h 51"/>
              <a:gd name="T8" fmla="*/ 4 w 12"/>
              <a:gd name="T9" fmla="*/ 44 h 51"/>
              <a:gd name="T10" fmla="*/ 8 w 12"/>
              <a:gd name="T11" fmla="*/ 29 h 51"/>
              <a:gd name="T12" fmla="*/ 10 w 12"/>
              <a:gd name="T13" fmla="*/ 23 h 51"/>
              <a:gd name="T14" fmla="*/ 12 w 12"/>
              <a:gd name="T15" fmla="*/ 0 h 51"/>
              <a:gd name="T16" fmla="*/ 10 w 12"/>
              <a:gd name="T17" fmla="*/ 8 h 51"/>
              <a:gd name="T18" fmla="*/ 6 w 12"/>
              <a:gd name="T19"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1">
                <a:moveTo>
                  <a:pt x="6" y="31"/>
                </a:moveTo>
                <a:lnTo>
                  <a:pt x="2" y="38"/>
                </a:lnTo>
                <a:lnTo>
                  <a:pt x="2" y="44"/>
                </a:lnTo>
                <a:lnTo>
                  <a:pt x="0" y="51"/>
                </a:lnTo>
                <a:lnTo>
                  <a:pt x="4" y="44"/>
                </a:lnTo>
                <a:lnTo>
                  <a:pt x="8" y="29"/>
                </a:lnTo>
                <a:lnTo>
                  <a:pt x="10" y="23"/>
                </a:lnTo>
                <a:lnTo>
                  <a:pt x="12" y="0"/>
                </a:lnTo>
                <a:lnTo>
                  <a:pt x="10" y="8"/>
                </a:lnTo>
                <a:lnTo>
                  <a:pt x="6"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79" name="Freeform 785"/>
          <p:cNvSpPr>
            <a:spLocks/>
          </p:cNvSpPr>
          <p:nvPr/>
        </p:nvSpPr>
        <p:spPr bwMode="auto">
          <a:xfrm>
            <a:off x="7245350" y="3302121"/>
            <a:ext cx="19050" cy="80963"/>
          </a:xfrm>
          <a:custGeom>
            <a:avLst/>
            <a:gdLst>
              <a:gd name="T0" fmla="*/ 6 w 12"/>
              <a:gd name="T1" fmla="*/ 31 h 51"/>
              <a:gd name="T2" fmla="*/ 2 w 12"/>
              <a:gd name="T3" fmla="*/ 38 h 51"/>
              <a:gd name="T4" fmla="*/ 2 w 12"/>
              <a:gd name="T5" fmla="*/ 44 h 51"/>
              <a:gd name="T6" fmla="*/ 0 w 12"/>
              <a:gd name="T7" fmla="*/ 51 h 51"/>
              <a:gd name="T8" fmla="*/ 4 w 12"/>
              <a:gd name="T9" fmla="*/ 44 h 51"/>
              <a:gd name="T10" fmla="*/ 8 w 12"/>
              <a:gd name="T11" fmla="*/ 29 h 51"/>
              <a:gd name="T12" fmla="*/ 10 w 12"/>
              <a:gd name="T13" fmla="*/ 23 h 51"/>
              <a:gd name="T14" fmla="*/ 12 w 12"/>
              <a:gd name="T15" fmla="*/ 0 h 51"/>
              <a:gd name="T16" fmla="*/ 10 w 12"/>
              <a:gd name="T17" fmla="*/ 8 h 51"/>
              <a:gd name="T18" fmla="*/ 6 w 12"/>
              <a:gd name="T19" fmla="*/ 3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2" h="51">
                <a:moveTo>
                  <a:pt x="6" y="31"/>
                </a:moveTo>
                <a:lnTo>
                  <a:pt x="2" y="38"/>
                </a:lnTo>
                <a:lnTo>
                  <a:pt x="2" y="44"/>
                </a:lnTo>
                <a:lnTo>
                  <a:pt x="0" y="51"/>
                </a:lnTo>
                <a:lnTo>
                  <a:pt x="4" y="44"/>
                </a:lnTo>
                <a:lnTo>
                  <a:pt x="8" y="29"/>
                </a:lnTo>
                <a:lnTo>
                  <a:pt x="10" y="23"/>
                </a:lnTo>
                <a:lnTo>
                  <a:pt x="12" y="0"/>
                </a:lnTo>
                <a:lnTo>
                  <a:pt x="10" y="8"/>
                </a:lnTo>
                <a:lnTo>
                  <a:pt x="6" y="3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0" name="Freeform 786"/>
          <p:cNvSpPr>
            <a:spLocks/>
          </p:cNvSpPr>
          <p:nvPr/>
        </p:nvSpPr>
        <p:spPr bwMode="auto">
          <a:xfrm>
            <a:off x="6623050" y="3071934"/>
            <a:ext cx="638175" cy="311150"/>
          </a:xfrm>
          <a:custGeom>
            <a:avLst/>
            <a:gdLst>
              <a:gd name="T0" fmla="*/ 311 w 402"/>
              <a:gd name="T1" fmla="*/ 0 h 196"/>
              <a:gd name="T2" fmla="*/ 349 w 402"/>
              <a:gd name="T3" fmla="*/ 138 h 196"/>
              <a:gd name="T4" fmla="*/ 396 w 402"/>
              <a:gd name="T5" fmla="*/ 132 h 196"/>
              <a:gd name="T6" fmla="*/ 396 w 402"/>
              <a:gd name="T7" fmla="*/ 151 h 196"/>
              <a:gd name="T8" fmla="*/ 387 w 402"/>
              <a:gd name="T9" fmla="*/ 179 h 196"/>
              <a:gd name="T10" fmla="*/ 360 w 402"/>
              <a:gd name="T11" fmla="*/ 191 h 196"/>
              <a:gd name="T12" fmla="*/ 351 w 402"/>
              <a:gd name="T13" fmla="*/ 183 h 196"/>
              <a:gd name="T14" fmla="*/ 343 w 402"/>
              <a:gd name="T15" fmla="*/ 174 h 196"/>
              <a:gd name="T16" fmla="*/ 340 w 402"/>
              <a:gd name="T17" fmla="*/ 164 h 196"/>
              <a:gd name="T18" fmla="*/ 330 w 402"/>
              <a:gd name="T19" fmla="*/ 164 h 196"/>
              <a:gd name="T20" fmla="*/ 323 w 402"/>
              <a:gd name="T21" fmla="*/ 159 h 196"/>
              <a:gd name="T22" fmla="*/ 313 w 402"/>
              <a:gd name="T23" fmla="*/ 159 h 196"/>
              <a:gd name="T24" fmla="*/ 302 w 402"/>
              <a:gd name="T25" fmla="*/ 155 h 196"/>
              <a:gd name="T26" fmla="*/ 298 w 402"/>
              <a:gd name="T27" fmla="*/ 138 h 196"/>
              <a:gd name="T28" fmla="*/ 321 w 402"/>
              <a:gd name="T29" fmla="*/ 123 h 196"/>
              <a:gd name="T30" fmla="*/ 302 w 402"/>
              <a:gd name="T31" fmla="*/ 119 h 196"/>
              <a:gd name="T32" fmla="*/ 291 w 402"/>
              <a:gd name="T33" fmla="*/ 123 h 196"/>
              <a:gd name="T34" fmla="*/ 296 w 402"/>
              <a:gd name="T35" fmla="*/ 106 h 196"/>
              <a:gd name="T36" fmla="*/ 304 w 402"/>
              <a:gd name="T37" fmla="*/ 100 h 196"/>
              <a:gd name="T38" fmla="*/ 289 w 402"/>
              <a:gd name="T39" fmla="*/ 93 h 196"/>
              <a:gd name="T40" fmla="*/ 283 w 402"/>
              <a:gd name="T41" fmla="*/ 91 h 196"/>
              <a:gd name="T42" fmla="*/ 296 w 402"/>
              <a:gd name="T43" fmla="*/ 81 h 196"/>
              <a:gd name="T44" fmla="*/ 289 w 402"/>
              <a:gd name="T45" fmla="*/ 81 h 196"/>
              <a:gd name="T46" fmla="*/ 294 w 402"/>
              <a:gd name="T47" fmla="*/ 44 h 196"/>
              <a:gd name="T48" fmla="*/ 298 w 402"/>
              <a:gd name="T49" fmla="*/ 38 h 196"/>
              <a:gd name="T50" fmla="*/ 300 w 402"/>
              <a:gd name="T51" fmla="*/ 27 h 196"/>
              <a:gd name="T52" fmla="*/ 289 w 402"/>
              <a:gd name="T53" fmla="*/ 23 h 196"/>
              <a:gd name="T54" fmla="*/ 287 w 402"/>
              <a:gd name="T55" fmla="*/ 42 h 196"/>
              <a:gd name="T56" fmla="*/ 277 w 402"/>
              <a:gd name="T57" fmla="*/ 40 h 196"/>
              <a:gd name="T58" fmla="*/ 270 w 402"/>
              <a:gd name="T59" fmla="*/ 49 h 196"/>
              <a:gd name="T60" fmla="*/ 264 w 402"/>
              <a:gd name="T61" fmla="*/ 59 h 196"/>
              <a:gd name="T62" fmla="*/ 262 w 402"/>
              <a:gd name="T63" fmla="*/ 66 h 196"/>
              <a:gd name="T64" fmla="*/ 270 w 402"/>
              <a:gd name="T65" fmla="*/ 85 h 196"/>
              <a:gd name="T66" fmla="*/ 266 w 402"/>
              <a:gd name="T67" fmla="*/ 89 h 196"/>
              <a:gd name="T68" fmla="*/ 270 w 402"/>
              <a:gd name="T69" fmla="*/ 108 h 196"/>
              <a:gd name="T70" fmla="*/ 274 w 402"/>
              <a:gd name="T71" fmla="*/ 127 h 196"/>
              <a:gd name="T72" fmla="*/ 287 w 402"/>
              <a:gd name="T73" fmla="*/ 166 h 196"/>
              <a:gd name="T74" fmla="*/ 270 w 402"/>
              <a:gd name="T75" fmla="*/ 153 h 196"/>
              <a:gd name="T76" fmla="*/ 260 w 402"/>
              <a:gd name="T77" fmla="*/ 136 h 196"/>
              <a:gd name="T78" fmla="*/ 281 w 402"/>
              <a:gd name="T79" fmla="*/ 164 h 196"/>
              <a:gd name="T80" fmla="*/ 304 w 402"/>
              <a:gd name="T81" fmla="*/ 185 h 196"/>
              <a:gd name="T82" fmla="*/ 287 w 402"/>
              <a:gd name="T83" fmla="*/ 185 h 196"/>
              <a:gd name="T84" fmla="*/ 272 w 402"/>
              <a:gd name="T85" fmla="*/ 179 h 196"/>
              <a:gd name="T86" fmla="*/ 255 w 402"/>
              <a:gd name="T87" fmla="*/ 168 h 196"/>
              <a:gd name="T88" fmla="*/ 245 w 402"/>
              <a:gd name="T89" fmla="*/ 174 h 196"/>
              <a:gd name="T90" fmla="*/ 230 w 402"/>
              <a:gd name="T91" fmla="*/ 164 h 196"/>
              <a:gd name="T92" fmla="*/ 217 w 402"/>
              <a:gd name="T93" fmla="*/ 168 h 196"/>
              <a:gd name="T94" fmla="*/ 219 w 402"/>
              <a:gd name="T95" fmla="*/ 153 h 196"/>
              <a:gd name="T96" fmla="*/ 230 w 402"/>
              <a:gd name="T97" fmla="*/ 132 h 196"/>
              <a:gd name="T98" fmla="*/ 234 w 402"/>
              <a:gd name="T99" fmla="*/ 110 h 196"/>
              <a:gd name="T100" fmla="*/ 211 w 402"/>
              <a:gd name="T101" fmla="*/ 108 h 196"/>
              <a:gd name="T102" fmla="*/ 187 w 402"/>
              <a:gd name="T103" fmla="*/ 102 h 196"/>
              <a:gd name="T104" fmla="*/ 176 w 402"/>
              <a:gd name="T105" fmla="*/ 83 h 196"/>
              <a:gd name="T106" fmla="*/ 153 w 402"/>
              <a:gd name="T107" fmla="*/ 74 h 196"/>
              <a:gd name="T108" fmla="*/ 140 w 402"/>
              <a:gd name="T109" fmla="*/ 59 h 196"/>
              <a:gd name="T110" fmla="*/ 125 w 402"/>
              <a:gd name="T111" fmla="*/ 51 h 196"/>
              <a:gd name="T112" fmla="*/ 106 w 402"/>
              <a:gd name="T113" fmla="*/ 47 h 196"/>
              <a:gd name="T114" fmla="*/ 89 w 402"/>
              <a:gd name="T115" fmla="*/ 61 h 196"/>
              <a:gd name="T116" fmla="*/ 70 w 402"/>
              <a:gd name="T117" fmla="*/ 68 h 196"/>
              <a:gd name="T118" fmla="*/ 59 w 402"/>
              <a:gd name="T119" fmla="*/ 70 h 196"/>
              <a:gd name="T120" fmla="*/ 36 w 402"/>
              <a:gd name="T121" fmla="*/ 85 h 196"/>
              <a:gd name="T122" fmla="*/ 23 w 402"/>
              <a:gd name="T123" fmla="*/ 106 h 196"/>
              <a:gd name="T124" fmla="*/ 0 w 402"/>
              <a:gd name="T125" fmla="*/ 6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196">
                <a:moveTo>
                  <a:pt x="0" y="61"/>
                </a:moveTo>
                <a:lnTo>
                  <a:pt x="145" y="34"/>
                </a:lnTo>
                <a:lnTo>
                  <a:pt x="311" y="0"/>
                </a:lnTo>
                <a:lnTo>
                  <a:pt x="334" y="81"/>
                </a:lnTo>
                <a:lnTo>
                  <a:pt x="345" y="130"/>
                </a:lnTo>
                <a:lnTo>
                  <a:pt x="349" y="138"/>
                </a:lnTo>
                <a:lnTo>
                  <a:pt x="400" y="125"/>
                </a:lnTo>
                <a:lnTo>
                  <a:pt x="400" y="130"/>
                </a:lnTo>
                <a:lnTo>
                  <a:pt x="396" y="132"/>
                </a:lnTo>
                <a:lnTo>
                  <a:pt x="402" y="138"/>
                </a:lnTo>
                <a:lnTo>
                  <a:pt x="400" y="153"/>
                </a:lnTo>
                <a:lnTo>
                  <a:pt x="396" y="151"/>
                </a:lnTo>
                <a:lnTo>
                  <a:pt x="392" y="166"/>
                </a:lnTo>
                <a:lnTo>
                  <a:pt x="387" y="172"/>
                </a:lnTo>
                <a:lnTo>
                  <a:pt x="387" y="179"/>
                </a:lnTo>
                <a:lnTo>
                  <a:pt x="372" y="185"/>
                </a:lnTo>
                <a:lnTo>
                  <a:pt x="366" y="191"/>
                </a:lnTo>
                <a:lnTo>
                  <a:pt x="360" y="191"/>
                </a:lnTo>
                <a:lnTo>
                  <a:pt x="345" y="196"/>
                </a:lnTo>
                <a:lnTo>
                  <a:pt x="345" y="191"/>
                </a:lnTo>
                <a:lnTo>
                  <a:pt x="351" y="183"/>
                </a:lnTo>
                <a:lnTo>
                  <a:pt x="353" y="176"/>
                </a:lnTo>
                <a:lnTo>
                  <a:pt x="347" y="179"/>
                </a:lnTo>
                <a:lnTo>
                  <a:pt x="343" y="174"/>
                </a:lnTo>
                <a:lnTo>
                  <a:pt x="336" y="179"/>
                </a:lnTo>
                <a:lnTo>
                  <a:pt x="334" y="172"/>
                </a:lnTo>
                <a:lnTo>
                  <a:pt x="340" y="164"/>
                </a:lnTo>
                <a:lnTo>
                  <a:pt x="336" y="162"/>
                </a:lnTo>
                <a:lnTo>
                  <a:pt x="336" y="149"/>
                </a:lnTo>
                <a:lnTo>
                  <a:pt x="330" y="164"/>
                </a:lnTo>
                <a:lnTo>
                  <a:pt x="328" y="159"/>
                </a:lnTo>
                <a:lnTo>
                  <a:pt x="328" y="153"/>
                </a:lnTo>
                <a:lnTo>
                  <a:pt x="323" y="159"/>
                </a:lnTo>
                <a:lnTo>
                  <a:pt x="326" y="168"/>
                </a:lnTo>
                <a:lnTo>
                  <a:pt x="319" y="164"/>
                </a:lnTo>
                <a:lnTo>
                  <a:pt x="313" y="159"/>
                </a:lnTo>
                <a:lnTo>
                  <a:pt x="306" y="155"/>
                </a:lnTo>
                <a:lnTo>
                  <a:pt x="309" y="162"/>
                </a:lnTo>
                <a:lnTo>
                  <a:pt x="302" y="155"/>
                </a:lnTo>
                <a:lnTo>
                  <a:pt x="302" y="147"/>
                </a:lnTo>
                <a:lnTo>
                  <a:pt x="304" y="134"/>
                </a:lnTo>
                <a:lnTo>
                  <a:pt x="298" y="138"/>
                </a:lnTo>
                <a:lnTo>
                  <a:pt x="300" y="130"/>
                </a:lnTo>
                <a:lnTo>
                  <a:pt x="317" y="132"/>
                </a:lnTo>
                <a:lnTo>
                  <a:pt x="321" y="123"/>
                </a:lnTo>
                <a:lnTo>
                  <a:pt x="315" y="127"/>
                </a:lnTo>
                <a:lnTo>
                  <a:pt x="306" y="125"/>
                </a:lnTo>
                <a:lnTo>
                  <a:pt x="302" y="119"/>
                </a:lnTo>
                <a:lnTo>
                  <a:pt x="300" y="115"/>
                </a:lnTo>
                <a:lnTo>
                  <a:pt x="291" y="117"/>
                </a:lnTo>
                <a:lnTo>
                  <a:pt x="291" y="123"/>
                </a:lnTo>
                <a:lnTo>
                  <a:pt x="287" y="117"/>
                </a:lnTo>
                <a:lnTo>
                  <a:pt x="289" y="110"/>
                </a:lnTo>
                <a:lnTo>
                  <a:pt x="296" y="106"/>
                </a:lnTo>
                <a:lnTo>
                  <a:pt x="302" y="113"/>
                </a:lnTo>
                <a:lnTo>
                  <a:pt x="300" y="106"/>
                </a:lnTo>
                <a:lnTo>
                  <a:pt x="304" y="100"/>
                </a:lnTo>
                <a:lnTo>
                  <a:pt x="298" y="98"/>
                </a:lnTo>
                <a:lnTo>
                  <a:pt x="291" y="91"/>
                </a:lnTo>
                <a:lnTo>
                  <a:pt x="289" y="93"/>
                </a:lnTo>
                <a:lnTo>
                  <a:pt x="283" y="98"/>
                </a:lnTo>
                <a:lnTo>
                  <a:pt x="283" y="106"/>
                </a:lnTo>
                <a:lnTo>
                  <a:pt x="283" y="91"/>
                </a:lnTo>
                <a:lnTo>
                  <a:pt x="289" y="89"/>
                </a:lnTo>
                <a:lnTo>
                  <a:pt x="296" y="83"/>
                </a:lnTo>
                <a:lnTo>
                  <a:pt x="296" y="81"/>
                </a:lnTo>
                <a:lnTo>
                  <a:pt x="296" y="74"/>
                </a:lnTo>
                <a:lnTo>
                  <a:pt x="291" y="72"/>
                </a:lnTo>
                <a:lnTo>
                  <a:pt x="289" y="81"/>
                </a:lnTo>
                <a:lnTo>
                  <a:pt x="285" y="72"/>
                </a:lnTo>
                <a:lnTo>
                  <a:pt x="287" y="51"/>
                </a:lnTo>
                <a:lnTo>
                  <a:pt x="294" y="44"/>
                </a:lnTo>
                <a:lnTo>
                  <a:pt x="302" y="42"/>
                </a:lnTo>
                <a:lnTo>
                  <a:pt x="309" y="38"/>
                </a:lnTo>
                <a:lnTo>
                  <a:pt x="298" y="38"/>
                </a:lnTo>
                <a:lnTo>
                  <a:pt x="309" y="23"/>
                </a:lnTo>
                <a:lnTo>
                  <a:pt x="306" y="21"/>
                </a:lnTo>
                <a:lnTo>
                  <a:pt x="300" y="27"/>
                </a:lnTo>
                <a:lnTo>
                  <a:pt x="300" y="19"/>
                </a:lnTo>
                <a:lnTo>
                  <a:pt x="296" y="21"/>
                </a:lnTo>
                <a:lnTo>
                  <a:pt x="289" y="23"/>
                </a:lnTo>
                <a:lnTo>
                  <a:pt x="289" y="27"/>
                </a:lnTo>
                <a:lnTo>
                  <a:pt x="294" y="34"/>
                </a:lnTo>
                <a:lnTo>
                  <a:pt x="287" y="42"/>
                </a:lnTo>
                <a:lnTo>
                  <a:pt x="281" y="44"/>
                </a:lnTo>
                <a:lnTo>
                  <a:pt x="281" y="36"/>
                </a:lnTo>
                <a:lnTo>
                  <a:pt x="277" y="40"/>
                </a:lnTo>
                <a:lnTo>
                  <a:pt x="277" y="53"/>
                </a:lnTo>
                <a:lnTo>
                  <a:pt x="272" y="44"/>
                </a:lnTo>
                <a:lnTo>
                  <a:pt x="270" y="49"/>
                </a:lnTo>
                <a:lnTo>
                  <a:pt x="270" y="53"/>
                </a:lnTo>
                <a:lnTo>
                  <a:pt x="270" y="61"/>
                </a:lnTo>
                <a:lnTo>
                  <a:pt x="264" y="59"/>
                </a:lnTo>
                <a:lnTo>
                  <a:pt x="270" y="66"/>
                </a:lnTo>
                <a:lnTo>
                  <a:pt x="264" y="66"/>
                </a:lnTo>
                <a:lnTo>
                  <a:pt x="262" y="66"/>
                </a:lnTo>
                <a:lnTo>
                  <a:pt x="253" y="68"/>
                </a:lnTo>
                <a:lnTo>
                  <a:pt x="270" y="78"/>
                </a:lnTo>
                <a:lnTo>
                  <a:pt x="270" y="85"/>
                </a:lnTo>
                <a:lnTo>
                  <a:pt x="277" y="89"/>
                </a:lnTo>
                <a:lnTo>
                  <a:pt x="272" y="91"/>
                </a:lnTo>
                <a:lnTo>
                  <a:pt x="266" y="89"/>
                </a:lnTo>
                <a:lnTo>
                  <a:pt x="264" y="91"/>
                </a:lnTo>
                <a:lnTo>
                  <a:pt x="270" y="93"/>
                </a:lnTo>
                <a:lnTo>
                  <a:pt x="270" y="108"/>
                </a:lnTo>
                <a:lnTo>
                  <a:pt x="272" y="115"/>
                </a:lnTo>
                <a:lnTo>
                  <a:pt x="270" y="121"/>
                </a:lnTo>
                <a:lnTo>
                  <a:pt x="274" y="127"/>
                </a:lnTo>
                <a:lnTo>
                  <a:pt x="279" y="145"/>
                </a:lnTo>
                <a:lnTo>
                  <a:pt x="291" y="157"/>
                </a:lnTo>
                <a:lnTo>
                  <a:pt x="287" y="166"/>
                </a:lnTo>
                <a:lnTo>
                  <a:pt x="285" y="159"/>
                </a:lnTo>
                <a:lnTo>
                  <a:pt x="277" y="157"/>
                </a:lnTo>
                <a:lnTo>
                  <a:pt x="270" y="153"/>
                </a:lnTo>
                <a:lnTo>
                  <a:pt x="262" y="138"/>
                </a:lnTo>
                <a:lnTo>
                  <a:pt x="260" y="132"/>
                </a:lnTo>
                <a:lnTo>
                  <a:pt x="260" y="136"/>
                </a:lnTo>
                <a:lnTo>
                  <a:pt x="266" y="151"/>
                </a:lnTo>
                <a:lnTo>
                  <a:pt x="270" y="157"/>
                </a:lnTo>
                <a:lnTo>
                  <a:pt x="281" y="164"/>
                </a:lnTo>
                <a:lnTo>
                  <a:pt x="287" y="170"/>
                </a:lnTo>
                <a:lnTo>
                  <a:pt x="296" y="172"/>
                </a:lnTo>
                <a:lnTo>
                  <a:pt x="304" y="185"/>
                </a:lnTo>
                <a:lnTo>
                  <a:pt x="302" y="191"/>
                </a:lnTo>
                <a:lnTo>
                  <a:pt x="296" y="187"/>
                </a:lnTo>
                <a:lnTo>
                  <a:pt x="287" y="185"/>
                </a:lnTo>
                <a:lnTo>
                  <a:pt x="285" y="187"/>
                </a:lnTo>
                <a:lnTo>
                  <a:pt x="279" y="181"/>
                </a:lnTo>
                <a:lnTo>
                  <a:pt x="272" y="179"/>
                </a:lnTo>
                <a:lnTo>
                  <a:pt x="264" y="183"/>
                </a:lnTo>
                <a:lnTo>
                  <a:pt x="257" y="176"/>
                </a:lnTo>
                <a:lnTo>
                  <a:pt x="255" y="168"/>
                </a:lnTo>
                <a:lnTo>
                  <a:pt x="253" y="172"/>
                </a:lnTo>
                <a:lnTo>
                  <a:pt x="253" y="179"/>
                </a:lnTo>
                <a:lnTo>
                  <a:pt x="245" y="174"/>
                </a:lnTo>
                <a:lnTo>
                  <a:pt x="240" y="168"/>
                </a:lnTo>
                <a:lnTo>
                  <a:pt x="236" y="159"/>
                </a:lnTo>
                <a:lnTo>
                  <a:pt x="230" y="164"/>
                </a:lnTo>
                <a:lnTo>
                  <a:pt x="228" y="168"/>
                </a:lnTo>
                <a:lnTo>
                  <a:pt x="223" y="176"/>
                </a:lnTo>
                <a:lnTo>
                  <a:pt x="217" y="168"/>
                </a:lnTo>
                <a:lnTo>
                  <a:pt x="215" y="162"/>
                </a:lnTo>
                <a:lnTo>
                  <a:pt x="217" y="153"/>
                </a:lnTo>
                <a:lnTo>
                  <a:pt x="219" y="153"/>
                </a:lnTo>
                <a:lnTo>
                  <a:pt x="223" y="147"/>
                </a:lnTo>
                <a:lnTo>
                  <a:pt x="223" y="138"/>
                </a:lnTo>
                <a:lnTo>
                  <a:pt x="230" y="132"/>
                </a:lnTo>
                <a:lnTo>
                  <a:pt x="228" y="123"/>
                </a:lnTo>
                <a:lnTo>
                  <a:pt x="232" y="117"/>
                </a:lnTo>
                <a:lnTo>
                  <a:pt x="234" y="110"/>
                </a:lnTo>
                <a:lnTo>
                  <a:pt x="225" y="104"/>
                </a:lnTo>
                <a:lnTo>
                  <a:pt x="215" y="110"/>
                </a:lnTo>
                <a:lnTo>
                  <a:pt x="211" y="108"/>
                </a:lnTo>
                <a:lnTo>
                  <a:pt x="204" y="104"/>
                </a:lnTo>
                <a:lnTo>
                  <a:pt x="196" y="100"/>
                </a:lnTo>
                <a:lnTo>
                  <a:pt x="187" y="102"/>
                </a:lnTo>
                <a:lnTo>
                  <a:pt x="179" y="96"/>
                </a:lnTo>
                <a:lnTo>
                  <a:pt x="181" y="89"/>
                </a:lnTo>
                <a:lnTo>
                  <a:pt x="176" y="83"/>
                </a:lnTo>
                <a:lnTo>
                  <a:pt x="170" y="78"/>
                </a:lnTo>
                <a:lnTo>
                  <a:pt x="155" y="78"/>
                </a:lnTo>
                <a:lnTo>
                  <a:pt x="153" y="74"/>
                </a:lnTo>
                <a:lnTo>
                  <a:pt x="147" y="68"/>
                </a:lnTo>
                <a:lnTo>
                  <a:pt x="147" y="59"/>
                </a:lnTo>
                <a:lnTo>
                  <a:pt x="140" y="59"/>
                </a:lnTo>
                <a:lnTo>
                  <a:pt x="142" y="51"/>
                </a:lnTo>
                <a:lnTo>
                  <a:pt x="140" y="51"/>
                </a:lnTo>
                <a:lnTo>
                  <a:pt x="125" y="51"/>
                </a:lnTo>
                <a:lnTo>
                  <a:pt x="119" y="47"/>
                </a:lnTo>
                <a:lnTo>
                  <a:pt x="113" y="44"/>
                </a:lnTo>
                <a:lnTo>
                  <a:pt x="106" y="47"/>
                </a:lnTo>
                <a:lnTo>
                  <a:pt x="102" y="55"/>
                </a:lnTo>
                <a:lnTo>
                  <a:pt x="96" y="55"/>
                </a:lnTo>
                <a:lnTo>
                  <a:pt x="89" y="61"/>
                </a:lnTo>
                <a:lnTo>
                  <a:pt x="87" y="68"/>
                </a:lnTo>
                <a:lnTo>
                  <a:pt x="76" y="70"/>
                </a:lnTo>
                <a:lnTo>
                  <a:pt x="70" y="68"/>
                </a:lnTo>
                <a:lnTo>
                  <a:pt x="62" y="61"/>
                </a:lnTo>
                <a:lnTo>
                  <a:pt x="59" y="61"/>
                </a:lnTo>
                <a:lnTo>
                  <a:pt x="59" y="70"/>
                </a:lnTo>
                <a:lnTo>
                  <a:pt x="49" y="85"/>
                </a:lnTo>
                <a:lnTo>
                  <a:pt x="42" y="83"/>
                </a:lnTo>
                <a:lnTo>
                  <a:pt x="36" y="85"/>
                </a:lnTo>
                <a:lnTo>
                  <a:pt x="34" y="91"/>
                </a:lnTo>
                <a:lnTo>
                  <a:pt x="27" y="100"/>
                </a:lnTo>
                <a:lnTo>
                  <a:pt x="23" y="106"/>
                </a:lnTo>
                <a:lnTo>
                  <a:pt x="15" y="113"/>
                </a:lnTo>
                <a:lnTo>
                  <a:pt x="8" y="121"/>
                </a:lnTo>
                <a:lnTo>
                  <a:pt x="0" y="6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1" name="Freeform 787"/>
          <p:cNvSpPr>
            <a:spLocks/>
          </p:cNvSpPr>
          <p:nvPr/>
        </p:nvSpPr>
        <p:spPr bwMode="auto">
          <a:xfrm>
            <a:off x="6623050" y="3071934"/>
            <a:ext cx="638175" cy="311150"/>
          </a:xfrm>
          <a:custGeom>
            <a:avLst/>
            <a:gdLst>
              <a:gd name="T0" fmla="*/ 311 w 402"/>
              <a:gd name="T1" fmla="*/ 0 h 196"/>
              <a:gd name="T2" fmla="*/ 349 w 402"/>
              <a:gd name="T3" fmla="*/ 138 h 196"/>
              <a:gd name="T4" fmla="*/ 396 w 402"/>
              <a:gd name="T5" fmla="*/ 132 h 196"/>
              <a:gd name="T6" fmla="*/ 396 w 402"/>
              <a:gd name="T7" fmla="*/ 151 h 196"/>
              <a:gd name="T8" fmla="*/ 387 w 402"/>
              <a:gd name="T9" fmla="*/ 179 h 196"/>
              <a:gd name="T10" fmla="*/ 360 w 402"/>
              <a:gd name="T11" fmla="*/ 191 h 196"/>
              <a:gd name="T12" fmla="*/ 351 w 402"/>
              <a:gd name="T13" fmla="*/ 183 h 196"/>
              <a:gd name="T14" fmla="*/ 343 w 402"/>
              <a:gd name="T15" fmla="*/ 174 h 196"/>
              <a:gd name="T16" fmla="*/ 340 w 402"/>
              <a:gd name="T17" fmla="*/ 164 h 196"/>
              <a:gd name="T18" fmla="*/ 330 w 402"/>
              <a:gd name="T19" fmla="*/ 164 h 196"/>
              <a:gd name="T20" fmla="*/ 323 w 402"/>
              <a:gd name="T21" fmla="*/ 159 h 196"/>
              <a:gd name="T22" fmla="*/ 313 w 402"/>
              <a:gd name="T23" fmla="*/ 159 h 196"/>
              <a:gd name="T24" fmla="*/ 302 w 402"/>
              <a:gd name="T25" fmla="*/ 155 h 196"/>
              <a:gd name="T26" fmla="*/ 298 w 402"/>
              <a:gd name="T27" fmla="*/ 138 h 196"/>
              <a:gd name="T28" fmla="*/ 321 w 402"/>
              <a:gd name="T29" fmla="*/ 123 h 196"/>
              <a:gd name="T30" fmla="*/ 302 w 402"/>
              <a:gd name="T31" fmla="*/ 119 h 196"/>
              <a:gd name="T32" fmla="*/ 291 w 402"/>
              <a:gd name="T33" fmla="*/ 123 h 196"/>
              <a:gd name="T34" fmla="*/ 296 w 402"/>
              <a:gd name="T35" fmla="*/ 106 h 196"/>
              <a:gd name="T36" fmla="*/ 304 w 402"/>
              <a:gd name="T37" fmla="*/ 100 h 196"/>
              <a:gd name="T38" fmla="*/ 289 w 402"/>
              <a:gd name="T39" fmla="*/ 93 h 196"/>
              <a:gd name="T40" fmla="*/ 283 w 402"/>
              <a:gd name="T41" fmla="*/ 91 h 196"/>
              <a:gd name="T42" fmla="*/ 296 w 402"/>
              <a:gd name="T43" fmla="*/ 81 h 196"/>
              <a:gd name="T44" fmla="*/ 289 w 402"/>
              <a:gd name="T45" fmla="*/ 81 h 196"/>
              <a:gd name="T46" fmla="*/ 294 w 402"/>
              <a:gd name="T47" fmla="*/ 44 h 196"/>
              <a:gd name="T48" fmla="*/ 298 w 402"/>
              <a:gd name="T49" fmla="*/ 38 h 196"/>
              <a:gd name="T50" fmla="*/ 300 w 402"/>
              <a:gd name="T51" fmla="*/ 27 h 196"/>
              <a:gd name="T52" fmla="*/ 289 w 402"/>
              <a:gd name="T53" fmla="*/ 23 h 196"/>
              <a:gd name="T54" fmla="*/ 287 w 402"/>
              <a:gd name="T55" fmla="*/ 42 h 196"/>
              <a:gd name="T56" fmla="*/ 277 w 402"/>
              <a:gd name="T57" fmla="*/ 40 h 196"/>
              <a:gd name="T58" fmla="*/ 270 w 402"/>
              <a:gd name="T59" fmla="*/ 49 h 196"/>
              <a:gd name="T60" fmla="*/ 264 w 402"/>
              <a:gd name="T61" fmla="*/ 59 h 196"/>
              <a:gd name="T62" fmla="*/ 262 w 402"/>
              <a:gd name="T63" fmla="*/ 66 h 196"/>
              <a:gd name="T64" fmla="*/ 270 w 402"/>
              <a:gd name="T65" fmla="*/ 85 h 196"/>
              <a:gd name="T66" fmla="*/ 266 w 402"/>
              <a:gd name="T67" fmla="*/ 89 h 196"/>
              <a:gd name="T68" fmla="*/ 270 w 402"/>
              <a:gd name="T69" fmla="*/ 108 h 196"/>
              <a:gd name="T70" fmla="*/ 274 w 402"/>
              <a:gd name="T71" fmla="*/ 127 h 196"/>
              <a:gd name="T72" fmla="*/ 287 w 402"/>
              <a:gd name="T73" fmla="*/ 166 h 196"/>
              <a:gd name="T74" fmla="*/ 270 w 402"/>
              <a:gd name="T75" fmla="*/ 153 h 196"/>
              <a:gd name="T76" fmla="*/ 260 w 402"/>
              <a:gd name="T77" fmla="*/ 136 h 196"/>
              <a:gd name="T78" fmla="*/ 281 w 402"/>
              <a:gd name="T79" fmla="*/ 164 h 196"/>
              <a:gd name="T80" fmla="*/ 304 w 402"/>
              <a:gd name="T81" fmla="*/ 185 h 196"/>
              <a:gd name="T82" fmla="*/ 287 w 402"/>
              <a:gd name="T83" fmla="*/ 185 h 196"/>
              <a:gd name="T84" fmla="*/ 272 w 402"/>
              <a:gd name="T85" fmla="*/ 179 h 196"/>
              <a:gd name="T86" fmla="*/ 255 w 402"/>
              <a:gd name="T87" fmla="*/ 168 h 196"/>
              <a:gd name="T88" fmla="*/ 245 w 402"/>
              <a:gd name="T89" fmla="*/ 174 h 196"/>
              <a:gd name="T90" fmla="*/ 230 w 402"/>
              <a:gd name="T91" fmla="*/ 164 h 196"/>
              <a:gd name="T92" fmla="*/ 217 w 402"/>
              <a:gd name="T93" fmla="*/ 168 h 196"/>
              <a:gd name="T94" fmla="*/ 219 w 402"/>
              <a:gd name="T95" fmla="*/ 153 h 196"/>
              <a:gd name="T96" fmla="*/ 230 w 402"/>
              <a:gd name="T97" fmla="*/ 132 h 196"/>
              <a:gd name="T98" fmla="*/ 234 w 402"/>
              <a:gd name="T99" fmla="*/ 110 h 196"/>
              <a:gd name="T100" fmla="*/ 211 w 402"/>
              <a:gd name="T101" fmla="*/ 108 h 196"/>
              <a:gd name="T102" fmla="*/ 187 w 402"/>
              <a:gd name="T103" fmla="*/ 102 h 196"/>
              <a:gd name="T104" fmla="*/ 176 w 402"/>
              <a:gd name="T105" fmla="*/ 83 h 196"/>
              <a:gd name="T106" fmla="*/ 153 w 402"/>
              <a:gd name="T107" fmla="*/ 74 h 196"/>
              <a:gd name="T108" fmla="*/ 140 w 402"/>
              <a:gd name="T109" fmla="*/ 59 h 196"/>
              <a:gd name="T110" fmla="*/ 125 w 402"/>
              <a:gd name="T111" fmla="*/ 51 h 196"/>
              <a:gd name="T112" fmla="*/ 106 w 402"/>
              <a:gd name="T113" fmla="*/ 47 h 196"/>
              <a:gd name="T114" fmla="*/ 89 w 402"/>
              <a:gd name="T115" fmla="*/ 61 h 196"/>
              <a:gd name="T116" fmla="*/ 70 w 402"/>
              <a:gd name="T117" fmla="*/ 68 h 196"/>
              <a:gd name="T118" fmla="*/ 59 w 402"/>
              <a:gd name="T119" fmla="*/ 70 h 196"/>
              <a:gd name="T120" fmla="*/ 36 w 402"/>
              <a:gd name="T121" fmla="*/ 85 h 196"/>
              <a:gd name="T122" fmla="*/ 23 w 402"/>
              <a:gd name="T123" fmla="*/ 106 h 196"/>
              <a:gd name="T124" fmla="*/ 0 w 402"/>
              <a:gd name="T125" fmla="*/ 61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196">
                <a:moveTo>
                  <a:pt x="0" y="61"/>
                </a:moveTo>
                <a:lnTo>
                  <a:pt x="145" y="34"/>
                </a:lnTo>
                <a:lnTo>
                  <a:pt x="311" y="0"/>
                </a:lnTo>
                <a:lnTo>
                  <a:pt x="334" y="81"/>
                </a:lnTo>
                <a:lnTo>
                  <a:pt x="345" y="130"/>
                </a:lnTo>
                <a:lnTo>
                  <a:pt x="349" y="138"/>
                </a:lnTo>
                <a:lnTo>
                  <a:pt x="400" y="125"/>
                </a:lnTo>
                <a:lnTo>
                  <a:pt x="400" y="130"/>
                </a:lnTo>
                <a:lnTo>
                  <a:pt x="396" y="132"/>
                </a:lnTo>
                <a:lnTo>
                  <a:pt x="402" y="138"/>
                </a:lnTo>
                <a:lnTo>
                  <a:pt x="400" y="153"/>
                </a:lnTo>
                <a:lnTo>
                  <a:pt x="396" y="151"/>
                </a:lnTo>
                <a:lnTo>
                  <a:pt x="392" y="166"/>
                </a:lnTo>
                <a:lnTo>
                  <a:pt x="387" y="172"/>
                </a:lnTo>
                <a:lnTo>
                  <a:pt x="387" y="179"/>
                </a:lnTo>
                <a:lnTo>
                  <a:pt x="372" y="185"/>
                </a:lnTo>
                <a:lnTo>
                  <a:pt x="366" y="191"/>
                </a:lnTo>
                <a:lnTo>
                  <a:pt x="360" y="191"/>
                </a:lnTo>
                <a:lnTo>
                  <a:pt x="345" y="196"/>
                </a:lnTo>
                <a:lnTo>
                  <a:pt x="345" y="191"/>
                </a:lnTo>
                <a:lnTo>
                  <a:pt x="351" y="183"/>
                </a:lnTo>
                <a:lnTo>
                  <a:pt x="353" y="176"/>
                </a:lnTo>
                <a:lnTo>
                  <a:pt x="347" y="179"/>
                </a:lnTo>
                <a:lnTo>
                  <a:pt x="343" y="174"/>
                </a:lnTo>
                <a:lnTo>
                  <a:pt x="336" y="179"/>
                </a:lnTo>
                <a:lnTo>
                  <a:pt x="334" y="172"/>
                </a:lnTo>
                <a:lnTo>
                  <a:pt x="340" y="164"/>
                </a:lnTo>
                <a:lnTo>
                  <a:pt x="336" y="162"/>
                </a:lnTo>
                <a:lnTo>
                  <a:pt x="336" y="149"/>
                </a:lnTo>
                <a:lnTo>
                  <a:pt x="330" y="164"/>
                </a:lnTo>
                <a:lnTo>
                  <a:pt x="328" y="159"/>
                </a:lnTo>
                <a:lnTo>
                  <a:pt x="328" y="153"/>
                </a:lnTo>
                <a:lnTo>
                  <a:pt x="323" y="159"/>
                </a:lnTo>
                <a:lnTo>
                  <a:pt x="326" y="168"/>
                </a:lnTo>
                <a:lnTo>
                  <a:pt x="319" y="164"/>
                </a:lnTo>
                <a:lnTo>
                  <a:pt x="313" y="159"/>
                </a:lnTo>
                <a:lnTo>
                  <a:pt x="306" y="155"/>
                </a:lnTo>
                <a:lnTo>
                  <a:pt x="309" y="162"/>
                </a:lnTo>
                <a:lnTo>
                  <a:pt x="302" y="155"/>
                </a:lnTo>
                <a:lnTo>
                  <a:pt x="302" y="147"/>
                </a:lnTo>
                <a:lnTo>
                  <a:pt x="304" y="134"/>
                </a:lnTo>
                <a:lnTo>
                  <a:pt x="298" y="138"/>
                </a:lnTo>
                <a:lnTo>
                  <a:pt x="300" y="130"/>
                </a:lnTo>
                <a:lnTo>
                  <a:pt x="317" y="132"/>
                </a:lnTo>
                <a:lnTo>
                  <a:pt x="321" y="123"/>
                </a:lnTo>
                <a:lnTo>
                  <a:pt x="315" y="127"/>
                </a:lnTo>
                <a:lnTo>
                  <a:pt x="306" y="125"/>
                </a:lnTo>
                <a:lnTo>
                  <a:pt x="302" y="119"/>
                </a:lnTo>
                <a:lnTo>
                  <a:pt x="300" y="115"/>
                </a:lnTo>
                <a:lnTo>
                  <a:pt x="291" y="117"/>
                </a:lnTo>
                <a:lnTo>
                  <a:pt x="291" y="123"/>
                </a:lnTo>
                <a:lnTo>
                  <a:pt x="287" y="117"/>
                </a:lnTo>
                <a:lnTo>
                  <a:pt x="289" y="110"/>
                </a:lnTo>
                <a:lnTo>
                  <a:pt x="296" y="106"/>
                </a:lnTo>
                <a:lnTo>
                  <a:pt x="302" y="113"/>
                </a:lnTo>
                <a:lnTo>
                  <a:pt x="300" y="106"/>
                </a:lnTo>
                <a:lnTo>
                  <a:pt x="304" y="100"/>
                </a:lnTo>
                <a:lnTo>
                  <a:pt x="298" y="98"/>
                </a:lnTo>
                <a:lnTo>
                  <a:pt x="291" y="91"/>
                </a:lnTo>
                <a:lnTo>
                  <a:pt x="289" y="93"/>
                </a:lnTo>
                <a:lnTo>
                  <a:pt x="283" y="98"/>
                </a:lnTo>
                <a:lnTo>
                  <a:pt x="283" y="106"/>
                </a:lnTo>
                <a:lnTo>
                  <a:pt x="283" y="91"/>
                </a:lnTo>
                <a:lnTo>
                  <a:pt x="289" y="89"/>
                </a:lnTo>
                <a:lnTo>
                  <a:pt x="296" y="83"/>
                </a:lnTo>
                <a:lnTo>
                  <a:pt x="296" y="81"/>
                </a:lnTo>
                <a:lnTo>
                  <a:pt x="296" y="74"/>
                </a:lnTo>
                <a:lnTo>
                  <a:pt x="291" y="72"/>
                </a:lnTo>
                <a:lnTo>
                  <a:pt x="289" y="81"/>
                </a:lnTo>
                <a:lnTo>
                  <a:pt x="285" y="72"/>
                </a:lnTo>
                <a:lnTo>
                  <a:pt x="287" y="51"/>
                </a:lnTo>
                <a:lnTo>
                  <a:pt x="294" y="44"/>
                </a:lnTo>
                <a:lnTo>
                  <a:pt x="302" y="42"/>
                </a:lnTo>
                <a:lnTo>
                  <a:pt x="309" y="38"/>
                </a:lnTo>
                <a:lnTo>
                  <a:pt x="298" y="38"/>
                </a:lnTo>
                <a:lnTo>
                  <a:pt x="309" y="23"/>
                </a:lnTo>
                <a:lnTo>
                  <a:pt x="306" y="21"/>
                </a:lnTo>
                <a:lnTo>
                  <a:pt x="300" y="27"/>
                </a:lnTo>
                <a:lnTo>
                  <a:pt x="300" y="19"/>
                </a:lnTo>
                <a:lnTo>
                  <a:pt x="296" y="21"/>
                </a:lnTo>
                <a:lnTo>
                  <a:pt x="289" y="23"/>
                </a:lnTo>
                <a:lnTo>
                  <a:pt x="289" y="27"/>
                </a:lnTo>
                <a:lnTo>
                  <a:pt x="294" y="34"/>
                </a:lnTo>
                <a:lnTo>
                  <a:pt x="287" y="42"/>
                </a:lnTo>
                <a:lnTo>
                  <a:pt x="281" y="44"/>
                </a:lnTo>
                <a:lnTo>
                  <a:pt x="281" y="36"/>
                </a:lnTo>
                <a:lnTo>
                  <a:pt x="277" y="40"/>
                </a:lnTo>
                <a:lnTo>
                  <a:pt x="277" y="53"/>
                </a:lnTo>
                <a:lnTo>
                  <a:pt x="272" y="44"/>
                </a:lnTo>
                <a:lnTo>
                  <a:pt x="270" y="49"/>
                </a:lnTo>
                <a:lnTo>
                  <a:pt x="270" y="53"/>
                </a:lnTo>
                <a:lnTo>
                  <a:pt x="270" y="61"/>
                </a:lnTo>
                <a:lnTo>
                  <a:pt x="264" y="59"/>
                </a:lnTo>
                <a:lnTo>
                  <a:pt x="270" y="66"/>
                </a:lnTo>
                <a:lnTo>
                  <a:pt x="264" y="66"/>
                </a:lnTo>
                <a:lnTo>
                  <a:pt x="262" y="66"/>
                </a:lnTo>
                <a:lnTo>
                  <a:pt x="253" y="68"/>
                </a:lnTo>
                <a:lnTo>
                  <a:pt x="270" y="78"/>
                </a:lnTo>
                <a:lnTo>
                  <a:pt x="270" y="85"/>
                </a:lnTo>
                <a:lnTo>
                  <a:pt x="277" y="89"/>
                </a:lnTo>
                <a:lnTo>
                  <a:pt x="272" y="91"/>
                </a:lnTo>
                <a:lnTo>
                  <a:pt x="266" y="89"/>
                </a:lnTo>
                <a:lnTo>
                  <a:pt x="264" y="91"/>
                </a:lnTo>
                <a:lnTo>
                  <a:pt x="270" y="93"/>
                </a:lnTo>
                <a:lnTo>
                  <a:pt x="270" y="108"/>
                </a:lnTo>
                <a:lnTo>
                  <a:pt x="272" y="115"/>
                </a:lnTo>
                <a:lnTo>
                  <a:pt x="270" y="121"/>
                </a:lnTo>
                <a:lnTo>
                  <a:pt x="274" y="127"/>
                </a:lnTo>
                <a:lnTo>
                  <a:pt x="279" y="145"/>
                </a:lnTo>
                <a:lnTo>
                  <a:pt x="291" y="157"/>
                </a:lnTo>
                <a:lnTo>
                  <a:pt x="287" y="166"/>
                </a:lnTo>
                <a:lnTo>
                  <a:pt x="285" y="159"/>
                </a:lnTo>
                <a:lnTo>
                  <a:pt x="277" y="157"/>
                </a:lnTo>
                <a:lnTo>
                  <a:pt x="270" y="153"/>
                </a:lnTo>
                <a:lnTo>
                  <a:pt x="262" y="138"/>
                </a:lnTo>
                <a:lnTo>
                  <a:pt x="260" y="132"/>
                </a:lnTo>
                <a:lnTo>
                  <a:pt x="260" y="136"/>
                </a:lnTo>
                <a:lnTo>
                  <a:pt x="266" y="151"/>
                </a:lnTo>
                <a:lnTo>
                  <a:pt x="270" y="157"/>
                </a:lnTo>
                <a:lnTo>
                  <a:pt x="281" y="164"/>
                </a:lnTo>
                <a:lnTo>
                  <a:pt x="287" y="170"/>
                </a:lnTo>
                <a:lnTo>
                  <a:pt x="296" y="172"/>
                </a:lnTo>
                <a:lnTo>
                  <a:pt x="304" y="185"/>
                </a:lnTo>
                <a:lnTo>
                  <a:pt x="302" y="191"/>
                </a:lnTo>
                <a:lnTo>
                  <a:pt x="296" y="187"/>
                </a:lnTo>
                <a:lnTo>
                  <a:pt x="287" y="185"/>
                </a:lnTo>
                <a:lnTo>
                  <a:pt x="285" y="187"/>
                </a:lnTo>
                <a:lnTo>
                  <a:pt x="279" y="181"/>
                </a:lnTo>
                <a:lnTo>
                  <a:pt x="272" y="179"/>
                </a:lnTo>
                <a:lnTo>
                  <a:pt x="264" y="183"/>
                </a:lnTo>
                <a:lnTo>
                  <a:pt x="257" y="176"/>
                </a:lnTo>
                <a:lnTo>
                  <a:pt x="255" y="168"/>
                </a:lnTo>
                <a:lnTo>
                  <a:pt x="253" y="172"/>
                </a:lnTo>
                <a:lnTo>
                  <a:pt x="253" y="179"/>
                </a:lnTo>
                <a:lnTo>
                  <a:pt x="245" y="174"/>
                </a:lnTo>
                <a:lnTo>
                  <a:pt x="240" y="168"/>
                </a:lnTo>
                <a:lnTo>
                  <a:pt x="236" y="159"/>
                </a:lnTo>
                <a:lnTo>
                  <a:pt x="230" y="164"/>
                </a:lnTo>
                <a:lnTo>
                  <a:pt x="228" y="168"/>
                </a:lnTo>
                <a:lnTo>
                  <a:pt x="223" y="176"/>
                </a:lnTo>
                <a:lnTo>
                  <a:pt x="217" y="168"/>
                </a:lnTo>
                <a:lnTo>
                  <a:pt x="215" y="162"/>
                </a:lnTo>
                <a:lnTo>
                  <a:pt x="217" y="153"/>
                </a:lnTo>
                <a:lnTo>
                  <a:pt x="219" y="153"/>
                </a:lnTo>
                <a:lnTo>
                  <a:pt x="223" y="147"/>
                </a:lnTo>
                <a:lnTo>
                  <a:pt x="223" y="138"/>
                </a:lnTo>
                <a:lnTo>
                  <a:pt x="230" y="132"/>
                </a:lnTo>
                <a:lnTo>
                  <a:pt x="228" y="123"/>
                </a:lnTo>
                <a:lnTo>
                  <a:pt x="232" y="117"/>
                </a:lnTo>
                <a:lnTo>
                  <a:pt x="234" y="110"/>
                </a:lnTo>
                <a:lnTo>
                  <a:pt x="225" y="104"/>
                </a:lnTo>
                <a:lnTo>
                  <a:pt x="215" y="110"/>
                </a:lnTo>
                <a:lnTo>
                  <a:pt x="211" y="108"/>
                </a:lnTo>
                <a:lnTo>
                  <a:pt x="204" y="104"/>
                </a:lnTo>
                <a:lnTo>
                  <a:pt x="196" y="100"/>
                </a:lnTo>
                <a:lnTo>
                  <a:pt x="187" y="102"/>
                </a:lnTo>
                <a:lnTo>
                  <a:pt x="179" y="96"/>
                </a:lnTo>
                <a:lnTo>
                  <a:pt x="181" y="89"/>
                </a:lnTo>
                <a:lnTo>
                  <a:pt x="176" y="83"/>
                </a:lnTo>
                <a:lnTo>
                  <a:pt x="170" y="78"/>
                </a:lnTo>
                <a:lnTo>
                  <a:pt x="155" y="78"/>
                </a:lnTo>
                <a:lnTo>
                  <a:pt x="153" y="74"/>
                </a:lnTo>
                <a:lnTo>
                  <a:pt x="147" y="68"/>
                </a:lnTo>
                <a:lnTo>
                  <a:pt x="147" y="59"/>
                </a:lnTo>
                <a:lnTo>
                  <a:pt x="140" y="59"/>
                </a:lnTo>
                <a:lnTo>
                  <a:pt x="142" y="51"/>
                </a:lnTo>
                <a:lnTo>
                  <a:pt x="140" y="51"/>
                </a:lnTo>
                <a:lnTo>
                  <a:pt x="125" y="51"/>
                </a:lnTo>
                <a:lnTo>
                  <a:pt x="119" y="47"/>
                </a:lnTo>
                <a:lnTo>
                  <a:pt x="113" y="44"/>
                </a:lnTo>
                <a:lnTo>
                  <a:pt x="106" y="47"/>
                </a:lnTo>
                <a:lnTo>
                  <a:pt x="102" y="55"/>
                </a:lnTo>
                <a:lnTo>
                  <a:pt x="96" y="55"/>
                </a:lnTo>
                <a:lnTo>
                  <a:pt x="89" y="61"/>
                </a:lnTo>
                <a:lnTo>
                  <a:pt x="87" y="68"/>
                </a:lnTo>
                <a:lnTo>
                  <a:pt x="76" y="70"/>
                </a:lnTo>
                <a:lnTo>
                  <a:pt x="70" y="68"/>
                </a:lnTo>
                <a:lnTo>
                  <a:pt x="62" y="61"/>
                </a:lnTo>
                <a:lnTo>
                  <a:pt x="59" y="61"/>
                </a:lnTo>
                <a:lnTo>
                  <a:pt x="59" y="70"/>
                </a:lnTo>
                <a:lnTo>
                  <a:pt x="49" y="85"/>
                </a:lnTo>
                <a:lnTo>
                  <a:pt x="42" y="83"/>
                </a:lnTo>
                <a:lnTo>
                  <a:pt x="36" y="85"/>
                </a:lnTo>
                <a:lnTo>
                  <a:pt x="34" y="91"/>
                </a:lnTo>
                <a:lnTo>
                  <a:pt x="27" y="100"/>
                </a:lnTo>
                <a:lnTo>
                  <a:pt x="23" y="106"/>
                </a:lnTo>
                <a:lnTo>
                  <a:pt x="15" y="113"/>
                </a:lnTo>
                <a:lnTo>
                  <a:pt x="8" y="121"/>
                </a:lnTo>
                <a:lnTo>
                  <a:pt x="0" y="6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2" name="Freeform 788"/>
          <p:cNvSpPr>
            <a:spLocks/>
          </p:cNvSpPr>
          <p:nvPr/>
        </p:nvSpPr>
        <p:spPr bwMode="auto">
          <a:xfrm>
            <a:off x="7245350" y="3348159"/>
            <a:ext cx="12700" cy="34925"/>
          </a:xfrm>
          <a:custGeom>
            <a:avLst/>
            <a:gdLst>
              <a:gd name="T0" fmla="*/ 6 w 8"/>
              <a:gd name="T1" fmla="*/ 2 h 22"/>
              <a:gd name="T2" fmla="*/ 8 w 8"/>
              <a:gd name="T3" fmla="*/ 0 h 22"/>
              <a:gd name="T4" fmla="*/ 4 w 8"/>
              <a:gd name="T5" fmla="*/ 15 h 22"/>
              <a:gd name="T6" fmla="*/ 0 w 8"/>
              <a:gd name="T7" fmla="*/ 22 h 22"/>
              <a:gd name="T8" fmla="*/ 2 w 8"/>
              <a:gd name="T9" fmla="*/ 15 h 22"/>
              <a:gd name="T10" fmla="*/ 2 w 8"/>
              <a:gd name="T11" fmla="*/ 9 h 22"/>
              <a:gd name="T12" fmla="*/ 6 w 8"/>
              <a:gd name="T13" fmla="*/ 2 h 22"/>
            </a:gdLst>
            <a:ahLst/>
            <a:cxnLst>
              <a:cxn ang="0">
                <a:pos x="T0" y="T1"/>
              </a:cxn>
              <a:cxn ang="0">
                <a:pos x="T2" y="T3"/>
              </a:cxn>
              <a:cxn ang="0">
                <a:pos x="T4" y="T5"/>
              </a:cxn>
              <a:cxn ang="0">
                <a:pos x="T6" y="T7"/>
              </a:cxn>
              <a:cxn ang="0">
                <a:pos x="T8" y="T9"/>
              </a:cxn>
              <a:cxn ang="0">
                <a:pos x="T10" y="T11"/>
              </a:cxn>
              <a:cxn ang="0">
                <a:pos x="T12" y="T13"/>
              </a:cxn>
            </a:cxnLst>
            <a:rect l="0" t="0" r="r" b="b"/>
            <a:pathLst>
              <a:path w="8" h="22">
                <a:moveTo>
                  <a:pt x="6" y="2"/>
                </a:moveTo>
                <a:lnTo>
                  <a:pt x="8" y="0"/>
                </a:lnTo>
                <a:lnTo>
                  <a:pt x="4" y="15"/>
                </a:lnTo>
                <a:lnTo>
                  <a:pt x="0" y="22"/>
                </a:lnTo>
                <a:lnTo>
                  <a:pt x="2" y="15"/>
                </a:lnTo>
                <a:lnTo>
                  <a:pt x="2" y="9"/>
                </a:lnTo>
                <a:lnTo>
                  <a:pt x="6"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3" name="Freeform 789"/>
          <p:cNvSpPr>
            <a:spLocks/>
          </p:cNvSpPr>
          <p:nvPr/>
        </p:nvSpPr>
        <p:spPr bwMode="auto">
          <a:xfrm>
            <a:off x="7245350" y="3348159"/>
            <a:ext cx="12700" cy="34925"/>
          </a:xfrm>
          <a:custGeom>
            <a:avLst/>
            <a:gdLst>
              <a:gd name="T0" fmla="*/ 6 w 8"/>
              <a:gd name="T1" fmla="*/ 2 h 22"/>
              <a:gd name="T2" fmla="*/ 8 w 8"/>
              <a:gd name="T3" fmla="*/ 0 h 22"/>
              <a:gd name="T4" fmla="*/ 4 w 8"/>
              <a:gd name="T5" fmla="*/ 15 h 22"/>
              <a:gd name="T6" fmla="*/ 0 w 8"/>
              <a:gd name="T7" fmla="*/ 22 h 22"/>
              <a:gd name="T8" fmla="*/ 2 w 8"/>
              <a:gd name="T9" fmla="*/ 15 h 22"/>
              <a:gd name="T10" fmla="*/ 2 w 8"/>
              <a:gd name="T11" fmla="*/ 9 h 22"/>
              <a:gd name="T12" fmla="*/ 6 w 8"/>
              <a:gd name="T13" fmla="*/ 2 h 22"/>
            </a:gdLst>
            <a:ahLst/>
            <a:cxnLst>
              <a:cxn ang="0">
                <a:pos x="T0" y="T1"/>
              </a:cxn>
              <a:cxn ang="0">
                <a:pos x="T2" y="T3"/>
              </a:cxn>
              <a:cxn ang="0">
                <a:pos x="T4" y="T5"/>
              </a:cxn>
              <a:cxn ang="0">
                <a:pos x="T6" y="T7"/>
              </a:cxn>
              <a:cxn ang="0">
                <a:pos x="T8" y="T9"/>
              </a:cxn>
              <a:cxn ang="0">
                <a:pos x="T10" y="T11"/>
              </a:cxn>
              <a:cxn ang="0">
                <a:pos x="T12" y="T13"/>
              </a:cxn>
            </a:cxnLst>
            <a:rect l="0" t="0" r="r" b="b"/>
            <a:pathLst>
              <a:path w="8" h="22">
                <a:moveTo>
                  <a:pt x="6" y="2"/>
                </a:moveTo>
                <a:lnTo>
                  <a:pt x="8" y="0"/>
                </a:lnTo>
                <a:lnTo>
                  <a:pt x="4" y="15"/>
                </a:lnTo>
                <a:lnTo>
                  <a:pt x="0" y="22"/>
                </a:lnTo>
                <a:lnTo>
                  <a:pt x="2" y="15"/>
                </a:lnTo>
                <a:lnTo>
                  <a:pt x="2" y="9"/>
                </a:lnTo>
                <a:lnTo>
                  <a:pt x="6"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4" name="Freeform 790"/>
          <p:cNvSpPr>
            <a:spLocks/>
          </p:cNvSpPr>
          <p:nvPr/>
        </p:nvSpPr>
        <p:spPr bwMode="auto">
          <a:xfrm>
            <a:off x="7254875" y="3302121"/>
            <a:ext cx="9525" cy="49213"/>
          </a:xfrm>
          <a:custGeom>
            <a:avLst/>
            <a:gdLst>
              <a:gd name="T0" fmla="*/ 0 w 6"/>
              <a:gd name="T1" fmla="*/ 31 h 31"/>
              <a:gd name="T2" fmla="*/ 4 w 6"/>
              <a:gd name="T3" fmla="*/ 8 h 31"/>
              <a:gd name="T4" fmla="*/ 6 w 6"/>
              <a:gd name="T5" fmla="*/ 0 h 31"/>
              <a:gd name="T6" fmla="*/ 4 w 6"/>
              <a:gd name="T7" fmla="*/ 23 h 31"/>
              <a:gd name="T8" fmla="*/ 2 w 6"/>
              <a:gd name="T9" fmla="*/ 29 h 31"/>
              <a:gd name="T10" fmla="*/ 0 w 6"/>
              <a:gd name="T11" fmla="*/ 31 h 31"/>
            </a:gdLst>
            <a:ahLst/>
            <a:cxnLst>
              <a:cxn ang="0">
                <a:pos x="T0" y="T1"/>
              </a:cxn>
              <a:cxn ang="0">
                <a:pos x="T2" y="T3"/>
              </a:cxn>
              <a:cxn ang="0">
                <a:pos x="T4" y="T5"/>
              </a:cxn>
              <a:cxn ang="0">
                <a:pos x="T6" y="T7"/>
              </a:cxn>
              <a:cxn ang="0">
                <a:pos x="T8" y="T9"/>
              </a:cxn>
              <a:cxn ang="0">
                <a:pos x="T10" y="T11"/>
              </a:cxn>
            </a:cxnLst>
            <a:rect l="0" t="0" r="r" b="b"/>
            <a:pathLst>
              <a:path w="6" h="31">
                <a:moveTo>
                  <a:pt x="0" y="31"/>
                </a:moveTo>
                <a:lnTo>
                  <a:pt x="4" y="8"/>
                </a:lnTo>
                <a:lnTo>
                  <a:pt x="6" y="0"/>
                </a:lnTo>
                <a:lnTo>
                  <a:pt x="4" y="23"/>
                </a:lnTo>
                <a:lnTo>
                  <a:pt x="2" y="29"/>
                </a:lnTo>
                <a:lnTo>
                  <a:pt x="0" y="3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5" name="Freeform 791"/>
          <p:cNvSpPr>
            <a:spLocks/>
          </p:cNvSpPr>
          <p:nvPr/>
        </p:nvSpPr>
        <p:spPr bwMode="auto">
          <a:xfrm>
            <a:off x="7254875" y="3302121"/>
            <a:ext cx="9525" cy="49213"/>
          </a:xfrm>
          <a:custGeom>
            <a:avLst/>
            <a:gdLst>
              <a:gd name="T0" fmla="*/ 0 w 6"/>
              <a:gd name="T1" fmla="*/ 31 h 31"/>
              <a:gd name="T2" fmla="*/ 4 w 6"/>
              <a:gd name="T3" fmla="*/ 8 h 31"/>
              <a:gd name="T4" fmla="*/ 6 w 6"/>
              <a:gd name="T5" fmla="*/ 0 h 31"/>
              <a:gd name="T6" fmla="*/ 4 w 6"/>
              <a:gd name="T7" fmla="*/ 23 h 31"/>
              <a:gd name="T8" fmla="*/ 2 w 6"/>
              <a:gd name="T9" fmla="*/ 29 h 31"/>
              <a:gd name="T10" fmla="*/ 0 w 6"/>
              <a:gd name="T11" fmla="*/ 31 h 31"/>
            </a:gdLst>
            <a:ahLst/>
            <a:cxnLst>
              <a:cxn ang="0">
                <a:pos x="T0" y="T1"/>
              </a:cxn>
              <a:cxn ang="0">
                <a:pos x="T2" y="T3"/>
              </a:cxn>
              <a:cxn ang="0">
                <a:pos x="T4" y="T5"/>
              </a:cxn>
              <a:cxn ang="0">
                <a:pos x="T6" y="T7"/>
              </a:cxn>
              <a:cxn ang="0">
                <a:pos x="T8" y="T9"/>
              </a:cxn>
              <a:cxn ang="0">
                <a:pos x="T10" y="T11"/>
              </a:cxn>
            </a:cxnLst>
            <a:rect l="0" t="0" r="r" b="b"/>
            <a:pathLst>
              <a:path w="6" h="31">
                <a:moveTo>
                  <a:pt x="0" y="31"/>
                </a:moveTo>
                <a:lnTo>
                  <a:pt x="4" y="8"/>
                </a:lnTo>
                <a:lnTo>
                  <a:pt x="6" y="0"/>
                </a:lnTo>
                <a:lnTo>
                  <a:pt x="4" y="23"/>
                </a:lnTo>
                <a:lnTo>
                  <a:pt x="2" y="29"/>
                </a:lnTo>
                <a:lnTo>
                  <a:pt x="0" y="3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6" name="Freeform 792"/>
          <p:cNvSpPr>
            <a:spLocks/>
          </p:cNvSpPr>
          <p:nvPr/>
        </p:nvSpPr>
        <p:spPr bwMode="auto">
          <a:xfrm>
            <a:off x="7261225" y="3270371"/>
            <a:ext cx="3175" cy="14288"/>
          </a:xfrm>
          <a:custGeom>
            <a:avLst/>
            <a:gdLst>
              <a:gd name="T0" fmla="*/ 0 w 2"/>
              <a:gd name="T1" fmla="*/ 0 h 9"/>
              <a:gd name="T2" fmla="*/ 2 w 2"/>
              <a:gd name="T3" fmla="*/ 0 h 9"/>
              <a:gd name="T4" fmla="*/ 2 w 2"/>
              <a:gd name="T5" fmla="*/ 0 h 9"/>
              <a:gd name="T6" fmla="*/ 2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2" y="0"/>
                </a:lnTo>
                <a:lnTo>
                  <a:pt x="2" y="0"/>
                </a:lnTo>
                <a:lnTo>
                  <a:pt x="2" y="9"/>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7" name="Freeform 793"/>
          <p:cNvSpPr>
            <a:spLocks/>
          </p:cNvSpPr>
          <p:nvPr/>
        </p:nvSpPr>
        <p:spPr bwMode="auto">
          <a:xfrm>
            <a:off x="7261225" y="3270371"/>
            <a:ext cx="3175" cy="14288"/>
          </a:xfrm>
          <a:custGeom>
            <a:avLst/>
            <a:gdLst>
              <a:gd name="T0" fmla="*/ 0 w 2"/>
              <a:gd name="T1" fmla="*/ 0 h 9"/>
              <a:gd name="T2" fmla="*/ 2 w 2"/>
              <a:gd name="T3" fmla="*/ 0 h 9"/>
              <a:gd name="T4" fmla="*/ 2 w 2"/>
              <a:gd name="T5" fmla="*/ 0 h 9"/>
              <a:gd name="T6" fmla="*/ 2 w 2"/>
              <a:gd name="T7" fmla="*/ 9 h 9"/>
              <a:gd name="T8" fmla="*/ 0 w 2"/>
              <a:gd name="T9" fmla="*/ 0 h 9"/>
            </a:gdLst>
            <a:ahLst/>
            <a:cxnLst>
              <a:cxn ang="0">
                <a:pos x="T0" y="T1"/>
              </a:cxn>
              <a:cxn ang="0">
                <a:pos x="T2" y="T3"/>
              </a:cxn>
              <a:cxn ang="0">
                <a:pos x="T4" y="T5"/>
              </a:cxn>
              <a:cxn ang="0">
                <a:pos x="T6" y="T7"/>
              </a:cxn>
              <a:cxn ang="0">
                <a:pos x="T8" y="T9"/>
              </a:cxn>
            </a:cxnLst>
            <a:rect l="0" t="0" r="r" b="b"/>
            <a:pathLst>
              <a:path w="2" h="9">
                <a:moveTo>
                  <a:pt x="0" y="0"/>
                </a:moveTo>
                <a:lnTo>
                  <a:pt x="2" y="0"/>
                </a:lnTo>
                <a:lnTo>
                  <a:pt x="2" y="0"/>
                </a:lnTo>
                <a:lnTo>
                  <a:pt x="2" y="9"/>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88" name="Freeform 794"/>
          <p:cNvSpPr>
            <a:spLocks/>
          </p:cNvSpPr>
          <p:nvPr/>
        </p:nvSpPr>
        <p:spPr bwMode="auto">
          <a:xfrm>
            <a:off x="7318375" y="2543296"/>
            <a:ext cx="244475" cy="238125"/>
          </a:xfrm>
          <a:custGeom>
            <a:avLst/>
            <a:gdLst>
              <a:gd name="T0" fmla="*/ 0 w 154"/>
              <a:gd name="T1" fmla="*/ 30 h 150"/>
              <a:gd name="T2" fmla="*/ 47 w 154"/>
              <a:gd name="T3" fmla="*/ 20 h 150"/>
              <a:gd name="T4" fmla="*/ 56 w 154"/>
              <a:gd name="T5" fmla="*/ 20 h 150"/>
              <a:gd name="T6" fmla="*/ 69 w 154"/>
              <a:gd name="T7" fmla="*/ 15 h 150"/>
              <a:gd name="T8" fmla="*/ 73 w 154"/>
              <a:gd name="T9" fmla="*/ 15 h 150"/>
              <a:gd name="T10" fmla="*/ 81 w 154"/>
              <a:gd name="T11" fmla="*/ 11 h 150"/>
              <a:gd name="T12" fmla="*/ 122 w 154"/>
              <a:gd name="T13" fmla="*/ 3 h 150"/>
              <a:gd name="T14" fmla="*/ 132 w 154"/>
              <a:gd name="T15" fmla="*/ 0 h 150"/>
              <a:gd name="T16" fmla="*/ 137 w 154"/>
              <a:gd name="T17" fmla="*/ 0 h 150"/>
              <a:gd name="T18" fmla="*/ 154 w 154"/>
              <a:gd name="T19" fmla="*/ 58 h 150"/>
              <a:gd name="T20" fmla="*/ 154 w 154"/>
              <a:gd name="T21" fmla="*/ 64 h 150"/>
              <a:gd name="T22" fmla="*/ 152 w 154"/>
              <a:gd name="T23" fmla="*/ 71 h 150"/>
              <a:gd name="T24" fmla="*/ 154 w 154"/>
              <a:gd name="T25" fmla="*/ 73 h 150"/>
              <a:gd name="T26" fmla="*/ 154 w 154"/>
              <a:gd name="T27" fmla="*/ 77 h 150"/>
              <a:gd name="T28" fmla="*/ 149 w 154"/>
              <a:gd name="T29" fmla="*/ 75 h 150"/>
              <a:gd name="T30" fmla="*/ 135 w 154"/>
              <a:gd name="T31" fmla="*/ 79 h 150"/>
              <a:gd name="T32" fmla="*/ 120 w 154"/>
              <a:gd name="T33" fmla="*/ 90 h 150"/>
              <a:gd name="T34" fmla="*/ 113 w 154"/>
              <a:gd name="T35" fmla="*/ 88 h 150"/>
              <a:gd name="T36" fmla="*/ 113 w 154"/>
              <a:gd name="T37" fmla="*/ 86 h 150"/>
              <a:gd name="T38" fmla="*/ 109 w 154"/>
              <a:gd name="T39" fmla="*/ 83 h 150"/>
              <a:gd name="T40" fmla="*/ 111 w 154"/>
              <a:gd name="T41" fmla="*/ 90 h 150"/>
              <a:gd name="T42" fmla="*/ 111 w 154"/>
              <a:gd name="T43" fmla="*/ 94 h 150"/>
              <a:gd name="T44" fmla="*/ 90 w 154"/>
              <a:gd name="T45" fmla="*/ 98 h 150"/>
              <a:gd name="T46" fmla="*/ 86 w 154"/>
              <a:gd name="T47" fmla="*/ 103 h 150"/>
              <a:gd name="T48" fmla="*/ 79 w 154"/>
              <a:gd name="T49" fmla="*/ 103 h 150"/>
              <a:gd name="T50" fmla="*/ 73 w 154"/>
              <a:gd name="T51" fmla="*/ 107 h 150"/>
              <a:gd name="T52" fmla="*/ 64 w 154"/>
              <a:gd name="T53" fmla="*/ 107 h 150"/>
              <a:gd name="T54" fmla="*/ 54 w 154"/>
              <a:gd name="T55" fmla="*/ 122 h 150"/>
              <a:gd name="T56" fmla="*/ 49 w 154"/>
              <a:gd name="T57" fmla="*/ 120 h 150"/>
              <a:gd name="T58" fmla="*/ 43 w 154"/>
              <a:gd name="T59" fmla="*/ 126 h 150"/>
              <a:gd name="T60" fmla="*/ 37 w 154"/>
              <a:gd name="T61" fmla="*/ 130 h 150"/>
              <a:gd name="T62" fmla="*/ 22 w 154"/>
              <a:gd name="T63" fmla="*/ 145 h 150"/>
              <a:gd name="T64" fmla="*/ 15 w 154"/>
              <a:gd name="T65" fmla="*/ 150 h 150"/>
              <a:gd name="T66" fmla="*/ 9 w 154"/>
              <a:gd name="T67" fmla="*/ 141 h 150"/>
              <a:gd name="T68" fmla="*/ 9 w 154"/>
              <a:gd name="T69" fmla="*/ 139 h 150"/>
              <a:gd name="T70" fmla="*/ 20 w 154"/>
              <a:gd name="T71" fmla="*/ 126 h 150"/>
              <a:gd name="T72" fmla="*/ 20 w 154"/>
              <a:gd name="T73" fmla="*/ 120 h 150"/>
              <a:gd name="T74" fmla="*/ 15 w 154"/>
              <a:gd name="T75" fmla="*/ 111 h 150"/>
              <a:gd name="T76" fmla="*/ 0 w 154"/>
              <a:gd name="T77"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 h="150">
                <a:moveTo>
                  <a:pt x="0" y="30"/>
                </a:moveTo>
                <a:lnTo>
                  <a:pt x="47" y="20"/>
                </a:lnTo>
                <a:lnTo>
                  <a:pt x="56" y="20"/>
                </a:lnTo>
                <a:lnTo>
                  <a:pt x="69" y="15"/>
                </a:lnTo>
                <a:lnTo>
                  <a:pt x="73" y="15"/>
                </a:lnTo>
                <a:lnTo>
                  <a:pt x="81" y="11"/>
                </a:lnTo>
                <a:lnTo>
                  <a:pt x="122" y="3"/>
                </a:lnTo>
                <a:lnTo>
                  <a:pt x="132" y="0"/>
                </a:lnTo>
                <a:lnTo>
                  <a:pt x="137" y="0"/>
                </a:lnTo>
                <a:lnTo>
                  <a:pt x="154" y="58"/>
                </a:lnTo>
                <a:lnTo>
                  <a:pt x="154" y="64"/>
                </a:lnTo>
                <a:lnTo>
                  <a:pt x="152" y="71"/>
                </a:lnTo>
                <a:lnTo>
                  <a:pt x="154" y="73"/>
                </a:lnTo>
                <a:lnTo>
                  <a:pt x="154" y="77"/>
                </a:lnTo>
                <a:lnTo>
                  <a:pt x="149" y="75"/>
                </a:lnTo>
                <a:lnTo>
                  <a:pt x="135" y="79"/>
                </a:lnTo>
                <a:lnTo>
                  <a:pt x="120" y="90"/>
                </a:lnTo>
                <a:lnTo>
                  <a:pt x="113" y="88"/>
                </a:lnTo>
                <a:lnTo>
                  <a:pt x="113" y="86"/>
                </a:lnTo>
                <a:lnTo>
                  <a:pt x="109" y="83"/>
                </a:lnTo>
                <a:lnTo>
                  <a:pt x="111" y="90"/>
                </a:lnTo>
                <a:lnTo>
                  <a:pt x="111" y="94"/>
                </a:lnTo>
                <a:lnTo>
                  <a:pt x="90" y="98"/>
                </a:lnTo>
                <a:lnTo>
                  <a:pt x="86" y="103"/>
                </a:lnTo>
                <a:lnTo>
                  <a:pt x="79" y="103"/>
                </a:lnTo>
                <a:lnTo>
                  <a:pt x="73" y="107"/>
                </a:lnTo>
                <a:lnTo>
                  <a:pt x="64" y="107"/>
                </a:lnTo>
                <a:lnTo>
                  <a:pt x="54" y="122"/>
                </a:lnTo>
                <a:lnTo>
                  <a:pt x="49" y="120"/>
                </a:lnTo>
                <a:lnTo>
                  <a:pt x="43" y="126"/>
                </a:lnTo>
                <a:lnTo>
                  <a:pt x="37" y="130"/>
                </a:lnTo>
                <a:lnTo>
                  <a:pt x="22" y="145"/>
                </a:lnTo>
                <a:lnTo>
                  <a:pt x="15" y="150"/>
                </a:lnTo>
                <a:lnTo>
                  <a:pt x="9" y="141"/>
                </a:lnTo>
                <a:lnTo>
                  <a:pt x="9" y="139"/>
                </a:lnTo>
                <a:lnTo>
                  <a:pt x="20" y="126"/>
                </a:lnTo>
                <a:lnTo>
                  <a:pt x="20" y="120"/>
                </a:lnTo>
                <a:lnTo>
                  <a:pt x="15" y="111"/>
                </a:lnTo>
                <a:lnTo>
                  <a:pt x="0" y="3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89" name="Freeform 795"/>
          <p:cNvSpPr>
            <a:spLocks/>
          </p:cNvSpPr>
          <p:nvPr/>
        </p:nvSpPr>
        <p:spPr bwMode="auto">
          <a:xfrm>
            <a:off x="7318375" y="2543296"/>
            <a:ext cx="244475" cy="238125"/>
          </a:xfrm>
          <a:custGeom>
            <a:avLst/>
            <a:gdLst>
              <a:gd name="T0" fmla="*/ 0 w 154"/>
              <a:gd name="T1" fmla="*/ 30 h 150"/>
              <a:gd name="T2" fmla="*/ 47 w 154"/>
              <a:gd name="T3" fmla="*/ 20 h 150"/>
              <a:gd name="T4" fmla="*/ 56 w 154"/>
              <a:gd name="T5" fmla="*/ 20 h 150"/>
              <a:gd name="T6" fmla="*/ 69 w 154"/>
              <a:gd name="T7" fmla="*/ 15 h 150"/>
              <a:gd name="T8" fmla="*/ 73 w 154"/>
              <a:gd name="T9" fmla="*/ 15 h 150"/>
              <a:gd name="T10" fmla="*/ 81 w 154"/>
              <a:gd name="T11" fmla="*/ 11 h 150"/>
              <a:gd name="T12" fmla="*/ 122 w 154"/>
              <a:gd name="T13" fmla="*/ 3 h 150"/>
              <a:gd name="T14" fmla="*/ 132 w 154"/>
              <a:gd name="T15" fmla="*/ 0 h 150"/>
              <a:gd name="T16" fmla="*/ 137 w 154"/>
              <a:gd name="T17" fmla="*/ 0 h 150"/>
              <a:gd name="T18" fmla="*/ 154 w 154"/>
              <a:gd name="T19" fmla="*/ 58 h 150"/>
              <a:gd name="T20" fmla="*/ 154 w 154"/>
              <a:gd name="T21" fmla="*/ 64 h 150"/>
              <a:gd name="T22" fmla="*/ 152 w 154"/>
              <a:gd name="T23" fmla="*/ 71 h 150"/>
              <a:gd name="T24" fmla="*/ 154 w 154"/>
              <a:gd name="T25" fmla="*/ 73 h 150"/>
              <a:gd name="T26" fmla="*/ 154 w 154"/>
              <a:gd name="T27" fmla="*/ 77 h 150"/>
              <a:gd name="T28" fmla="*/ 149 w 154"/>
              <a:gd name="T29" fmla="*/ 75 h 150"/>
              <a:gd name="T30" fmla="*/ 135 w 154"/>
              <a:gd name="T31" fmla="*/ 79 h 150"/>
              <a:gd name="T32" fmla="*/ 120 w 154"/>
              <a:gd name="T33" fmla="*/ 90 h 150"/>
              <a:gd name="T34" fmla="*/ 113 w 154"/>
              <a:gd name="T35" fmla="*/ 88 h 150"/>
              <a:gd name="T36" fmla="*/ 113 w 154"/>
              <a:gd name="T37" fmla="*/ 86 h 150"/>
              <a:gd name="T38" fmla="*/ 109 w 154"/>
              <a:gd name="T39" fmla="*/ 83 h 150"/>
              <a:gd name="T40" fmla="*/ 111 w 154"/>
              <a:gd name="T41" fmla="*/ 90 h 150"/>
              <a:gd name="T42" fmla="*/ 111 w 154"/>
              <a:gd name="T43" fmla="*/ 94 h 150"/>
              <a:gd name="T44" fmla="*/ 90 w 154"/>
              <a:gd name="T45" fmla="*/ 98 h 150"/>
              <a:gd name="T46" fmla="*/ 86 w 154"/>
              <a:gd name="T47" fmla="*/ 103 h 150"/>
              <a:gd name="T48" fmla="*/ 79 w 154"/>
              <a:gd name="T49" fmla="*/ 103 h 150"/>
              <a:gd name="T50" fmla="*/ 73 w 154"/>
              <a:gd name="T51" fmla="*/ 107 h 150"/>
              <a:gd name="T52" fmla="*/ 64 w 154"/>
              <a:gd name="T53" fmla="*/ 107 h 150"/>
              <a:gd name="T54" fmla="*/ 54 w 154"/>
              <a:gd name="T55" fmla="*/ 122 h 150"/>
              <a:gd name="T56" fmla="*/ 49 w 154"/>
              <a:gd name="T57" fmla="*/ 120 h 150"/>
              <a:gd name="T58" fmla="*/ 43 w 154"/>
              <a:gd name="T59" fmla="*/ 126 h 150"/>
              <a:gd name="T60" fmla="*/ 37 w 154"/>
              <a:gd name="T61" fmla="*/ 130 h 150"/>
              <a:gd name="T62" fmla="*/ 22 w 154"/>
              <a:gd name="T63" fmla="*/ 145 h 150"/>
              <a:gd name="T64" fmla="*/ 15 w 154"/>
              <a:gd name="T65" fmla="*/ 150 h 150"/>
              <a:gd name="T66" fmla="*/ 9 w 154"/>
              <a:gd name="T67" fmla="*/ 141 h 150"/>
              <a:gd name="T68" fmla="*/ 9 w 154"/>
              <a:gd name="T69" fmla="*/ 139 h 150"/>
              <a:gd name="T70" fmla="*/ 20 w 154"/>
              <a:gd name="T71" fmla="*/ 126 h 150"/>
              <a:gd name="T72" fmla="*/ 20 w 154"/>
              <a:gd name="T73" fmla="*/ 120 h 150"/>
              <a:gd name="T74" fmla="*/ 15 w 154"/>
              <a:gd name="T75" fmla="*/ 111 h 150"/>
              <a:gd name="T76" fmla="*/ 0 w 154"/>
              <a:gd name="T77" fmla="*/ 3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54" h="150">
                <a:moveTo>
                  <a:pt x="0" y="30"/>
                </a:moveTo>
                <a:lnTo>
                  <a:pt x="47" y="20"/>
                </a:lnTo>
                <a:lnTo>
                  <a:pt x="56" y="20"/>
                </a:lnTo>
                <a:lnTo>
                  <a:pt x="69" y="15"/>
                </a:lnTo>
                <a:lnTo>
                  <a:pt x="73" y="15"/>
                </a:lnTo>
                <a:lnTo>
                  <a:pt x="81" y="11"/>
                </a:lnTo>
                <a:lnTo>
                  <a:pt x="122" y="3"/>
                </a:lnTo>
                <a:lnTo>
                  <a:pt x="132" y="0"/>
                </a:lnTo>
                <a:lnTo>
                  <a:pt x="137" y="0"/>
                </a:lnTo>
                <a:lnTo>
                  <a:pt x="154" y="58"/>
                </a:lnTo>
                <a:lnTo>
                  <a:pt x="154" y="64"/>
                </a:lnTo>
                <a:lnTo>
                  <a:pt x="152" y="71"/>
                </a:lnTo>
                <a:lnTo>
                  <a:pt x="154" y="73"/>
                </a:lnTo>
                <a:lnTo>
                  <a:pt x="154" y="77"/>
                </a:lnTo>
                <a:lnTo>
                  <a:pt x="149" y="75"/>
                </a:lnTo>
                <a:lnTo>
                  <a:pt x="135" y="79"/>
                </a:lnTo>
                <a:lnTo>
                  <a:pt x="120" y="90"/>
                </a:lnTo>
                <a:lnTo>
                  <a:pt x="113" y="88"/>
                </a:lnTo>
                <a:lnTo>
                  <a:pt x="113" y="86"/>
                </a:lnTo>
                <a:lnTo>
                  <a:pt x="109" y="83"/>
                </a:lnTo>
                <a:lnTo>
                  <a:pt x="111" y="90"/>
                </a:lnTo>
                <a:lnTo>
                  <a:pt x="111" y="94"/>
                </a:lnTo>
                <a:lnTo>
                  <a:pt x="90" y="98"/>
                </a:lnTo>
                <a:lnTo>
                  <a:pt x="86" y="103"/>
                </a:lnTo>
                <a:lnTo>
                  <a:pt x="79" y="103"/>
                </a:lnTo>
                <a:lnTo>
                  <a:pt x="73" y="107"/>
                </a:lnTo>
                <a:lnTo>
                  <a:pt x="64" y="107"/>
                </a:lnTo>
                <a:lnTo>
                  <a:pt x="54" y="122"/>
                </a:lnTo>
                <a:lnTo>
                  <a:pt x="49" y="120"/>
                </a:lnTo>
                <a:lnTo>
                  <a:pt x="43" y="126"/>
                </a:lnTo>
                <a:lnTo>
                  <a:pt x="37" y="130"/>
                </a:lnTo>
                <a:lnTo>
                  <a:pt x="22" y="145"/>
                </a:lnTo>
                <a:lnTo>
                  <a:pt x="15" y="150"/>
                </a:lnTo>
                <a:lnTo>
                  <a:pt x="9" y="141"/>
                </a:lnTo>
                <a:lnTo>
                  <a:pt x="9" y="139"/>
                </a:lnTo>
                <a:lnTo>
                  <a:pt x="20" y="126"/>
                </a:lnTo>
                <a:lnTo>
                  <a:pt x="20" y="120"/>
                </a:lnTo>
                <a:lnTo>
                  <a:pt x="15" y="111"/>
                </a:lnTo>
                <a:lnTo>
                  <a:pt x="0" y="3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0" name="Freeform 796"/>
          <p:cNvSpPr>
            <a:spLocks/>
          </p:cNvSpPr>
          <p:nvPr/>
        </p:nvSpPr>
        <p:spPr bwMode="auto">
          <a:xfrm>
            <a:off x="7389812" y="1949571"/>
            <a:ext cx="233363" cy="493713"/>
          </a:xfrm>
          <a:custGeom>
            <a:avLst/>
            <a:gdLst>
              <a:gd name="T0" fmla="*/ 17 w 147"/>
              <a:gd name="T1" fmla="*/ 311 h 311"/>
              <a:gd name="T2" fmla="*/ 11 w 147"/>
              <a:gd name="T3" fmla="*/ 302 h 311"/>
              <a:gd name="T4" fmla="*/ 7 w 147"/>
              <a:gd name="T5" fmla="*/ 293 h 311"/>
              <a:gd name="T6" fmla="*/ 7 w 147"/>
              <a:gd name="T7" fmla="*/ 287 h 311"/>
              <a:gd name="T8" fmla="*/ 11 w 147"/>
              <a:gd name="T9" fmla="*/ 279 h 311"/>
              <a:gd name="T10" fmla="*/ 7 w 147"/>
              <a:gd name="T11" fmla="*/ 257 h 311"/>
              <a:gd name="T12" fmla="*/ 7 w 147"/>
              <a:gd name="T13" fmla="*/ 242 h 311"/>
              <a:gd name="T14" fmla="*/ 0 w 147"/>
              <a:gd name="T15" fmla="*/ 219 h 311"/>
              <a:gd name="T16" fmla="*/ 2 w 147"/>
              <a:gd name="T17" fmla="*/ 210 h 311"/>
              <a:gd name="T18" fmla="*/ 2 w 147"/>
              <a:gd name="T19" fmla="*/ 200 h 311"/>
              <a:gd name="T20" fmla="*/ 7 w 147"/>
              <a:gd name="T21" fmla="*/ 193 h 311"/>
              <a:gd name="T22" fmla="*/ 9 w 147"/>
              <a:gd name="T23" fmla="*/ 185 h 311"/>
              <a:gd name="T24" fmla="*/ 7 w 147"/>
              <a:gd name="T25" fmla="*/ 178 h 311"/>
              <a:gd name="T26" fmla="*/ 11 w 147"/>
              <a:gd name="T27" fmla="*/ 170 h 311"/>
              <a:gd name="T28" fmla="*/ 9 w 147"/>
              <a:gd name="T29" fmla="*/ 164 h 311"/>
              <a:gd name="T30" fmla="*/ 11 w 147"/>
              <a:gd name="T31" fmla="*/ 151 h 311"/>
              <a:gd name="T32" fmla="*/ 7 w 147"/>
              <a:gd name="T33" fmla="*/ 136 h 311"/>
              <a:gd name="T34" fmla="*/ 7 w 147"/>
              <a:gd name="T35" fmla="*/ 129 h 311"/>
              <a:gd name="T36" fmla="*/ 13 w 147"/>
              <a:gd name="T37" fmla="*/ 121 h 311"/>
              <a:gd name="T38" fmla="*/ 17 w 147"/>
              <a:gd name="T39" fmla="*/ 121 h 311"/>
              <a:gd name="T40" fmla="*/ 28 w 147"/>
              <a:gd name="T41" fmla="*/ 108 h 311"/>
              <a:gd name="T42" fmla="*/ 34 w 147"/>
              <a:gd name="T43" fmla="*/ 98 h 311"/>
              <a:gd name="T44" fmla="*/ 34 w 147"/>
              <a:gd name="T45" fmla="*/ 89 h 311"/>
              <a:gd name="T46" fmla="*/ 32 w 147"/>
              <a:gd name="T47" fmla="*/ 83 h 311"/>
              <a:gd name="T48" fmla="*/ 28 w 147"/>
              <a:gd name="T49" fmla="*/ 76 h 311"/>
              <a:gd name="T50" fmla="*/ 26 w 147"/>
              <a:gd name="T51" fmla="*/ 68 h 311"/>
              <a:gd name="T52" fmla="*/ 30 w 147"/>
              <a:gd name="T53" fmla="*/ 53 h 311"/>
              <a:gd name="T54" fmla="*/ 26 w 147"/>
              <a:gd name="T55" fmla="*/ 44 h 311"/>
              <a:gd name="T56" fmla="*/ 28 w 147"/>
              <a:gd name="T57" fmla="*/ 40 h 311"/>
              <a:gd name="T58" fmla="*/ 28 w 147"/>
              <a:gd name="T59" fmla="*/ 40 h 311"/>
              <a:gd name="T60" fmla="*/ 26 w 147"/>
              <a:gd name="T61" fmla="*/ 32 h 311"/>
              <a:gd name="T62" fmla="*/ 30 w 147"/>
              <a:gd name="T63" fmla="*/ 19 h 311"/>
              <a:gd name="T64" fmla="*/ 30 w 147"/>
              <a:gd name="T65" fmla="*/ 10 h 311"/>
              <a:gd name="T66" fmla="*/ 36 w 147"/>
              <a:gd name="T67" fmla="*/ 6 h 311"/>
              <a:gd name="T68" fmla="*/ 43 w 147"/>
              <a:gd name="T69" fmla="*/ 8 h 311"/>
              <a:gd name="T70" fmla="*/ 51 w 147"/>
              <a:gd name="T71" fmla="*/ 0 h 311"/>
              <a:gd name="T72" fmla="*/ 51 w 147"/>
              <a:gd name="T73" fmla="*/ 4 h 311"/>
              <a:gd name="T74" fmla="*/ 104 w 147"/>
              <a:gd name="T75" fmla="*/ 166 h 311"/>
              <a:gd name="T76" fmla="*/ 113 w 147"/>
              <a:gd name="T77" fmla="*/ 187 h 311"/>
              <a:gd name="T78" fmla="*/ 113 w 147"/>
              <a:gd name="T79" fmla="*/ 196 h 311"/>
              <a:gd name="T80" fmla="*/ 115 w 147"/>
              <a:gd name="T81" fmla="*/ 202 h 311"/>
              <a:gd name="T82" fmla="*/ 119 w 147"/>
              <a:gd name="T83" fmla="*/ 208 h 311"/>
              <a:gd name="T84" fmla="*/ 126 w 147"/>
              <a:gd name="T85" fmla="*/ 215 h 311"/>
              <a:gd name="T86" fmla="*/ 134 w 147"/>
              <a:gd name="T87" fmla="*/ 219 h 311"/>
              <a:gd name="T88" fmla="*/ 134 w 147"/>
              <a:gd name="T89" fmla="*/ 225 h 311"/>
              <a:gd name="T90" fmla="*/ 141 w 147"/>
              <a:gd name="T91" fmla="*/ 232 h 311"/>
              <a:gd name="T92" fmla="*/ 145 w 147"/>
              <a:gd name="T93" fmla="*/ 234 h 311"/>
              <a:gd name="T94" fmla="*/ 147 w 147"/>
              <a:gd name="T95" fmla="*/ 236 h 311"/>
              <a:gd name="T96" fmla="*/ 145 w 147"/>
              <a:gd name="T97" fmla="*/ 251 h 311"/>
              <a:gd name="T98" fmla="*/ 145 w 147"/>
              <a:gd name="T99" fmla="*/ 257 h 311"/>
              <a:gd name="T100" fmla="*/ 141 w 147"/>
              <a:gd name="T101" fmla="*/ 257 h 311"/>
              <a:gd name="T102" fmla="*/ 139 w 147"/>
              <a:gd name="T103" fmla="*/ 259 h 311"/>
              <a:gd name="T104" fmla="*/ 130 w 147"/>
              <a:gd name="T105" fmla="*/ 264 h 311"/>
              <a:gd name="T106" fmla="*/ 126 w 147"/>
              <a:gd name="T107" fmla="*/ 270 h 311"/>
              <a:gd name="T108" fmla="*/ 124 w 147"/>
              <a:gd name="T109" fmla="*/ 270 h 311"/>
              <a:gd name="T110" fmla="*/ 119 w 147"/>
              <a:gd name="T111" fmla="*/ 279 h 311"/>
              <a:gd name="T112" fmla="*/ 111 w 147"/>
              <a:gd name="T113" fmla="*/ 289 h 311"/>
              <a:gd name="T114" fmla="*/ 17 w 147"/>
              <a:gd name="T115"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311">
                <a:moveTo>
                  <a:pt x="17" y="311"/>
                </a:moveTo>
                <a:lnTo>
                  <a:pt x="11" y="302"/>
                </a:lnTo>
                <a:lnTo>
                  <a:pt x="7" y="293"/>
                </a:lnTo>
                <a:lnTo>
                  <a:pt x="7" y="287"/>
                </a:lnTo>
                <a:lnTo>
                  <a:pt x="11" y="279"/>
                </a:lnTo>
                <a:lnTo>
                  <a:pt x="7" y="257"/>
                </a:lnTo>
                <a:lnTo>
                  <a:pt x="7" y="242"/>
                </a:lnTo>
                <a:lnTo>
                  <a:pt x="0" y="219"/>
                </a:lnTo>
                <a:lnTo>
                  <a:pt x="2" y="210"/>
                </a:lnTo>
                <a:lnTo>
                  <a:pt x="2" y="200"/>
                </a:lnTo>
                <a:lnTo>
                  <a:pt x="7" y="193"/>
                </a:lnTo>
                <a:lnTo>
                  <a:pt x="9" y="185"/>
                </a:lnTo>
                <a:lnTo>
                  <a:pt x="7" y="178"/>
                </a:lnTo>
                <a:lnTo>
                  <a:pt x="11" y="170"/>
                </a:lnTo>
                <a:lnTo>
                  <a:pt x="9" y="164"/>
                </a:lnTo>
                <a:lnTo>
                  <a:pt x="11" y="151"/>
                </a:lnTo>
                <a:lnTo>
                  <a:pt x="7" y="136"/>
                </a:lnTo>
                <a:lnTo>
                  <a:pt x="7" y="129"/>
                </a:lnTo>
                <a:lnTo>
                  <a:pt x="13" y="121"/>
                </a:lnTo>
                <a:lnTo>
                  <a:pt x="17" y="121"/>
                </a:lnTo>
                <a:lnTo>
                  <a:pt x="28" y="108"/>
                </a:lnTo>
                <a:lnTo>
                  <a:pt x="34" y="98"/>
                </a:lnTo>
                <a:lnTo>
                  <a:pt x="34" y="89"/>
                </a:lnTo>
                <a:lnTo>
                  <a:pt x="32" y="83"/>
                </a:lnTo>
                <a:lnTo>
                  <a:pt x="28" y="76"/>
                </a:lnTo>
                <a:lnTo>
                  <a:pt x="26" y="68"/>
                </a:lnTo>
                <a:lnTo>
                  <a:pt x="30" y="53"/>
                </a:lnTo>
                <a:lnTo>
                  <a:pt x="26" y="44"/>
                </a:lnTo>
                <a:lnTo>
                  <a:pt x="28" y="40"/>
                </a:lnTo>
                <a:lnTo>
                  <a:pt x="28" y="40"/>
                </a:lnTo>
                <a:lnTo>
                  <a:pt x="26" y="32"/>
                </a:lnTo>
                <a:lnTo>
                  <a:pt x="30" y="19"/>
                </a:lnTo>
                <a:lnTo>
                  <a:pt x="30" y="10"/>
                </a:lnTo>
                <a:lnTo>
                  <a:pt x="36" y="6"/>
                </a:lnTo>
                <a:lnTo>
                  <a:pt x="43" y="8"/>
                </a:lnTo>
                <a:lnTo>
                  <a:pt x="51" y="0"/>
                </a:lnTo>
                <a:lnTo>
                  <a:pt x="51" y="4"/>
                </a:lnTo>
                <a:lnTo>
                  <a:pt x="104" y="166"/>
                </a:lnTo>
                <a:lnTo>
                  <a:pt x="113" y="187"/>
                </a:lnTo>
                <a:lnTo>
                  <a:pt x="113" y="196"/>
                </a:lnTo>
                <a:lnTo>
                  <a:pt x="115" y="202"/>
                </a:lnTo>
                <a:lnTo>
                  <a:pt x="119" y="208"/>
                </a:lnTo>
                <a:lnTo>
                  <a:pt x="126" y="215"/>
                </a:lnTo>
                <a:lnTo>
                  <a:pt x="134" y="219"/>
                </a:lnTo>
                <a:lnTo>
                  <a:pt x="134" y="225"/>
                </a:lnTo>
                <a:lnTo>
                  <a:pt x="141" y="232"/>
                </a:lnTo>
                <a:lnTo>
                  <a:pt x="145" y="234"/>
                </a:lnTo>
                <a:lnTo>
                  <a:pt x="147" y="236"/>
                </a:lnTo>
                <a:lnTo>
                  <a:pt x="145" y="251"/>
                </a:lnTo>
                <a:lnTo>
                  <a:pt x="145" y="257"/>
                </a:lnTo>
                <a:lnTo>
                  <a:pt x="141" y="257"/>
                </a:lnTo>
                <a:lnTo>
                  <a:pt x="139" y="259"/>
                </a:lnTo>
                <a:lnTo>
                  <a:pt x="130" y="264"/>
                </a:lnTo>
                <a:lnTo>
                  <a:pt x="126" y="270"/>
                </a:lnTo>
                <a:lnTo>
                  <a:pt x="124" y="270"/>
                </a:lnTo>
                <a:lnTo>
                  <a:pt x="119" y="279"/>
                </a:lnTo>
                <a:lnTo>
                  <a:pt x="111" y="289"/>
                </a:lnTo>
                <a:lnTo>
                  <a:pt x="17" y="311"/>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91" name="Freeform 797"/>
          <p:cNvSpPr>
            <a:spLocks/>
          </p:cNvSpPr>
          <p:nvPr/>
        </p:nvSpPr>
        <p:spPr bwMode="auto">
          <a:xfrm>
            <a:off x="7389812" y="1949571"/>
            <a:ext cx="233363" cy="493713"/>
          </a:xfrm>
          <a:custGeom>
            <a:avLst/>
            <a:gdLst>
              <a:gd name="T0" fmla="*/ 17 w 147"/>
              <a:gd name="T1" fmla="*/ 311 h 311"/>
              <a:gd name="T2" fmla="*/ 11 w 147"/>
              <a:gd name="T3" fmla="*/ 302 h 311"/>
              <a:gd name="T4" fmla="*/ 7 w 147"/>
              <a:gd name="T5" fmla="*/ 293 h 311"/>
              <a:gd name="T6" fmla="*/ 7 w 147"/>
              <a:gd name="T7" fmla="*/ 287 h 311"/>
              <a:gd name="T8" fmla="*/ 11 w 147"/>
              <a:gd name="T9" fmla="*/ 279 h 311"/>
              <a:gd name="T10" fmla="*/ 7 w 147"/>
              <a:gd name="T11" fmla="*/ 257 h 311"/>
              <a:gd name="T12" fmla="*/ 7 w 147"/>
              <a:gd name="T13" fmla="*/ 242 h 311"/>
              <a:gd name="T14" fmla="*/ 0 w 147"/>
              <a:gd name="T15" fmla="*/ 219 h 311"/>
              <a:gd name="T16" fmla="*/ 2 w 147"/>
              <a:gd name="T17" fmla="*/ 210 h 311"/>
              <a:gd name="T18" fmla="*/ 2 w 147"/>
              <a:gd name="T19" fmla="*/ 200 h 311"/>
              <a:gd name="T20" fmla="*/ 7 w 147"/>
              <a:gd name="T21" fmla="*/ 193 h 311"/>
              <a:gd name="T22" fmla="*/ 9 w 147"/>
              <a:gd name="T23" fmla="*/ 185 h 311"/>
              <a:gd name="T24" fmla="*/ 7 w 147"/>
              <a:gd name="T25" fmla="*/ 178 h 311"/>
              <a:gd name="T26" fmla="*/ 11 w 147"/>
              <a:gd name="T27" fmla="*/ 170 h 311"/>
              <a:gd name="T28" fmla="*/ 9 w 147"/>
              <a:gd name="T29" fmla="*/ 164 h 311"/>
              <a:gd name="T30" fmla="*/ 11 w 147"/>
              <a:gd name="T31" fmla="*/ 151 h 311"/>
              <a:gd name="T32" fmla="*/ 7 w 147"/>
              <a:gd name="T33" fmla="*/ 136 h 311"/>
              <a:gd name="T34" fmla="*/ 7 w 147"/>
              <a:gd name="T35" fmla="*/ 129 h 311"/>
              <a:gd name="T36" fmla="*/ 13 w 147"/>
              <a:gd name="T37" fmla="*/ 121 h 311"/>
              <a:gd name="T38" fmla="*/ 17 w 147"/>
              <a:gd name="T39" fmla="*/ 121 h 311"/>
              <a:gd name="T40" fmla="*/ 28 w 147"/>
              <a:gd name="T41" fmla="*/ 108 h 311"/>
              <a:gd name="T42" fmla="*/ 34 w 147"/>
              <a:gd name="T43" fmla="*/ 98 h 311"/>
              <a:gd name="T44" fmla="*/ 34 w 147"/>
              <a:gd name="T45" fmla="*/ 89 h 311"/>
              <a:gd name="T46" fmla="*/ 32 w 147"/>
              <a:gd name="T47" fmla="*/ 83 h 311"/>
              <a:gd name="T48" fmla="*/ 28 w 147"/>
              <a:gd name="T49" fmla="*/ 76 h 311"/>
              <a:gd name="T50" fmla="*/ 26 w 147"/>
              <a:gd name="T51" fmla="*/ 68 h 311"/>
              <a:gd name="T52" fmla="*/ 30 w 147"/>
              <a:gd name="T53" fmla="*/ 53 h 311"/>
              <a:gd name="T54" fmla="*/ 26 w 147"/>
              <a:gd name="T55" fmla="*/ 44 h 311"/>
              <a:gd name="T56" fmla="*/ 28 w 147"/>
              <a:gd name="T57" fmla="*/ 40 h 311"/>
              <a:gd name="T58" fmla="*/ 28 w 147"/>
              <a:gd name="T59" fmla="*/ 40 h 311"/>
              <a:gd name="T60" fmla="*/ 26 w 147"/>
              <a:gd name="T61" fmla="*/ 32 h 311"/>
              <a:gd name="T62" fmla="*/ 30 w 147"/>
              <a:gd name="T63" fmla="*/ 19 h 311"/>
              <a:gd name="T64" fmla="*/ 30 w 147"/>
              <a:gd name="T65" fmla="*/ 10 h 311"/>
              <a:gd name="T66" fmla="*/ 36 w 147"/>
              <a:gd name="T67" fmla="*/ 6 h 311"/>
              <a:gd name="T68" fmla="*/ 43 w 147"/>
              <a:gd name="T69" fmla="*/ 8 h 311"/>
              <a:gd name="T70" fmla="*/ 51 w 147"/>
              <a:gd name="T71" fmla="*/ 0 h 311"/>
              <a:gd name="T72" fmla="*/ 51 w 147"/>
              <a:gd name="T73" fmla="*/ 4 h 311"/>
              <a:gd name="T74" fmla="*/ 104 w 147"/>
              <a:gd name="T75" fmla="*/ 166 h 311"/>
              <a:gd name="T76" fmla="*/ 113 w 147"/>
              <a:gd name="T77" fmla="*/ 187 h 311"/>
              <a:gd name="T78" fmla="*/ 113 w 147"/>
              <a:gd name="T79" fmla="*/ 196 h 311"/>
              <a:gd name="T80" fmla="*/ 115 w 147"/>
              <a:gd name="T81" fmla="*/ 202 h 311"/>
              <a:gd name="T82" fmla="*/ 119 w 147"/>
              <a:gd name="T83" fmla="*/ 208 h 311"/>
              <a:gd name="T84" fmla="*/ 126 w 147"/>
              <a:gd name="T85" fmla="*/ 215 h 311"/>
              <a:gd name="T86" fmla="*/ 134 w 147"/>
              <a:gd name="T87" fmla="*/ 219 h 311"/>
              <a:gd name="T88" fmla="*/ 134 w 147"/>
              <a:gd name="T89" fmla="*/ 225 h 311"/>
              <a:gd name="T90" fmla="*/ 141 w 147"/>
              <a:gd name="T91" fmla="*/ 232 h 311"/>
              <a:gd name="T92" fmla="*/ 145 w 147"/>
              <a:gd name="T93" fmla="*/ 234 h 311"/>
              <a:gd name="T94" fmla="*/ 147 w 147"/>
              <a:gd name="T95" fmla="*/ 236 h 311"/>
              <a:gd name="T96" fmla="*/ 145 w 147"/>
              <a:gd name="T97" fmla="*/ 251 h 311"/>
              <a:gd name="T98" fmla="*/ 145 w 147"/>
              <a:gd name="T99" fmla="*/ 257 h 311"/>
              <a:gd name="T100" fmla="*/ 141 w 147"/>
              <a:gd name="T101" fmla="*/ 257 h 311"/>
              <a:gd name="T102" fmla="*/ 139 w 147"/>
              <a:gd name="T103" fmla="*/ 259 h 311"/>
              <a:gd name="T104" fmla="*/ 130 w 147"/>
              <a:gd name="T105" fmla="*/ 264 h 311"/>
              <a:gd name="T106" fmla="*/ 126 w 147"/>
              <a:gd name="T107" fmla="*/ 270 h 311"/>
              <a:gd name="T108" fmla="*/ 124 w 147"/>
              <a:gd name="T109" fmla="*/ 270 h 311"/>
              <a:gd name="T110" fmla="*/ 119 w 147"/>
              <a:gd name="T111" fmla="*/ 279 h 311"/>
              <a:gd name="T112" fmla="*/ 111 w 147"/>
              <a:gd name="T113" fmla="*/ 289 h 311"/>
              <a:gd name="T114" fmla="*/ 17 w 147"/>
              <a:gd name="T115" fmla="*/ 311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7" h="311">
                <a:moveTo>
                  <a:pt x="17" y="311"/>
                </a:moveTo>
                <a:lnTo>
                  <a:pt x="11" y="302"/>
                </a:lnTo>
                <a:lnTo>
                  <a:pt x="7" y="293"/>
                </a:lnTo>
                <a:lnTo>
                  <a:pt x="7" y="287"/>
                </a:lnTo>
                <a:lnTo>
                  <a:pt x="11" y="279"/>
                </a:lnTo>
                <a:lnTo>
                  <a:pt x="7" y="257"/>
                </a:lnTo>
                <a:lnTo>
                  <a:pt x="7" y="242"/>
                </a:lnTo>
                <a:lnTo>
                  <a:pt x="0" y="219"/>
                </a:lnTo>
                <a:lnTo>
                  <a:pt x="2" y="210"/>
                </a:lnTo>
                <a:lnTo>
                  <a:pt x="2" y="200"/>
                </a:lnTo>
                <a:lnTo>
                  <a:pt x="7" y="193"/>
                </a:lnTo>
                <a:lnTo>
                  <a:pt x="9" y="185"/>
                </a:lnTo>
                <a:lnTo>
                  <a:pt x="7" y="178"/>
                </a:lnTo>
                <a:lnTo>
                  <a:pt x="11" y="170"/>
                </a:lnTo>
                <a:lnTo>
                  <a:pt x="9" y="164"/>
                </a:lnTo>
                <a:lnTo>
                  <a:pt x="11" y="151"/>
                </a:lnTo>
                <a:lnTo>
                  <a:pt x="7" y="136"/>
                </a:lnTo>
                <a:lnTo>
                  <a:pt x="7" y="129"/>
                </a:lnTo>
                <a:lnTo>
                  <a:pt x="13" y="121"/>
                </a:lnTo>
                <a:lnTo>
                  <a:pt x="17" y="121"/>
                </a:lnTo>
                <a:lnTo>
                  <a:pt x="28" y="108"/>
                </a:lnTo>
                <a:lnTo>
                  <a:pt x="34" y="98"/>
                </a:lnTo>
                <a:lnTo>
                  <a:pt x="34" y="89"/>
                </a:lnTo>
                <a:lnTo>
                  <a:pt x="32" y="83"/>
                </a:lnTo>
                <a:lnTo>
                  <a:pt x="28" y="76"/>
                </a:lnTo>
                <a:lnTo>
                  <a:pt x="26" y="68"/>
                </a:lnTo>
                <a:lnTo>
                  <a:pt x="30" y="53"/>
                </a:lnTo>
                <a:lnTo>
                  <a:pt x="26" y="44"/>
                </a:lnTo>
                <a:lnTo>
                  <a:pt x="28" y="40"/>
                </a:lnTo>
                <a:lnTo>
                  <a:pt x="28" y="40"/>
                </a:lnTo>
                <a:lnTo>
                  <a:pt x="26" y="32"/>
                </a:lnTo>
                <a:lnTo>
                  <a:pt x="30" y="19"/>
                </a:lnTo>
                <a:lnTo>
                  <a:pt x="30" y="10"/>
                </a:lnTo>
                <a:lnTo>
                  <a:pt x="36" y="6"/>
                </a:lnTo>
                <a:lnTo>
                  <a:pt x="43" y="8"/>
                </a:lnTo>
                <a:lnTo>
                  <a:pt x="51" y="0"/>
                </a:lnTo>
                <a:lnTo>
                  <a:pt x="51" y="4"/>
                </a:lnTo>
                <a:lnTo>
                  <a:pt x="104" y="166"/>
                </a:lnTo>
                <a:lnTo>
                  <a:pt x="113" y="187"/>
                </a:lnTo>
                <a:lnTo>
                  <a:pt x="113" y="196"/>
                </a:lnTo>
                <a:lnTo>
                  <a:pt x="115" y="202"/>
                </a:lnTo>
                <a:lnTo>
                  <a:pt x="119" y="208"/>
                </a:lnTo>
                <a:lnTo>
                  <a:pt x="126" y="215"/>
                </a:lnTo>
                <a:lnTo>
                  <a:pt x="134" y="219"/>
                </a:lnTo>
                <a:lnTo>
                  <a:pt x="134" y="225"/>
                </a:lnTo>
                <a:lnTo>
                  <a:pt x="141" y="232"/>
                </a:lnTo>
                <a:lnTo>
                  <a:pt x="145" y="234"/>
                </a:lnTo>
                <a:lnTo>
                  <a:pt x="147" y="236"/>
                </a:lnTo>
                <a:lnTo>
                  <a:pt x="145" y="251"/>
                </a:lnTo>
                <a:lnTo>
                  <a:pt x="145" y="257"/>
                </a:lnTo>
                <a:lnTo>
                  <a:pt x="141" y="257"/>
                </a:lnTo>
                <a:lnTo>
                  <a:pt x="139" y="259"/>
                </a:lnTo>
                <a:lnTo>
                  <a:pt x="130" y="264"/>
                </a:lnTo>
                <a:lnTo>
                  <a:pt x="126" y="270"/>
                </a:lnTo>
                <a:lnTo>
                  <a:pt x="124" y="270"/>
                </a:lnTo>
                <a:lnTo>
                  <a:pt x="119" y="279"/>
                </a:lnTo>
                <a:lnTo>
                  <a:pt x="111" y="289"/>
                </a:lnTo>
                <a:lnTo>
                  <a:pt x="17" y="31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2" name="Freeform 798"/>
          <p:cNvSpPr>
            <a:spLocks/>
          </p:cNvSpPr>
          <p:nvPr/>
        </p:nvSpPr>
        <p:spPr bwMode="auto">
          <a:xfrm>
            <a:off x="7620000" y="2557584"/>
            <a:ext cx="9525" cy="23813"/>
          </a:xfrm>
          <a:custGeom>
            <a:avLst/>
            <a:gdLst>
              <a:gd name="T0" fmla="*/ 0 w 6"/>
              <a:gd name="T1" fmla="*/ 11 h 15"/>
              <a:gd name="T2" fmla="*/ 6 w 6"/>
              <a:gd name="T3" fmla="*/ 6 h 15"/>
              <a:gd name="T4" fmla="*/ 6 w 6"/>
              <a:gd name="T5" fmla="*/ 0 h 15"/>
              <a:gd name="T6" fmla="*/ 6 w 6"/>
              <a:gd name="T7" fmla="*/ 8 h 15"/>
              <a:gd name="T8" fmla="*/ 4 w 6"/>
              <a:gd name="T9" fmla="*/ 15 h 15"/>
              <a:gd name="T10" fmla="*/ 0 w 6"/>
              <a:gd name="T11" fmla="*/ 11 h 15"/>
            </a:gdLst>
            <a:ahLst/>
            <a:cxnLst>
              <a:cxn ang="0">
                <a:pos x="T0" y="T1"/>
              </a:cxn>
              <a:cxn ang="0">
                <a:pos x="T2" y="T3"/>
              </a:cxn>
              <a:cxn ang="0">
                <a:pos x="T4" y="T5"/>
              </a:cxn>
              <a:cxn ang="0">
                <a:pos x="T6" y="T7"/>
              </a:cxn>
              <a:cxn ang="0">
                <a:pos x="T8" y="T9"/>
              </a:cxn>
              <a:cxn ang="0">
                <a:pos x="T10" y="T11"/>
              </a:cxn>
            </a:cxnLst>
            <a:rect l="0" t="0" r="r" b="b"/>
            <a:pathLst>
              <a:path w="6" h="15">
                <a:moveTo>
                  <a:pt x="0" y="11"/>
                </a:moveTo>
                <a:lnTo>
                  <a:pt x="6" y="6"/>
                </a:lnTo>
                <a:lnTo>
                  <a:pt x="6" y="0"/>
                </a:lnTo>
                <a:lnTo>
                  <a:pt x="6" y="8"/>
                </a:lnTo>
                <a:lnTo>
                  <a:pt x="4" y="15"/>
                </a:lnTo>
                <a:lnTo>
                  <a:pt x="0" y="1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3" name="Freeform 799"/>
          <p:cNvSpPr>
            <a:spLocks/>
          </p:cNvSpPr>
          <p:nvPr/>
        </p:nvSpPr>
        <p:spPr bwMode="auto">
          <a:xfrm>
            <a:off x="7620000" y="2557584"/>
            <a:ext cx="9525" cy="23813"/>
          </a:xfrm>
          <a:custGeom>
            <a:avLst/>
            <a:gdLst>
              <a:gd name="T0" fmla="*/ 0 w 6"/>
              <a:gd name="T1" fmla="*/ 11 h 15"/>
              <a:gd name="T2" fmla="*/ 6 w 6"/>
              <a:gd name="T3" fmla="*/ 6 h 15"/>
              <a:gd name="T4" fmla="*/ 6 w 6"/>
              <a:gd name="T5" fmla="*/ 0 h 15"/>
              <a:gd name="T6" fmla="*/ 6 w 6"/>
              <a:gd name="T7" fmla="*/ 8 h 15"/>
              <a:gd name="T8" fmla="*/ 4 w 6"/>
              <a:gd name="T9" fmla="*/ 15 h 15"/>
              <a:gd name="T10" fmla="*/ 0 w 6"/>
              <a:gd name="T11" fmla="*/ 11 h 15"/>
            </a:gdLst>
            <a:ahLst/>
            <a:cxnLst>
              <a:cxn ang="0">
                <a:pos x="T0" y="T1"/>
              </a:cxn>
              <a:cxn ang="0">
                <a:pos x="T2" y="T3"/>
              </a:cxn>
              <a:cxn ang="0">
                <a:pos x="T4" y="T5"/>
              </a:cxn>
              <a:cxn ang="0">
                <a:pos x="T6" y="T7"/>
              </a:cxn>
              <a:cxn ang="0">
                <a:pos x="T8" y="T9"/>
              </a:cxn>
              <a:cxn ang="0">
                <a:pos x="T10" y="T11"/>
              </a:cxn>
            </a:cxnLst>
            <a:rect l="0" t="0" r="r" b="b"/>
            <a:pathLst>
              <a:path w="6" h="15">
                <a:moveTo>
                  <a:pt x="0" y="11"/>
                </a:moveTo>
                <a:lnTo>
                  <a:pt x="6" y="6"/>
                </a:lnTo>
                <a:lnTo>
                  <a:pt x="6" y="0"/>
                </a:lnTo>
                <a:lnTo>
                  <a:pt x="6" y="8"/>
                </a:lnTo>
                <a:lnTo>
                  <a:pt x="4" y="15"/>
                </a:lnTo>
                <a:lnTo>
                  <a:pt x="0" y="1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4" name="Freeform 800"/>
          <p:cNvSpPr>
            <a:spLocks/>
          </p:cNvSpPr>
          <p:nvPr/>
        </p:nvSpPr>
        <p:spPr bwMode="auto">
          <a:xfrm>
            <a:off x="7535862" y="2530596"/>
            <a:ext cx="77788" cy="134938"/>
          </a:xfrm>
          <a:custGeom>
            <a:avLst/>
            <a:gdLst>
              <a:gd name="T0" fmla="*/ 0 w 49"/>
              <a:gd name="T1" fmla="*/ 8 h 85"/>
              <a:gd name="T2" fmla="*/ 27 w 49"/>
              <a:gd name="T3" fmla="*/ 0 h 85"/>
              <a:gd name="T4" fmla="*/ 34 w 49"/>
              <a:gd name="T5" fmla="*/ 4 h 85"/>
              <a:gd name="T6" fmla="*/ 38 w 49"/>
              <a:gd name="T7" fmla="*/ 13 h 85"/>
              <a:gd name="T8" fmla="*/ 42 w 49"/>
              <a:gd name="T9" fmla="*/ 13 h 85"/>
              <a:gd name="T10" fmla="*/ 42 w 49"/>
              <a:gd name="T11" fmla="*/ 19 h 85"/>
              <a:gd name="T12" fmla="*/ 47 w 49"/>
              <a:gd name="T13" fmla="*/ 23 h 85"/>
              <a:gd name="T14" fmla="*/ 49 w 49"/>
              <a:gd name="T15" fmla="*/ 25 h 85"/>
              <a:gd name="T16" fmla="*/ 44 w 49"/>
              <a:gd name="T17" fmla="*/ 28 h 85"/>
              <a:gd name="T18" fmla="*/ 38 w 49"/>
              <a:gd name="T19" fmla="*/ 21 h 85"/>
              <a:gd name="T20" fmla="*/ 40 w 49"/>
              <a:gd name="T21" fmla="*/ 28 h 85"/>
              <a:gd name="T22" fmla="*/ 38 w 49"/>
              <a:gd name="T23" fmla="*/ 36 h 85"/>
              <a:gd name="T24" fmla="*/ 42 w 49"/>
              <a:gd name="T25" fmla="*/ 43 h 85"/>
              <a:gd name="T26" fmla="*/ 42 w 49"/>
              <a:gd name="T27" fmla="*/ 49 h 85"/>
              <a:gd name="T28" fmla="*/ 47 w 49"/>
              <a:gd name="T29" fmla="*/ 60 h 85"/>
              <a:gd name="T30" fmla="*/ 44 w 49"/>
              <a:gd name="T31" fmla="*/ 68 h 85"/>
              <a:gd name="T32" fmla="*/ 23 w 49"/>
              <a:gd name="T33" fmla="*/ 81 h 85"/>
              <a:gd name="T34" fmla="*/ 17 w 49"/>
              <a:gd name="T35" fmla="*/ 85 h 85"/>
              <a:gd name="T36" fmla="*/ 17 w 49"/>
              <a:gd name="T37" fmla="*/ 81 h 85"/>
              <a:gd name="T38" fmla="*/ 15 w 49"/>
              <a:gd name="T39" fmla="*/ 79 h 85"/>
              <a:gd name="T40" fmla="*/ 17 w 49"/>
              <a:gd name="T41" fmla="*/ 72 h 85"/>
              <a:gd name="T42" fmla="*/ 17 w 49"/>
              <a:gd name="T43" fmla="*/ 66 h 85"/>
              <a:gd name="T44" fmla="*/ 0 w 49"/>
              <a:gd name="T45"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85">
                <a:moveTo>
                  <a:pt x="0" y="8"/>
                </a:moveTo>
                <a:lnTo>
                  <a:pt x="27" y="0"/>
                </a:lnTo>
                <a:lnTo>
                  <a:pt x="34" y="4"/>
                </a:lnTo>
                <a:lnTo>
                  <a:pt x="38" y="13"/>
                </a:lnTo>
                <a:lnTo>
                  <a:pt x="42" y="13"/>
                </a:lnTo>
                <a:lnTo>
                  <a:pt x="42" y="19"/>
                </a:lnTo>
                <a:lnTo>
                  <a:pt x="47" y="23"/>
                </a:lnTo>
                <a:lnTo>
                  <a:pt x="49" y="25"/>
                </a:lnTo>
                <a:lnTo>
                  <a:pt x="44" y="28"/>
                </a:lnTo>
                <a:lnTo>
                  <a:pt x="38" y="21"/>
                </a:lnTo>
                <a:lnTo>
                  <a:pt x="40" y="28"/>
                </a:lnTo>
                <a:lnTo>
                  <a:pt x="38" y="36"/>
                </a:lnTo>
                <a:lnTo>
                  <a:pt x="42" y="43"/>
                </a:lnTo>
                <a:lnTo>
                  <a:pt x="42" y="49"/>
                </a:lnTo>
                <a:lnTo>
                  <a:pt x="47" y="60"/>
                </a:lnTo>
                <a:lnTo>
                  <a:pt x="44" y="68"/>
                </a:lnTo>
                <a:lnTo>
                  <a:pt x="23" y="81"/>
                </a:lnTo>
                <a:lnTo>
                  <a:pt x="17" y="85"/>
                </a:lnTo>
                <a:lnTo>
                  <a:pt x="17" y="81"/>
                </a:lnTo>
                <a:lnTo>
                  <a:pt x="15" y="79"/>
                </a:lnTo>
                <a:lnTo>
                  <a:pt x="17" y="72"/>
                </a:lnTo>
                <a:lnTo>
                  <a:pt x="17" y="66"/>
                </a:lnTo>
                <a:lnTo>
                  <a:pt x="0" y="8"/>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395" name="Freeform 801"/>
          <p:cNvSpPr>
            <a:spLocks/>
          </p:cNvSpPr>
          <p:nvPr/>
        </p:nvSpPr>
        <p:spPr bwMode="auto">
          <a:xfrm>
            <a:off x="7535862" y="2530596"/>
            <a:ext cx="77788" cy="134938"/>
          </a:xfrm>
          <a:custGeom>
            <a:avLst/>
            <a:gdLst>
              <a:gd name="T0" fmla="*/ 0 w 49"/>
              <a:gd name="T1" fmla="*/ 8 h 85"/>
              <a:gd name="T2" fmla="*/ 27 w 49"/>
              <a:gd name="T3" fmla="*/ 0 h 85"/>
              <a:gd name="T4" fmla="*/ 34 w 49"/>
              <a:gd name="T5" fmla="*/ 4 h 85"/>
              <a:gd name="T6" fmla="*/ 38 w 49"/>
              <a:gd name="T7" fmla="*/ 13 h 85"/>
              <a:gd name="T8" fmla="*/ 42 w 49"/>
              <a:gd name="T9" fmla="*/ 13 h 85"/>
              <a:gd name="T10" fmla="*/ 42 w 49"/>
              <a:gd name="T11" fmla="*/ 19 h 85"/>
              <a:gd name="T12" fmla="*/ 47 w 49"/>
              <a:gd name="T13" fmla="*/ 23 h 85"/>
              <a:gd name="T14" fmla="*/ 49 w 49"/>
              <a:gd name="T15" fmla="*/ 25 h 85"/>
              <a:gd name="T16" fmla="*/ 44 w 49"/>
              <a:gd name="T17" fmla="*/ 28 h 85"/>
              <a:gd name="T18" fmla="*/ 38 w 49"/>
              <a:gd name="T19" fmla="*/ 21 h 85"/>
              <a:gd name="T20" fmla="*/ 40 w 49"/>
              <a:gd name="T21" fmla="*/ 28 h 85"/>
              <a:gd name="T22" fmla="*/ 38 w 49"/>
              <a:gd name="T23" fmla="*/ 36 h 85"/>
              <a:gd name="T24" fmla="*/ 42 w 49"/>
              <a:gd name="T25" fmla="*/ 43 h 85"/>
              <a:gd name="T26" fmla="*/ 42 w 49"/>
              <a:gd name="T27" fmla="*/ 49 h 85"/>
              <a:gd name="T28" fmla="*/ 47 w 49"/>
              <a:gd name="T29" fmla="*/ 60 h 85"/>
              <a:gd name="T30" fmla="*/ 44 w 49"/>
              <a:gd name="T31" fmla="*/ 68 h 85"/>
              <a:gd name="T32" fmla="*/ 23 w 49"/>
              <a:gd name="T33" fmla="*/ 81 h 85"/>
              <a:gd name="T34" fmla="*/ 17 w 49"/>
              <a:gd name="T35" fmla="*/ 85 h 85"/>
              <a:gd name="T36" fmla="*/ 17 w 49"/>
              <a:gd name="T37" fmla="*/ 81 h 85"/>
              <a:gd name="T38" fmla="*/ 15 w 49"/>
              <a:gd name="T39" fmla="*/ 79 h 85"/>
              <a:gd name="T40" fmla="*/ 17 w 49"/>
              <a:gd name="T41" fmla="*/ 72 h 85"/>
              <a:gd name="T42" fmla="*/ 17 w 49"/>
              <a:gd name="T43" fmla="*/ 66 h 85"/>
              <a:gd name="T44" fmla="*/ 0 w 49"/>
              <a:gd name="T45" fmla="*/ 8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9" h="85">
                <a:moveTo>
                  <a:pt x="0" y="8"/>
                </a:moveTo>
                <a:lnTo>
                  <a:pt x="27" y="0"/>
                </a:lnTo>
                <a:lnTo>
                  <a:pt x="34" y="4"/>
                </a:lnTo>
                <a:lnTo>
                  <a:pt x="38" y="13"/>
                </a:lnTo>
                <a:lnTo>
                  <a:pt x="42" y="13"/>
                </a:lnTo>
                <a:lnTo>
                  <a:pt x="42" y="19"/>
                </a:lnTo>
                <a:lnTo>
                  <a:pt x="47" y="23"/>
                </a:lnTo>
                <a:lnTo>
                  <a:pt x="49" y="25"/>
                </a:lnTo>
                <a:lnTo>
                  <a:pt x="44" y="28"/>
                </a:lnTo>
                <a:lnTo>
                  <a:pt x="38" y="21"/>
                </a:lnTo>
                <a:lnTo>
                  <a:pt x="40" y="28"/>
                </a:lnTo>
                <a:lnTo>
                  <a:pt x="38" y="36"/>
                </a:lnTo>
                <a:lnTo>
                  <a:pt x="42" y="43"/>
                </a:lnTo>
                <a:lnTo>
                  <a:pt x="42" y="49"/>
                </a:lnTo>
                <a:lnTo>
                  <a:pt x="47" y="60"/>
                </a:lnTo>
                <a:lnTo>
                  <a:pt x="44" y="68"/>
                </a:lnTo>
                <a:lnTo>
                  <a:pt x="23" y="81"/>
                </a:lnTo>
                <a:lnTo>
                  <a:pt x="17" y="85"/>
                </a:lnTo>
                <a:lnTo>
                  <a:pt x="17" y="81"/>
                </a:lnTo>
                <a:lnTo>
                  <a:pt x="15" y="79"/>
                </a:lnTo>
                <a:lnTo>
                  <a:pt x="17" y="72"/>
                </a:lnTo>
                <a:lnTo>
                  <a:pt x="17" y="66"/>
                </a:lnTo>
                <a:lnTo>
                  <a:pt x="0" y="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6" name="Freeform 802"/>
          <p:cNvSpPr>
            <a:spLocks/>
          </p:cNvSpPr>
          <p:nvPr/>
        </p:nvSpPr>
        <p:spPr bwMode="auto">
          <a:xfrm>
            <a:off x="7613650" y="2570284"/>
            <a:ext cx="6350" cy="11113"/>
          </a:xfrm>
          <a:custGeom>
            <a:avLst/>
            <a:gdLst>
              <a:gd name="T0" fmla="*/ 0 w 4"/>
              <a:gd name="T1" fmla="*/ 0 h 7"/>
              <a:gd name="T2" fmla="*/ 4 w 4"/>
              <a:gd name="T3" fmla="*/ 3 h 7"/>
              <a:gd name="T4" fmla="*/ 0 w 4"/>
              <a:gd name="T5" fmla="*/ 7 h 7"/>
              <a:gd name="T6" fmla="*/ 0 w 4"/>
              <a:gd name="T7" fmla="*/ 0 h 7"/>
            </a:gdLst>
            <a:ahLst/>
            <a:cxnLst>
              <a:cxn ang="0">
                <a:pos x="T0" y="T1"/>
              </a:cxn>
              <a:cxn ang="0">
                <a:pos x="T2" y="T3"/>
              </a:cxn>
              <a:cxn ang="0">
                <a:pos x="T4" y="T5"/>
              </a:cxn>
              <a:cxn ang="0">
                <a:pos x="T6" y="T7"/>
              </a:cxn>
            </a:cxnLst>
            <a:rect l="0" t="0" r="r" b="b"/>
            <a:pathLst>
              <a:path w="4" h="7">
                <a:moveTo>
                  <a:pt x="0" y="0"/>
                </a:moveTo>
                <a:lnTo>
                  <a:pt x="4" y="3"/>
                </a:lnTo>
                <a:lnTo>
                  <a:pt x="0" y="7"/>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7" name="Freeform 803"/>
          <p:cNvSpPr>
            <a:spLocks/>
          </p:cNvSpPr>
          <p:nvPr/>
        </p:nvSpPr>
        <p:spPr bwMode="auto">
          <a:xfrm>
            <a:off x="7613650" y="2570284"/>
            <a:ext cx="6350" cy="11113"/>
          </a:xfrm>
          <a:custGeom>
            <a:avLst/>
            <a:gdLst>
              <a:gd name="T0" fmla="*/ 0 w 4"/>
              <a:gd name="T1" fmla="*/ 0 h 7"/>
              <a:gd name="T2" fmla="*/ 4 w 4"/>
              <a:gd name="T3" fmla="*/ 3 h 7"/>
              <a:gd name="T4" fmla="*/ 0 w 4"/>
              <a:gd name="T5" fmla="*/ 7 h 7"/>
              <a:gd name="T6" fmla="*/ 0 w 4"/>
              <a:gd name="T7" fmla="*/ 0 h 7"/>
            </a:gdLst>
            <a:ahLst/>
            <a:cxnLst>
              <a:cxn ang="0">
                <a:pos x="T0" y="T1"/>
              </a:cxn>
              <a:cxn ang="0">
                <a:pos x="T2" y="T3"/>
              </a:cxn>
              <a:cxn ang="0">
                <a:pos x="T4" y="T5"/>
              </a:cxn>
              <a:cxn ang="0">
                <a:pos x="T6" y="T7"/>
              </a:cxn>
            </a:cxnLst>
            <a:rect l="0" t="0" r="r" b="b"/>
            <a:pathLst>
              <a:path w="4" h="7">
                <a:moveTo>
                  <a:pt x="0" y="0"/>
                </a:moveTo>
                <a:lnTo>
                  <a:pt x="4" y="3"/>
                </a:lnTo>
                <a:lnTo>
                  <a:pt x="0" y="7"/>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398" name="Freeform 804"/>
          <p:cNvSpPr>
            <a:spLocks/>
          </p:cNvSpPr>
          <p:nvPr/>
        </p:nvSpPr>
        <p:spPr bwMode="auto">
          <a:xfrm>
            <a:off x="7626350" y="2581396"/>
            <a:ext cx="17463" cy="33338"/>
          </a:xfrm>
          <a:custGeom>
            <a:avLst/>
            <a:gdLst>
              <a:gd name="T0" fmla="*/ 0 w 11"/>
              <a:gd name="T1" fmla="*/ 0 h 21"/>
              <a:gd name="T2" fmla="*/ 7 w 11"/>
              <a:gd name="T3" fmla="*/ 2 h 21"/>
              <a:gd name="T4" fmla="*/ 11 w 11"/>
              <a:gd name="T5" fmla="*/ 13 h 21"/>
              <a:gd name="T6" fmla="*/ 11 w 11"/>
              <a:gd name="T7" fmla="*/ 17 h 21"/>
              <a:gd name="T8" fmla="*/ 9 w 11"/>
              <a:gd name="T9" fmla="*/ 21 h 21"/>
              <a:gd name="T10" fmla="*/ 4 w 11"/>
              <a:gd name="T11" fmla="*/ 15 h 21"/>
              <a:gd name="T12" fmla="*/ 0 w 1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0" y="0"/>
                </a:moveTo>
                <a:lnTo>
                  <a:pt x="7" y="2"/>
                </a:lnTo>
                <a:lnTo>
                  <a:pt x="11" y="13"/>
                </a:lnTo>
                <a:lnTo>
                  <a:pt x="11" y="17"/>
                </a:lnTo>
                <a:lnTo>
                  <a:pt x="9" y="21"/>
                </a:lnTo>
                <a:lnTo>
                  <a:pt x="4" y="15"/>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99" name="Freeform 805"/>
          <p:cNvSpPr>
            <a:spLocks/>
          </p:cNvSpPr>
          <p:nvPr/>
        </p:nvSpPr>
        <p:spPr bwMode="auto">
          <a:xfrm>
            <a:off x="7626350" y="2581396"/>
            <a:ext cx="17463" cy="33338"/>
          </a:xfrm>
          <a:custGeom>
            <a:avLst/>
            <a:gdLst>
              <a:gd name="T0" fmla="*/ 0 w 11"/>
              <a:gd name="T1" fmla="*/ 0 h 21"/>
              <a:gd name="T2" fmla="*/ 7 w 11"/>
              <a:gd name="T3" fmla="*/ 2 h 21"/>
              <a:gd name="T4" fmla="*/ 11 w 11"/>
              <a:gd name="T5" fmla="*/ 13 h 21"/>
              <a:gd name="T6" fmla="*/ 11 w 11"/>
              <a:gd name="T7" fmla="*/ 17 h 21"/>
              <a:gd name="T8" fmla="*/ 9 w 11"/>
              <a:gd name="T9" fmla="*/ 21 h 21"/>
              <a:gd name="T10" fmla="*/ 4 w 11"/>
              <a:gd name="T11" fmla="*/ 15 h 21"/>
              <a:gd name="T12" fmla="*/ 0 w 11"/>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11" h="21">
                <a:moveTo>
                  <a:pt x="0" y="0"/>
                </a:moveTo>
                <a:lnTo>
                  <a:pt x="7" y="2"/>
                </a:lnTo>
                <a:lnTo>
                  <a:pt x="11" y="13"/>
                </a:lnTo>
                <a:lnTo>
                  <a:pt x="11" y="17"/>
                </a:lnTo>
                <a:lnTo>
                  <a:pt x="9" y="21"/>
                </a:lnTo>
                <a:lnTo>
                  <a:pt x="4" y="1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0" name="Freeform 806"/>
          <p:cNvSpPr>
            <a:spLocks/>
          </p:cNvSpPr>
          <p:nvPr/>
        </p:nvSpPr>
        <p:spPr bwMode="auto">
          <a:xfrm>
            <a:off x="774700" y="2225796"/>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1" name="Freeform 807"/>
          <p:cNvSpPr>
            <a:spLocks/>
          </p:cNvSpPr>
          <p:nvPr/>
        </p:nvSpPr>
        <p:spPr bwMode="auto">
          <a:xfrm>
            <a:off x="774700" y="2225796"/>
            <a:ext cx="0" cy="3175"/>
          </a:xfrm>
          <a:custGeom>
            <a:avLst/>
            <a:gdLst>
              <a:gd name="T0" fmla="*/ 2 h 2"/>
              <a:gd name="T1" fmla="*/ 0 h 2"/>
              <a:gd name="T2" fmla="*/ 2 h 2"/>
              <a:gd name="T3" fmla="*/ 2 h 2"/>
            </a:gdLst>
            <a:ahLst/>
            <a:cxnLst>
              <a:cxn ang="0">
                <a:pos x="0" y="T0"/>
              </a:cxn>
              <a:cxn ang="0">
                <a:pos x="0" y="T1"/>
              </a:cxn>
              <a:cxn ang="0">
                <a:pos x="0" y="T2"/>
              </a:cxn>
              <a:cxn ang="0">
                <a:pos x="0" y="T3"/>
              </a:cxn>
            </a:cxnLst>
            <a:rect l="0" t="0" r="r" b="b"/>
            <a:pathLst>
              <a:path h="2">
                <a:moveTo>
                  <a:pt x="0" y="2"/>
                </a:moveTo>
                <a:lnTo>
                  <a:pt x="0" y="0"/>
                </a:lnTo>
                <a:lnTo>
                  <a:pt x="0" y="2"/>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2" name="Freeform 808"/>
          <p:cNvSpPr>
            <a:spLocks/>
          </p:cNvSpPr>
          <p:nvPr/>
        </p:nvSpPr>
        <p:spPr bwMode="auto">
          <a:xfrm>
            <a:off x="774700" y="2228971"/>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3" name="Freeform 809"/>
          <p:cNvSpPr>
            <a:spLocks/>
          </p:cNvSpPr>
          <p:nvPr/>
        </p:nvSpPr>
        <p:spPr bwMode="auto">
          <a:xfrm>
            <a:off x="774700" y="2228971"/>
            <a:ext cx="6350" cy="7938"/>
          </a:xfrm>
          <a:custGeom>
            <a:avLst/>
            <a:gdLst>
              <a:gd name="T0" fmla="*/ 0 w 4"/>
              <a:gd name="T1" fmla="*/ 0 h 5"/>
              <a:gd name="T2" fmla="*/ 4 w 4"/>
              <a:gd name="T3" fmla="*/ 0 h 5"/>
              <a:gd name="T4" fmla="*/ 2 w 4"/>
              <a:gd name="T5" fmla="*/ 5 h 5"/>
              <a:gd name="T6" fmla="*/ 0 w 4"/>
              <a:gd name="T7" fmla="*/ 0 h 5"/>
            </a:gdLst>
            <a:ahLst/>
            <a:cxnLst>
              <a:cxn ang="0">
                <a:pos x="T0" y="T1"/>
              </a:cxn>
              <a:cxn ang="0">
                <a:pos x="T2" y="T3"/>
              </a:cxn>
              <a:cxn ang="0">
                <a:pos x="T4" y="T5"/>
              </a:cxn>
              <a:cxn ang="0">
                <a:pos x="T6" y="T7"/>
              </a:cxn>
            </a:cxnLst>
            <a:rect l="0" t="0" r="r" b="b"/>
            <a:pathLst>
              <a:path w="4" h="5">
                <a:moveTo>
                  <a:pt x="0" y="0"/>
                </a:moveTo>
                <a:lnTo>
                  <a:pt x="4" y="0"/>
                </a:lnTo>
                <a:lnTo>
                  <a:pt x="2" y="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4" name="Freeform 810"/>
          <p:cNvSpPr>
            <a:spLocks/>
          </p:cNvSpPr>
          <p:nvPr/>
        </p:nvSpPr>
        <p:spPr bwMode="auto">
          <a:xfrm>
            <a:off x="6565900" y="2563934"/>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5" name="Freeform 811"/>
          <p:cNvSpPr>
            <a:spLocks/>
          </p:cNvSpPr>
          <p:nvPr/>
        </p:nvSpPr>
        <p:spPr bwMode="auto">
          <a:xfrm>
            <a:off x="6565900" y="2563934"/>
            <a:ext cx="9525" cy="17463"/>
          </a:xfrm>
          <a:custGeom>
            <a:avLst/>
            <a:gdLst>
              <a:gd name="T0" fmla="*/ 0 w 6"/>
              <a:gd name="T1" fmla="*/ 0 h 11"/>
              <a:gd name="T2" fmla="*/ 6 w 6"/>
              <a:gd name="T3" fmla="*/ 11 h 11"/>
              <a:gd name="T4" fmla="*/ 4 w 6"/>
              <a:gd name="T5" fmla="*/ 7 h 11"/>
              <a:gd name="T6" fmla="*/ 0 w 6"/>
              <a:gd name="T7" fmla="*/ 0 h 11"/>
            </a:gdLst>
            <a:ahLst/>
            <a:cxnLst>
              <a:cxn ang="0">
                <a:pos x="T0" y="T1"/>
              </a:cxn>
              <a:cxn ang="0">
                <a:pos x="T2" y="T3"/>
              </a:cxn>
              <a:cxn ang="0">
                <a:pos x="T4" y="T5"/>
              </a:cxn>
              <a:cxn ang="0">
                <a:pos x="T6" y="T7"/>
              </a:cxn>
            </a:cxnLst>
            <a:rect l="0" t="0" r="r" b="b"/>
            <a:pathLst>
              <a:path w="6" h="11">
                <a:moveTo>
                  <a:pt x="0" y="0"/>
                </a:moveTo>
                <a:lnTo>
                  <a:pt x="6" y="11"/>
                </a:lnTo>
                <a:lnTo>
                  <a:pt x="4" y="7"/>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6" name="Freeform 812"/>
          <p:cNvSpPr>
            <a:spLocks/>
          </p:cNvSpPr>
          <p:nvPr/>
        </p:nvSpPr>
        <p:spPr bwMode="auto">
          <a:xfrm>
            <a:off x="6575425" y="2581396"/>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7" name="Freeform 813"/>
          <p:cNvSpPr>
            <a:spLocks/>
          </p:cNvSpPr>
          <p:nvPr/>
        </p:nvSpPr>
        <p:spPr bwMode="auto">
          <a:xfrm>
            <a:off x="6575425" y="2581396"/>
            <a:ext cx="6350" cy="6350"/>
          </a:xfrm>
          <a:custGeom>
            <a:avLst/>
            <a:gdLst>
              <a:gd name="T0" fmla="*/ 0 w 4"/>
              <a:gd name="T1" fmla="*/ 0 h 4"/>
              <a:gd name="T2" fmla="*/ 4 w 4"/>
              <a:gd name="T3" fmla="*/ 4 h 4"/>
              <a:gd name="T4" fmla="*/ 2 w 4"/>
              <a:gd name="T5" fmla="*/ 2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2"/>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08" name="Freeform 814"/>
          <p:cNvSpPr>
            <a:spLocks/>
          </p:cNvSpPr>
          <p:nvPr/>
        </p:nvSpPr>
        <p:spPr bwMode="auto">
          <a:xfrm>
            <a:off x="1149350" y="1420813"/>
            <a:ext cx="20638" cy="28575"/>
          </a:xfrm>
          <a:custGeom>
            <a:avLst/>
            <a:gdLst>
              <a:gd name="T0" fmla="*/ 9 w 13"/>
              <a:gd name="T1" fmla="*/ 3 h 18"/>
              <a:gd name="T2" fmla="*/ 5 w 13"/>
              <a:gd name="T3" fmla="*/ 0 h 18"/>
              <a:gd name="T4" fmla="*/ 0 w 13"/>
              <a:gd name="T5" fmla="*/ 11 h 18"/>
              <a:gd name="T6" fmla="*/ 5 w 13"/>
              <a:gd name="T7" fmla="*/ 18 h 18"/>
              <a:gd name="T8" fmla="*/ 11 w 13"/>
              <a:gd name="T9" fmla="*/ 18 h 18"/>
              <a:gd name="T10" fmla="*/ 13 w 13"/>
              <a:gd name="T11" fmla="*/ 11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5" y="0"/>
                </a:lnTo>
                <a:lnTo>
                  <a:pt x="0" y="11"/>
                </a:lnTo>
                <a:lnTo>
                  <a:pt x="5" y="18"/>
                </a:lnTo>
                <a:lnTo>
                  <a:pt x="11" y="18"/>
                </a:lnTo>
                <a:lnTo>
                  <a:pt x="13" y="11"/>
                </a:lnTo>
                <a:lnTo>
                  <a:pt x="9" y="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09" name="Freeform 815"/>
          <p:cNvSpPr>
            <a:spLocks/>
          </p:cNvSpPr>
          <p:nvPr/>
        </p:nvSpPr>
        <p:spPr bwMode="auto">
          <a:xfrm>
            <a:off x="1149350" y="1420813"/>
            <a:ext cx="20638" cy="28575"/>
          </a:xfrm>
          <a:custGeom>
            <a:avLst/>
            <a:gdLst>
              <a:gd name="T0" fmla="*/ 9 w 13"/>
              <a:gd name="T1" fmla="*/ 3 h 18"/>
              <a:gd name="T2" fmla="*/ 5 w 13"/>
              <a:gd name="T3" fmla="*/ 0 h 18"/>
              <a:gd name="T4" fmla="*/ 0 w 13"/>
              <a:gd name="T5" fmla="*/ 11 h 18"/>
              <a:gd name="T6" fmla="*/ 5 w 13"/>
              <a:gd name="T7" fmla="*/ 18 h 18"/>
              <a:gd name="T8" fmla="*/ 11 w 13"/>
              <a:gd name="T9" fmla="*/ 18 h 18"/>
              <a:gd name="T10" fmla="*/ 13 w 13"/>
              <a:gd name="T11" fmla="*/ 11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5" y="0"/>
                </a:lnTo>
                <a:lnTo>
                  <a:pt x="0" y="11"/>
                </a:lnTo>
                <a:lnTo>
                  <a:pt x="5" y="18"/>
                </a:lnTo>
                <a:lnTo>
                  <a:pt x="11" y="18"/>
                </a:lnTo>
                <a:lnTo>
                  <a:pt x="13" y="11"/>
                </a:lnTo>
                <a:lnTo>
                  <a:pt x="9" y="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0" name="Freeform 816"/>
          <p:cNvSpPr>
            <a:spLocks/>
          </p:cNvSpPr>
          <p:nvPr/>
        </p:nvSpPr>
        <p:spPr bwMode="auto">
          <a:xfrm>
            <a:off x="1181100" y="1414463"/>
            <a:ext cx="22225" cy="20638"/>
          </a:xfrm>
          <a:custGeom>
            <a:avLst/>
            <a:gdLst>
              <a:gd name="T0" fmla="*/ 6 w 14"/>
              <a:gd name="T1" fmla="*/ 0 h 13"/>
              <a:gd name="T2" fmla="*/ 2 w 14"/>
              <a:gd name="T3" fmla="*/ 0 h 13"/>
              <a:gd name="T4" fmla="*/ 0 w 14"/>
              <a:gd name="T5" fmla="*/ 7 h 13"/>
              <a:gd name="T6" fmla="*/ 6 w 14"/>
              <a:gd name="T7" fmla="*/ 13 h 13"/>
              <a:gd name="T8" fmla="*/ 6 w 14"/>
              <a:gd name="T9" fmla="*/ 7 h 13"/>
              <a:gd name="T10" fmla="*/ 10 w 14"/>
              <a:gd name="T11" fmla="*/ 13 h 13"/>
              <a:gd name="T12" fmla="*/ 14 w 14"/>
              <a:gd name="T13" fmla="*/ 7 h 13"/>
              <a:gd name="T14" fmla="*/ 6 w 1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6" y="0"/>
                </a:moveTo>
                <a:lnTo>
                  <a:pt x="2" y="0"/>
                </a:lnTo>
                <a:lnTo>
                  <a:pt x="0" y="7"/>
                </a:lnTo>
                <a:lnTo>
                  <a:pt x="6" y="13"/>
                </a:lnTo>
                <a:lnTo>
                  <a:pt x="6" y="7"/>
                </a:lnTo>
                <a:lnTo>
                  <a:pt x="10" y="13"/>
                </a:lnTo>
                <a:lnTo>
                  <a:pt x="14" y="7"/>
                </a:lnTo>
                <a:lnTo>
                  <a:pt x="6"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1" name="Freeform 817"/>
          <p:cNvSpPr>
            <a:spLocks/>
          </p:cNvSpPr>
          <p:nvPr/>
        </p:nvSpPr>
        <p:spPr bwMode="auto">
          <a:xfrm>
            <a:off x="1181100" y="1414463"/>
            <a:ext cx="22225" cy="20638"/>
          </a:xfrm>
          <a:custGeom>
            <a:avLst/>
            <a:gdLst>
              <a:gd name="T0" fmla="*/ 6 w 14"/>
              <a:gd name="T1" fmla="*/ 0 h 13"/>
              <a:gd name="T2" fmla="*/ 2 w 14"/>
              <a:gd name="T3" fmla="*/ 0 h 13"/>
              <a:gd name="T4" fmla="*/ 0 w 14"/>
              <a:gd name="T5" fmla="*/ 7 h 13"/>
              <a:gd name="T6" fmla="*/ 6 w 14"/>
              <a:gd name="T7" fmla="*/ 13 h 13"/>
              <a:gd name="T8" fmla="*/ 6 w 14"/>
              <a:gd name="T9" fmla="*/ 7 h 13"/>
              <a:gd name="T10" fmla="*/ 10 w 14"/>
              <a:gd name="T11" fmla="*/ 13 h 13"/>
              <a:gd name="T12" fmla="*/ 14 w 14"/>
              <a:gd name="T13" fmla="*/ 7 h 13"/>
              <a:gd name="T14" fmla="*/ 6 w 14"/>
              <a:gd name="T15" fmla="*/ 0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13">
                <a:moveTo>
                  <a:pt x="6" y="0"/>
                </a:moveTo>
                <a:lnTo>
                  <a:pt x="2" y="0"/>
                </a:lnTo>
                <a:lnTo>
                  <a:pt x="0" y="7"/>
                </a:lnTo>
                <a:lnTo>
                  <a:pt x="6" y="13"/>
                </a:lnTo>
                <a:lnTo>
                  <a:pt x="6" y="7"/>
                </a:lnTo>
                <a:lnTo>
                  <a:pt x="10" y="13"/>
                </a:lnTo>
                <a:lnTo>
                  <a:pt x="14" y="7"/>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2" name="Freeform 818"/>
          <p:cNvSpPr>
            <a:spLocks/>
          </p:cNvSpPr>
          <p:nvPr/>
        </p:nvSpPr>
        <p:spPr bwMode="auto">
          <a:xfrm>
            <a:off x="1184275" y="1479550"/>
            <a:ext cx="36513" cy="84138"/>
          </a:xfrm>
          <a:custGeom>
            <a:avLst/>
            <a:gdLst>
              <a:gd name="T0" fmla="*/ 17 w 23"/>
              <a:gd name="T1" fmla="*/ 0 h 53"/>
              <a:gd name="T2" fmla="*/ 15 w 23"/>
              <a:gd name="T3" fmla="*/ 0 h 53"/>
              <a:gd name="T4" fmla="*/ 8 w 23"/>
              <a:gd name="T5" fmla="*/ 4 h 53"/>
              <a:gd name="T6" fmla="*/ 0 w 23"/>
              <a:gd name="T7" fmla="*/ 12 h 53"/>
              <a:gd name="T8" fmla="*/ 4 w 23"/>
              <a:gd name="T9" fmla="*/ 21 h 53"/>
              <a:gd name="T10" fmla="*/ 8 w 23"/>
              <a:gd name="T11" fmla="*/ 27 h 53"/>
              <a:gd name="T12" fmla="*/ 8 w 23"/>
              <a:gd name="T13" fmla="*/ 36 h 53"/>
              <a:gd name="T14" fmla="*/ 10 w 23"/>
              <a:gd name="T15" fmla="*/ 42 h 53"/>
              <a:gd name="T16" fmla="*/ 17 w 23"/>
              <a:gd name="T17" fmla="*/ 49 h 53"/>
              <a:gd name="T18" fmla="*/ 17 w 23"/>
              <a:gd name="T19" fmla="*/ 53 h 53"/>
              <a:gd name="T20" fmla="*/ 23 w 23"/>
              <a:gd name="T21" fmla="*/ 51 h 53"/>
              <a:gd name="T22" fmla="*/ 23 w 23"/>
              <a:gd name="T23" fmla="*/ 44 h 53"/>
              <a:gd name="T24" fmla="*/ 19 w 23"/>
              <a:gd name="T25" fmla="*/ 36 h 53"/>
              <a:gd name="T26" fmla="*/ 10 w 23"/>
              <a:gd name="T27" fmla="*/ 36 h 53"/>
              <a:gd name="T28" fmla="*/ 12 w 23"/>
              <a:gd name="T29" fmla="*/ 21 h 53"/>
              <a:gd name="T30" fmla="*/ 6 w 23"/>
              <a:gd name="T31" fmla="*/ 15 h 53"/>
              <a:gd name="T32" fmla="*/ 12 w 23"/>
              <a:gd name="T33" fmla="*/ 8 h 53"/>
              <a:gd name="T34" fmla="*/ 21 w 23"/>
              <a:gd name="T35" fmla="*/ 6 h 53"/>
              <a:gd name="T36" fmla="*/ 17 w 23"/>
              <a:gd name="T3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53">
                <a:moveTo>
                  <a:pt x="17" y="0"/>
                </a:moveTo>
                <a:lnTo>
                  <a:pt x="15" y="0"/>
                </a:lnTo>
                <a:lnTo>
                  <a:pt x="8" y="4"/>
                </a:lnTo>
                <a:lnTo>
                  <a:pt x="0" y="12"/>
                </a:lnTo>
                <a:lnTo>
                  <a:pt x="4" y="21"/>
                </a:lnTo>
                <a:lnTo>
                  <a:pt x="8" y="27"/>
                </a:lnTo>
                <a:lnTo>
                  <a:pt x="8" y="36"/>
                </a:lnTo>
                <a:lnTo>
                  <a:pt x="10" y="42"/>
                </a:lnTo>
                <a:lnTo>
                  <a:pt x="17" y="49"/>
                </a:lnTo>
                <a:lnTo>
                  <a:pt x="17" y="53"/>
                </a:lnTo>
                <a:lnTo>
                  <a:pt x="23" y="51"/>
                </a:lnTo>
                <a:lnTo>
                  <a:pt x="23" y="44"/>
                </a:lnTo>
                <a:lnTo>
                  <a:pt x="19" y="36"/>
                </a:lnTo>
                <a:lnTo>
                  <a:pt x="10" y="36"/>
                </a:lnTo>
                <a:lnTo>
                  <a:pt x="12" y="21"/>
                </a:lnTo>
                <a:lnTo>
                  <a:pt x="6" y="15"/>
                </a:lnTo>
                <a:lnTo>
                  <a:pt x="12" y="8"/>
                </a:lnTo>
                <a:lnTo>
                  <a:pt x="21" y="6"/>
                </a:lnTo>
                <a:lnTo>
                  <a:pt x="17"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3" name="Freeform 819"/>
          <p:cNvSpPr>
            <a:spLocks/>
          </p:cNvSpPr>
          <p:nvPr/>
        </p:nvSpPr>
        <p:spPr bwMode="auto">
          <a:xfrm>
            <a:off x="1184275" y="1479550"/>
            <a:ext cx="36513" cy="84138"/>
          </a:xfrm>
          <a:custGeom>
            <a:avLst/>
            <a:gdLst>
              <a:gd name="T0" fmla="*/ 17 w 23"/>
              <a:gd name="T1" fmla="*/ 0 h 53"/>
              <a:gd name="T2" fmla="*/ 15 w 23"/>
              <a:gd name="T3" fmla="*/ 0 h 53"/>
              <a:gd name="T4" fmla="*/ 8 w 23"/>
              <a:gd name="T5" fmla="*/ 4 h 53"/>
              <a:gd name="T6" fmla="*/ 0 w 23"/>
              <a:gd name="T7" fmla="*/ 12 h 53"/>
              <a:gd name="T8" fmla="*/ 4 w 23"/>
              <a:gd name="T9" fmla="*/ 21 h 53"/>
              <a:gd name="T10" fmla="*/ 8 w 23"/>
              <a:gd name="T11" fmla="*/ 27 h 53"/>
              <a:gd name="T12" fmla="*/ 8 w 23"/>
              <a:gd name="T13" fmla="*/ 36 h 53"/>
              <a:gd name="T14" fmla="*/ 10 w 23"/>
              <a:gd name="T15" fmla="*/ 42 h 53"/>
              <a:gd name="T16" fmla="*/ 17 w 23"/>
              <a:gd name="T17" fmla="*/ 49 h 53"/>
              <a:gd name="T18" fmla="*/ 17 w 23"/>
              <a:gd name="T19" fmla="*/ 53 h 53"/>
              <a:gd name="T20" fmla="*/ 23 w 23"/>
              <a:gd name="T21" fmla="*/ 51 h 53"/>
              <a:gd name="T22" fmla="*/ 23 w 23"/>
              <a:gd name="T23" fmla="*/ 44 h 53"/>
              <a:gd name="T24" fmla="*/ 19 w 23"/>
              <a:gd name="T25" fmla="*/ 36 h 53"/>
              <a:gd name="T26" fmla="*/ 10 w 23"/>
              <a:gd name="T27" fmla="*/ 36 h 53"/>
              <a:gd name="T28" fmla="*/ 12 w 23"/>
              <a:gd name="T29" fmla="*/ 21 h 53"/>
              <a:gd name="T30" fmla="*/ 6 w 23"/>
              <a:gd name="T31" fmla="*/ 15 h 53"/>
              <a:gd name="T32" fmla="*/ 12 w 23"/>
              <a:gd name="T33" fmla="*/ 8 h 53"/>
              <a:gd name="T34" fmla="*/ 21 w 23"/>
              <a:gd name="T35" fmla="*/ 6 h 53"/>
              <a:gd name="T36" fmla="*/ 17 w 23"/>
              <a:gd name="T37"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3" h="53">
                <a:moveTo>
                  <a:pt x="17" y="0"/>
                </a:moveTo>
                <a:lnTo>
                  <a:pt x="15" y="0"/>
                </a:lnTo>
                <a:lnTo>
                  <a:pt x="8" y="4"/>
                </a:lnTo>
                <a:lnTo>
                  <a:pt x="0" y="12"/>
                </a:lnTo>
                <a:lnTo>
                  <a:pt x="4" y="21"/>
                </a:lnTo>
                <a:lnTo>
                  <a:pt x="8" y="27"/>
                </a:lnTo>
                <a:lnTo>
                  <a:pt x="8" y="36"/>
                </a:lnTo>
                <a:lnTo>
                  <a:pt x="10" y="42"/>
                </a:lnTo>
                <a:lnTo>
                  <a:pt x="17" y="49"/>
                </a:lnTo>
                <a:lnTo>
                  <a:pt x="17" y="53"/>
                </a:lnTo>
                <a:lnTo>
                  <a:pt x="23" y="51"/>
                </a:lnTo>
                <a:lnTo>
                  <a:pt x="23" y="44"/>
                </a:lnTo>
                <a:lnTo>
                  <a:pt x="19" y="36"/>
                </a:lnTo>
                <a:lnTo>
                  <a:pt x="10" y="36"/>
                </a:lnTo>
                <a:lnTo>
                  <a:pt x="12" y="21"/>
                </a:lnTo>
                <a:lnTo>
                  <a:pt x="6" y="15"/>
                </a:lnTo>
                <a:lnTo>
                  <a:pt x="12" y="8"/>
                </a:lnTo>
                <a:lnTo>
                  <a:pt x="21" y="6"/>
                </a:lnTo>
                <a:lnTo>
                  <a:pt x="17"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4" name="Freeform 820"/>
          <p:cNvSpPr>
            <a:spLocks/>
          </p:cNvSpPr>
          <p:nvPr/>
        </p:nvSpPr>
        <p:spPr bwMode="auto">
          <a:xfrm>
            <a:off x="939800" y="1324096"/>
            <a:ext cx="942975" cy="682625"/>
          </a:xfrm>
          <a:custGeom>
            <a:avLst/>
            <a:gdLst>
              <a:gd name="T0" fmla="*/ 28 w 594"/>
              <a:gd name="T1" fmla="*/ 268 h 430"/>
              <a:gd name="T2" fmla="*/ 9 w 594"/>
              <a:gd name="T3" fmla="*/ 227 h 430"/>
              <a:gd name="T4" fmla="*/ 20 w 594"/>
              <a:gd name="T5" fmla="*/ 255 h 430"/>
              <a:gd name="T6" fmla="*/ 20 w 594"/>
              <a:gd name="T7" fmla="*/ 230 h 430"/>
              <a:gd name="T8" fmla="*/ 30 w 594"/>
              <a:gd name="T9" fmla="*/ 221 h 430"/>
              <a:gd name="T10" fmla="*/ 15 w 594"/>
              <a:gd name="T11" fmla="*/ 193 h 430"/>
              <a:gd name="T12" fmla="*/ 32 w 594"/>
              <a:gd name="T13" fmla="*/ 191 h 430"/>
              <a:gd name="T14" fmla="*/ 13 w 594"/>
              <a:gd name="T15" fmla="*/ 185 h 430"/>
              <a:gd name="T16" fmla="*/ 20 w 594"/>
              <a:gd name="T17" fmla="*/ 108 h 430"/>
              <a:gd name="T18" fmla="*/ 9 w 594"/>
              <a:gd name="T19" fmla="*/ 70 h 430"/>
              <a:gd name="T20" fmla="*/ 15 w 594"/>
              <a:gd name="T21" fmla="*/ 42 h 430"/>
              <a:gd name="T22" fmla="*/ 24 w 594"/>
              <a:gd name="T23" fmla="*/ 27 h 430"/>
              <a:gd name="T24" fmla="*/ 58 w 594"/>
              <a:gd name="T25" fmla="*/ 57 h 430"/>
              <a:gd name="T26" fmla="*/ 105 w 594"/>
              <a:gd name="T27" fmla="*/ 76 h 430"/>
              <a:gd name="T28" fmla="*/ 128 w 594"/>
              <a:gd name="T29" fmla="*/ 87 h 430"/>
              <a:gd name="T30" fmla="*/ 143 w 594"/>
              <a:gd name="T31" fmla="*/ 93 h 430"/>
              <a:gd name="T32" fmla="*/ 149 w 594"/>
              <a:gd name="T33" fmla="*/ 123 h 430"/>
              <a:gd name="T34" fmla="*/ 141 w 594"/>
              <a:gd name="T35" fmla="*/ 123 h 430"/>
              <a:gd name="T36" fmla="*/ 103 w 594"/>
              <a:gd name="T37" fmla="*/ 164 h 430"/>
              <a:gd name="T38" fmla="*/ 109 w 594"/>
              <a:gd name="T39" fmla="*/ 168 h 430"/>
              <a:gd name="T40" fmla="*/ 143 w 594"/>
              <a:gd name="T41" fmla="*/ 134 h 430"/>
              <a:gd name="T42" fmla="*/ 156 w 594"/>
              <a:gd name="T43" fmla="*/ 138 h 430"/>
              <a:gd name="T44" fmla="*/ 143 w 594"/>
              <a:gd name="T45" fmla="*/ 149 h 430"/>
              <a:gd name="T46" fmla="*/ 141 w 594"/>
              <a:gd name="T47" fmla="*/ 187 h 430"/>
              <a:gd name="T48" fmla="*/ 128 w 594"/>
              <a:gd name="T49" fmla="*/ 183 h 430"/>
              <a:gd name="T50" fmla="*/ 126 w 594"/>
              <a:gd name="T51" fmla="*/ 181 h 430"/>
              <a:gd name="T52" fmla="*/ 100 w 594"/>
              <a:gd name="T53" fmla="*/ 191 h 430"/>
              <a:gd name="T54" fmla="*/ 113 w 594"/>
              <a:gd name="T55" fmla="*/ 198 h 430"/>
              <a:gd name="T56" fmla="*/ 139 w 594"/>
              <a:gd name="T57" fmla="*/ 195 h 430"/>
              <a:gd name="T58" fmla="*/ 162 w 594"/>
              <a:gd name="T59" fmla="*/ 161 h 430"/>
              <a:gd name="T60" fmla="*/ 169 w 594"/>
              <a:gd name="T61" fmla="*/ 136 h 430"/>
              <a:gd name="T62" fmla="*/ 181 w 594"/>
              <a:gd name="T63" fmla="*/ 104 h 430"/>
              <a:gd name="T64" fmla="*/ 177 w 594"/>
              <a:gd name="T65" fmla="*/ 72 h 430"/>
              <a:gd name="T66" fmla="*/ 173 w 594"/>
              <a:gd name="T67" fmla="*/ 59 h 430"/>
              <a:gd name="T68" fmla="*/ 186 w 594"/>
              <a:gd name="T69" fmla="*/ 53 h 430"/>
              <a:gd name="T70" fmla="*/ 181 w 594"/>
              <a:gd name="T71" fmla="*/ 27 h 430"/>
              <a:gd name="T72" fmla="*/ 171 w 594"/>
              <a:gd name="T73" fmla="*/ 4 h 430"/>
              <a:gd name="T74" fmla="*/ 522 w 594"/>
              <a:gd name="T75" fmla="*/ 85 h 430"/>
              <a:gd name="T76" fmla="*/ 537 w 594"/>
              <a:gd name="T77" fmla="*/ 379 h 430"/>
              <a:gd name="T78" fmla="*/ 537 w 594"/>
              <a:gd name="T79" fmla="*/ 430 h 430"/>
              <a:gd name="T80" fmla="*/ 360 w 594"/>
              <a:gd name="T81" fmla="*/ 398 h 430"/>
              <a:gd name="T82" fmla="*/ 322 w 594"/>
              <a:gd name="T83" fmla="*/ 396 h 430"/>
              <a:gd name="T84" fmla="*/ 264 w 594"/>
              <a:gd name="T85" fmla="*/ 402 h 430"/>
              <a:gd name="T86" fmla="*/ 220 w 594"/>
              <a:gd name="T87" fmla="*/ 396 h 430"/>
              <a:gd name="T88" fmla="*/ 190 w 594"/>
              <a:gd name="T89" fmla="*/ 383 h 430"/>
              <a:gd name="T90" fmla="*/ 156 w 594"/>
              <a:gd name="T91" fmla="*/ 372 h 430"/>
              <a:gd name="T92" fmla="*/ 120 w 594"/>
              <a:gd name="T93" fmla="*/ 381 h 430"/>
              <a:gd name="T94" fmla="*/ 94 w 594"/>
              <a:gd name="T95" fmla="*/ 368 h 430"/>
              <a:gd name="T96" fmla="*/ 81 w 594"/>
              <a:gd name="T97" fmla="*/ 308 h 430"/>
              <a:gd name="T98" fmla="*/ 56 w 594"/>
              <a:gd name="T99" fmla="*/ 293 h 430"/>
              <a:gd name="T100" fmla="*/ 41 w 594"/>
              <a:gd name="T101" fmla="*/ 27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4" h="430">
                <a:moveTo>
                  <a:pt x="41" y="276"/>
                </a:moveTo>
                <a:lnTo>
                  <a:pt x="39" y="276"/>
                </a:lnTo>
                <a:lnTo>
                  <a:pt x="32" y="274"/>
                </a:lnTo>
                <a:lnTo>
                  <a:pt x="28" y="268"/>
                </a:lnTo>
                <a:lnTo>
                  <a:pt x="13" y="270"/>
                </a:lnTo>
                <a:lnTo>
                  <a:pt x="7" y="264"/>
                </a:lnTo>
                <a:lnTo>
                  <a:pt x="0" y="264"/>
                </a:lnTo>
                <a:lnTo>
                  <a:pt x="9" y="227"/>
                </a:lnTo>
                <a:lnTo>
                  <a:pt x="11" y="236"/>
                </a:lnTo>
                <a:lnTo>
                  <a:pt x="9" y="249"/>
                </a:lnTo>
                <a:lnTo>
                  <a:pt x="15" y="249"/>
                </a:lnTo>
                <a:lnTo>
                  <a:pt x="20" y="255"/>
                </a:lnTo>
                <a:lnTo>
                  <a:pt x="20" y="251"/>
                </a:lnTo>
                <a:lnTo>
                  <a:pt x="15" y="244"/>
                </a:lnTo>
                <a:lnTo>
                  <a:pt x="22" y="236"/>
                </a:lnTo>
                <a:lnTo>
                  <a:pt x="20" y="230"/>
                </a:lnTo>
                <a:lnTo>
                  <a:pt x="24" y="223"/>
                </a:lnTo>
                <a:lnTo>
                  <a:pt x="32" y="227"/>
                </a:lnTo>
                <a:lnTo>
                  <a:pt x="32" y="227"/>
                </a:lnTo>
                <a:lnTo>
                  <a:pt x="30" y="221"/>
                </a:lnTo>
                <a:lnTo>
                  <a:pt x="15" y="215"/>
                </a:lnTo>
                <a:lnTo>
                  <a:pt x="15" y="217"/>
                </a:lnTo>
                <a:lnTo>
                  <a:pt x="13" y="208"/>
                </a:lnTo>
                <a:lnTo>
                  <a:pt x="15" y="193"/>
                </a:lnTo>
                <a:lnTo>
                  <a:pt x="17" y="202"/>
                </a:lnTo>
                <a:lnTo>
                  <a:pt x="28" y="195"/>
                </a:lnTo>
                <a:lnTo>
                  <a:pt x="39" y="195"/>
                </a:lnTo>
                <a:lnTo>
                  <a:pt x="32" y="191"/>
                </a:lnTo>
                <a:lnTo>
                  <a:pt x="26" y="185"/>
                </a:lnTo>
                <a:lnTo>
                  <a:pt x="20" y="178"/>
                </a:lnTo>
                <a:lnTo>
                  <a:pt x="17" y="187"/>
                </a:lnTo>
                <a:lnTo>
                  <a:pt x="13" y="185"/>
                </a:lnTo>
                <a:lnTo>
                  <a:pt x="17" y="176"/>
                </a:lnTo>
                <a:lnTo>
                  <a:pt x="20" y="155"/>
                </a:lnTo>
                <a:lnTo>
                  <a:pt x="15" y="138"/>
                </a:lnTo>
                <a:lnTo>
                  <a:pt x="20" y="108"/>
                </a:lnTo>
                <a:lnTo>
                  <a:pt x="20" y="100"/>
                </a:lnTo>
                <a:lnTo>
                  <a:pt x="15" y="87"/>
                </a:lnTo>
                <a:lnTo>
                  <a:pt x="9" y="78"/>
                </a:lnTo>
                <a:lnTo>
                  <a:pt x="9" y="70"/>
                </a:lnTo>
                <a:lnTo>
                  <a:pt x="9" y="63"/>
                </a:lnTo>
                <a:lnTo>
                  <a:pt x="11" y="57"/>
                </a:lnTo>
                <a:lnTo>
                  <a:pt x="9" y="49"/>
                </a:lnTo>
                <a:lnTo>
                  <a:pt x="15" y="42"/>
                </a:lnTo>
                <a:lnTo>
                  <a:pt x="17" y="34"/>
                </a:lnTo>
                <a:lnTo>
                  <a:pt x="20" y="31"/>
                </a:lnTo>
                <a:lnTo>
                  <a:pt x="17" y="23"/>
                </a:lnTo>
                <a:lnTo>
                  <a:pt x="24" y="27"/>
                </a:lnTo>
                <a:lnTo>
                  <a:pt x="37" y="40"/>
                </a:lnTo>
                <a:lnTo>
                  <a:pt x="45" y="46"/>
                </a:lnTo>
                <a:lnTo>
                  <a:pt x="54" y="51"/>
                </a:lnTo>
                <a:lnTo>
                  <a:pt x="58" y="57"/>
                </a:lnTo>
                <a:lnTo>
                  <a:pt x="68" y="63"/>
                </a:lnTo>
                <a:lnTo>
                  <a:pt x="81" y="68"/>
                </a:lnTo>
                <a:lnTo>
                  <a:pt x="90" y="72"/>
                </a:lnTo>
                <a:lnTo>
                  <a:pt x="105" y="76"/>
                </a:lnTo>
                <a:lnTo>
                  <a:pt x="113" y="83"/>
                </a:lnTo>
                <a:lnTo>
                  <a:pt x="120" y="80"/>
                </a:lnTo>
                <a:lnTo>
                  <a:pt x="126" y="78"/>
                </a:lnTo>
                <a:lnTo>
                  <a:pt x="128" y="87"/>
                </a:lnTo>
                <a:lnTo>
                  <a:pt x="130" y="93"/>
                </a:lnTo>
                <a:lnTo>
                  <a:pt x="137" y="91"/>
                </a:lnTo>
                <a:lnTo>
                  <a:pt x="143" y="102"/>
                </a:lnTo>
                <a:lnTo>
                  <a:pt x="143" y="93"/>
                </a:lnTo>
                <a:lnTo>
                  <a:pt x="152" y="89"/>
                </a:lnTo>
                <a:lnTo>
                  <a:pt x="149" y="95"/>
                </a:lnTo>
                <a:lnTo>
                  <a:pt x="152" y="115"/>
                </a:lnTo>
                <a:lnTo>
                  <a:pt x="149" y="123"/>
                </a:lnTo>
                <a:lnTo>
                  <a:pt x="143" y="129"/>
                </a:lnTo>
                <a:lnTo>
                  <a:pt x="139" y="138"/>
                </a:lnTo>
                <a:lnTo>
                  <a:pt x="139" y="129"/>
                </a:lnTo>
                <a:lnTo>
                  <a:pt x="141" y="123"/>
                </a:lnTo>
                <a:lnTo>
                  <a:pt x="128" y="140"/>
                </a:lnTo>
                <a:lnTo>
                  <a:pt x="122" y="144"/>
                </a:lnTo>
                <a:lnTo>
                  <a:pt x="107" y="155"/>
                </a:lnTo>
                <a:lnTo>
                  <a:pt x="103" y="164"/>
                </a:lnTo>
                <a:lnTo>
                  <a:pt x="109" y="170"/>
                </a:lnTo>
                <a:lnTo>
                  <a:pt x="122" y="166"/>
                </a:lnTo>
                <a:lnTo>
                  <a:pt x="115" y="166"/>
                </a:lnTo>
                <a:lnTo>
                  <a:pt x="109" y="168"/>
                </a:lnTo>
                <a:lnTo>
                  <a:pt x="107" y="159"/>
                </a:lnTo>
                <a:lnTo>
                  <a:pt x="122" y="147"/>
                </a:lnTo>
                <a:lnTo>
                  <a:pt x="137" y="142"/>
                </a:lnTo>
                <a:lnTo>
                  <a:pt x="143" y="134"/>
                </a:lnTo>
                <a:lnTo>
                  <a:pt x="158" y="119"/>
                </a:lnTo>
                <a:lnTo>
                  <a:pt x="162" y="125"/>
                </a:lnTo>
                <a:lnTo>
                  <a:pt x="162" y="134"/>
                </a:lnTo>
                <a:lnTo>
                  <a:pt x="156" y="138"/>
                </a:lnTo>
                <a:lnTo>
                  <a:pt x="149" y="136"/>
                </a:lnTo>
                <a:lnTo>
                  <a:pt x="149" y="144"/>
                </a:lnTo>
                <a:lnTo>
                  <a:pt x="149" y="151"/>
                </a:lnTo>
                <a:lnTo>
                  <a:pt x="143" y="149"/>
                </a:lnTo>
                <a:lnTo>
                  <a:pt x="143" y="155"/>
                </a:lnTo>
                <a:lnTo>
                  <a:pt x="149" y="155"/>
                </a:lnTo>
                <a:lnTo>
                  <a:pt x="152" y="161"/>
                </a:lnTo>
                <a:lnTo>
                  <a:pt x="141" y="187"/>
                </a:lnTo>
                <a:lnTo>
                  <a:pt x="132" y="183"/>
                </a:lnTo>
                <a:lnTo>
                  <a:pt x="139" y="176"/>
                </a:lnTo>
                <a:lnTo>
                  <a:pt x="132" y="176"/>
                </a:lnTo>
                <a:lnTo>
                  <a:pt x="128" y="183"/>
                </a:lnTo>
                <a:lnTo>
                  <a:pt x="126" y="191"/>
                </a:lnTo>
                <a:lnTo>
                  <a:pt x="124" y="193"/>
                </a:lnTo>
                <a:lnTo>
                  <a:pt x="122" y="187"/>
                </a:lnTo>
                <a:lnTo>
                  <a:pt x="126" y="181"/>
                </a:lnTo>
                <a:lnTo>
                  <a:pt x="128" y="172"/>
                </a:lnTo>
                <a:lnTo>
                  <a:pt x="113" y="183"/>
                </a:lnTo>
                <a:lnTo>
                  <a:pt x="107" y="189"/>
                </a:lnTo>
                <a:lnTo>
                  <a:pt x="100" y="191"/>
                </a:lnTo>
                <a:lnTo>
                  <a:pt x="107" y="193"/>
                </a:lnTo>
                <a:lnTo>
                  <a:pt x="107" y="200"/>
                </a:lnTo>
                <a:lnTo>
                  <a:pt x="111" y="204"/>
                </a:lnTo>
                <a:lnTo>
                  <a:pt x="113" y="198"/>
                </a:lnTo>
                <a:lnTo>
                  <a:pt x="120" y="193"/>
                </a:lnTo>
                <a:lnTo>
                  <a:pt x="124" y="202"/>
                </a:lnTo>
                <a:lnTo>
                  <a:pt x="130" y="200"/>
                </a:lnTo>
                <a:lnTo>
                  <a:pt x="139" y="195"/>
                </a:lnTo>
                <a:lnTo>
                  <a:pt x="143" y="189"/>
                </a:lnTo>
                <a:lnTo>
                  <a:pt x="156" y="185"/>
                </a:lnTo>
                <a:lnTo>
                  <a:pt x="162" y="176"/>
                </a:lnTo>
                <a:lnTo>
                  <a:pt x="162" y="161"/>
                </a:lnTo>
                <a:lnTo>
                  <a:pt x="169" y="155"/>
                </a:lnTo>
                <a:lnTo>
                  <a:pt x="162" y="147"/>
                </a:lnTo>
                <a:lnTo>
                  <a:pt x="171" y="142"/>
                </a:lnTo>
                <a:lnTo>
                  <a:pt x="169" y="136"/>
                </a:lnTo>
                <a:lnTo>
                  <a:pt x="177" y="125"/>
                </a:lnTo>
                <a:lnTo>
                  <a:pt x="186" y="119"/>
                </a:lnTo>
                <a:lnTo>
                  <a:pt x="183" y="112"/>
                </a:lnTo>
                <a:lnTo>
                  <a:pt x="181" y="104"/>
                </a:lnTo>
                <a:lnTo>
                  <a:pt x="181" y="89"/>
                </a:lnTo>
                <a:lnTo>
                  <a:pt x="181" y="87"/>
                </a:lnTo>
                <a:lnTo>
                  <a:pt x="183" y="80"/>
                </a:lnTo>
                <a:lnTo>
                  <a:pt x="177" y="72"/>
                </a:lnTo>
                <a:lnTo>
                  <a:pt x="175" y="66"/>
                </a:lnTo>
                <a:lnTo>
                  <a:pt x="169" y="66"/>
                </a:lnTo>
                <a:lnTo>
                  <a:pt x="169" y="57"/>
                </a:lnTo>
                <a:lnTo>
                  <a:pt x="173" y="59"/>
                </a:lnTo>
                <a:lnTo>
                  <a:pt x="181" y="63"/>
                </a:lnTo>
                <a:lnTo>
                  <a:pt x="181" y="57"/>
                </a:lnTo>
                <a:lnTo>
                  <a:pt x="179" y="49"/>
                </a:lnTo>
                <a:lnTo>
                  <a:pt x="186" y="53"/>
                </a:lnTo>
                <a:lnTo>
                  <a:pt x="188" y="46"/>
                </a:lnTo>
                <a:lnTo>
                  <a:pt x="186" y="38"/>
                </a:lnTo>
                <a:lnTo>
                  <a:pt x="188" y="31"/>
                </a:lnTo>
                <a:lnTo>
                  <a:pt x="181" y="27"/>
                </a:lnTo>
                <a:lnTo>
                  <a:pt x="175" y="21"/>
                </a:lnTo>
                <a:lnTo>
                  <a:pt x="175" y="19"/>
                </a:lnTo>
                <a:lnTo>
                  <a:pt x="173" y="10"/>
                </a:lnTo>
                <a:lnTo>
                  <a:pt x="171" y="4"/>
                </a:lnTo>
                <a:lnTo>
                  <a:pt x="177" y="0"/>
                </a:lnTo>
                <a:lnTo>
                  <a:pt x="277" y="27"/>
                </a:lnTo>
                <a:lnTo>
                  <a:pt x="390" y="55"/>
                </a:lnTo>
                <a:lnTo>
                  <a:pt x="522" y="85"/>
                </a:lnTo>
                <a:lnTo>
                  <a:pt x="594" y="100"/>
                </a:lnTo>
                <a:lnTo>
                  <a:pt x="592" y="104"/>
                </a:lnTo>
                <a:lnTo>
                  <a:pt x="539" y="355"/>
                </a:lnTo>
                <a:lnTo>
                  <a:pt x="537" y="379"/>
                </a:lnTo>
                <a:lnTo>
                  <a:pt x="533" y="385"/>
                </a:lnTo>
                <a:lnTo>
                  <a:pt x="537" y="400"/>
                </a:lnTo>
                <a:lnTo>
                  <a:pt x="535" y="423"/>
                </a:lnTo>
                <a:lnTo>
                  <a:pt x="537" y="430"/>
                </a:lnTo>
                <a:lnTo>
                  <a:pt x="445" y="411"/>
                </a:lnTo>
                <a:lnTo>
                  <a:pt x="375" y="394"/>
                </a:lnTo>
                <a:lnTo>
                  <a:pt x="367" y="398"/>
                </a:lnTo>
                <a:lnTo>
                  <a:pt x="360" y="398"/>
                </a:lnTo>
                <a:lnTo>
                  <a:pt x="352" y="396"/>
                </a:lnTo>
                <a:lnTo>
                  <a:pt x="335" y="394"/>
                </a:lnTo>
                <a:lnTo>
                  <a:pt x="330" y="391"/>
                </a:lnTo>
                <a:lnTo>
                  <a:pt x="322" y="396"/>
                </a:lnTo>
                <a:lnTo>
                  <a:pt x="301" y="396"/>
                </a:lnTo>
                <a:lnTo>
                  <a:pt x="286" y="398"/>
                </a:lnTo>
                <a:lnTo>
                  <a:pt x="271" y="400"/>
                </a:lnTo>
                <a:lnTo>
                  <a:pt x="264" y="402"/>
                </a:lnTo>
                <a:lnTo>
                  <a:pt x="256" y="400"/>
                </a:lnTo>
                <a:lnTo>
                  <a:pt x="249" y="394"/>
                </a:lnTo>
                <a:lnTo>
                  <a:pt x="241" y="391"/>
                </a:lnTo>
                <a:lnTo>
                  <a:pt x="220" y="396"/>
                </a:lnTo>
                <a:lnTo>
                  <a:pt x="213" y="394"/>
                </a:lnTo>
                <a:lnTo>
                  <a:pt x="198" y="394"/>
                </a:lnTo>
                <a:lnTo>
                  <a:pt x="196" y="387"/>
                </a:lnTo>
                <a:lnTo>
                  <a:pt x="190" y="383"/>
                </a:lnTo>
                <a:lnTo>
                  <a:pt x="181" y="381"/>
                </a:lnTo>
                <a:lnTo>
                  <a:pt x="175" y="377"/>
                </a:lnTo>
                <a:lnTo>
                  <a:pt x="162" y="377"/>
                </a:lnTo>
                <a:lnTo>
                  <a:pt x="156" y="372"/>
                </a:lnTo>
                <a:lnTo>
                  <a:pt x="149" y="372"/>
                </a:lnTo>
                <a:lnTo>
                  <a:pt x="141" y="377"/>
                </a:lnTo>
                <a:lnTo>
                  <a:pt x="134" y="379"/>
                </a:lnTo>
                <a:lnTo>
                  <a:pt x="120" y="381"/>
                </a:lnTo>
                <a:lnTo>
                  <a:pt x="113" y="379"/>
                </a:lnTo>
                <a:lnTo>
                  <a:pt x="105" y="374"/>
                </a:lnTo>
                <a:lnTo>
                  <a:pt x="100" y="374"/>
                </a:lnTo>
                <a:lnTo>
                  <a:pt x="94" y="368"/>
                </a:lnTo>
                <a:lnTo>
                  <a:pt x="83" y="364"/>
                </a:lnTo>
                <a:lnTo>
                  <a:pt x="79" y="359"/>
                </a:lnTo>
                <a:lnTo>
                  <a:pt x="83" y="323"/>
                </a:lnTo>
                <a:lnTo>
                  <a:pt x="81" y="308"/>
                </a:lnTo>
                <a:lnTo>
                  <a:pt x="73" y="302"/>
                </a:lnTo>
                <a:lnTo>
                  <a:pt x="68" y="296"/>
                </a:lnTo>
                <a:lnTo>
                  <a:pt x="62" y="293"/>
                </a:lnTo>
                <a:lnTo>
                  <a:pt x="56" y="293"/>
                </a:lnTo>
                <a:lnTo>
                  <a:pt x="49" y="287"/>
                </a:lnTo>
                <a:lnTo>
                  <a:pt x="47" y="279"/>
                </a:lnTo>
                <a:lnTo>
                  <a:pt x="45" y="279"/>
                </a:lnTo>
                <a:lnTo>
                  <a:pt x="41" y="27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5" name="Freeform 821"/>
          <p:cNvSpPr>
            <a:spLocks/>
          </p:cNvSpPr>
          <p:nvPr/>
        </p:nvSpPr>
        <p:spPr bwMode="auto">
          <a:xfrm>
            <a:off x="945356" y="1317746"/>
            <a:ext cx="942975" cy="682625"/>
          </a:xfrm>
          <a:custGeom>
            <a:avLst/>
            <a:gdLst>
              <a:gd name="T0" fmla="*/ 28 w 594"/>
              <a:gd name="T1" fmla="*/ 268 h 430"/>
              <a:gd name="T2" fmla="*/ 9 w 594"/>
              <a:gd name="T3" fmla="*/ 227 h 430"/>
              <a:gd name="T4" fmla="*/ 20 w 594"/>
              <a:gd name="T5" fmla="*/ 255 h 430"/>
              <a:gd name="T6" fmla="*/ 20 w 594"/>
              <a:gd name="T7" fmla="*/ 230 h 430"/>
              <a:gd name="T8" fmla="*/ 30 w 594"/>
              <a:gd name="T9" fmla="*/ 221 h 430"/>
              <a:gd name="T10" fmla="*/ 15 w 594"/>
              <a:gd name="T11" fmla="*/ 193 h 430"/>
              <a:gd name="T12" fmla="*/ 32 w 594"/>
              <a:gd name="T13" fmla="*/ 191 h 430"/>
              <a:gd name="T14" fmla="*/ 13 w 594"/>
              <a:gd name="T15" fmla="*/ 185 h 430"/>
              <a:gd name="T16" fmla="*/ 20 w 594"/>
              <a:gd name="T17" fmla="*/ 108 h 430"/>
              <a:gd name="T18" fmla="*/ 9 w 594"/>
              <a:gd name="T19" fmla="*/ 70 h 430"/>
              <a:gd name="T20" fmla="*/ 15 w 594"/>
              <a:gd name="T21" fmla="*/ 42 h 430"/>
              <a:gd name="T22" fmla="*/ 24 w 594"/>
              <a:gd name="T23" fmla="*/ 27 h 430"/>
              <a:gd name="T24" fmla="*/ 58 w 594"/>
              <a:gd name="T25" fmla="*/ 57 h 430"/>
              <a:gd name="T26" fmla="*/ 105 w 594"/>
              <a:gd name="T27" fmla="*/ 76 h 430"/>
              <a:gd name="T28" fmla="*/ 128 w 594"/>
              <a:gd name="T29" fmla="*/ 87 h 430"/>
              <a:gd name="T30" fmla="*/ 143 w 594"/>
              <a:gd name="T31" fmla="*/ 93 h 430"/>
              <a:gd name="T32" fmla="*/ 149 w 594"/>
              <a:gd name="T33" fmla="*/ 123 h 430"/>
              <a:gd name="T34" fmla="*/ 141 w 594"/>
              <a:gd name="T35" fmla="*/ 123 h 430"/>
              <a:gd name="T36" fmla="*/ 103 w 594"/>
              <a:gd name="T37" fmla="*/ 164 h 430"/>
              <a:gd name="T38" fmla="*/ 109 w 594"/>
              <a:gd name="T39" fmla="*/ 168 h 430"/>
              <a:gd name="T40" fmla="*/ 143 w 594"/>
              <a:gd name="T41" fmla="*/ 134 h 430"/>
              <a:gd name="T42" fmla="*/ 156 w 594"/>
              <a:gd name="T43" fmla="*/ 138 h 430"/>
              <a:gd name="T44" fmla="*/ 143 w 594"/>
              <a:gd name="T45" fmla="*/ 149 h 430"/>
              <a:gd name="T46" fmla="*/ 141 w 594"/>
              <a:gd name="T47" fmla="*/ 187 h 430"/>
              <a:gd name="T48" fmla="*/ 128 w 594"/>
              <a:gd name="T49" fmla="*/ 183 h 430"/>
              <a:gd name="T50" fmla="*/ 126 w 594"/>
              <a:gd name="T51" fmla="*/ 181 h 430"/>
              <a:gd name="T52" fmla="*/ 100 w 594"/>
              <a:gd name="T53" fmla="*/ 191 h 430"/>
              <a:gd name="T54" fmla="*/ 113 w 594"/>
              <a:gd name="T55" fmla="*/ 198 h 430"/>
              <a:gd name="T56" fmla="*/ 139 w 594"/>
              <a:gd name="T57" fmla="*/ 195 h 430"/>
              <a:gd name="T58" fmla="*/ 162 w 594"/>
              <a:gd name="T59" fmla="*/ 161 h 430"/>
              <a:gd name="T60" fmla="*/ 169 w 594"/>
              <a:gd name="T61" fmla="*/ 136 h 430"/>
              <a:gd name="T62" fmla="*/ 181 w 594"/>
              <a:gd name="T63" fmla="*/ 104 h 430"/>
              <a:gd name="T64" fmla="*/ 177 w 594"/>
              <a:gd name="T65" fmla="*/ 72 h 430"/>
              <a:gd name="T66" fmla="*/ 173 w 594"/>
              <a:gd name="T67" fmla="*/ 59 h 430"/>
              <a:gd name="T68" fmla="*/ 186 w 594"/>
              <a:gd name="T69" fmla="*/ 53 h 430"/>
              <a:gd name="T70" fmla="*/ 181 w 594"/>
              <a:gd name="T71" fmla="*/ 27 h 430"/>
              <a:gd name="T72" fmla="*/ 171 w 594"/>
              <a:gd name="T73" fmla="*/ 4 h 430"/>
              <a:gd name="T74" fmla="*/ 522 w 594"/>
              <a:gd name="T75" fmla="*/ 85 h 430"/>
              <a:gd name="T76" fmla="*/ 537 w 594"/>
              <a:gd name="T77" fmla="*/ 379 h 430"/>
              <a:gd name="T78" fmla="*/ 537 w 594"/>
              <a:gd name="T79" fmla="*/ 430 h 430"/>
              <a:gd name="T80" fmla="*/ 360 w 594"/>
              <a:gd name="T81" fmla="*/ 398 h 430"/>
              <a:gd name="T82" fmla="*/ 322 w 594"/>
              <a:gd name="T83" fmla="*/ 396 h 430"/>
              <a:gd name="T84" fmla="*/ 264 w 594"/>
              <a:gd name="T85" fmla="*/ 402 h 430"/>
              <a:gd name="T86" fmla="*/ 220 w 594"/>
              <a:gd name="T87" fmla="*/ 396 h 430"/>
              <a:gd name="T88" fmla="*/ 190 w 594"/>
              <a:gd name="T89" fmla="*/ 383 h 430"/>
              <a:gd name="T90" fmla="*/ 156 w 594"/>
              <a:gd name="T91" fmla="*/ 372 h 430"/>
              <a:gd name="T92" fmla="*/ 120 w 594"/>
              <a:gd name="T93" fmla="*/ 381 h 430"/>
              <a:gd name="T94" fmla="*/ 94 w 594"/>
              <a:gd name="T95" fmla="*/ 368 h 430"/>
              <a:gd name="T96" fmla="*/ 81 w 594"/>
              <a:gd name="T97" fmla="*/ 308 h 430"/>
              <a:gd name="T98" fmla="*/ 56 w 594"/>
              <a:gd name="T99" fmla="*/ 293 h 430"/>
              <a:gd name="T100" fmla="*/ 41 w 594"/>
              <a:gd name="T101" fmla="*/ 276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94" h="430">
                <a:moveTo>
                  <a:pt x="41" y="276"/>
                </a:moveTo>
                <a:lnTo>
                  <a:pt x="39" y="276"/>
                </a:lnTo>
                <a:lnTo>
                  <a:pt x="32" y="274"/>
                </a:lnTo>
                <a:lnTo>
                  <a:pt x="28" y="268"/>
                </a:lnTo>
                <a:lnTo>
                  <a:pt x="13" y="270"/>
                </a:lnTo>
                <a:lnTo>
                  <a:pt x="7" y="264"/>
                </a:lnTo>
                <a:lnTo>
                  <a:pt x="0" y="264"/>
                </a:lnTo>
                <a:lnTo>
                  <a:pt x="9" y="227"/>
                </a:lnTo>
                <a:lnTo>
                  <a:pt x="11" y="236"/>
                </a:lnTo>
                <a:lnTo>
                  <a:pt x="9" y="249"/>
                </a:lnTo>
                <a:lnTo>
                  <a:pt x="15" y="249"/>
                </a:lnTo>
                <a:lnTo>
                  <a:pt x="20" y="255"/>
                </a:lnTo>
                <a:lnTo>
                  <a:pt x="20" y="251"/>
                </a:lnTo>
                <a:lnTo>
                  <a:pt x="15" y="244"/>
                </a:lnTo>
                <a:lnTo>
                  <a:pt x="22" y="236"/>
                </a:lnTo>
                <a:lnTo>
                  <a:pt x="20" y="230"/>
                </a:lnTo>
                <a:lnTo>
                  <a:pt x="24" y="223"/>
                </a:lnTo>
                <a:lnTo>
                  <a:pt x="32" y="227"/>
                </a:lnTo>
                <a:lnTo>
                  <a:pt x="32" y="227"/>
                </a:lnTo>
                <a:lnTo>
                  <a:pt x="30" y="221"/>
                </a:lnTo>
                <a:lnTo>
                  <a:pt x="15" y="215"/>
                </a:lnTo>
                <a:lnTo>
                  <a:pt x="15" y="217"/>
                </a:lnTo>
                <a:lnTo>
                  <a:pt x="13" y="208"/>
                </a:lnTo>
                <a:lnTo>
                  <a:pt x="15" y="193"/>
                </a:lnTo>
                <a:lnTo>
                  <a:pt x="17" y="202"/>
                </a:lnTo>
                <a:lnTo>
                  <a:pt x="28" y="195"/>
                </a:lnTo>
                <a:lnTo>
                  <a:pt x="39" y="195"/>
                </a:lnTo>
                <a:lnTo>
                  <a:pt x="32" y="191"/>
                </a:lnTo>
                <a:lnTo>
                  <a:pt x="26" y="185"/>
                </a:lnTo>
                <a:lnTo>
                  <a:pt x="20" y="178"/>
                </a:lnTo>
                <a:lnTo>
                  <a:pt x="17" y="187"/>
                </a:lnTo>
                <a:lnTo>
                  <a:pt x="13" y="185"/>
                </a:lnTo>
                <a:lnTo>
                  <a:pt x="17" y="176"/>
                </a:lnTo>
                <a:lnTo>
                  <a:pt x="20" y="155"/>
                </a:lnTo>
                <a:lnTo>
                  <a:pt x="15" y="138"/>
                </a:lnTo>
                <a:lnTo>
                  <a:pt x="20" y="108"/>
                </a:lnTo>
                <a:lnTo>
                  <a:pt x="20" y="100"/>
                </a:lnTo>
                <a:lnTo>
                  <a:pt x="15" y="87"/>
                </a:lnTo>
                <a:lnTo>
                  <a:pt x="9" y="78"/>
                </a:lnTo>
                <a:lnTo>
                  <a:pt x="9" y="70"/>
                </a:lnTo>
                <a:lnTo>
                  <a:pt x="9" y="63"/>
                </a:lnTo>
                <a:lnTo>
                  <a:pt x="11" y="57"/>
                </a:lnTo>
                <a:lnTo>
                  <a:pt x="9" y="49"/>
                </a:lnTo>
                <a:lnTo>
                  <a:pt x="15" y="42"/>
                </a:lnTo>
                <a:lnTo>
                  <a:pt x="17" y="34"/>
                </a:lnTo>
                <a:lnTo>
                  <a:pt x="20" y="31"/>
                </a:lnTo>
                <a:lnTo>
                  <a:pt x="17" y="23"/>
                </a:lnTo>
                <a:lnTo>
                  <a:pt x="24" y="27"/>
                </a:lnTo>
                <a:lnTo>
                  <a:pt x="37" y="40"/>
                </a:lnTo>
                <a:lnTo>
                  <a:pt x="45" y="46"/>
                </a:lnTo>
                <a:lnTo>
                  <a:pt x="54" y="51"/>
                </a:lnTo>
                <a:lnTo>
                  <a:pt x="58" y="57"/>
                </a:lnTo>
                <a:lnTo>
                  <a:pt x="68" y="63"/>
                </a:lnTo>
                <a:lnTo>
                  <a:pt x="81" y="68"/>
                </a:lnTo>
                <a:lnTo>
                  <a:pt x="90" y="72"/>
                </a:lnTo>
                <a:lnTo>
                  <a:pt x="105" y="76"/>
                </a:lnTo>
                <a:lnTo>
                  <a:pt x="113" y="83"/>
                </a:lnTo>
                <a:lnTo>
                  <a:pt x="120" y="80"/>
                </a:lnTo>
                <a:lnTo>
                  <a:pt x="126" y="78"/>
                </a:lnTo>
                <a:lnTo>
                  <a:pt x="128" y="87"/>
                </a:lnTo>
                <a:lnTo>
                  <a:pt x="130" y="93"/>
                </a:lnTo>
                <a:lnTo>
                  <a:pt x="137" y="91"/>
                </a:lnTo>
                <a:lnTo>
                  <a:pt x="143" y="102"/>
                </a:lnTo>
                <a:lnTo>
                  <a:pt x="143" y="93"/>
                </a:lnTo>
                <a:lnTo>
                  <a:pt x="152" y="89"/>
                </a:lnTo>
                <a:lnTo>
                  <a:pt x="149" y="95"/>
                </a:lnTo>
                <a:lnTo>
                  <a:pt x="152" y="115"/>
                </a:lnTo>
                <a:lnTo>
                  <a:pt x="149" y="123"/>
                </a:lnTo>
                <a:lnTo>
                  <a:pt x="143" y="129"/>
                </a:lnTo>
                <a:lnTo>
                  <a:pt x="139" y="138"/>
                </a:lnTo>
                <a:lnTo>
                  <a:pt x="139" y="129"/>
                </a:lnTo>
                <a:lnTo>
                  <a:pt x="141" y="123"/>
                </a:lnTo>
                <a:lnTo>
                  <a:pt x="128" y="140"/>
                </a:lnTo>
                <a:lnTo>
                  <a:pt x="122" y="144"/>
                </a:lnTo>
                <a:lnTo>
                  <a:pt x="107" y="155"/>
                </a:lnTo>
                <a:lnTo>
                  <a:pt x="103" y="164"/>
                </a:lnTo>
                <a:lnTo>
                  <a:pt x="109" y="170"/>
                </a:lnTo>
                <a:lnTo>
                  <a:pt x="122" y="166"/>
                </a:lnTo>
                <a:lnTo>
                  <a:pt x="115" y="166"/>
                </a:lnTo>
                <a:lnTo>
                  <a:pt x="109" y="168"/>
                </a:lnTo>
                <a:lnTo>
                  <a:pt x="107" y="159"/>
                </a:lnTo>
                <a:lnTo>
                  <a:pt x="122" y="147"/>
                </a:lnTo>
                <a:lnTo>
                  <a:pt x="137" y="142"/>
                </a:lnTo>
                <a:lnTo>
                  <a:pt x="143" y="134"/>
                </a:lnTo>
                <a:lnTo>
                  <a:pt x="158" y="119"/>
                </a:lnTo>
                <a:lnTo>
                  <a:pt x="162" y="125"/>
                </a:lnTo>
                <a:lnTo>
                  <a:pt x="162" y="134"/>
                </a:lnTo>
                <a:lnTo>
                  <a:pt x="156" y="138"/>
                </a:lnTo>
                <a:lnTo>
                  <a:pt x="149" y="136"/>
                </a:lnTo>
                <a:lnTo>
                  <a:pt x="149" y="144"/>
                </a:lnTo>
                <a:lnTo>
                  <a:pt x="149" y="151"/>
                </a:lnTo>
                <a:lnTo>
                  <a:pt x="143" y="149"/>
                </a:lnTo>
                <a:lnTo>
                  <a:pt x="143" y="155"/>
                </a:lnTo>
                <a:lnTo>
                  <a:pt x="149" y="155"/>
                </a:lnTo>
                <a:lnTo>
                  <a:pt x="152" y="161"/>
                </a:lnTo>
                <a:lnTo>
                  <a:pt x="141" y="187"/>
                </a:lnTo>
                <a:lnTo>
                  <a:pt x="132" y="183"/>
                </a:lnTo>
                <a:lnTo>
                  <a:pt x="139" y="176"/>
                </a:lnTo>
                <a:lnTo>
                  <a:pt x="132" y="176"/>
                </a:lnTo>
                <a:lnTo>
                  <a:pt x="128" y="183"/>
                </a:lnTo>
                <a:lnTo>
                  <a:pt x="126" y="191"/>
                </a:lnTo>
                <a:lnTo>
                  <a:pt x="124" y="193"/>
                </a:lnTo>
                <a:lnTo>
                  <a:pt x="122" y="187"/>
                </a:lnTo>
                <a:lnTo>
                  <a:pt x="126" y="181"/>
                </a:lnTo>
                <a:lnTo>
                  <a:pt x="128" y="172"/>
                </a:lnTo>
                <a:lnTo>
                  <a:pt x="113" y="183"/>
                </a:lnTo>
                <a:lnTo>
                  <a:pt x="107" y="189"/>
                </a:lnTo>
                <a:lnTo>
                  <a:pt x="100" y="191"/>
                </a:lnTo>
                <a:lnTo>
                  <a:pt x="107" y="193"/>
                </a:lnTo>
                <a:lnTo>
                  <a:pt x="107" y="200"/>
                </a:lnTo>
                <a:lnTo>
                  <a:pt x="111" y="204"/>
                </a:lnTo>
                <a:lnTo>
                  <a:pt x="113" y="198"/>
                </a:lnTo>
                <a:lnTo>
                  <a:pt x="120" y="193"/>
                </a:lnTo>
                <a:lnTo>
                  <a:pt x="124" y="202"/>
                </a:lnTo>
                <a:lnTo>
                  <a:pt x="130" y="200"/>
                </a:lnTo>
                <a:lnTo>
                  <a:pt x="139" y="195"/>
                </a:lnTo>
                <a:lnTo>
                  <a:pt x="143" y="189"/>
                </a:lnTo>
                <a:lnTo>
                  <a:pt x="156" y="185"/>
                </a:lnTo>
                <a:lnTo>
                  <a:pt x="162" y="176"/>
                </a:lnTo>
                <a:lnTo>
                  <a:pt x="162" y="161"/>
                </a:lnTo>
                <a:lnTo>
                  <a:pt x="169" y="155"/>
                </a:lnTo>
                <a:lnTo>
                  <a:pt x="162" y="147"/>
                </a:lnTo>
                <a:lnTo>
                  <a:pt x="171" y="142"/>
                </a:lnTo>
                <a:lnTo>
                  <a:pt x="169" y="136"/>
                </a:lnTo>
                <a:lnTo>
                  <a:pt x="177" y="125"/>
                </a:lnTo>
                <a:lnTo>
                  <a:pt x="186" y="119"/>
                </a:lnTo>
                <a:lnTo>
                  <a:pt x="183" y="112"/>
                </a:lnTo>
                <a:lnTo>
                  <a:pt x="181" y="104"/>
                </a:lnTo>
                <a:lnTo>
                  <a:pt x="181" y="89"/>
                </a:lnTo>
                <a:lnTo>
                  <a:pt x="181" y="87"/>
                </a:lnTo>
                <a:lnTo>
                  <a:pt x="183" y="80"/>
                </a:lnTo>
                <a:lnTo>
                  <a:pt x="177" y="72"/>
                </a:lnTo>
                <a:lnTo>
                  <a:pt x="175" y="66"/>
                </a:lnTo>
                <a:lnTo>
                  <a:pt x="169" y="66"/>
                </a:lnTo>
                <a:lnTo>
                  <a:pt x="169" y="57"/>
                </a:lnTo>
                <a:lnTo>
                  <a:pt x="173" y="59"/>
                </a:lnTo>
                <a:lnTo>
                  <a:pt x="181" y="63"/>
                </a:lnTo>
                <a:lnTo>
                  <a:pt x="181" y="57"/>
                </a:lnTo>
                <a:lnTo>
                  <a:pt x="179" y="49"/>
                </a:lnTo>
                <a:lnTo>
                  <a:pt x="186" y="53"/>
                </a:lnTo>
                <a:lnTo>
                  <a:pt x="188" y="46"/>
                </a:lnTo>
                <a:lnTo>
                  <a:pt x="186" y="38"/>
                </a:lnTo>
                <a:lnTo>
                  <a:pt x="188" y="31"/>
                </a:lnTo>
                <a:lnTo>
                  <a:pt x="181" y="27"/>
                </a:lnTo>
                <a:lnTo>
                  <a:pt x="175" y="21"/>
                </a:lnTo>
                <a:lnTo>
                  <a:pt x="175" y="19"/>
                </a:lnTo>
                <a:lnTo>
                  <a:pt x="173" y="10"/>
                </a:lnTo>
                <a:lnTo>
                  <a:pt x="171" y="4"/>
                </a:lnTo>
                <a:lnTo>
                  <a:pt x="177" y="0"/>
                </a:lnTo>
                <a:lnTo>
                  <a:pt x="277" y="27"/>
                </a:lnTo>
                <a:lnTo>
                  <a:pt x="390" y="55"/>
                </a:lnTo>
                <a:lnTo>
                  <a:pt x="522" y="85"/>
                </a:lnTo>
                <a:lnTo>
                  <a:pt x="594" y="100"/>
                </a:lnTo>
                <a:lnTo>
                  <a:pt x="592" y="104"/>
                </a:lnTo>
                <a:lnTo>
                  <a:pt x="539" y="355"/>
                </a:lnTo>
                <a:lnTo>
                  <a:pt x="537" y="379"/>
                </a:lnTo>
                <a:lnTo>
                  <a:pt x="533" y="385"/>
                </a:lnTo>
                <a:lnTo>
                  <a:pt x="537" y="400"/>
                </a:lnTo>
                <a:lnTo>
                  <a:pt x="535" y="423"/>
                </a:lnTo>
                <a:lnTo>
                  <a:pt x="537" y="430"/>
                </a:lnTo>
                <a:lnTo>
                  <a:pt x="445" y="411"/>
                </a:lnTo>
                <a:lnTo>
                  <a:pt x="375" y="394"/>
                </a:lnTo>
                <a:lnTo>
                  <a:pt x="367" y="398"/>
                </a:lnTo>
                <a:lnTo>
                  <a:pt x="360" y="398"/>
                </a:lnTo>
                <a:lnTo>
                  <a:pt x="352" y="396"/>
                </a:lnTo>
                <a:lnTo>
                  <a:pt x="335" y="394"/>
                </a:lnTo>
                <a:lnTo>
                  <a:pt x="330" y="391"/>
                </a:lnTo>
                <a:lnTo>
                  <a:pt x="322" y="396"/>
                </a:lnTo>
                <a:lnTo>
                  <a:pt x="301" y="396"/>
                </a:lnTo>
                <a:lnTo>
                  <a:pt x="286" y="398"/>
                </a:lnTo>
                <a:lnTo>
                  <a:pt x="271" y="400"/>
                </a:lnTo>
                <a:lnTo>
                  <a:pt x="264" y="402"/>
                </a:lnTo>
                <a:lnTo>
                  <a:pt x="256" y="400"/>
                </a:lnTo>
                <a:lnTo>
                  <a:pt x="249" y="394"/>
                </a:lnTo>
                <a:lnTo>
                  <a:pt x="241" y="391"/>
                </a:lnTo>
                <a:lnTo>
                  <a:pt x="220" y="396"/>
                </a:lnTo>
                <a:lnTo>
                  <a:pt x="213" y="394"/>
                </a:lnTo>
                <a:lnTo>
                  <a:pt x="198" y="394"/>
                </a:lnTo>
                <a:lnTo>
                  <a:pt x="196" y="387"/>
                </a:lnTo>
                <a:lnTo>
                  <a:pt x="190" y="383"/>
                </a:lnTo>
                <a:lnTo>
                  <a:pt x="181" y="381"/>
                </a:lnTo>
                <a:lnTo>
                  <a:pt x="175" y="377"/>
                </a:lnTo>
                <a:lnTo>
                  <a:pt x="162" y="377"/>
                </a:lnTo>
                <a:lnTo>
                  <a:pt x="156" y="372"/>
                </a:lnTo>
                <a:lnTo>
                  <a:pt x="149" y="372"/>
                </a:lnTo>
                <a:lnTo>
                  <a:pt x="141" y="377"/>
                </a:lnTo>
                <a:lnTo>
                  <a:pt x="134" y="379"/>
                </a:lnTo>
                <a:lnTo>
                  <a:pt x="120" y="381"/>
                </a:lnTo>
                <a:lnTo>
                  <a:pt x="113" y="379"/>
                </a:lnTo>
                <a:lnTo>
                  <a:pt x="105" y="374"/>
                </a:lnTo>
                <a:lnTo>
                  <a:pt x="100" y="374"/>
                </a:lnTo>
                <a:lnTo>
                  <a:pt x="94" y="368"/>
                </a:lnTo>
                <a:lnTo>
                  <a:pt x="83" y="364"/>
                </a:lnTo>
                <a:lnTo>
                  <a:pt x="79" y="359"/>
                </a:lnTo>
                <a:lnTo>
                  <a:pt x="83" y="323"/>
                </a:lnTo>
                <a:lnTo>
                  <a:pt x="81" y="308"/>
                </a:lnTo>
                <a:lnTo>
                  <a:pt x="73" y="302"/>
                </a:lnTo>
                <a:lnTo>
                  <a:pt x="68" y="296"/>
                </a:lnTo>
                <a:lnTo>
                  <a:pt x="62" y="293"/>
                </a:lnTo>
                <a:lnTo>
                  <a:pt x="56" y="293"/>
                </a:lnTo>
                <a:lnTo>
                  <a:pt x="49" y="287"/>
                </a:lnTo>
                <a:lnTo>
                  <a:pt x="47" y="279"/>
                </a:lnTo>
                <a:lnTo>
                  <a:pt x="45" y="279"/>
                </a:lnTo>
                <a:lnTo>
                  <a:pt x="41" y="27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6" name="Freeform 822"/>
          <p:cNvSpPr>
            <a:spLocks/>
          </p:cNvSpPr>
          <p:nvPr/>
        </p:nvSpPr>
        <p:spPr bwMode="auto">
          <a:xfrm>
            <a:off x="1149350" y="1420813"/>
            <a:ext cx="20638" cy="28575"/>
          </a:xfrm>
          <a:custGeom>
            <a:avLst/>
            <a:gdLst>
              <a:gd name="T0" fmla="*/ 9 w 13"/>
              <a:gd name="T1" fmla="*/ 3 h 18"/>
              <a:gd name="T2" fmla="*/ 13 w 13"/>
              <a:gd name="T3" fmla="*/ 11 h 18"/>
              <a:gd name="T4" fmla="*/ 11 w 13"/>
              <a:gd name="T5" fmla="*/ 18 h 18"/>
              <a:gd name="T6" fmla="*/ 5 w 13"/>
              <a:gd name="T7" fmla="*/ 18 h 18"/>
              <a:gd name="T8" fmla="*/ 0 w 13"/>
              <a:gd name="T9" fmla="*/ 11 h 18"/>
              <a:gd name="T10" fmla="*/ 5 w 13"/>
              <a:gd name="T11" fmla="*/ 0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13" y="11"/>
                </a:lnTo>
                <a:lnTo>
                  <a:pt x="11" y="18"/>
                </a:lnTo>
                <a:lnTo>
                  <a:pt x="5" y="18"/>
                </a:lnTo>
                <a:lnTo>
                  <a:pt x="0" y="11"/>
                </a:lnTo>
                <a:lnTo>
                  <a:pt x="5" y="0"/>
                </a:lnTo>
                <a:lnTo>
                  <a:pt x="9" y="3"/>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17" name="Freeform 823"/>
          <p:cNvSpPr>
            <a:spLocks/>
          </p:cNvSpPr>
          <p:nvPr/>
        </p:nvSpPr>
        <p:spPr bwMode="auto">
          <a:xfrm>
            <a:off x="1149350" y="1420813"/>
            <a:ext cx="20638" cy="28575"/>
          </a:xfrm>
          <a:custGeom>
            <a:avLst/>
            <a:gdLst>
              <a:gd name="T0" fmla="*/ 9 w 13"/>
              <a:gd name="T1" fmla="*/ 3 h 18"/>
              <a:gd name="T2" fmla="*/ 13 w 13"/>
              <a:gd name="T3" fmla="*/ 11 h 18"/>
              <a:gd name="T4" fmla="*/ 11 w 13"/>
              <a:gd name="T5" fmla="*/ 18 h 18"/>
              <a:gd name="T6" fmla="*/ 5 w 13"/>
              <a:gd name="T7" fmla="*/ 18 h 18"/>
              <a:gd name="T8" fmla="*/ 0 w 13"/>
              <a:gd name="T9" fmla="*/ 11 h 18"/>
              <a:gd name="T10" fmla="*/ 5 w 13"/>
              <a:gd name="T11" fmla="*/ 0 h 18"/>
              <a:gd name="T12" fmla="*/ 9 w 13"/>
              <a:gd name="T13" fmla="*/ 3 h 18"/>
            </a:gdLst>
            <a:ahLst/>
            <a:cxnLst>
              <a:cxn ang="0">
                <a:pos x="T0" y="T1"/>
              </a:cxn>
              <a:cxn ang="0">
                <a:pos x="T2" y="T3"/>
              </a:cxn>
              <a:cxn ang="0">
                <a:pos x="T4" y="T5"/>
              </a:cxn>
              <a:cxn ang="0">
                <a:pos x="T6" y="T7"/>
              </a:cxn>
              <a:cxn ang="0">
                <a:pos x="T8" y="T9"/>
              </a:cxn>
              <a:cxn ang="0">
                <a:pos x="T10" y="T11"/>
              </a:cxn>
              <a:cxn ang="0">
                <a:pos x="T12" y="T13"/>
              </a:cxn>
            </a:cxnLst>
            <a:rect l="0" t="0" r="r" b="b"/>
            <a:pathLst>
              <a:path w="13" h="18">
                <a:moveTo>
                  <a:pt x="9" y="3"/>
                </a:moveTo>
                <a:lnTo>
                  <a:pt x="13" y="11"/>
                </a:lnTo>
                <a:lnTo>
                  <a:pt x="11" y="18"/>
                </a:lnTo>
                <a:lnTo>
                  <a:pt x="5" y="18"/>
                </a:lnTo>
                <a:lnTo>
                  <a:pt x="0" y="11"/>
                </a:lnTo>
                <a:lnTo>
                  <a:pt x="5" y="0"/>
                </a:lnTo>
                <a:lnTo>
                  <a:pt x="9" y="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18" name="Freeform 824"/>
          <p:cNvSpPr>
            <a:spLocks/>
          </p:cNvSpPr>
          <p:nvPr/>
        </p:nvSpPr>
        <p:spPr bwMode="auto">
          <a:xfrm>
            <a:off x="2795587" y="3940296"/>
            <a:ext cx="1981200" cy="1930400"/>
          </a:xfrm>
          <a:custGeom>
            <a:avLst/>
            <a:gdLst>
              <a:gd name="T0" fmla="*/ 164 w 1248"/>
              <a:gd name="T1" fmla="*/ 496 h 1216"/>
              <a:gd name="T2" fmla="*/ 373 w 1248"/>
              <a:gd name="T3" fmla="*/ 11 h 1216"/>
              <a:gd name="T4" fmla="*/ 648 w 1248"/>
              <a:gd name="T5" fmla="*/ 17 h 1216"/>
              <a:gd name="T6" fmla="*/ 682 w 1248"/>
              <a:gd name="T7" fmla="*/ 251 h 1216"/>
              <a:gd name="T8" fmla="*/ 714 w 1248"/>
              <a:gd name="T9" fmla="*/ 266 h 1216"/>
              <a:gd name="T10" fmla="*/ 763 w 1248"/>
              <a:gd name="T11" fmla="*/ 283 h 1216"/>
              <a:gd name="T12" fmla="*/ 816 w 1248"/>
              <a:gd name="T13" fmla="*/ 285 h 1216"/>
              <a:gd name="T14" fmla="*/ 841 w 1248"/>
              <a:gd name="T15" fmla="*/ 313 h 1216"/>
              <a:gd name="T16" fmla="*/ 893 w 1248"/>
              <a:gd name="T17" fmla="*/ 315 h 1216"/>
              <a:gd name="T18" fmla="*/ 916 w 1248"/>
              <a:gd name="T19" fmla="*/ 313 h 1216"/>
              <a:gd name="T20" fmla="*/ 952 w 1248"/>
              <a:gd name="T21" fmla="*/ 313 h 1216"/>
              <a:gd name="T22" fmla="*/ 999 w 1248"/>
              <a:gd name="T23" fmla="*/ 317 h 1216"/>
              <a:gd name="T24" fmla="*/ 1057 w 1248"/>
              <a:gd name="T25" fmla="*/ 313 h 1216"/>
              <a:gd name="T26" fmla="*/ 1114 w 1248"/>
              <a:gd name="T27" fmla="*/ 326 h 1216"/>
              <a:gd name="T28" fmla="*/ 1167 w 1248"/>
              <a:gd name="T29" fmla="*/ 343 h 1216"/>
              <a:gd name="T30" fmla="*/ 1218 w 1248"/>
              <a:gd name="T31" fmla="*/ 567 h 1216"/>
              <a:gd name="T32" fmla="*/ 1248 w 1248"/>
              <a:gd name="T33" fmla="*/ 613 h 1216"/>
              <a:gd name="T34" fmla="*/ 1242 w 1248"/>
              <a:gd name="T35" fmla="*/ 660 h 1216"/>
              <a:gd name="T36" fmla="*/ 1235 w 1248"/>
              <a:gd name="T37" fmla="*/ 731 h 1216"/>
              <a:gd name="T38" fmla="*/ 1201 w 1248"/>
              <a:gd name="T39" fmla="*/ 786 h 1216"/>
              <a:gd name="T40" fmla="*/ 1137 w 1248"/>
              <a:gd name="T41" fmla="*/ 814 h 1216"/>
              <a:gd name="T42" fmla="*/ 1137 w 1248"/>
              <a:gd name="T43" fmla="*/ 777 h 1216"/>
              <a:gd name="T44" fmla="*/ 1110 w 1248"/>
              <a:gd name="T45" fmla="*/ 799 h 1216"/>
              <a:gd name="T46" fmla="*/ 1097 w 1248"/>
              <a:gd name="T47" fmla="*/ 846 h 1216"/>
              <a:gd name="T48" fmla="*/ 1022 w 1248"/>
              <a:gd name="T49" fmla="*/ 899 h 1216"/>
              <a:gd name="T50" fmla="*/ 995 w 1248"/>
              <a:gd name="T51" fmla="*/ 920 h 1216"/>
              <a:gd name="T52" fmla="*/ 982 w 1248"/>
              <a:gd name="T53" fmla="*/ 905 h 1216"/>
              <a:gd name="T54" fmla="*/ 956 w 1248"/>
              <a:gd name="T55" fmla="*/ 897 h 1216"/>
              <a:gd name="T56" fmla="*/ 973 w 1248"/>
              <a:gd name="T57" fmla="*/ 929 h 1216"/>
              <a:gd name="T58" fmla="*/ 937 w 1248"/>
              <a:gd name="T59" fmla="*/ 948 h 1216"/>
              <a:gd name="T60" fmla="*/ 912 w 1248"/>
              <a:gd name="T61" fmla="*/ 956 h 1216"/>
              <a:gd name="T62" fmla="*/ 914 w 1248"/>
              <a:gd name="T63" fmla="*/ 965 h 1216"/>
              <a:gd name="T64" fmla="*/ 869 w 1248"/>
              <a:gd name="T65" fmla="*/ 997 h 1216"/>
              <a:gd name="T66" fmla="*/ 863 w 1248"/>
              <a:gd name="T67" fmla="*/ 1056 h 1216"/>
              <a:gd name="T68" fmla="*/ 841 w 1248"/>
              <a:gd name="T69" fmla="*/ 1046 h 1216"/>
              <a:gd name="T70" fmla="*/ 867 w 1248"/>
              <a:gd name="T71" fmla="*/ 1080 h 1216"/>
              <a:gd name="T72" fmla="*/ 867 w 1248"/>
              <a:gd name="T73" fmla="*/ 1114 h 1216"/>
              <a:gd name="T74" fmla="*/ 888 w 1248"/>
              <a:gd name="T75" fmla="*/ 1203 h 1216"/>
              <a:gd name="T76" fmla="*/ 880 w 1248"/>
              <a:gd name="T77" fmla="*/ 1216 h 1216"/>
              <a:gd name="T78" fmla="*/ 820 w 1248"/>
              <a:gd name="T79" fmla="*/ 1193 h 1216"/>
              <a:gd name="T80" fmla="*/ 743 w 1248"/>
              <a:gd name="T81" fmla="*/ 1169 h 1216"/>
              <a:gd name="T82" fmla="*/ 703 w 1248"/>
              <a:gd name="T83" fmla="*/ 1144 h 1216"/>
              <a:gd name="T84" fmla="*/ 669 w 1248"/>
              <a:gd name="T85" fmla="*/ 1071 h 1216"/>
              <a:gd name="T86" fmla="*/ 665 w 1248"/>
              <a:gd name="T87" fmla="*/ 1022 h 1216"/>
              <a:gd name="T88" fmla="*/ 618 w 1248"/>
              <a:gd name="T89" fmla="*/ 971 h 1216"/>
              <a:gd name="T90" fmla="*/ 586 w 1248"/>
              <a:gd name="T91" fmla="*/ 914 h 1216"/>
              <a:gd name="T92" fmla="*/ 556 w 1248"/>
              <a:gd name="T93" fmla="*/ 850 h 1216"/>
              <a:gd name="T94" fmla="*/ 503 w 1248"/>
              <a:gd name="T95" fmla="*/ 788 h 1216"/>
              <a:gd name="T96" fmla="*/ 465 w 1248"/>
              <a:gd name="T97" fmla="*/ 767 h 1216"/>
              <a:gd name="T98" fmla="*/ 396 w 1248"/>
              <a:gd name="T99" fmla="*/ 754 h 1216"/>
              <a:gd name="T100" fmla="*/ 356 w 1248"/>
              <a:gd name="T101" fmla="*/ 777 h 1216"/>
              <a:gd name="T102" fmla="*/ 315 w 1248"/>
              <a:gd name="T103" fmla="*/ 839 h 1216"/>
              <a:gd name="T104" fmla="*/ 273 w 1248"/>
              <a:gd name="T105" fmla="*/ 826 h 1216"/>
              <a:gd name="T106" fmla="*/ 201 w 1248"/>
              <a:gd name="T107" fmla="*/ 777 h 1216"/>
              <a:gd name="T108" fmla="*/ 166 w 1248"/>
              <a:gd name="T109" fmla="*/ 694 h 1216"/>
              <a:gd name="T110" fmla="*/ 139 w 1248"/>
              <a:gd name="T111" fmla="*/ 641 h 1216"/>
              <a:gd name="T112" fmla="*/ 64 w 1248"/>
              <a:gd name="T113" fmla="*/ 564 h 1216"/>
              <a:gd name="T114" fmla="*/ 20 w 1248"/>
              <a:gd name="T115" fmla="*/ 51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8" h="1216">
                <a:moveTo>
                  <a:pt x="9" y="507"/>
                </a:moveTo>
                <a:lnTo>
                  <a:pt x="9" y="503"/>
                </a:lnTo>
                <a:lnTo>
                  <a:pt x="5" y="498"/>
                </a:lnTo>
                <a:lnTo>
                  <a:pt x="0" y="484"/>
                </a:lnTo>
                <a:lnTo>
                  <a:pt x="0" y="481"/>
                </a:lnTo>
                <a:lnTo>
                  <a:pt x="73" y="488"/>
                </a:lnTo>
                <a:lnTo>
                  <a:pt x="164" y="496"/>
                </a:lnTo>
                <a:lnTo>
                  <a:pt x="247" y="503"/>
                </a:lnTo>
                <a:lnTo>
                  <a:pt x="330" y="509"/>
                </a:lnTo>
                <a:lnTo>
                  <a:pt x="335" y="509"/>
                </a:lnTo>
                <a:lnTo>
                  <a:pt x="341" y="501"/>
                </a:lnTo>
                <a:lnTo>
                  <a:pt x="347" y="383"/>
                </a:lnTo>
                <a:lnTo>
                  <a:pt x="356" y="281"/>
                </a:lnTo>
                <a:lnTo>
                  <a:pt x="373" y="11"/>
                </a:lnTo>
                <a:lnTo>
                  <a:pt x="375" y="2"/>
                </a:lnTo>
                <a:lnTo>
                  <a:pt x="379" y="0"/>
                </a:lnTo>
                <a:lnTo>
                  <a:pt x="501" y="9"/>
                </a:lnTo>
                <a:lnTo>
                  <a:pt x="594" y="13"/>
                </a:lnTo>
                <a:lnTo>
                  <a:pt x="631" y="13"/>
                </a:lnTo>
                <a:lnTo>
                  <a:pt x="639" y="13"/>
                </a:lnTo>
                <a:lnTo>
                  <a:pt x="648" y="17"/>
                </a:lnTo>
                <a:lnTo>
                  <a:pt x="641" y="219"/>
                </a:lnTo>
                <a:lnTo>
                  <a:pt x="639" y="230"/>
                </a:lnTo>
                <a:lnTo>
                  <a:pt x="648" y="232"/>
                </a:lnTo>
                <a:lnTo>
                  <a:pt x="654" y="236"/>
                </a:lnTo>
                <a:lnTo>
                  <a:pt x="667" y="251"/>
                </a:lnTo>
                <a:lnTo>
                  <a:pt x="673" y="256"/>
                </a:lnTo>
                <a:lnTo>
                  <a:pt x="682" y="251"/>
                </a:lnTo>
                <a:lnTo>
                  <a:pt x="688" y="254"/>
                </a:lnTo>
                <a:lnTo>
                  <a:pt x="695" y="254"/>
                </a:lnTo>
                <a:lnTo>
                  <a:pt x="699" y="245"/>
                </a:lnTo>
                <a:lnTo>
                  <a:pt x="701" y="249"/>
                </a:lnTo>
                <a:lnTo>
                  <a:pt x="707" y="254"/>
                </a:lnTo>
                <a:lnTo>
                  <a:pt x="714" y="260"/>
                </a:lnTo>
                <a:lnTo>
                  <a:pt x="714" y="266"/>
                </a:lnTo>
                <a:lnTo>
                  <a:pt x="714" y="275"/>
                </a:lnTo>
                <a:lnTo>
                  <a:pt x="722" y="275"/>
                </a:lnTo>
                <a:lnTo>
                  <a:pt x="726" y="277"/>
                </a:lnTo>
                <a:lnTo>
                  <a:pt x="733" y="275"/>
                </a:lnTo>
                <a:lnTo>
                  <a:pt x="741" y="279"/>
                </a:lnTo>
                <a:lnTo>
                  <a:pt x="754" y="283"/>
                </a:lnTo>
                <a:lnTo>
                  <a:pt x="763" y="283"/>
                </a:lnTo>
                <a:lnTo>
                  <a:pt x="769" y="283"/>
                </a:lnTo>
                <a:lnTo>
                  <a:pt x="773" y="288"/>
                </a:lnTo>
                <a:lnTo>
                  <a:pt x="778" y="292"/>
                </a:lnTo>
                <a:lnTo>
                  <a:pt x="786" y="290"/>
                </a:lnTo>
                <a:lnTo>
                  <a:pt x="792" y="285"/>
                </a:lnTo>
                <a:lnTo>
                  <a:pt x="807" y="285"/>
                </a:lnTo>
                <a:lnTo>
                  <a:pt x="816" y="285"/>
                </a:lnTo>
                <a:lnTo>
                  <a:pt x="814" y="292"/>
                </a:lnTo>
                <a:lnTo>
                  <a:pt x="818" y="300"/>
                </a:lnTo>
                <a:lnTo>
                  <a:pt x="827" y="300"/>
                </a:lnTo>
                <a:lnTo>
                  <a:pt x="829" y="305"/>
                </a:lnTo>
                <a:lnTo>
                  <a:pt x="829" y="315"/>
                </a:lnTo>
                <a:lnTo>
                  <a:pt x="835" y="317"/>
                </a:lnTo>
                <a:lnTo>
                  <a:pt x="841" y="313"/>
                </a:lnTo>
                <a:lnTo>
                  <a:pt x="854" y="303"/>
                </a:lnTo>
                <a:lnTo>
                  <a:pt x="861" y="305"/>
                </a:lnTo>
                <a:lnTo>
                  <a:pt x="863" y="313"/>
                </a:lnTo>
                <a:lnTo>
                  <a:pt x="871" y="313"/>
                </a:lnTo>
                <a:lnTo>
                  <a:pt x="873" y="320"/>
                </a:lnTo>
                <a:lnTo>
                  <a:pt x="880" y="320"/>
                </a:lnTo>
                <a:lnTo>
                  <a:pt x="893" y="315"/>
                </a:lnTo>
                <a:lnTo>
                  <a:pt x="899" y="315"/>
                </a:lnTo>
                <a:lnTo>
                  <a:pt x="897" y="322"/>
                </a:lnTo>
                <a:lnTo>
                  <a:pt x="899" y="330"/>
                </a:lnTo>
                <a:lnTo>
                  <a:pt x="901" y="332"/>
                </a:lnTo>
                <a:lnTo>
                  <a:pt x="905" y="330"/>
                </a:lnTo>
                <a:lnTo>
                  <a:pt x="910" y="317"/>
                </a:lnTo>
                <a:lnTo>
                  <a:pt x="916" y="313"/>
                </a:lnTo>
                <a:lnTo>
                  <a:pt x="918" y="307"/>
                </a:lnTo>
                <a:lnTo>
                  <a:pt x="920" y="307"/>
                </a:lnTo>
                <a:lnTo>
                  <a:pt x="927" y="309"/>
                </a:lnTo>
                <a:lnTo>
                  <a:pt x="933" y="315"/>
                </a:lnTo>
                <a:lnTo>
                  <a:pt x="939" y="317"/>
                </a:lnTo>
                <a:lnTo>
                  <a:pt x="946" y="313"/>
                </a:lnTo>
                <a:lnTo>
                  <a:pt x="952" y="313"/>
                </a:lnTo>
                <a:lnTo>
                  <a:pt x="959" y="322"/>
                </a:lnTo>
                <a:lnTo>
                  <a:pt x="965" y="326"/>
                </a:lnTo>
                <a:lnTo>
                  <a:pt x="973" y="328"/>
                </a:lnTo>
                <a:lnTo>
                  <a:pt x="980" y="334"/>
                </a:lnTo>
                <a:lnTo>
                  <a:pt x="982" y="328"/>
                </a:lnTo>
                <a:lnTo>
                  <a:pt x="990" y="328"/>
                </a:lnTo>
                <a:lnTo>
                  <a:pt x="999" y="317"/>
                </a:lnTo>
                <a:lnTo>
                  <a:pt x="1008" y="317"/>
                </a:lnTo>
                <a:lnTo>
                  <a:pt x="1014" y="313"/>
                </a:lnTo>
                <a:lnTo>
                  <a:pt x="1020" y="317"/>
                </a:lnTo>
                <a:lnTo>
                  <a:pt x="1029" y="317"/>
                </a:lnTo>
                <a:lnTo>
                  <a:pt x="1035" y="313"/>
                </a:lnTo>
                <a:lnTo>
                  <a:pt x="1048" y="307"/>
                </a:lnTo>
                <a:lnTo>
                  <a:pt x="1057" y="313"/>
                </a:lnTo>
                <a:lnTo>
                  <a:pt x="1061" y="315"/>
                </a:lnTo>
                <a:lnTo>
                  <a:pt x="1069" y="315"/>
                </a:lnTo>
                <a:lnTo>
                  <a:pt x="1074" y="313"/>
                </a:lnTo>
                <a:lnTo>
                  <a:pt x="1078" y="305"/>
                </a:lnTo>
                <a:lnTo>
                  <a:pt x="1084" y="305"/>
                </a:lnTo>
                <a:lnTo>
                  <a:pt x="1101" y="315"/>
                </a:lnTo>
                <a:lnTo>
                  <a:pt x="1114" y="326"/>
                </a:lnTo>
                <a:lnTo>
                  <a:pt x="1123" y="328"/>
                </a:lnTo>
                <a:lnTo>
                  <a:pt x="1129" y="334"/>
                </a:lnTo>
                <a:lnTo>
                  <a:pt x="1150" y="339"/>
                </a:lnTo>
                <a:lnTo>
                  <a:pt x="1152" y="341"/>
                </a:lnTo>
                <a:lnTo>
                  <a:pt x="1152" y="343"/>
                </a:lnTo>
                <a:lnTo>
                  <a:pt x="1161" y="349"/>
                </a:lnTo>
                <a:lnTo>
                  <a:pt x="1167" y="343"/>
                </a:lnTo>
                <a:lnTo>
                  <a:pt x="1191" y="347"/>
                </a:lnTo>
                <a:lnTo>
                  <a:pt x="1193" y="409"/>
                </a:lnTo>
                <a:lnTo>
                  <a:pt x="1195" y="524"/>
                </a:lnTo>
                <a:lnTo>
                  <a:pt x="1208" y="535"/>
                </a:lnTo>
                <a:lnTo>
                  <a:pt x="1214" y="541"/>
                </a:lnTo>
                <a:lnTo>
                  <a:pt x="1218" y="556"/>
                </a:lnTo>
                <a:lnTo>
                  <a:pt x="1218" y="567"/>
                </a:lnTo>
                <a:lnTo>
                  <a:pt x="1223" y="573"/>
                </a:lnTo>
                <a:lnTo>
                  <a:pt x="1227" y="582"/>
                </a:lnTo>
                <a:lnTo>
                  <a:pt x="1229" y="584"/>
                </a:lnTo>
                <a:lnTo>
                  <a:pt x="1233" y="590"/>
                </a:lnTo>
                <a:lnTo>
                  <a:pt x="1233" y="596"/>
                </a:lnTo>
                <a:lnTo>
                  <a:pt x="1244" y="611"/>
                </a:lnTo>
                <a:lnTo>
                  <a:pt x="1248" y="613"/>
                </a:lnTo>
                <a:lnTo>
                  <a:pt x="1246" y="620"/>
                </a:lnTo>
                <a:lnTo>
                  <a:pt x="1248" y="626"/>
                </a:lnTo>
                <a:lnTo>
                  <a:pt x="1246" y="633"/>
                </a:lnTo>
                <a:lnTo>
                  <a:pt x="1248" y="639"/>
                </a:lnTo>
                <a:lnTo>
                  <a:pt x="1246" y="645"/>
                </a:lnTo>
                <a:lnTo>
                  <a:pt x="1246" y="654"/>
                </a:lnTo>
                <a:lnTo>
                  <a:pt x="1242" y="660"/>
                </a:lnTo>
                <a:lnTo>
                  <a:pt x="1242" y="669"/>
                </a:lnTo>
                <a:lnTo>
                  <a:pt x="1235" y="675"/>
                </a:lnTo>
                <a:lnTo>
                  <a:pt x="1231" y="684"/>
                </a:lnTo>
                <a:lnTo>
                  <a:pt x="1233" y="697"/>
                </a:lnTo>
                <a:lnTo>
                  <a:pt x="1229" y="705"/>
                </a:lnTo>
                <a:lnTo>
                  <a:pt x="1233" y="714"/>
                </a:lnTo>
                <a:lnTo>
                  <a:pt x="1235" y="731"/>
                </a:lnTo>
                <a:lnTo>
                  <a:pt x="1233" y="739"/>
                </a:lnTo>
                <a:lnTo>
                  <a:pt x="1227" y="748"/>
                </a:lnTo>
                <a:lnTo>
                  <a:pt x="1227" y="748"/>
                </a:lnTo>
                <a:lnTo>
                  <a:pt x="1220" y="754"/>
                </a:lnTo>
                <a:lnTo>
                  <a:pt x="1212" y="767"/>
                </a:lnTo>
                <a:lnTo>
                  <a:pt x="1223" y="784"/>
                </a:lnTo>
                <a:lnTo>
                  <a:pt x="1201" y="786"/>
                </a:lnTo>
                <a:lnTo>
                  <a:pt x="1178" y="797"/>
                </a:lnTo>
                <a:lnTo>
                  <a:pt x="1157" y="807"/>
                </a:lnTo>
                <a:lnTo>
                  <a:pt x="1150" y="809"/>
                </a:lnTo>
                <a:lnTo>
                  <a:pt x="1142" y="814"/>
                </a:lnTo>
                <a:lnTo>
                  <a:pt x="1135" y="822"/>
                </a:lnTo>
                <a:lnTo>
                  <a:pt x="1133" y="822"/>
                </a:lnTo>
                <a:lnTo>
                  <a:pt x="1137" y="814"/>
                </a:lnTo>
                <a:lnTo>
                  <a:pt x="1152" y="803"/>
                </a:lnTo>
                <a:lnTo>
                  <a:pt x="1161" y="801"/>
                </a:lnTo>
                <a:lnTo>
                  <a:pt x="1163" y="799"/>
                </a:lnTo>
                <a:lnTo>
                  <a:pt x="1148" y="799"/>
                </a:lnTo>
                <a:lnTo>
                  <a:pt x="1133" y="803"/>
                </a:lnTo>
                <a:lnTo>
                  <a:pt x="1137" y="788"/>
                </a:lnTo>
                <a:lnTo>
                  <a:pt x="1137" y="777"/>
                </a:lnTo>
                <a:lnTo>
                  <a:pt x="1131" y="775"/>
                </a:lnTo>
                <a:lnTo>
                  <a:pt x="1125" y="782"/>
                </a:lnTo>
                <a:lnTo>
                  <a:pt x="1120" y="788"/>
                </a:lnTo>
                <a:lnTo>
                  <a:pt x="1110" y="782"/>
                </a:lnTo>
                <a:lnTo>
                  <a:pt x="1105" y="786"/>
                </a:lnTo>
                <a:lnTo>
                  <a:pt x="1110" y="792"/>
                </a:lnTo>
                <a:lnTo>
                  <a:pt x="1110" y="799"/>
                </a:lnTo>
                <a:lnTo>
                  <a:pt x="1116" y="805"/>
                </a:lnTo>
                <a:lnTo>
                  <a:pt x="1116" y="816"/>
                </a:lnTo>
                <a:lnTo>
                  <a:pt x="1125" y="818"/>
                </a:lnTo>
                <a:lnTo>
                  <a:pt x="1120" y="826"/>
                </a:lnTo>
                <a:lnTo>
                  <a:pt x="1114" y="831"/>
                </a:lnTo>
                <a:lnTo>
                  <a:pt x="1108" y="837"/>
                </a:lnTo>
                <a:lnTo>
                  <a:pt x="1097" y="846"/>
                </a:lnTo>
                <a:lnTo>
                  <a:pt x="1095" y="858"/>
                </a:lnTo>
                <a:lnTo>
                  <a:pt x="1082" y="871"/>
                </a:lnTo>
                <a:lnTo>
                  <a:pt x="1074" y="878"/>
                </a:lnTo>
                <a:lnTo>
                  <a:pt x="1065" y="882"/>
                </a:lnTo>
                <a:lnTo>
                  <a:pt x="1050" y="892"/>
                </a:lnTo>
                <a:lnTo>
                  <a:pt x="1037" y="892"/>
                </a:lnTo>
                <a:lnTo>
                  <a:pt x="1022" y="899"/>
                </a:lnTo>
                <a:lnTo>
                  <a:pt x="1022" y="905"/>
                </a:lnTo>
                <a:lnTo>
                  <a:pt x="1031" y="901"/>
                </a:lnTo>
                <a:lnTo>
                  <a:pt x="1037" y="899"/>
                </a:lnTo>
                <a:lnTo>
                  <a:pt x="1029" y="905"/>
                </a:lnTo>
                <a:lnTo>
                  <a:pt x="1014" y="910"/>
                </a:lnTo>
                <a:lnTo>
                  <a:pt x="993" y="922"/>
                </a:lnTo>
                <a:lnTo>
                  <a:pt x="995" y="920"/>
                </a:lnTo>
                <a:lnTo>
                  <a:pt x="1010" y="912"/>
                </a:lnTo>
                <a:lnTo>
                  <a:pt x="1012" y="905"/>
                </a:lnTo>
                <a:lnTo>
                  <a:pt x="997" y="912"/>
                </a:lnTo>
                <a:lnTo>
                  <a:pt x="1001" y="905"/>
                </a:lnTo>
                <a:lnTo>
                  <a:pt x="993" y="907"/>
                </a:lnTo>
                <a:lnTo>
                  <a:pt x="990" y="899"/>
                </a:lnTo>
                <a:lnTo>
                  <a:pt x="982" y="905"/>
                </a:lnTo>
                <a:lnTo>
                  <a:pt x="976" y="901"/>
                </a:lnTo>
                <a:lnTo>
                  <a:pt x="971" y="892"/>
                </a:lnTo>
                <a:lnTo>
                  <a:pt x="971" y="895"/>
                </a:lnTo>
                <a:lnTo>
                  <a:pt x="978" y="907"/>
                </a:lnTo>
                <a:lnTo>
                  <a:pt x="969" y="912"/>
                </a:lnTo>
                <a:lnTo>
                  <a:pt x="959" y="901"/>
                </a:lnTo>
                <a:lnTo>
                  <a:pt x="956" y="897"/>
                </a:lnTo>
                <a:lnTo>
                  <a:pt x="950" y="897"/>
                </a:lnTo>
                <a:lnTo>
                  <a:pt x="956" y="912"/>
                </a:lnTo>
                <a:lnTo>
                  <a:pt x="965" y="916"/>
                </a:lnTo>
                <a:lnTo>
                  <a:pt x="961" y="924"/>
                </a:lnTo>
                <a:lnTo>
                  <a:pt x="967" y="922"/>
                </a:lnTo>
                <a:lnTo>
                  <a:pt x="976" y="927"/>
                </a:lnTo>
                <a:lnTo>
                  <a:pt x="973" y="929"/>
                </a:lnTo>
                <a:lnTo>
                  <a:pt x="952" y="941"/>
                </a:lnTo>
                <a:lnTo>
                  <a:pt x="946" y="937"/>
                </a:lnTo>
                <a:lnTo>
                  <a:pt x="935" y="924"/>
                </a:lnTo>
                <a:lnTo>
                  <a:pt x="937" y="927"/>
                </a:lnTo>
                <a:lnTo>
                  <a:pt x="933" y="935"/>
                </a:lnTo>
                <a:lnTo>
                  <a:pt x="937" y="941"/>
                </a:lnTo>
                <a:lnTo>
                  <a:pt x="937" y="948"/>
                </a:lnTo>
                <a:lnTo>
                  <a:pt x="929" y="959"/>
                </a:lnTo>
                <a:lnTo>
                  <a:pt x="922" y="963"/>
                </a:lnTo>
                <a:lnTo>
                  <a:pt x="924" y="954"/>
                </a:lnTo>
                <a:lnTo>
                  <a:pt x="922" y="948"/>
                </a:lnTo>
                <a:lnTo>
                  <a:pt x="922" y="954"/>
                </a:lnTo>
                <a:lnTo>
                  <a:pt x="914" y="963"/>
                </a:lnTo>
                <a:lnTo>
                  <a:pt x="912" y="956"/>
                </a:lnTo>
                <a:lnTo>
                  <a:pt x="905" y="961"/>
                </a:lnTo>
                <a:lnTo>
                  <a:pt x="897" y="959"/>
                </a:lnTo>
                <a:lnTo>
                  <a:pt x="899" y="963"/>
                </a:lnTo>
                <a:lnTo>
                  <a:pt x="895" y="969"/>
                </a:lnTo>
                <a:lnTo>
                  <a:pt x="903" y="976"/>
                </a:lnTo>
                <a:lnTo>
                  <a:pt x="905" y="969"/>
                </a:lnTo>
                <a:lnTo>
                  <a:pt x="914" y="965"/>
                </a:lnTo>
                <a:lnTo>
                  <a:pt x="914" y="971"/>
                </a:lnTo>
                <a:lnTo>
                  <a:pt x="910" y="978"/>
                </a:lnTo>
                <a:lnTo>
                  <a:pt x="895" y="997"/>
                </a:lnTo>
                <a:lnTo>
                  <a:pt x="888" y="990"/>
                </a:lnTo>
                <a:lnTo>
                  <a:pt x="873" y="993"/>
                </a:lnTo>
                <a:lnTo>
                  <a:pt x="865" y="995"/>
                </a:lnTo>
                <a:lnTo>
                  <a:pt x="869" y="997"/>
                </a:lnTo>
                <a:lnTo>
                  <a:pt x="876" y="995"/>
                </a:lnTo>
                <a:lnTo>
                  <a:pt x="876" y="1001"/>
                </a:lnTo>
                <a:lnTo>
                  <a:pt x="882" y="1007"/>
                </a:lnTo>
                <a:lnTo>
                  <a:pt x="886" y="1010"/>
                </a:lnTo>
                <a:lnTo>
                  <a:pt x="888" y="1016"/>
                </a:lnTo>
                <a:lnTo>
                  <a:pt x="873" y="1052"/>
                </a:lnTo>
                <a:lnTo>
                  <a:pt x="863" y="1056"/>
                </a:lnTo>
                <a:lnTo>
                  <a:pt x="869" y="1050"/>
                </a:lnTo>
                <a:lnTo>
                  <a:pt x="863" y="1048"/>
                </a:lnTo>
                <a:lnTo>
                  <a:pt x="858" y="1050"/>
                </a:lnTo>
                <a:lnTo>
                  <a:pt x="850" y="1050"/>
                </a:lnTo>
                <a:lnTo>
                  <a:pt x="846" y="1044"/>
                </a:lnTo>
                <a:lnTo>
                  <a:pt x="837" y="1037"/>
                </a:lnTo>
                <a:lnTo>
                  <a:pt x="841" y="1046"/>
                </a:lnTo>
                <a:lnTo>
                  <a:pt x="846" y="1050"/>
                </a:lnTo>
                <a:lnTo>
                  <a:pt x="844" y="1059"/>
                </a:lnTo>
                <a:lnTo>
                  <a:pt x="858" y="1063"/>
                </a:lnTo>
                <a:lnTo>
                  <a:pt x="873" y="1059"/>
                </a:lnTo>
                <a:lnTo>
                  <a:pt x="871" y="1065"/>
                </a:lnTo>
                <a:lnTo>
                  <a:pt x="871" y="1074"/>
                </a:lnTo>
                <a:lnTo>
                  <a:pt x="867" y="1080"/>
                </a:lnTo>
                <a:lnTo>
                  <a:pt x="867" y="1088"/>
                </a:lnTo>
                <a:lnTo>
                  <a:pt x="861" y="1088"/>
                </a:lnTo>
                <a:lnTo>
                  <a:pt x="858" y="1095"/>
                </a:lnTo>
                <a:lnTo>
                  <a:pt x="867" y="1103"/>
                </a:lnTo>
                <a:lnTo>
                  <a:pt x="861" y="1101"/>
                </a:lnTo>
                <a:lnTo>
                  <a:pt x="861" y="1108"/>
                </a:lnTo>
                <a:lnTo>
                  <a:pt x="867" y="1114"/>
                </a:lnTo>
                <a:lnTo>
                  <a:pt x="871" y="1140"/>
                </a:lnTo>
                <a:lnTo>
                  <a:pt x="871" y="1148"/>
                </a:lnTo>
                <a:lnTo>
                  <a:pt x="884" y="1171"/>
                </a:lnTo>
                <a:lnTo>
                  <a:pt x="886" y="1186"/>
                </a:lnTo>
                <a:lnTo>
                  <a:pt x="890" y="1193"/>
                </a:lnTo>
                <a:lnTo>
                  <a:pt x="882" y="1193"/>
                </a:lnTo>
                <a:lnTo>
                  <a:pt x="888" y="1203"/>
                </a:lnTo>
                <a:lnTo>
                  <a:pt x="893" y="1195"/>
                </a:lnTo>
                <a:lnTo>
                  <a:pt x="893" y="1203"/>
                </a:lnTo>
                <a:lnTo>
                  <a:pt x="899" y="1195"/>
                </a:lnTo>
                <a:lnTo>
                  <a:pt x="901" y="1203"/>
                </a:lnTo>
                <a:lnTo>
                  <a:pt x="897" y="1206"/>
                </a:lnTo>
                <a:lnTo>
                  <a:pt x="880" y="1210"/>
                </a:lnTo>
                <a:lnTo>
                  <a:pt x="880" y="1216"/>
                </a:lnTo>
                <a:lnTo>
                  <a:pt x="873" y="1216"/>
                </a:lnTo>
                <a:lnTo>
                  <a:pt x="865" y="1212"/>
                </a:lnTo>
                <a:lnTo>
                  <a:pt x="863" y="1212"/>
                </a:lnTo>
                <a:lnTo>
                  <a:pt x="850" y="1197"/>
                </a:lnTo>
                <a:lnTo>
                  <a:pt x="844" y="1197"/>
                </a:lnTo>
                <a:lnTo>
                  <a:pt x="835" y="1193"/>
                </a:lnTo>
                <a:lnTo>
                  <a:pt x="820" y="1193"/>
                </a:lnTo>
                <a:lnTo>
                  <a:pt x="790" y="1191"/>
                </a:lnTo>
                <a:lnTo>
                  <a:pt x="784" y="1189"/>
                </a:lnTo>
                <a:lnTo>
                  <a:pt x="771" y="1176"/>
                </a:lnTo>
                <a:lnTo>
                  <a:pt x="763" y="1174"/>
                </a:lnTo>
                <a:lnTo>
                  <a:pt x="756" y="1171"/>
                </a:lnTo>
                <a:lnTo>
                  <a:pt x="748" y="1171"/>
                </a:lnTo>
                <a:lnTo>
                  <a:pt x="743" y="1169"/>
                </a:lnTo>
                <a:lnTo>
                  <a:pt x="739" y="1163"/>
                </a:lnTo>
                <a:lnTo>
                  <a:pt x="733" y="1157"/>
                </a:lnTo>
                <a:lnTo>
                  <a:pt x="729" y="1159"/>
                </a:lnTo>
                <a:lnTo>
                  <a:pt x="720" y="1154"/>
                </a:lnTo>
                <a:lnTo>
                  <a:pt x="707" y="1154"/>
                </a:lnTo>
                <a:lnTo>
                  <a:pt x="703" y="1152"/>
                </a:lnTo>
                <a:lnTo>
                  <a:pt x="703" y="1144"/>
                </a:lnTo>
                <a:lnTo>
                  <a:pt x="697" y="1137"/>
                </a:lnTo>
                <a:lnTo>
                  <a:pt x="695" y="1123"/>
                </a:lnTo>
                <a:lnTo>
                  <a:pt x="688" y="1108"/>
                </a:lnTo>
                <a:lnTo>
                  <a:pt x="684" y="1099"/>
                </a:lnTo>
                <a:lnTo>
                  <a:pt x="675" y="1086"/>
                </a:lnTo>
                <a:lnTo>
                  <a:pt x="669" y="1078"/>
                </a:lnTo>
                <a:lnTo>
                  <a:pt x="669" y="1071"/>
                </a:lnTo>
                <a:lnTo>
                  <a:pt x="671" y="1065"/>
                </a:lnTo>
                <a:lnTo>
                  <a:pt x="671" y="1056"/>
                </a:lnTo>
                <a:lnTo>
                  <a:pt x="663" y="1052"/>
                </a:lnTo>
                <a:lnTo>
                  <a:pt x="667" y="1044"/>
                </a:lnTo>
                <a:lnTo>
                  <a:pt x="667" y="1035"/>
                </a:lnTo>
                <a:lnTo>
                  <a:pt x="665" y="1029"/>
                </a:lnTo>
                <a:lnTo>
                  <a:pt x="665" y="1022"/>
                </a:lnTo>
                <a:lnTo>
                  <a:pt x="663" y="1018"/>
                </a:lnTo>
                <a:lnTo>
                  <a:pt x="656" y="1014"/>
                </a:lnTo>
                <a:lnTo>
                  <a:pt x="643" y="1010"/>
                </a:lnTo>
                <a:lnTo>
                  <a:pt x="631" y="990"/>
                </a:lnTo>
                <a:lnTo>
                  <a:pt x="629" y="984"/>
                </a:lnTo>
                <a:lnTo>
                  <a:pt x="624" y="976"/>
                </a:lnTo>
                <a:lnTo>
                  <a:pt x="618" y="971"/>
                </a:lnTo>
                <a:lnTo>
                  <a:pt x="616" y="965"/>
                </a:lnTo>
                <a:lnTo>
                  <a:pt x="609" y="954"/>
                </a:lnTo>
                <a:lnTo>
                  <a:pt x="601" y="950"/>
                </a:lnTo>
                <a:lnTo>
                  <a:pt x="594" y="946"/>
                </a:lnTo>
                <a:lnTo>
                  <a:pt x="588" y="931"/>
                </a:lnTo>
                <a:lnTo>
                  <a:pt x="584" y="916"/>
                </a:lnTo>
                <a:lnTo>
                  <a:pt x="586" y="914"/>
                </a:lnTo>
                <a:lnTo>
                  <a:pt x="580" y="905"/>
                </a:lnTo>
                <a:lnTo>
                  <a:pt x="575" y="899"/>
                </a:lnTo>
                <a:lnTo>
                  <a:pt x="571" y="892"/>
                </a:lnTo>
                <a:lnTo>
                  <a:pt x="571" y="890"/>
                </a:lnTo>
                <a:lnTo>
                  <a:pt x="569" y="884"/>
                </a:lnTo>
                <a:lnTo>
                  <a:pt x="560" y="867"/>
                </a:lnTo>
                <a:lnTo>
                  <a:pt x="556" y="850"/>
                </a:lnTo>
                <a:lnTo>
                  <a:pt x="550" y="841"/>
                </a:lnTo>
                <a:lnTo>
                  <a:pt x="541" y="826"/>
                </a:lnTo>
                <a:lnTo>
                  <a:pt x="522" y="812"/>
                </a:lnTo>
                <a:lnTo>
                  <a:pt x="520" y="805"/>
                </a:lnTo>
                <a:lnTo>
                  <a:pt x="514" y="801"/>
                </a:lnTo>
                <a:lnTo>
                  <a:pt x="505" y="797"/>
                </a:lnTo>
                <a:lnTo>
                  <a:pt x="503" y="788"/>
                </a:lnTo>
                <a:lnTo>
                  <a:pt x="496" y="790"/>
                </a:lnTo>
                <a:lnTo>
                  <a:pt x="494" y="784"/>
                </a:lnTo>
                <a:lnTo>
                  <a:pt x="490" y="777"/>
                </a:lnTo>
                <a:lnTo>
                  <a:pt x="486" y="771"/>
                </a:lnTo>
                <a:lnTo>
                  <a:pt x="479" y="767"/>
                </a:lnTo>
                <a:lnTo>
                  <a:pt x="473" y="763"/>
                </a:lnTo>
                <a:lnTo>
                  <a:pt x="465" y="767"/>
                </a:lnTo>
                <a:lnTo>
                  <a:pt x="445" y="763"/>
                </a:lnTo>
                <a:lnTo>
                  <a:pt x="439" y="763"/>
                </a:lnTo>
                <a:lnTo>
                  <a:pt x="430" y="760"/>
                </a:lnTo>
                <a:lnTo>
                  <a:pt x="424" y="763"/>
                </a:lnTo>
                <a:lnTo>
                  <a:pt x="416" y="760"/>
                </a:lnTo>
                <a:lnTo>
                  <a:pt x="405" y="754"/>
                </a:lnTo>
                <a:lnTo>
                  <a:pt x="396" y="754"/>
                </a:lnTo>
                <a:lnTo>
                  <a:pt x="392" y="760"/>
                </a:lnTo>
                <a:lnTo>
                  <a:pt x="386" y="763"/>
                </a:lnTo>
                <a:lnTo>
                  <a:pt x="379" y="763"/>
                </a:lnTo>
                <a:lnTo>
                  <a:pt x="371" y="765"/>
                </a:lnTo>
                <a:lnTo>
                  <a:pt x="364" y="767"/>
                </a:lnTo>
                <a:lnTo>
                  <a:pt x="360" y="769"/>
                </a:lnTo>
                <a:lnTo>
                  <a:pt x="356" y="777"/>
                </a:lnTo>
                <a:lnTo>
                  <a:pt x="343" y="807"/>
                </a:lnTo>
                <a:lnTo>
                  <a:pt x="339" y="809"/>
                </a:lnTo>
                <a:lnTo>
                  <a:pt x="337" y="818"/>
                </a:lnTo>
                <a:lnTo>
                  <a:pt x="335" y="824"/>
                </a:lnTo>
                <a:lnTo>
                  <a:pt x="328" y="826"/>
                </a:lnTo>
                <a:lnTo>
                  <a:pt x="324" y="835"/>
                </a:lnTo>
                <a:lnTo>
                  <a:pt x="315" y="839"/>
                </a:lnTo>
                <a:lnTo>
                  <a:pt x="313" y="846"/>
                </a:lnTo>
                <a:lnTo>
                  <a:pt x="303" y="846"/>
                </a:lnTo>
                <a:lnTo>
                  <a:pt x="296" y="843"/>
                </a:lnTo>
                <a:lnTo>
                  <a:pt x="294" y="841"/>
                </a:lnTo>
                <a:lnTo>
                  <a:pt x="288" y="841"/>
                </a:lnTo>
                <a:lnTo>
                  <a:pt x="281" y="835"/>
                </a:lnTo>
                <a:lnTo>
                  <a:pt x="273" y="826"/>
                </a:lnTo>
                <a:lnTo>
                  <a:pt x="254" y="818"/>
                </a:lnTo>
                <a:lnTo>
                  <a:pt x="252" y="812"/>
                </a:lnTo>
                <a:lnTo>
                  <a:pt x="237" y="807"/>
                </a:lnTo>
                <a:lnTo>
                  <a:pt x="230" y="805"/>
                </a:lnTo>
                <a:lnTo>
                  <a:pt x="213" y="790"/>
                </a:lnTo>
                <a:lnTo>
                  <a:pt x="207" y="782"/>
                </a:lnTo>
                <a:lnTo>
                  <a:pt x="201" y="777"/>
                </a:lnTo>
                <a:lnTo>
                  <a:pt x="194" y="775"/>
                </a:lnTo>
                <a:lnTo>
                  <a:pt x="183" y="765"/>
                </a:lnTo>
                <a:lnTo>
                  <a:pt x="169" y="728"/>
                </a:lnTo>
                <a:lnTo>
                  <a:pt x="169" y="716"/>
                </a:lnTo>
                <a:lnTo>
                  <a:pt x="171" y="707"/>
                </a:lnTo>
                <a:lnTo>
                  <a:pt x="171" y="701"/>
                </a:lnTo>
                <a:lnTo>
                  <a:pt x="166" y="694"/>
                </a:lnTo>
                <a:lnTo>
                  <a:pt x="160" y="679"/>
                </a:lnTo>
                <a:lnTo>
                  <a:pt x="156" y="677"/>
                </a:lnTo>
                <a:lnTo>
                  <a:pt x="154" y="662"/>
                </a:lnTo>
                <a:lnTo>
                  <a:pt x="152" y="654"/>
                </a:lnTo>
                <a:lnTo>
                  <a:pt x="147" y="652"/>
                </a:lnTo>
                <a:lnTo>
                  <a:pt x="145" y="645"/>
                </a:lnTo>
                <a:lnTo>
                  <a:pt x="139" y="641"/>
                </a:lnTo>
                <a:lnTo>
                  <a:pt x="124" y="628"/>
                </a:lnTo>
                <a:lnTo>
                  <a:pt x="117" y="624"/>
                </a:lnTo>
                <a:lnTo>
                  <a:pt x="109" y="620"/>
                </a:lnTo>
                <a:lnTo>
                  <a:pt x="96" y="605"/>
                </a:lnTo>
                <a:lnTo>
                  <a:pt x="92" y="596"/>
                </a:lnTo>
                <a:lnTo>
                  <a:pt x="79" y="584"/>
                </a:lnTo>
                <a:lnTo>
                  <a:pt x="64" y="564"/>
                </a:lnTo>
                <a:lnTo>
                  <a:pt x="58" y="558"/>
                </a:lnTo>
                <a:lnTo>
                  <a:pt x="45" y="550"/>
                </a:lnTo>
                <a:lnTo>
                  <a:pt x="37" y="545"/>
                </a:lnTo>
                <a:lnTo>
                  <a:pt x="30" y="530"/>
                </a:lnTo>
                <a:lnTo>
                  <a:pt x="30" y="524"/>
                </a:lnTo>
                <a:lnTo>
                  <a:pt x="26" y="518"/>
                </a:lnTo>
                <a:lnTo>
                  <a:pt x="20" y="511"/>
                </a:lnTo>
                <a:lnTo>
                  <a:pt x="15" y="511"/>
                </a:lnTo>
                <a:lnTo>
                  <a:pt x="15" y="509"/>
                </a:lnTo>
                <a:lnTo>
                  <a:pt x="9" y="507"/>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419" name="Freeform 825"/>
          <p:cNvSpPr>
            <a:spLocks/>
          </p:cNvSpPr>
          <p:nvPr/>
        </p:nvSpPr>
        <p:spPr bwMode="auto">
          <a:xfrm>
            <a:off x="2795587" y="3940296"/>
            <a:ext cx="1981200" cy="1930400"/>
          </a:xfrm>
          <a:custGeom>
            <a:avLst/>
            <a:gdLst>
              <a:gd name="T0" fmla="*/ 164 w 1248"/>
              <a:gd name="T1" fmla="*/ 496 h 1216"/>
              <a:gd name="T2" fmla="*/ 373 w 1248"/>
              <a:gd name="T3" fmla="*/ 11 h 1216"/>
              <a:gd name="T4" fmla="*/ 648 w 1248"/>
              <a:gd name="T5" fmla="*/ 17 h 1216"/>
              <a:gd name="T6" fmla="*/ 682 w 1248"/>
              <a:gd name="T7" fmla="*/ 251 h 1216"/>
              <a:gd name="T8" fmla="*/ 714 w 1248"/>
              <a:gd name="T9" fmla="*/ 266 h 1216"/>
              <a:gd name="T10" fmla="*/ 763 w 1248"/>
              <a:gd name="T11" fmla="*/ 283 h 1216"/>
              <a:gd name="T12" fmla="*/ 816 w 1248"/>
              <a:gd name="T13" fmla="*/ 285 h 1216"/>
              <a:gd name="T14" fmla="*/ 841 w 1248"/>
              <a:gd name="T15" fmla="*/ 313 h 1216"/>
              <a:gd name="T16" fmla="*/ 893 w 1248"/>
              <a:gd name="T17" fmla="*/ 315 h 1216"/>
              <a:gd name="T18" fmla="*/ 916 w 1248"/>
              <a:gd name="T19" fmla="*/ 313 h 1216"/>
              <a:gd name="T20" fmla="*/ 952 w 1248"/>
              <a:gd name="T21" fmla="*/ 313 h 1216"/>
              <a:gd name="T22" fmla="*/ 999 w 1248"/>
              <a:gd name="T23" fmla="*/ 317 h 1216"/>
              <a:gd name="T24" fmla="*/ 1057 w 1248"/>
              <a:gd name="T25" fmla="*/ 313 h 1216"/>
              <a:gd name="T26" fmla="*/ 1114 w 1248"/>
              <a:gd name="T27" fmla="*/ 326 h 1216"/>
              <a:gd name="T28" fmla="*/ 1167 w 1248"/>
              <a:gd name="T29" fmla="*/ 343 h 1216"/>
              <a:gd name="T30" fmla="*/ 1218 w 1248"/>
              <a:gd name="T31" fmla="*/ 567 h 1216"/>
              <a:gd name="T32" fmla="*/ 1248 w 1248"/>
              <a:gd name="T33" fmla="*/ 613 h 1216"/>
              <a:gd name="T34" fmla="*/ 1242 w 1248"/>
              <a:gd name="T35" fmla="*/ 660 h 1216"/>
              <a:gd name="T36" fmla="*/ 1235 w 1248"/>
              <a:gd name="T37" fmla="*/ 731 h 1216"/>
              <a:gd name="T38" fmla="*/ 1201 w 1248"/>
              <a:gd name="T39" fmla="*/ 786 h 1216"/>
              <a:gd name="T40" fmla="*/ 1137 w 1248"/>
              <a:gd name="T41" fmla="*/ 814 h 1216"/>
              <a:gd name="T42" fmla="*/ 1137 w 1248"/>
              <a:gd name="T43" fmla="*/ 777 h 1216"/>
              <a:gd name="T44" fmla="*/ 1110 w 1248"/>
              <a:gd name="T45" fmla="*/ 799 h 1216"/>
              <a:gd name="T46" fmla="*/ 1097 w 1248"/>
              <a:gd name="T47" fmla="*/ 846 h 1216"/>
              <a:gd name="T48" fmla="*/ 1022 w 1248"/>
              <a:gd name="T49" fmla="*/ 899 h 1216"/>
              <a:gd name="T50" fmla="*/ 995 w 1248"/>
              <a:gd name="T51" fmla="*/ 920 h 1216"/>
              <a:gd name="T52" fmla="*/ 982 w 1248"/>
              <a:gd name="T53" fmla="*/ 905 h 1216"/>
              <a:gd name="T54" fmla="*/ 956 w 1248"/>
              <a:gd name="T55" fmla="*/ 897 h 1216"/>
              <a:gd name="T56" fmla="*/ 973 w 1248"/>
              <a:gd name="T57" fmla="*/ 929 h 1216"/>
              <a:gd name="T58" fmla="*/ 937 w 1248"/>
              <a:gd name="T59" fmla="*/ 948 h 1216"/>
              <a:gd name="T60" fmla="*/ 912 w 1248"/>
              <a:gd name="T61" fmla="*/ 956 h 1216"/>
              <a:gd name="T62" fmla="*/ 914 w 1248"/>
              <a:gd name="T63" fmla="*/ 965 h 1216"/>
              <a:gd name="T64" fmla="*/ 869 w 1248"/>
              <a:gd name="T65" fmla="*/ 997 h 1216"/>
              <a:gd name="T66" fmla="*/ 863 w 1248"/>
              <a:gd name="T67" fmla="*/ 1056 h 1216"/>
              <a:gd name="T68" fmla="*/ 841 w 1248"/>
              <a:gd name="T69" fmla="*/ 1046 h 1216"/>
              <a:gd name="T70" fmla="*/ 867 w 1248"/>
              <a:gd name="T71" fmla="*/ 1080 h 1216"/>
              <a:gd name="T72" fmla="*/ 867 w 1248"/>
              <a:gd name="T73" fmla="*/ 1114 h 1216"/>
              <a:gd name="T74" fmla="*/ 888 w 1248"/>
              <a:gd name="T75" fmla="*/ 1203 h 1216"/>
              <a:gd name="T76" fmla="*/ 880 w 1248"/>
              <a:gd name="T77" fmla="*/ 1216 h 1216"/>
              <a:gd name="T78" fmla="*/ 820 w 1248"/>
              <a:gd name="T79" fmla="*/ 1193 h 1216"/>
              <a:gd name="T80" fmla="*/ 743 w 1248"/>
              <a:gd name="T81" fmla="*/ 1169 h 1216"/>
              <a:gd name="T82" fmla="*/ 703 w 1248"/>
              <a:gd name="T83" fmla="*/ 1144 h 1216"/>
              <a:gd name="T84" fmla="*/ 669 w 1248"/>
              <a:gd name="T85" fmla="*/ 1071 h 1216"/>
              <a:gd name="T86" fmla="*/ 665 w 1248"/>
              <a:gd name="T87" fmla="*/ 1022 h 1216"/>
              <a:gd name="T88" fmla="*/ 618 w 1248"/>
              <a:gd name="T89" fmla="*/ 971 h 1216"/>
              <a:gd name="T90" fmla="*/ 586 w 1248"/>
              <a:gd name="T91" fmla="*/ 914 h 1216"/>
              <a:gd name="T92" fmla="*/ 556 w 1248"/>
              <a:gd name="T93" fmla="*/ 850 h 1216"/>
              <a:gd name="T94" fmla="*/ 503 w 1248"/>
              <a:gd name="T95" fmla="*/ 788 h 1216"/>
              <a:gd name="T96" fmla="*/ 465 w 1248"/>
              <a:gd name="T97" fmla="*/ 767 h 1216"/>
              <a:gd name="T98" fmla="*/ 396 w 1248"/>
              <a:gd name="T99" fmla="*/ 754 h 1216"/>
              <a:gd name="T100" fmla="*/ 356 w 1248"/>
              <a:gd name="T101" fmla="*/ 777 h 1216"/>
              <a:gd name="T102" fmla="*/ 315 w 1248"/>
              <a:gd name="T103" fmla="*/ 839 h 1216"/>
              <a:gd name="T104" fmla="*/ 273 w 1248"/>
              <a:gd name="T105" fmla="*/ 826 h 1216"/>
              <a:gd name="T106" fmla="*/ 201 w 1248"/>
              <a:gd name="T107" fmla="*/ 777 h 1216"/>
              <a:gd name="T108" fmla="*/ 166 w 1248"/>
              <a:gd name="T109" fmla="*/ 694 h 1216"/>
              <a:gd name="T110" fmla="*/ 139 w 1248"/>
              <a:gd name="T111" fmla="*/ 641 h 1216"/>
              <a:gd name="T112" fmla="*/ 64 w 1248"/>
              <a:gd name="T113" fmla="*/ 564 h 1216"/>
              <a:gd name="T114" fmla="*/ 20 w 1248"/>
              <a:gd name="T115" fmla="*/ 511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248" h="1216">
                <a:moveTo>
                  <a:pt x="9" y="507"/>
                </a:moveTo>
                <a:lnTo>
                  <a:pt x="9" y="503"/>
                </a:lnTo>
                <a:lnTo>
                  <a:pt x="5" y="498"/>
                </a:lnTo>
                <a:lnTo>
                  <a:pt x="0" y="484"/>
                </a:lnTo>
                <a:lnTo>
                  <a:pt x="0" y="481"/>
                </a:lnTo>
                <a:lnTo>
                  <a:pt x="73" y="488"/>
                </a:lnTo>
                <a:lnTo>
                  <a:pt x="164" y="496"/>
                </a:lnTo>
                <a:lnTo>
                  <a:pt x="247" y="503"/>
                </a:lnTo>
                <a:lnTo>
                  <a:pt x="330" y="509"/>
                </a:lnTo>
                <a:lnTo>
                  <a:pt x="335" y="509"/>
                </a:lnTo>
                <a:lnTo>
                  <a:pt x="341" y="501"/>
                </a:lnTo>
                <a:lnTo>
                  <a:pt x="347" y="383"/>
                </a:lnTo>
                <a:lnTo>
                  <a:pt x="356" y="281"/>
                </a:lnTo>
                <a:lnTo>
                  <a:pt x="373" y="11"/>
                </a:lnTo>
                <a:lnTo>
                  <a:pt x="375" y="2"/>
                </a:lnTo>
                <a:lnTo>
                  <a:pt x="379" y="0"/>
                </a:lnTo>
                <a:lnTo>
                  <a:pt x="501" y="9"/>
                </a:lnTo>
                <a:lnTo>
                  <a:pt x="594" y="13"/>
                </a:lnTo>
                <a:lnTo>
                  <a:pt x="631" y="13"/>
                </a:lnTo>
                <a:lnTo>
                  <a:pt x="639" y="13"/>
                </a:lnTo>
                <a:lnTo>
                  <a:pt x="648" y="17"/>
                </a:lnTo>
                <a:lnTo>
                  <a:pt x="641" y="219"/>
                </a:lnTo>
                <a:lnTo>
                  <a:pt x="639" y="230"/>
                </a:lnTo>
                <a:lnTo>
                  <a:pt x="648" y="232"/>
                </a:lnTo>
                <a:lnTo>
                  <a:pt x="654" y="236"/>
                </a:lnTo>
                <a:lnTo>
                  <a:pt x="667" y="251"/>
                </a:lnTo>
                <a:lnTo>
                  <a:pt x="673" y="256"/>
                </a:lnTo>
                <a:lnTo>
                  <a:pt x="682" y="251"/>
                </a:lnTo>
                <a:lnTo>
                  <a:pt x="688" y="254"/>
                </a:lnTo>
                <a:lnTo>
                  <a:pt x="695" y="254"/>
                </a:lnTo>
                <a:lnTo>
                  <a:pt x="699" y="245"/>
                </a:lnTo>
                <a:lnTo>
                  <a:pt x="701" y="249"/>
                </a:lnTo>
                <a:lnTo>
                  <a:pt x="707" y="254"/>
                </a:lnTo>
                <a:lnTo>
                  <a:pt x="714" y="260"/>
                </a:lnTo>
                <a:lnTo>
                  <a:pt x="714" y="266"/>
                </a:lnTo>
                <a:lnTo>
                  <a:pt x="714" y="275"/>
                </a:lnTo>
                <a:lnTo>
                  <a:pt x="722" y="275"/>
                </a:lnTo>
                <a:lnTo>
                  <a:pt x="726" y="277"/>
                </a:lnTo>
                <a:lnTo>
                  <a:pt x="733" y="275"/>
                </a:lnTo>
                <a:lnTo>
                  <a:pt x="741" y="279"/>
                </a:lnTo>
                <a:lnTo>
                  <a:pt x="754" y="283"/>
                </a:lnTo>
                <a:lnTo>
                  <a:pt x="763" y="283"/>
                </a:lnTo>
                <a:lnTo>
                  <a:pt x="769" y="283"/>
                </a:lnTo>
                <a:lnTo>
                  <a:pt x="773" y="288"/>
                </a:lnTo>
                <a:lnTo>
                  <a:pt x="778" y="292"/>
                </a:lnTo>
                <a:lnTo>
                  <a:pt x="786" y="290"/>
                </a:lnTo>
                <a:lnTo>
                  <a:pt x="792" y="285"/>
                </a:lnTo>
                <a:lnTo>
                  <a:pt x="807" y="285"/>
                </a:lnTo>
                <a:lnTo>
                  <a:pt x="816" y="285"/>
                </a:lnTo>
                <a:lnTo>
                  <a:pt x="814" y="292"/>
                </a:lnTo>
                <a:lnTo>
                  <a:pt x="818" y="300"/>
                </a:lnTo>
                <a:lnTo>
                  <a:pt x="827" y="300"/>
                </a:lnTo>
                <a:lnTo>
                  <a:pt x="829" y="305"/>
                </a:lnTo>
                <a:lnTo>
                  <a:pt x="829" y="315"/>
                </a:lnTo>
                <a:lnTo>
                  <a:pt x="835" y="317"/>
                </a:lnTo>
                <a:lnTo>
                  <a:pt x="841" y="313"/>
                </a:lnTo>
                <a:lnTo>
                  <a:pt x="854" y="303"/>
                </a:lnTo>
                <a:lnTo>
                  <a:pt x="861" y="305"/>
                </a:lnTo>
                <a:lnTo>
                  <a:pt x="863" y="313"/>
                </a:lnTo>
                <a:lnTo>
                  <a:pt x="871" y="313"/>
                </a:lnTo>
                <a:lnTo>
                  <a:pt x="873" y="320"/>
                </a:lnTo>
                <a:lnTo>
                  <a:pt x="880" y="320"/>
                </a:lnTo>
                <a:lnTo>
                  <a:pt x="893" y="315"/>
                </a:lnTo>
                <a:lnTo>
                  <a:pt x="899" y="315"/>
                </a:lnTo>
                <a:lnTo>
                  <a:pt x="897" y="322"/>
                </a:lnTo>
                <a:lnTo>
                  <a:pt x="899" y="330"/>
                </a:lnTo>
                <a:lnTo>
                  <a:pt x="901" y="332"/>
                </a:lnTo>
                <a:lnTo>
                  <a:pt x="905" y="330"/>
                </a:lnTo>
                <a:lnTo>
                  <a:pt x="910" y="317"/>
                </a:lnTo>
                <a:lnTo>
                  <a:pt x="916" y="313"/>
                </a:lnTo>
                <a:lnTo>
                  <a:pt x="918" y="307"/>
                </a:lnTo>
                <a:lnTo>
                  <a:pt x="920" y="307"/>
                </a:lnTo>
                <a:lnTo>
                  <a:pt x="927" y="309"/>
                </a:lnTo>
                <a:lnTo>
                  <a:pt x="933" y="315"/>
                </a:lnTo>
                <a:lnTo>
                  <a:pt x="939" y="317"/>
                </a:lnTo>
                <a:lnTo>
                  <a:pt x="946" y="313"/>
                </a:lnTo>
                <a:lnTo>
                  <a:pt x="952" y="313"/>
                </a:lnTo>
                <a:lnTo>
                  <a:pt x="959" y="322"/>
                </a:lnTo>
                <a:lnTo>
                  <a:pt x="965" y="326"/>
                </a:lnTo>
                <a:lnTo>
                  <a:pt x="973" y="328"/>
                </a:lnTo>
                <a:lnTo>
                  <a:pt x="980" y="334"/>
                </a:lnTo>
                <a:lnTo>
                  <a:pt x="982" y="328"/>
                </a:lnTo>
                <a:lnTo>
                  <a:pt x="990" y="328"/>
                </a:lnTo>
                <a:lnTo>
                  <a:pt x="999" y="317"/>
                </a:lnTo>
                <a:lnTo>
                  <a:pt x="1008" y="317"/>
                </a:lnTo>
                <a:lnTo>
                  <a:pt x="1014" y="313"/>
                </a:lnTo>
                <a:lnTo>
                  <a:pt x="1020" y="317"/>
                </a:lnTo>
                <a:lnTo>
                  <a:pt x="1029" y="317"/>
                </a:lnTo>
                <a:lnTo>
                  <a:pt x="1035" y="313"/>
                </a:lnTo>
                <a:lnTo>
                  <a:pt x="1048" y="307"/>
                </a:lnTo>
                <a:lnTo>
                  <a:pt x="1057" y="313"/>
                </a:lnTo>
                <a:lnTo>
                  <a:pt x="1061" y="315"/>
                </a:lnTo>
                <a:lnTo>
                  <a:pt x="1069" y="315"/>
                </a:lnTo>
                <a:lnTo>
                  <a:pt x="1074" y="313"/>
                </a:lnTo>
                <a:lnTo>
                  <a:pt x="1078" y="305"/>
                </a:lnTo>
                <a:lnTo>
                  <a:pt x="1084" y="305"/>
                </a:lnTo>
                <a:lnTo>
                  <a:pt x="1101" y="315"/>
                </a:lnTo>
                <a:lnTo>
                  <a:pt x="1114" y="326"/>
                </a:lnTo>
                <a:lnTo>
                  <a:pt x="1123" y="328"/>
                </a:lnTo>
                <a:lnTo>
                  <a:pt x="1129" y="334"/>
                </a:lnTo>
                <a:lnTo>
                  <a:pt x="1150" y="339"/>
                </a:lnTo>
                <a:lnTo>
                  <a:pt x="1152" y="341"/>
                </a:lnTo>
                <a:lnTo>
                  <a:pt x="1152" y="343"/>
                </a:lnTo>
                <a:lnTo>
                  <a:pt x="1161" y="349"/>
                </a:lnTo>
                <a:lnTo>
                  <a:pt x="1167" y="343"/>
                </a:lnTo>
                <a:lnTo>
                  <a:pt x="1191" y="347"/>
                </a:lnTo>
                <a:lnTo>
                  <a:pt x="1193" y="409"/>
                </a:lnTo>
                <a:lnTo>
                  <a:pt x="1195" y="524"/>
                </a:lnTo>
                <a:lnTo>
                  <a:pt x="1208" y="535"/>
                </a:lnTo>
                <a:lnTo>
                  <a:pt x="1214" y="541"/>
                </a:lnTo>
                <a:lnTo>
                  <a:pt x="1218" y="556"/>
                </a:lnTo>
                <a:lnTo>
                  <a:pt x="1218" y="567"/>
                </a:lnTo>
                <a:lnTo>
                  <a:pt x="1223" y="573"/>
                </a:lnTo>
                <a:lnTo>
                  <a:pt x="1227" y="582"/>
                </a:lnTo>
                <a:lnTo>
                  <a:pt x="1229" y="584"/>
                </a:lnTo>
                <a:lnTo>
                  <a:pt x="1233" y="590"/>
                </a:lnTo>
                <a:lnTo>
                  <a:pt x="1233" y="596"/>
                </a:lnTo>
                <a:lnTo>
                  <a:pt x="1244" y="611"/>
                </a:lnTo>
                <a:lnTo>
                  <a:pt x="1248" y="613"/>
                </a:lnTo>
                <a:lnTo>
                  <a:pt x="1246" y="620"/>
                </a:lnTo>
                <a:lnTo>
                  <a:pt x="1248" y="626"/>
                </a:lnTo>
                <a:lnTo>
                  <a:pt x="1246" y="633"/>
                </a:lnTo>
                <a:lnTo>
                  <a:pt x="1248" y="639"/>
                </a:lnTo>
                <a:lnTo>
                  <a:pt x="1246" y="645"/>
                </a:lnTo>
                <a:lnTo>
                  <a:pt x="1246" y="654"/>
                </a:lnTo>
                <a:lnTo>
                  <a:pt x="1242" y="660"/>
                </a:lnTo>
                <a:lnTo>
                  <a:pt x="1242" y="669"/>
                </a:lnTo>
                <a:lnTo>
                  <a:pt x="1235" y="675"/>
                </a:lnTo>
                <a:lnTo>
                  <a:pt x="1231" y="684"/>
                </a:lnTo>
                <a:lnTo>
                  <a:pt x="1233" y="697"/>
                </a:lnTo>
                <a:lnTo>
                  <a:pt x="1229" y="705"/>
                </a:lnTo>
                <a:lnTo>
                  <a:pt x="1233" y="714"/>
                </a:lnTo>
                <a:lnTo>
                  <a:pt x="1235" y="731"/>
                </a:lnTo>
                <a:lnTo>
                  <a:pt x="1233" y="739"/>
                </a:lnTo>
                <a:lnTo>
                  <a:pt x="1227" y="748"/>
                </a:lnTo>
                <a:lnTo>
                  <a:pt x="1227" y="748"/>
                </a:lnTo>
                <a:lnTo>
                  <a:pt x="1220" y="754"/>
                </a:lnTo>
                <a:lnTo>
                  <a:pt x="1212" y="767"/>
                </a:lnTo>
                <a:lnTo>
                  <a:pt x="1223" y="784"/>
                </a:lnTo>
                <a:lnTo>
                  <a:pt x="1201" y="786"/>
                </a:lnTo>
                <a:lnTo>
                  <a:pt x="1178" y="797"/>
                </a:lnTo>
                <a:lnTo>
                  <a:pt x="1157" y="807"/>
                </a:lnTo>
                <a:lnTo>
                  <a:pt x="1150" y="809"/>
                </a:lnTo>
                <a:lnTo>
                  <a:pt x="1142" y="814"/>
                </a:lnTo>
                <a:lnTo>
                  <a:pt x="1135" y="822"/>
                </a:lnTo>
                <a:lnTo>
                  <a:pt x="1133" y="822"/>
                </a:lnTo>
                <a:lnTo>
                  <a:pt x="1137" y="814"/>
                </a:lnTo>
                <a:lnTo>
                  <a:pt x="1152" y="803"/>
                </a:lnTo>
                <a:lnTo>
                  <a:pt x="1161" y="801"/>
                </a:lnTo>
                <a:lnTo>
                  <a:pt x="1163" y="799"/>
                </a:lnTo>
                <a:lnTo>
                  <a:pt x="1148" y="799"/>
                </a:lnTo>
                <a:lnTo>
                  <a:pt x="1133" y="803"/>
                </a:lnTo>
                <a:lnTo>
                  <a:pt x="1137" y="788"/>
                </a:lnTo>
                <a:lnTo>
                  <a:pt x="1137" y="777"/>
                </a:lnTo>
                <a:lnTo>
                  <a:pt x="1131" y="775"/>
                </a:lnTo>
                <a:lnTo>
                  <a:pt x="1125" y="782"/>
                </a:lnTo>
                <a:lnTo>
                  <a:pt x="1120" y="788"/>
                </a:lnTo>
                <a:lnTo>
                  <a:pt x="1110" y="782"/>
                </a:lnTo>
                <a:lnTo>
                  <a:pt x="1105" y="786"/>
                </a:lnTo>
                <a:lnTo>
                  <a:pt x="1110" y="792"/>
                </a:lnTo>
                <a:lnTo>
                  <a:pt x="1110" y="799"/>
                </a:lnTo>
                <a:lnTo>
                  <a:pt x="1116" y="805"/>
                </a:lnTo>
                <a:lnTo>
                  <a:pt x="1116" y="816"/>
                </a:lnTo>
                <a:lnTo>
                  <a:pt x="1125" y="818"/>
                </a:lnTo>
                <a:lnTo>
                  <a:pt x="1120" y="826"/>
                </a:lnTo>
                <a:lnTo>
                  <a:pt x="1114" y="831"/>
                </a:lnTo>
                <a:lnTo>
                  <a:pt x="1108" y="837"/>
                </a:lnTo>
                <a:lnTo>
                  <a:pt x="1097" y="846"/>
                </a:lnTo>
                <a:lnTo>
                  <a:pt x="1095" y="858"/>
                </a:lnTo>
                <a:lnTo>
                  <a:pt x="1082" y="871"/>
                </a:lnTo>
                <a:lnTo>
                  <a:pt x="1074" y="878"/>
                </a:lnTo>
                <a:lnTo>
                  <a:pt x="1065" y="882"/>
                </a:lnTo>
                <a:lnTo>
                  <a:pt x="1050" y="892"/>
                </a:lnTo>
                <a:lnTo>
                  <a:pt x="1037" y="892"/>
                </a:lnTo>
                <a:lnTo>
                  <a:pt x="1022" y="899"/>
                </a:lnTo>
                <a:lnTo>
                  <a:pt x="1022" y="905"/>
                </a:lnTo>
                <a:lnTo>
                  <a:pt x="1031" y="901"/>
                </a:lnTo>
                <a:lnTo>
                  <a:pt x="1037" y="899"/>
                </a:lnTo>
                <a:lnTo>
                  <a:pt x="1029" y="905"/>
                </a:lnTo>
                <a:lnTo>
                  <a:pt x="1014" y="910"/>
                </a:lnTo>
                <a:lnTo>
                  <a:pt x="993" y="922"/>
                </a:lnTo>
                <a:lnTo>
                  <a:pt x="995" y="920"/>
                </a:lnTo>
                <a:lnTo>
                  <a:pt x="1010" y="912"/>
                </a:lnTo>
                <a:lnTo>
                  <a:pt x="1012" y="905"/>
                </a:lnTo>
                <a:lnTo>
                  <a:pt x="997" y="912"/>
                </a:lnTo>
                <a:lnTo>
                  <a:pt x="1001" y="905"/>
                </a:lnTo>
                <a:lnTo>
                  <a:pt x="993" y="907"/>
                </a:lnTo>
                <a:lnTo>
                  <a:pt x="990" y="899"/>
                </a:lnTo>
                <a:lnTo>
                  <a:pt x="982" y="905"/>
                </a:lnTo>
                <a:lnTo>
                  <a:pt x="976" y="901"/>
                </a:lnTo>
                <a:lnTo>
                  <a:pt x="971" y="892"/>
                </a:lnTo>
                <a:lnTo>
                  <a:pt x="971" y="895"/>
                </a:lnTo>
                <a:lnTo>
                  <a:pt x="978" y="907"/>
                </a:lnTo>
                <a:lnTo>
                  <a:pt x="969" y="912"/>
                </a:lnTo>
                <a:lnTo>
                  <a:pt x="959" y="901"/>
                </a:lnTo>
                <a:lnTo>
                  <a:pt x="956" y="897"/>
                </a:lnTo>
                <a:lnTo>
                  <a:pt x="950" y="897"/>
                </a:lnTo>
                <a:lnTo>
                  <a:pt x="956" y="912"/>
                </a:lnTo>
                <a:lnTo>
                  <a:pt x="965" y="916"/>
                </a:lnTo>
                <a:lnTo>
                  <a:pt x="961" y="924"/>
                </a:lnTo>
                <a:lnTo>
                  <a:pt x="967" y="922"/>
                </a:lnTo>
                <a:lnTo>
                  <a:pt x="976" y="927"/>
                </a:lnTo>
                <a:lnTo>
                  <a:pt x="973" y="929"/>
                </a:lnTo>
                <a:lnTo>
                  <a:pt x="952" y="941"/>
                </a:lnTo>
                <a:lnTo>
                  <a:pt x="946" y="937"/>
                </a:lnTo>
                <a:lnTo>
                  <a:pt x="935" y="924"/>
                </a:lnTo>
                <a:lnTo>
                  <a:pt x="937" y="927"/>
                </a:lnTo>
                <a:lnTo>
                  <a:pt x="933" y="935"/>
                </a:lnTo>
                <a:lnTo>
                  <a:pt x="937" y="941"/>
                </a:lnTo>
                <a:lnTo>
                  <a:pt x="937" y="948"/>
                </a:lnTo>
                <a:lnTo>
                  <a:pt x="929" y="959"/>
                </a:lnTo>
                <a:lnTo>
                  <a:pt x="922" y="963"/>
                </a:lnTo>
                <a:lnTo>
                  <a:pt x="924" y="954"/>
                </a:lnTo>
                <a:lnTo>
                  <a:pt x="922" y="948"/>
                </a:lnTo>
                <a:lnTo>
                  <a:pt x="922" y="954"/>
                </a:lnTo>
                <a:lnTo>
                  <a:pt x="914" y="963"/>
                </a:lnTo>
                <a:lnTo>
                  <a:pt x="912" y="956"/>
                </a:lnTo>
                <a:lnTo>
                  <a:pt x="905" y="961"/>
                </a:lnTo>
                <a:lnTo>
                  <a:pt x="897" y="959"/>
                </a:lnTo>
                <a:lnTo>
                  <a:pt x="899" y="963"/>
                </a:lnTo>
                <a:lnTo>
                  <a:pt x="895" y="969"/>
                </a:lnTo>
                <a:lnTo>
                  <a:pt x="903" y="976"/>
                </a:lnTo>
                <a:lnTo>
                  <a:pt x="905" y="969"/>
                </a:lnTo>
                <a:lnTo>
                  <a:pt x="914" y="965"/>
                </a:lnTo>
                <a:lnTo>
                  <a:pt x="914" y="971"/>
                </a:lnTo>
                <a:lnTo>
                  <a:pt x="910" y="978"/>
                </a:lnTo>
                <a:lnTo>
                  <a:pt x="895" y="997"/>
                </a:lnTo>
                <a:lnTo>
                  <a:pt x="888" y="990"/>
                </a:lnTo>
                <a:lnTo>
                  <a:pt x="873" y="993"/>
                </a:lnTo>
                <a:lnTo>
                  <a:pt x="865" y="995"/>
                </a:lnTo>
                <a:lnTo>
                  <a:pt x="869" y="997"/>
                </a:lnTo>
                <a:lnTo>
                  <a:pt x="876" y="995"/>
                </a:lnTo>
                <a:lnTo>
                  <a:pt x="876" y="1001"/>
                </a:lnTo>
                <a:lnTo>
                  <a:pt x="882" y="1007"/>
                </a:lnTo>
                <a:lnTo>
                  <a:pt x="886" y="1010"/>
                </a:lnTo>
                <a:lnTo>
                  <a:pt x="888" y="1016"/>
                </a:lnTo>
                <a:lnTo>
                  <a:pt x="873" y="1052"/>
                </a:lnTo>
                <a:lnTo>
                  <a:pt x="863" y="1056"/>
                </a:lnTo>
                <a:lnTo>
                  <a:pt x="869" y="1050"/>
                </a:lnTo>
                <a:lnTo>
                  <a:pt x="863" y="1048"/>
                </a:lnTo>
                <a:lnTo>
                  <a:pt x="858" y="1050"/>
                </a:lnTo>
                <a:lnTo>
                  <a:pt x="850" y="1050"/>
                </a:lnTo>
                <a:lnTo>
                  <a:pt x="846" y="1044"/>
                </a:lnTo>
                <a:lnTo>
                  <a:pt x="837" y="1037"/>
                </a:lnTo>
                <a:lnTo>
                  <a:pt x="841" y="1046"/>
                </a:lnTo>
                <a:lnTo>
                  <a:pt x="846" y="1050"/>
                </a:lnTo>
                <a:lnTo>
                  <a:pt x="844" y="1059"/>
                </a:lnTo>
                <a:lnTo>
                  <a:pt x="858" y="1063"/>
                </a:lnTo>
                <a:lnTo>
                  <a:pt x="873" y="1059"/>
                </a:lnTo>
                <a:lnTo>
                  <a:pt x="871" y="1065"/>
                </a:lnTo>
                <a:lnTo>
                  <a:pt x="871" y="1074"/>
                </a:lnTo>
                <a:lnTo>
                  <a:pt x="867" y="1080"/>
                </a:lnTo>
                <a:lnTo>
                  <a:pt x="867" y="1088"/>
                </a:lnTo>
                <a:lnTo>
                  <a:pt x="861" y="1088"/>
                </a:lnTo>
                <a:lnTo>
                  <a:pt x="858" y="1095"/>
                </a:lnTo>
                <a:lnTo>
                  <a:pt x="867" y="1103"/>
                </a:lnTo>
                <a:lnTo>
                  <a:pt x="861" y="1101"/>
                </a:lnTo>
                <a:lnTo>
                  <a:pt x="861" y="1108"/>
                </a:lnTo>
                <a:lnTo>
                  <a:pt x="867" y="1114"/>
                </a:lnTo>
                <a:lnTo>
                  <a:pt x="871" y="1140"/>
                </a:lnTo>
                <a:lnTo>
                  <a:pt x="871" y="1148"/>
                </a:lnTo>
                <a:lnTo>
                  <a:pt x="884" y="1171"/>
                </a:lnTo>
                <a:lnTo>
                  <a:pt x="886" y="1186"/>
                </a:lnTo>
                <a:lnTo>
                  <a:pt x="890" y="1193"/>
                </a:lnTo>
                <a:lnTo>
                  <a:pt x="882" y="1193"/>
                </a:lnTo>
                <a:lnTo>
                  <a:pt x="888" y="1203"/>
                </a:lnTo>
                <a:lnTo>
                  <a:pt x="893" y="1195"/>
                </a:lnTo>
                <a:lnTo>
                  <a:pt x="893" y="1203"/>
                </a:lnTo>
                <a:lnTo>
                  <a:pt x="899" y="1195"/>
                </a:lnTo>
                <a:lnTo>
                  <a:pt x="901" y="1203"/>
                </a:lnTo>
                <a:lnTo>
                  <a:pt x="897" y="1206"/>
                </a:lnTo>
                <a:lnTo>
                  <a:pt x="880" y="1210"/>
                </a:lnTo>
                <a:lnTo>
                  <a:pt x="880" y="1216"/>
                </a:lnTo>
                <a:lnTo>
                  <a:pt x="873" y="1216"/>
                </a:lnTo>
                <a:lnTo>
                  <a:pt x="865" y="1212"/>
                </a:lnTo>
                <a:lnTo>
                  <a:pt x="863" y="1212"/>
                </a:lnTo>
                <a:lnTo>
                  <a:pt x="850" y="1197"/>
                </a:lnTo>
                <a:lnTo>
                  <a:pt x="844" y="1197"/>
                </a:lnTo>
                <a:lnTo>
                  <a:pt x="835" y="1193"/>
                </a:lnTo>
                <a:lnTo>
                  <a:pt x="820" y="1193"/>
                </a:lnTo>
                <a:lnTo>
                  <a:pt x="790" y="1191"/>
                </a:lnTo>
                <a:lnTo>
                  <a:pt x="784" y="1189"/>
                </a:lnTo>
                <a:lnTo>
                  <a:pt x="771" y="1176"/>
                </a:lnTo>
                <a:lnTo>
                  <a:pt x="763" y="1174"/>
                </a:lnTo>
                <a:lnTo>
                  <a:pt x="756" y="1171"/>
                </a:lnTo>
                <a:lnTo>
                  <a:pt x="748" y="1171"/>
                </a:lnTo>
                <a:lnTo>
                  <a:pt x="743" y="1169"/>
                </a:lnTo>
                <a:lnTo>
                  <a:pt x="739" y="1163"/>
                </a:lnTo>
                <a:lnTo>
                  <a:pt x="733" y="1157"/>
                </a:lnTo>
                <a:lnTo>
                  <a:pt x="729" y="1159"/>
                </a:lnTo>
                <a:lnTo>
                  <a:pt x="720" y="1154"/>
                </a:lnTo>
                <a:lnTo>
                  <a:pt x="707" y="1154"/>
                </a:lnTo>
                <a:lnTo>
                  <a:pt x="703" y="1152"/>
                </a:lnTo>
                <a:lnTo>
                  <a:pt x="703" y="1144"/>
                </a:lnTo>
                <a:lnTo>
                  <a:pt x="697" y="1137"/>
                </a:lnTo>
                <a:lnTo>
                  <a:pt x="695" y="1123"/>
                </a:lnTo>
                <a:lnTo>
                  <a:pt x="688" y="1108"/>
                </a:lnTo>
                <a:lnTo>
                  <a:pt x="684" y="1099"/>
                </a:lnTo>
                <a:lnTo>
                  <a:pt x="675" y="1086"/>
                </a:lnTo>
                <a:lnTo>
                  <a:pt x="669" y="1078"/>
                </a:lnTo>
                <a:lnTo>
                  <a:pt x="669" y="1071"/>
                </a:lnTo>
                <a:lnTo>
                  <a:pt x="671" y="1065"/>
                </a:lnTo>
                <a:lnTo>
                  <a:pt x="671" y="1056"/>
                </a:lnTo>
                <a:lnTo>
                  <a:pt x="663" y="1052"/>
                </a:lnTo>
                <a:lnTo>
                  <a:pt x="667" y="1044"/>
                </a:lnTo>
                <a:lnTo>
                  <a:pt x="667" y="1035"/>
                </a:lnTo>
                <a:lnTo>
                  <a:pt x="665" y="1029"/>
                </a:lnTo>
                <a:lnTo>
                  <a:pt x="665" y="1022"/>
                </a:lnTo>
                <a:lnTo>
                  <a:pt x="663" y="1018"/>
                </a:lnTo>
                <a:lnTo>
                  <a:pt x="656" y="1014"/>
                </a:lnTo>
                <a:lnTo>
                  <a:pt x="643" y="1010"/>
                </a:lnTo>
                <a:lnTo>
                  <a:pt x="631" y="990"/>
                </a:lnTo>
                <a:lnTo>
                  <a:pt x="629" y="984"/>
                </a:lnTo>
                <a:lnTo>
                  <a:pt x="624" y="976"/>
                </a:lnTo>
                <a:lnTo>
                  <a:pt x="618" y="971"/>
                </a:lnTo>
                <a:lnTo>
                  <a:pt x="616" y="965"/>
                </a:lnTo>
                <a:lnTo>
                  <a:pt x="609" y="954"/>
                </a:lnTo>
                <a:lnTo>
                  <a:pt x="601" y="950"/>
                </a:lnTo>
                <a:lnTo>
                  <a:pt x="594" y="946"/>
                </a:lnTo>
                <a:lnTo>
                  <a:pt x="588" y="931"/>
                </a:lnTo>
                <a:lnTo>
                  <a:pt x="584" y="916"/>
                </a:lnTo>
                <a:lnTo>
                  <a:pt x="586" y="914"/>
                </a:lnTo>
                <a:lnTo>
                  <a:pt x="580" y="905"/>
                </a:lnTo>
                <a:lnTo>
                  <a:pt x="575" y="899"/>
                </a:lnTo>
                <a:lnTo>
                  <a:pt x="571" y="892"/>
                </a:lnTo>
                <a:lnTo>
                  <a:pt x="571" y="890"/>
                </a:lnTo>
                <a:lnTo>
                  <a:pt x="569" y="884"/>
                </a:lnTo>
                <a:lnTo>
                  <a:pt x="560" y="867"/>
                </a:lnTo>
                <a:lnTo>
                  <a:pt x="556" y="850"/>
                </a:lnTo>
                <a:lnTo>
                  <a:pt x="550" y="841"/>
                </a:lnTo>
                <a:lnTo>
                  <a:pt x="541" y="826"/>
                </a:lnTo>
                <a:lnTo>
                  <a:pt x="522" y="812"/>
                </a:lnTo>
                <a:lnTo>
                  <a:pt x="520" y="805"/>
                </a:lnTo>
                <a:lnTo>
                  <a:pt x="514" y="801"/>
                </a:lnTo>
                <a:lnTo>
                  <a:pt x="505" y="797"/>
                </a:lnTo>
                <a:lnTo>
                  <a:pt x="503" y="788"/>
                </a:lnTo>
                <a:lnTo>
                  <a:pt x="496" y="790"/>
                </a:lnTo>
                <a:lnTo>
                  <a:pt x="494" y="784"/>
                </a:lnTo>
                <a:lnTo>
                  <a:pt x="490" y="777"/>
                </a:lnTo>
                <a:lnTo>
                  <a:pt x="486" y="771"/>
                </a:lnTo>
                <a:lnTo>
                  <a:pt x="479" y="767"/>
                </a:lnTo>
                <a:lnTo>
                  <a:pt x="473" y="763"/>
                </a:lnTo>
                <a:lnTo>
                  <a:pt x="465" y="767"/>
                </a:lnTo>
                <a:lnTo>
                  <a:pt x="445" y="763"/>
                </a:lnTo>
                <a:lnTo>
                  <a:pt x="439" y="763"/>
                </a:lnTo>
                <a:lnTo>
                  <a:pt x="430" y="760"/>
                </a:lnTo>
                <a:lnTo>
                  <a:pt x="424" y="763"/>
                </a:lnTo>
                <a:lnTo>
                  <a:pt x="416" y="760"/>
                </a:lnTo>
                <a:lnTo>
                  <a:pt x="405" y="754"/>
                </a:lnTo>
                <a:lnTo>
                  <a:pt x="396" y="754"/>
                </a:lnTo>
                <a:lnTo>
                  <a:pt x="392" y="760"/>
                </a:lnTo>
                <a:lnTo>
                  <a:pt x="386" y="763"/>
                </a:lnTo>
                <a:lnTo>
                  <a:pt x="379" y="763"/>
                </a:lnTo>
                <a:lnTo>
                  <a:pt x="371" y="765"/>
                </a:lnTo>
                <a:lnTo>
                  <a:pt x="364" y="767"/>
                </a:lnTo>
                <a:lnTo>
                  <a:pt x="360" y="769"/>
                </a:lnTo>
                <a:lnTo>
                  <a:pt x="356" y="777"/>
                </a:lnTo>
                <a:lnTo>
                  <a:pt x="343" y="807"/>
                </a:lnTo>
                <a:lnTo>
                  <a:pt x="339" y="809"/>
                </a:lnTo>
                <a:lnTo>
                  <a:pt x="337" y="818"/>
                </a:lnTo>
                <a:lnTo>
                  <a:pt x="335" y="824"/>
                </a:lnTo>
                <a:lnTo>
                  <a:pt x="328" y="826"/>
                </a:lnTo>
                <a:lnTo>
                  <a:pt x="324" y="835"/>
                </a:lnTo>
                <a:lnTo>
                  <a:pt x="315" y="839"/>
                </a:lnTo>
                <a:lnTo>
                  <a:pt x="313" y="846"/>
                </a:lnTo>
                <a:lnTo>
                  <a:pt x="303" y="846"/>
                </a:lnTo>
                <a:lnTo>
                  <a:pt x="296" y="843"/>
                </a:lnTo>
                <a:lnTo>
                  <a:pt x="294" y="841"/>
                </a:lnTo>
                <a:lnTo>
                  <a:pt x="288" y="841"/>
                </a:lnTo>
                <a:lnTo>
                  <a:pt x="281" y="835"/>
                </a:lnTo>
                <a:lnTo>
                  <a:pt x="273" y="826"/>
                </a:lnTo>
                <a:lnTo>
                  <a:pt x="254" y="818"/>
                </a:lnTo>
                <a:lnTo>
                  <a:pt x="252" y="812"/>
                </a:lnTo>
                <a:lnTo>
                  <a:pt x="237" y="807"/>
                </a:lnTo>
                <a:lnTo>
                  <a:pt x="230" y="805"/>
                </a:lnTo>
                <a:lnTo>
                  <a:pt x="213" y="790"/>
                </a:lnTo>
                <a:lnTo>
                  <a:pt x="207" y="782"/>
                </a:lnTo>
                <a:lnTo>
                  <a:pt x="201" y="777"/>
                </a:lnTo>
                <a:lnTo>
                  <a:pt x="194" y="775"/>
                </a:lnTo>
                <a:lnTo>
                  <a:pt x="183" y="765"/>
                </a:lnTo>
                <a:lnTo>
                  <a:pt x="169" y="728"/>
                </a:lnTo>
                <a:lnTo>
                  <a:pt x="169" y="716"/>
                </a:lnTo>
                <a:lnTo>
                  <a:pt x="171" y="707"/>
                </a:lnTo>
                <a:lnTo>
                  <a:pt x="171" y="701"/>
                </a:lnTo>
                <a:lnTo>
                  <a:pt x="166" y="694"/>
                </a:lnTo>
                <a:lnTo>
                  <a:pt x="160" y="679"/>
                </a:lnTo>
                <a:lnTo>
                  <a:pt x="156" y="677"/>
                </a:lnTo>
                <a:lnTo>
                  <a:pt x="154" y="662"/>
                </a:lnTo>
                <a:lnTo>
                  <a:pt x="152" y="654"/>
                </a:lnTo>
                <a:lnTo>
                  <a:pt x="147" y="652"/>
                </a:lnTo>
                <a:lnTo>
                  <a:pt x="145" y="645"/>
                </a:lnTo>
                <a:lnTo>
                  <a:pt x="139" y="641"/>
                </a:lnTo>
                <a:lnTo>
                  <a:pt x="124" y="628"/>
                </a:lnTo>
                <a:lnTo>
                  <a:pt x="117" y="624"/>
                </a:lnTo>
                <a:lnTo>
                  <a:pt x="109" y="620"/>
                </a:lnTo>
                <a:lnTo>
                  <a:pt x="96" y="605"/>
                </a:lnTo>
                <a:lnTo>
                  <a:pt x="92" y="596"/>
                </a:lnTo>
                <a:lnTo>
                  <a:pt x="79" y="584"/>
                </a:lnTo>
                <a:lnTo>
                  <a:pt x="64" y="564"/>
                </a:lnTo>
                <a:lnTo>
                  <a:pt x="58" y="558"/>
                </a:lnTo>
                <a:lnTo>
                  <a:pt x="45" y="550"/>
                </a:lnTo>
                <a:lnTo>
                  <a:pt x="37" y="545"/>
                </a:lnTo>
                <a:lnTo>
                  <a:pt x="30" y="530"/>
                </a:lnTo>
                <a:lnTo>
                  <a:pt x="30" y="524"/>
                </a:lnTo>
                <a:lnTo>
                  <a:pt x="26" y="518"/>
                </a:lnTo>
                <a:lnTo>
                  <a:pt x="20" y="511"/>
                </a:lnTo>
                <a:lnTo>
                  <a:pt x="15" y="511"/>
                </a:lnTo>
                <a:lnTo>
                  <a:pt x="15" y="509"/>
                </a:lnTo>
                <a:lnTo>
                  <a:pt x="9" y="507"/>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0" name="Freeform 826"/>
          <p:cNvSpPr>
            <a:spLocks/>
          </p:cNvSpPr>
          <p:nvPr/>
        </p:nvSpPr>
        <p:spPr bwMode="auto">
          <a:xfrm>
            <a:off x="4186237" y="5637334"/>
            <a:ext cx="33338" cy="185738"/>
          </a:xfrm>
          <a:custGeom>
            <a:avLst/>
            <a:gdLst>
              <a:gd name="T0" fmla="*/ 4 w 21"/>
              <a:gd name="T1" fmla="*/ 54 h 117"/>
              <a:gd name="T2" fmla="*/ 8 w 21"/>
              <a:gd name="T3" fmla="*/ 64 h 117"/>
              <a:gd name="T4" fmla="*/ 10 w 21"/>
              <a:gd name="T5" fmla="*/ 73 h 117"/>
              <a:gd name="T6" fmla="*/ 14 w 21"/>
              <a:gd name="T7" fmla="*/ 79 h 117"/>
              <a:gd name="T8" fmla="*/ 17 w 21"/>
              <a:gd name="T9" fmla="*/ 96 h 117"/>
              <a:gd name="T10" fmla="*/ 19 w 21"/>
              <a:gd name="T11" fmla="*/ 111 h 117"/>
              <a:gd name="T12" fmla="*/ 21 w 21"/>
              <a:gd name="T13" fmla="*/ 117 h 117"/>
              <a:gd name="T14" fmla="*/ 19 w 21"/>
              <a:gd name="T15" fmla="*/ 96 h 117"/>
              <a:gd name="T16" fmla="*/ 17 w 21"/>
              <a:gd name="T17" fmla="*/ 81 h 117"/>
              <a:gd name="T18" fmla="*/ 4 w 21"/>
              <a:gd name="T19" fmla="*/ 41 h 117"/>
              <a:gd name="T20" fmla="*/ 0 w 21"/>
              <a:gd name="T21" fmla="*/ 15 h 117"/>
              <a:gd name="T22" fmla="*/ 0 w 21"/>
              <a:gd name="T23" fmla="*/ 0 h 117"/>
              <a:gd name="T24" fmla="*/ 0 w 21"/>
              <a:gd name="T25" fmla="*/ 17 h 117"/>
              <a:gd name="T26" fmla="*/ 0 w 21"/>
              <a:gd name="T27" fmla="*/ 24 h 117"/>
              <a:gd name="T28" fmla="*/ 0 w 21"/>
              <a:gd name="T29" fmla="*/ 39 h 117"/>
              <a:gd name="T30" fmla="*/ 4 w 21"/>
              <a:gd name="T31" fmla="*/ 45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8" y="64"/>
                </a:lnTo>
                <a:lnTo>
                  <a:pt x="10" y="73"/>
                </a:lnTo>
                <a:lnTo>
                  <a:pt x="14" y="79"/>
                </a:lnTo>
                <a:lnTo>
                  <a:pt x="17" y="96"/>
                </a:lnTo>
                <a:lnTo>
                  <a:pt x="19" y="111"/>
                </a:lnTo>
                <a:lnTo>
                  <a:pt x="21" y="117"/>
                </a:lnTo>
                <a:lnTo>
                  <a:pt x="19" y="96"/>
                </a:lnTo>
                <a:lnTo>
                  <a:pt x="17" y="81"/>
                </a:lnTo>
                <a:lnTo>
                  <a:pt x="4" y="41"/>
                </a:lnTo>
                <a:lnTo>
                  <a:pt x="0" y="15"/>
                </a:lnTo>
                <a:lnTo>
                  <a:pt x="0" y="0"/>
                </a:lnTo>
                <a:lnTo>
                  <a:pt x="0" y="17"/>
                </a:lnTo>
                <a:lnTo>
                  <a:pt x="0" y="24"/>
                </a:lnTo>
                <a:lnTo>
                  <a:pt x="0" y="39"/>
                </a:lnTo>
                <a:lnTo>
                  <a:pt x="4" y="45"/>
                </a:lnTo>
                <a:lnTo>
                  <a:pt x="4" y="5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1" name="Freeform 827"/>
          <p:cNvSpPr>
            <a:spLocks/>
          </p:cNvSpPr>
          <p:nvPr/>
        </p:nvSpPr>
        <p:spPr bwMode="auto">
          <a:xfrm>
            <a:off x="4186237" y="5637334"/>
            <a:ext cx="33338" cy="185738"/>
          </a:xfrm>
          <a:custGeom>
            <a:avLst/>
            <a:gdLst>
              <a:gd name="T0" fmla="*/ 4 w 21"/>
              <a:gd name="T1" fmla="*/ 54 h 117"/>
              <a:gd name="T2" fmla="*/ 8 w 21"/>
              <a:gd name="T3" fmla="*/ 64 h 117"/>
              <a:gd name="T4" fmla="*/ 10 w 21"/>
              <a:gd name="T5" fmla="*/ 73 h 117"/>
              <a:gd name="T6" fmla="*/ 14 w 21"/>
              <a:gd name="T7" fmla="*/ 79 h 117"/>
              <a:gd name="T8" fmla="*/ 17 w 21"/>
              <a:gd name="T9" fmla="*/ 96 h 117"/>
              <a:gd name="T10" fmla="*/ 19 w 21"/>
              <a:gd name="T11" fmla="*/ 111 h 117"/>
              <a:gd name="T12" fmla="*/ 21 w 21"/>
              <a:gd name="T13" fmla="*/ 117 h 117"/>
              <a:gd name="T14" fmla="*/ 19 w 21"/>
              <a:gd name="T15" fmla="*/ 96 h 117"/>
              <a:gd name="T16" fmla="*/ 17 w 21"/>
              <a:gd name="T17" fmla="*/ 81 h 117"/>
              <a:gd name="T18" fmla="*/ 4 w 21"/>
              <a:gd name="T19" fmla="*/ 41 h 117"/>
              <a:gd name="T20" fmla="*/ 0 w 21"/>
              <a:gd name="T21" fmla="*/ 15 h 117"/>
              <a:gd name="T22" fmla="*/ 0 w 21"/>
              <a:gd name="T23" fmla="*/ 0 h 117"/>
              <a:gd name="T24" fmla="*/ 0 w 21"/>
              <a:gd name="T25" fmla="*/ 17 h 117"/>
              <a:gd name="T26" fmla="*/ 0 w 21"/>
              <a:gd name="T27" fmla="*/ 24 h 117"/>
              <a:gd name="T28" fmla="*/ 0 w 21"/>
              <a:gd name="T29" fmla="*/ 39 h 117"/>
              <a:gd name="T30" fmla="*/ 4 w 21"/>
              <a:gd name="T31" fmla="*/ 45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8" y="64"/>
                </a:lnTo>
                <a:lnTo>
                  <a:pt x="10" y="73"/>
                </a:lnTo>
                <a:lnTo>
                  <a:pt x="14" y="79"/>
                </a:lnTo>
                <a:lnTo>
                  <a:pt x="17" y="96"/>
                </a:lnTo>
                <a:lnTo>
                  <a:pt x="19" y="111"/>
                </a:lnTo>
                <a:lnTo>
                  <a:pt x="21" y="117"/>
                </a:lnTo>
                <a:lnTo>
                  <a:pt x="19" y="96"/>
                </a:lnTo>
                <a:lnTo>
                  <a:pt x="17" y="81"/>
                </a:lnTo>
                <a:lnTo>
                  <a:pt x="4" y="41"/>
                </a:lnTo>
                <a:lnTo>
                  <a:pt x="0" y="15"/>
                </a:lnTo>
                <a:lnTo>
                  <a:pt x="0" y="0"/>
                </a:lnTo>
                <a:lnTo>
                  <a:pt x="0" y="17"/>
                </a:lnTo>
                <a:lnTo>
                  <a:pt x="0" y="24"/>
                </a:lnTo>
                <a:lnTo>
                  <a:pt x="0" y="39"/>
                </a:lnTo>
                <a:lnTo>
                  <a:pt x="4" y="45"/>
                </a:lnTo>
                <a:lnTo>
                  <a:pt x="4" y="5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2" name="Freeform 828"/>
          <p:cNvSpPr>
            <a:spLocks/>
          </p:cNvSpPr>
          <p:nvPr/>
        </p:nvSpPr>
        <p:spPr bwMode="auto">
          <a:xfrm>
            <a:off x="4189412" y="5523034"/>
            <a:ext cx="39688" cy="107950"/>
          </a:xfrm>
          <a:custGeom>
            <a:avLst/>
            <a:gdLst>
              <a:gd name="T0" fmla="*/ 12 w 25"/>
              <a:gd name="T1" fmla="*/ 32 h 68"/>
              <a:gd name="T2" fmla="*/ 25 w 25"/>
              <a:gd name="T3" fmla="*/ 8 h 68"/>
              <a:gd name="T4" fmla="*/ 25 w 25"/>
              <a:gd name="T5" fmla="*/ 0 h 68"/>
              <a:gd name="T6" fmla="*/ 19 w 25"/>
              <a:gd name="T7" fmla="*/ 15 h 68"/>
              <a:gd name="T8" fmla="*/ 15 w 25"/>
              <a:gd name="T9" fmla="*/ 21 h 68"/>
              <a:gd name="T10" fmla="*/ 4 w 25"/>
              <a:gd name="T11" fmla="*/ 38 h 68"/>
              <a:gd name="T12" fmla="*/ 0 w 25"/>
              <a:gd name="T13" fmla="*/ 53 h 68"/>
              <a:gd name="T14" fmla="*/ 0 w 25"/>
              <a:gd name="T15" fmla="*/ 68 h 68"/>
              <a:gd name="T16" fmla="*/ 6 w 25"/>
              <a:gd name="T17" fmla="*/ 45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25" y="8"/>
                </a:lnTo>
                <a:lnTo>
                  <a:pt x="25" y="0"/>
                </a:lnTo>
                <a:lnTo>
                  <a:pt x="19" y="15"/>
                </a:lnTo>
                <a:lnTo>
                  <a:pt x="15" y="21"/>
                </a:lnTo>
                <a:lnTo>
                  <a:pt x="4" y="38"/>
                </a:lnTo>
                <a:lnTo>
                  <a:pt x="0" y="53"/>
                </a:lnTo>
                <a:lnTo>
                  <a:pt x="0" y="68"/>
                </a:lnTo>
                <a:lnTo>
                  <a:pt x="6" y="45"/>
                </a:lnTo>
                <a:lnTo>
                  <a:pt x="12"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3" name="Freeform 829"/>
          <p:cNvSpPr>
            <a:spLocks/>
          </p:cNvSpPr>
          <p:nvPr/>
        </p:nvSpPr>
        <p:spPr bwMode="auto">
          <a:xfrm>
            <a:off x="4189412" y="5523034"/>
            <a:ext cx="39688" cy="107950"/>
          </a:xfrm>
          <a:custGeom>
            <a:avLst/>
            <a:gdLst>
              <a:gd name="T0" fmla="*/ 12 w 25"/>
              <a:gd name="T1" fmla="*/ 32 h 68"/>
              <a:gd name="T2" fmla="*/ 25 w 25"/>
              <a:gd name="T3" fmla="*/ 8 h 68"/>
              <a:gd name="T4" fmla="*/ 25 w 25"/>
              <a:gd name="T5" fmla="*/ 0 h 68"/>
              <a:gd name="T6" fmla="*/ 19 w 25"/>
              <a:gd name="T7" fmla="*/ 15 h 68"/>
              <a:gd name="T8" fmla="*/ 15 w 25"/>
              <a:gd name="T9" fmla="*/ 21 h 68"/>
              <a:gd name="T10" fmla="*/ 4 w 25"/>
              <a:gd name="T11" fmla="*/ 38 h 68"/>
              <a:gd name="T12" fmla="*/ 0 w 25"/>
              <a:gd name="T13" fmla="*/ 53 h 68"/>
              <a:gd name="T14" fmla="*/ 0 w 25"/>
              <a:gd name="T15" fmla="*/ 68 h 68"/>
              <a:gd name="T16" fmla="*/ 6 w 25"/>
              <a:gd name="T17" fmla="*/ 45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25" y="8"/>
                </a:lnTo>
                <a:lnTo>
                  <a:pt x="25" y="0"/>
                </a:lnTo>
                <a:lnTo>
                  <a:pt x="19" y="15"/>
                </a:lnTo>
                <a:lnTo>
                  <a:pt x="15" y="21"/>
                </a:lnTo>
                <a:lnTo>
                  <a:pt x="4" y="38"/>
                </a:lnTo>
                <a:lnTo>
                  <a:pt x="0" y="53"/>
                </a:lnTo>
                <a:lnTo>
                  <a:pt x="0" y="68"/>
                </a:lnTo>
                <a:lnTo>
                  <a:pt x="6" y="45"/>
                </a:lnTo>
                <a:lnTo>
                  <a:pt x="12" y="3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4" name="Freeform 830"/>
          <p:cNvSpPr>
            <a:spLocks/>
          </p:cNvSpPr>
          <p:nvPr/>
        </p:nvSpPr>
        <p:spPr bwMode="auto">
          <a:xfrm>
            <a:off x="4249737" y="5469059"/>
            <a:ext cx="23813" cy="36513"/>
          </a:xfrm>
          <a:custGeom>
            <a:avLst/>
            <a:gdLst>
              <a:gd name="T0" fmla="*/ 15 w 15"/>
              <a:gd name="T1" fmla="*/ 2 h 23"/>
              <a:gd name="T2" fmla="*/ 11 w 15"/>
              <a:gd name="T3" fmla="*/ 0 h 23"/>
              <a:gd name="T4" fmla="*/ 6 w 15"/>
              <a:gd name="T5" fmla="*/ 8 h 23"/>
              <a:gd name="T6" fmla="*/ 4 w 15"/>
              <a:gd name="T7" fmla="*/ 15 h 23"/>
              <a:gd name="T8" fmla="*/ 0 w 15"/>
              <a:gd name="T9" fmla="*/ 21 h 23"/>
              <a:gd name="T10" fmla="*/ 0 w 15"/>
              <a:gd name="T11" fmla="*/ 23 h 23"/>
              <a:gd name="T12" fmla="*/ 11 w 15"/>
              <a:gd name="T13" fmla="*/ 1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0"/>
                </a:lnTo>
                <a:lnTo>
                  <a:pt x="6" y="8"/>
                </a:lnTo>
                <a:lnTo>
                  <a:pt x="4" y="15"/>
                </a:lnTo>
                <a:lnTo>
                  <a:pt x="0" y="21"/>
                </a:lnTo>
                <a:lnTo>
                  <a:pt x="0" y="23"/>
                </a:lnTo>
                <a:lnTo>
                  <a:pt x="11" y="10"/>
                </a:lnTo>
                <a:lnTo>
                  <a:pt x="15"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5" name="Freeform 831"/>
          <p:cNvSpPr>
            <a:spLocks/>
          </p:cNvSpPr>
          <p:nvPr/>
        </p:nvSpPr>
        <p:spPr bwMode="auto">
          <a:xfrm>
            <a:off x="4249737" y="5469059"/>
            <a:ext cx="23813" cy="36513"/>
          </a:xfrm>
          <a:custGeom>
            <a:avLst/>
            <a:gdLst>
              <a:gd name="T0" fmla="*/ 15 w 15"/>
              <a:gd name="T1" fmla="*/ 2 h 23"/>
              <a:gd name="T2" fmla="*/ 11 w 15"/>
              <a:gd name="T3" fmla="*/ 0 h 23"/>
              <a:gd name="T4" fmla="*/ 6 w 15"/>
              <a:gd name="T5" fmla="*/ 8 h 23"/>
              <a:gd name="T6" fmla="*/ 4 w 15"/>
              <a:gd name="T7" fmla="*/ 15 h 23"/>
              <a:gd name="T8" fmla="*/ 0 w 15"/>
              <a:gd name="T9" fmla="*/ 21 h 23"/>
              <a:gd name="T10" fmla="*/ 0 w 15"/>
              <a:gd name="T11" fmla="*/ 23 h 23"/>
              <a:gd name="T12" fmla="*/ 11 w 15"/>
              <a:gd name="T13" fmla="*/ 1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0"/>
                </a:lnTo>
                <a:lnTo>
                  <a:pt x="6" y="8"/>
                </a:lnTo>
                <a:lnTo>
                  <a:pt x="4" y="15"/>
                </a:lnTo>
                <a:lnTo>
                  <a:pt x="0" y="21"/>
                </a:lnTo>
                <a:lnTo>
                  <a:pt x="0" y="23"/>
                </a:lnTo>
                <a:lnTo>
                  <a:pt x="11" y="10"/>
                </a:lnTo>
                <a:lnTo>
                  <a:pt x="15"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6" name="Freeform 832"/>
          <p:cNvSpPr>
            <a:spLocks/>
          </p:cNvSpPr>
          <p:nvPr/>
        </p:nvSpPr>
        <p:spPr bwMode="auto">
          <a:xfrm>
            <a:off x="4279900" y="5418259"/>
            <a:ext cx="65088" cy="50800"/>
          </a:xfrm>
          <a:custGeom>
            <a:avLst/>
            <a:gdLst>
              <a:gd name="T0" fmla="*/ 2 w 41"/>
              <a:gd name="T1" fmla="*/ 23 h 32"/>
              <a:gd name="T2" fmla="*/ 0 w 41"/>
              <a:gd name="T3" fmla="*/ 25 h 32"/>
              <a:gd name="T4" fmla="*/ 2 w 41"/>
              <a:gd name="T5" fmla="*/ 32 h 32"/>
              <a:gd name="T6" fmla="*/ 24 w 41"/>
              <a:gd name="T7" fmla="*/ 17 h 32"/>
              <a:gd name="T8" fmla="*/ 38 w 41"/>
              <a:gd name="T9" fmla="*/ 10 h 32"/>
              <a:gd name="T10" fmla="*/ 41 w 41"/>
              <a:gd name="T11" fmla="*/ 2 h 32"/>
              <a:gd name="T12" fmla="*/ 38 w 41"/>
              <a:gd name="T13" fmla="*/ 0 h 32"/>
              <a:gd name="T14" fmla="*/ 30 w 41"/>
              <a:gd name="T15" fmla="*/ 8 h 32"/>
              <a:gd name="T16" fmla="*/ 17 w 41"/>
              <a:gd name="T17" fmla="*/ 15 h 32"/>
              <a:gd name="T18" fmla="*/ 11 w 41"/>
              <a:gd name="T19" fmla="*/ 23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0" y="25"/>
                </a:lnTo>
                <a:lnTo>
                  <a:pt x="2" y="32"/>
                </a:lnTo>
                <a:lnTo>
                  <a:pt x="24" y="17"/>
                </a:lnTo>
                <a:lnTo>
                  <a:pt x="38" y="10"/>
                </a:lnTo>
                <a:lnTo>
                  <a:pt x="41" y="2"/>
                </a:lnTo>
                <a:lnTo>
                  <a:pt x="38" y="0"/>
                </a:lnTo>
                <a:lnTo>
                  <a:pt x="30" y="8"/>
                </a:lnTo>
                <a:lnTo>
                  <a:pt x="17" y="15"/>
                </a:lnTo>
                <a:lnTo>
                  <a:pt x="11" y="23"/>
                </a:lnTo>
                <a:lnTo>
                  <a:pt x="2"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7" name="Freeform 833"/>
          <p:cNvSpPr>
            <a:spLocks/>
          </p:cNvSpPr>
          <p:nvPr/>
        </p:nvSpPr>
        <p:spPr bwMode="auto">
          <a:xfrm>
            <a:off x="4279900" y="5418259"/>
            <a:ext cx="65088" cy="50800"/>
          </a:xfrm>
          <a:custGeom>
            <a:avLst/>
            <a:gdLst>
              <a:gd name="T0" fmla="*/ 2 w 41"/>
              <a:gd name="T1" fmla="*/ 23 h 32"/>
              <a:gd name="T2" fmla="*/ 0 w 41"/>
              <a:gd name="T3" fmla="*/ 25 h 32"/>
              <a:gd name="T4" fmla="*/ 2 w 41"/>
              <a:gd name="T5" fmla="*/ 32 h 32"/>
              <a:gd name="T6" fmla="*/ 24 w 41"/>
              <a:gd name="T7" fmla="*/ 17 h 32"/>
              <a:gd name="T8" fmla="*/ 38 w 41"/>
              <a:gd name="T9" fmla="*/ 10 h 32"/>
              <a:gd name="T10" fmla="*/ 41 w 41"/>
              <a:gd name="T11" fmla="*/ 2 h 32"/>
              <a:gd name="T12" fmla="*/ 38 w 41"/>
              <a:gd name="T13" fmla="*/ 0 h 32"/>
              <a:gd name="T14" fmla="*/ 30 w 41"/>
              <a:gd name="T15" fmla="*/ 8 h 32"/>
              <a:gd name="T16" fmla="*/ 17 w 41"/>
              <a:gd name="T17" fmla="*/ 15 h 32"/>
              <a:gd name="T18" fmla="*/ 11 w 41"/>
              <a:gd name="T19" fmla="*/ 23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0" y="25"/>
                </a:lnTo>
                <a:lnTo>
                  <a:pt x="2" y="32"/>
                </a:lnTo>
                <a:lnTo>
                  <a:pt x="24" y="17"/>
                </a:lnTo>
                <a:lnTo>
                  <a:pt x="38" y="10"/>
                </a:lnTo>
                <a:lnTo>
                  <a:pt x="41" y="2"/>
                </a:lnTo>
                <a:lnTo>
                  <a:pt x="38" y="0"/>
                </a:lnTo>
                <a:lnTo>
                  <a:pt x="30" y="8"/>
                </a:lnTo>
                <a:lnTo>
                  <a:pt x="17" y="15"/>
                </a:lnTo>
                <a:lnTo>
                  <a:pt x="11" y="23"/>
                </a:lnTo>
                <a:lnTo>
                  <a:pt x="2" y="2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28" name="Freeform 834"/>
          <p:cNvSpPr>
            <a:spLocks/>
          </p:cNvSpPr>
          <p:nvPr/>
        </p:nvSpPr>
        <p:spPr bwMode="auto">
          <a:xfrm>
            <a:off x="4549775" y="5248396"/>
            <a:ext cx="44450" cy="38100"/>
          </a:xfrm>
          <a:custGeom>
            <a:avLst/>
            <a:gdLst>
              <a:gd name="T0" fmla="*/ 22 w 28"/>
              <a:gd name="T1" fmla="*/ 9 h 24"/>
              <a:gd name="T2" fmla="*/ 28 w 28"/>
              <a:gd name="T3" fmla="*/ 0 h 24"/>
              <a:gd name="T4" fmla="*/ 20 w 28"/>
              <a:gd name="T5" fmla="*/ 5 h 24"/>
              <a:gd name="T6" fmla="*/ 11 w 28"/>
              <a:gd name="T7" fmla="*/ 15 h 24"/>
              <a:gd name="T8" fmla="*/ 3 w 28"/>
              <a:gd name="T9" fmla="*/ 19 h 24"/>
              <a:gd name="T10" fmla="*/ 0 w 28"/>
              <a:gd name="T11" fmla="*/ 24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28" y="0"/>
                </a:lnTo>
                <a:lnTo>
                  <a:pt x="20" y="5"/>
                </a:lnTo>
                <a:lnTo>
                  <a:pt x="11" y="15"/>
                </a:lnTo>
                <a:lnTo>
                  <a:pt x="3" y="19"/>
                </a:lnTo>
                <a:lnTo>
                  <a:pt x="0" y="24"/>
                </a:lnTo>
                <a:lnTo>
                  <a:pt x="22" y="9"/>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29" name="Freeform 835"/>
          <p:cNvSpPr>
            <a:spLocks/>
          </p:cNvSpPr>
          <p:nvPr/>
        </p:nvSpPr>
        <p:spPr bwMode="auto">
          <a:xfrm>
            <a:off x="4549775" y="5248396"/>
            <a:ext cx="44450" cy="38100"/>
          </a:xfrm>
          <a:custGeom>
            <a:avLst/>
            <a:gdLst>
              <a:gd name="T0" fmla="*/ 22 w 28"/>
              <a:gd name="T1" fmla="*/ 9 h 24"/>
              <a:gd name="T2" fmla="*/ 28 w 28"/>
              <a:gd name="T3" fmla="*/ 0 h 24"/>
              <a:gd name="T4" fmla="*/ 20 w 28"/>
              <a:gd name="T5" fmla="*/ 5 h 24"/>
              <a:gd name="T6" fmla="*/ 11 w 28"/>
              <a:gd name="T7" fmla="*/ 15 h 24"/>
              <a:gd name="T8" fmla="*/ 3 w 28"/>
              <a:gd name="T9" fmla="*/ 19 h 24"/>
              <a:gd name="T10" fmla="*/ 0 w 28"/>
              <a:gd name="T11" fmla="*/ 24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28" y="0"/>
                </a:lnTo>
                <a:lnTo>
                  <a:pt x="20" y="5"/>
                </a:lnTo>
                <a:lnTo>
                  <a:pt x="11" y="15"/>
                </a:lnTo>
                <a:lnTo>
                  <a:pt x="3" y="19"/>
                </a:lnTo>
                <a:lnTo>
                  <a:pt x="0" y="24"/>
                </a:lnTo>
                <a:lnTo>
                  <a:pt x="22" y="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0" name="Freeform 836"/>
          <p:cNvSpPr>
            <a:spLocks/>
          </p:cNvSpPr>
          <p:nvPr/>
        </p:nvSpPr>
        <p:spPr bwMode="auto">
          <a:xfrm>
            <a:off x="4186237" y="5637334"/>
            <a:ext cx="33338" cy="185738"/>
          </a:xfrm>
          <a:custGeom>
            <a:avLst/>
            <a:gdLst>
              <a:gd name="T0" fmla="*/ 4 w 21"/>
              <a:gd name="T1" fmla="*/ 54 h 117"/>
              <a:gd name="T2" fmla="*/ 4 w 21"/>
              <a:gd name="T3" fmla="*/ 45 h 117"/>
              <a:gd name="T4" fmla="*/ 0 w 21"/>
              <a:gd name="T5" fmla="*/ 39 h 117"/>
              <a:gd name="T6" fmla="*/ 0 w 21"/>
              <a:gd name="T7" fmla="*/ 24 h 117"/>
              <a:gd name="T8" fmla="*/ 0 w 21"/>
              <a:gd name="T9" fmla="*/ 17 h 117"/>
              <a:gd name="T10" fmla="*/ 0 w 21"/>
              <a:gd name="T11" fmla="*/ 0 h 117"/>
              <a:gd name="T12" fmla="*/ 0 w 21"/>
              <a:gd name="T13" fmla="*/ 15 h 117"/>
              <a:gd name="T14" fmla="*/ 4 w 21"/>
              <a:gd name="T15" fmla="*/ 41 h 117"/>
              <a:gd name="T16" fmla="*/ 17 w 21"/>
              <a:gd name="T17" fmla="*/ 81 h 117"/>
              <a:gd name="T18" fmla="*/ 19 w 21"/>
              <a:gd name="T19" fmla="*/ 96 h 117"/>
              <a:gd name="T20" fmla="*/ 21 w 21"/>
              <a:gd name="T21" fmla="*/ 117 h 117"/>
              <a:gd name="T22" fmla="*/ 19 w 21"/>
              <a:gd name="T23" fmla="*/ 111 h 117"/>
              <a:gd name="T24" fmla="*/ 17 w 21"/>
              <a:gd name="T25" fmla="*/ 96 h 117"/>
              <a:gd name="T26" fmla="*/ 14 w 21"/>
              <a:gd name="T27" fmla="*/ 79 h 117"/>
              <a:gd name="T28" fmla="*/ 10 w 21"/>
              <a:gd name="T29" fmla="*/ 73 h 117"/>
              <a:gd name="T30" fmla="*/ 8 w 21"/>
              <a:gd name="T31" fmla="*/ 64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4" y="45"/>
                </a:lnTo>
                <a:lnTo>
                  <a:pt x="0" y="39"/>
                </a:lnTo>
                <a:lnTo>
                  <a:pt x="0" y="24"/>
                </a:lnTo>
                <a:lnTo>
                  <a:pt x="0" y="17"/>
                </a:lnTo>
                <a:lnTo>
                  <a:pt x="0" y="0"/>
                </a:lnTo>
                <a:lnTo>
                  <a:pt x="0" y="15"/>
                </a:lnTo>
                <a:lnTo>
                  <a:pt x="4" y="41"/>
                </a:lnTo>
                <a:lnTo>
                  <a:pt x="17" y="81"/>
                </a:lnTo>
                <a:lnTo>
                  <a:pt x="19" y="96"/>
                </a:lnTo>
                <a:lnTo>
                  <a:pt x="21" y="117"/>
                </a:lnTo>
                <a:lnTo>
                  <a:pt x="19" y="111"/>
                </a:lnTo>
                <a:lnTo>
                  <a:pt x="17" y="96"/>
                </a:lnTo>
                <a:lnTo>
                  <a:pt x="14" y="79"/>
                </a:lnTo>
                <a:lnTo>
                  <a:pt x="10" y="73"/>
                </a:lnTo>
                <a:lnTo>
                  <a:pt x="8" y="64"/>
                </a:lnTo>
                <a:lnTo>
                  <a:pt x="4" y="5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1" name="Freeform 837"/>
          <p:cNvSpPr>
            <a:spLocks/>
          </p:cNvSpPr>
          <p:nvPr/>
        </p:nvSpPr>
        <p:spPr bwMode="auto">
          <a:xfrm>
            <a:off x="4186237" y="5637334"/>
            <a:ext cx="33338" cy="185738"/>
          </a:xfrm>
          <a:custGeom>
            <a:avLst/>
            <a:gdLst>
              <a:gd name="T0" fmla="*/ 4 w 21"/>
              <a:gd name="T1" fmla="*/ 54 h 117"/>
              <a:gd name="T2" fmla="*/ 4 w 21"/>
              <a:gd name="T3" fmla="*/ 45 h 117"/>
              <a:gd name="T4" fmla="*/ 0 w 21"/>
              <a:gd name="T5" fmla="*/ 39 h 117"/>
              <a:gd name="T6" fmla="*/ 0 w 21"/>
              <a:gd name="T7" fmla="*/ 24 h 117"/>
              <a:gd name="T8" fmla="*/ 0 w 21"/>
              <a:gd name="T9" fmla="*/ 17 h 117"/>
              <a:gd name="T10" fmla="*/ 0 w 21"/>
              <a:gd name="T11" fmla="*/ 0 h 117"/>
              <a:gd name="T12" fmla="*/ 0 w 21"/>
              <a:gd name="T13" fmla="*/ 15 h 117"/>
              <a:gd name="T14" fmla="*/ 4 w 21"/>
              <a:gd name="T15" fmla="*/ 41 h 117"/>
              <a:gd name="T16" fmla="*/ 17 w 21"/>
              <a:gd name="T17" fmla="*/ 81 h 117"/>
              <a:gd name="T18" fmla="*/ 19 w 21"/>
              <a:gd name="T19" fmla="*/ 96 h 117"/>
              <a:gd name="T20" fmla="*/ 21 w 21"/>
              <a:gd name="T21" fmla="*/ 117 h 117"/>
              <a:gd name="T22" fmla="*/ 19 w 21"/>
              <a:gd name="T23" fmla="*/ 111 h 117"/>
              <a:gd name="T24" fmla="*/ 17 w 21"/>
              <a:gd name="T25" fmla="*/ 96 h 117"/>
              <a:gd name="T26" fmla="*/ 14 w 21"/>
              <a:gd name="T27" fmla="*/ 79 h 117"/>
              <a:gd name="T28" fmla="*/ 10 w 21"/>
              <a:gd name="T29" fmla="*/ 73 h 117"/>
              <a:gd name="T30" fmla="*/ 8 w 21"/>
              <a:gd name="T31" fmla="*/ 64 h 117"/>
              <a:gd name="T32" fmla="*/ 4 w 21"/>
              <a:gd name="T33" fmla="*/ 54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 h="117">
                <a:moveTo>
                  <a:pt x="4" y="54"/>
                </a:moveTo>
                <a:lnTo>
                  <a:pt x="4" y="45"/>
                </a:lnTo>
                <a:lnTo>
                  <a:pt x="0" y="39"/>
                </a:lnTo>
                <a:lnTo>
                  <a:pt x="0" y="24"/>
                </a:lnTo>
                <a:lnTo>
                  <a:pt x="0" y="17"/>
                </a:lnTo>
                <a:lnTo>
                  <a:pt x="0" y="0"/>
                </a:lnTo>
                <a:lnTo>
                  <a:pt x="0" y="15"/>
                </a:lnTo>
                <a:lnTo>
                  <a:pt x="4" y="41"/>
                </a:lnTo>
                <a:lnTo>
                  <a:pt x="17" y="81"/>
                </a:lnTo>
                <a:lnTo>
                  <a:pt x="19" y="96"/>
                </a:lnTo>
                <a:lnTo>
                  <a:pt x="21" y="117"/>
                </a:lnTo>
                <a:lnTo>
                  <a:pt x="19" y="111"/>
                </a:lnTo>
                <a:lnTo>
                  <a:pt x="17" y="96"/>
                </a:lnTo>
                <a:lnTo>
                  <a:pt x="14" y="79"/>
                </a:lnTo>
                <a:lnTo>
                  <a:pt x="10" y="73"/>
                </a:lnTo>
                <a:lnTo>
                  <a:pt x="8" y="64"/>
                </a:lnTo>
                <a:lnTo>
                  <a:pt x="4" y="5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2" name="Freeform 838"/>
          <p:cNvSpPr>
            <a:spLocks/>
          </p:cNvSpPr>
          <p:nvPr/>
        </p:nvSpPr>
        <p:spPr bwMode="auto">
          <a:xfrm>
            <a:off x="4189412" y="5523034"/>
            <a:ext cx="39688" cy="107950"/>
          </a:xfrm>
          <a:custGeom>
            <a:avLst/>
            <a:gdLst>
              <a:gd name="T0" fmla="*/ 12 w 25"/>
              <a:gd name="T1" fmla="*/ 32 h 68"/>
              <a:gd name="T2" fmla="*/ 6 w 25"/>
              <a:gd name="T3" fmla="*/ 45 h 68"/>
              <a:gd name="T4" fmla="*/ 0 w 25"/>
              <a:gd name="T5" fmla="*/ 68 h 68"/>
              <a:gd name="T6" fmla="*/ 0 w 25"/>
              <a:gd name="T7" fmla="*/ 53 h 68"/>
              <a:gd name="T8" fmla="*/ 4 w 25"/>
              <a:gd name="T9" fmla="*/ 38 h 68"/>
              <a:gd name="T10" fmla="*/ 15 w 25"/>
              <a:gd name="T11" fmla="*/ 21 h 68"/>
              <a:gd name="T12" fmla="*/ 19 w 25"/>
              <a:gd name="T13" fmla="*/ 15 h 68"/>
              <a:gd name="T14" fmla="*/ 25 w 25"/>
              <a:gd name="T15" fmla="*/ 0 h 68"/>
              <a:gd name="T16" fmla="*/ 25 w 25"/>
              <a:gd name="T17" fmla="*/ 8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6" y="45"/>
                </a:lnTo>
                <a:lnTo>
                  <a:pt x="0" y="68"/>
                </a:lnTo>
                <a:lnTo>
                  <a:pt x="0" y="53"/>
                </a:lnTo>
                <a:lnTo>
                  <a:pt x="4" y="38"/>
                </a:lnTo>
                <a:lnTo>
                  <a:pt x="15" y="21"/>
                </a:lnTo>
                <a:lnTo>
                  <a:pt x="19" y="15"/>
                </a:lnTo>
                <a:lnTo>
                  <a:pt x="25" y="0"/>
                </a:lnTo>
                <a:lnTo>
                  <a:pt x="25" y="8"/>
                </a:lnTo>
                <a:lnTo>
                  <a:pt x="12"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3" name="Freeform 839"/>
          <p:cNvSpPr>
            <a:spLocks/>
          </p:cNvSpPr>
          <p:nvPr/>
        </p:nvSpPr>
        <p:spPr bwMode="auto">
          <a:xfrm>
            <a:off x="4189412" y="5523034"/>
            <a:ext cx="39688" cy="107950"/>
          </a:xfrm>
          <a:custGeom>
            <a:avLst/>
            <a:gdLst>
              <a:gd name="T0" fmla="*/ 12 w 25"/>
              <a:gd name="T1" fmla="*/ 32 h 68"/>
              <a:gd name="T2" fmla="*/ 6 w 25"/>
              <a:gd name="T3" fmla="*/ 45 h 68"/>
              <a:gd name="T4" fmla="*/ 0 w 25"/>
              <a:gd name="T5" fmla="*/ 68 h 68"/>
              <a:gd name="T6" fmla="*/ 0 w 25"/>
              <a:gd name="T7" fmla="*/ 53 h 68"/>
              <a:gd name="T8" fmla="*/ 4 w 25"/>
              <a:gd name="T9" fmla="*/ 38 h 68"/>
              <a:gd name="T10" fmla="*/ 15 w 25"/>
              <a:gd name="T11" fmla="*/ 21 h 68"/>
              <a:gd name="T12" fmla="*/ 19 w 25"/>
              <a:gd name="T13" fmla="*/ 15 h 68"/>
              <a:gd name="T14" fmla="*/ 25 w 25"/>
              <a:gd name="T15" fmla="*/ 0 h 68"/>
              <a:gd name="T16" fmla="*/ 25 w 25"/>
              <a:gd name="T17" fmla="*/ 8 h 68"/>
              <a:gd name="T18" fmla="*/ 12 w 25"/>
              <a:gd name="T19" fmla="*/ 32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68">
                <a:moveTo>
                  <a:pt x="12" y="32"/>
                </a:moveTo>
                <a:lnTo>
                  <a:pt x="6" y="45"/>
                </a:lnTo>
                <a:lnTo>
                  <a:pt x="0" y="68"/>
                </a:lnTo>
                <a:lnTo>
                  <a:pt x="0" y="53"/>
                </a:lnTo>
                <a:lnTo>
                  <a:pt x="4" y="38"/>
                </a:lnTo>
                <a:lnTo>
                  <a:pt x="15" y="21"/>
                </a:lnTo>
                <a:lnTo>
                  <a:pt x="19" y="15"/>
                </a:lnTo>
                <a:lnTo>
                  <a:pt x="25" y="0"/>
                </a:lnTo>
                <a:lnTo>
                  <a:pt x="25" y="8"/>
                </a:lnTo>
                <a:lnTo>
                  <a:pt x="12" y="3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4" name="Freeform 840"/>
          <p:cNvSpPr>
            <a:spLocks/>
          </p:cNvSpPr>
          <p:nvPr/>
        </p:nvSpPr>
        <p:spPr bwMode="auto">
          <a:xfrm>
            <a:off x="4249737" y="5469059"/>
            <a:ext cx="23813" cy="36513"/>
          </a:xfrm>
          <a:custGeom>
            <a:avLst/>
            <a:gdLst>
              <a:gd name="T0" fmla="*/ 15 w 15"/>
              <a:gd name="T1" fmla="*/ 2 h 23"/>
              <a:gd name="T2" fmla="*/ 11 w 15"/>
              <a:gd name="T3" fmla="*/ 10 h 23"/>
              <a:gd name="T4" fmla="*/ 0 w 15"/>
              <a:gd name="T5" fmla="*/ 23 h 23"/>
              <a:gd name="T6" fmla="*/ 0 w 15"/>
              <a:gd name="T7" fmla="*/ 21 h 23"/>
              <a:gd name="T8" fmla="*/ 4 w 15"/>
              <a:gd name="T9" fmla="*/ 15 h 23"/>
              <a:gd name="T10" fmla="*/ 6 w 15"/>
              <a:gd name="T11" fmla="*/ 8 h 23"/>
              <a:gd name="T12" fmla="*/ 11 w 15"/>
              <a:gd name="T13" fmla="*/ 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10"/>
                </a:lnTo>
                <a:lnTo>
                  <a:pt x="0" y="23"/>
                </a:lnTo>
                <a:lnTo>
                  <a:pt x="0" y="21"/>
                </a:lnTo>
                <a:lnTo>
                  <a:pt x="4" y="15"/>
                </a:lnTo>
                <a:lnTo>
                  <a:pt x="6" y="8"/>
                </a:lnTo>
                <a:lnTo>
                  <a:pt x="11" y="0"/>
                </a:lnTo>
                <a:lnTo>
                  <a:pt x="15"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5" name="Freeform 841"/>
          <p:cNvSpPr>
            <a:spLocks/>
          </p:cNvSpPr>
          <p:nvPr/>
        </p:nvSpPr>
        <p:spPr bwMode="auto">
          <a:xfrm>
            <a:off x="4249737" y="5469059"/>
            <a:ext cx="23813" cy="36513"/>
          </a:xfrm>
          <a:custGeom>
            <a:avLst/>
            <a:gdLst>
              <a:gd name="T0" fmla="*/ 15 w 15"/>
              <a:gd name="T1" fmla="*/ 2 h 23"/>
              <a:gd name="T2" fmla="*/ 11 w 15"/>
              <a:gd name="T3" fmla="*/ 10 h 23"/>
              <a:gd name="T4" fmla="*/ 0 w 15"/>
              <a:gd name="T5" fmla="*/ 23 h 23"/>
              <a:gd name="T6" fmla="*/ 0 w 15"/>
              <a:gd name="T7" fmla="*/ 21 h 23"/>
              <a:gd name="T8" fmla="*/ 4 w 15"/>
              <a:gd name="T9" fmla="*/ 15 h 23"/>
              <a:gd name="T10" fmla="*/ 6 w 15"/>
              <a:gd name="T11" fmla="*/ 8 h 23"/>
              <a:gd name="T12" fmla="*/ 11 w 15"/>
              <a:gd name="T13" fmla="*/ 0 h 23"/>
              <a:gd name="T14" fmla="*/ 15 w 15"/>
              <a:gd name="T15" fmla="*/ 2 h 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23">
                <a:moveTo>
                  <a:pt x="15" y="2"/>
                </a:moveTo>
                <a:lnTo>
                  <a:pt x="11" y="10"/>
                </a:lnTo>
                <a:lnTo>
                  <a:pt x="0" y="23"/>
                </a:lnTo>
                <a:lnTo>
                  <a:pt x="0" y="21"/>
                </a:lnTo>
                <a:lnTo>
                  <a:pt x="4" y="15"/>
                </a:lnTo>
                <a:lnTo>
                  <a:pt x="6" y="8"/>
                </a:lnTo>
                <a:lnTo>
                  <a:pt x="11" y="0"/>
                </a:lnTo>
                <a:lnTo>
                  <a:pt x="15"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6" name="Freeform 842"/>
          <p:cNvSpPr>
            <a:spLocks/>
          </p:cNvSpPr>
          <p:nvPr/>
        </p:nvSpPr>
        <p:spPr bwMode="auto">
          <a:xfrm>
            <a:off x="4279900" y="5418259"/>
            <a:ext cx="65088" cy="50800"/>
          </a:xfrm>
          <a:custGeom>
            <a:avLst/>
            <a:gdLst>
              <a:gd name="T0" fmla="*/ 2 w 41"/>
              <a:gd name="T1" fmla="*/ 23 h 32"/>
              <a:gd name="T2" fmla="*/ 11 w 41"/>
              <a:gd name="T3" fmla="*/ 23 h 32"/>
              <a:gd name="T4" fmla="*/ 17 w 41"/>
              <a:gd name="T5" fmla="*/ 15 h 32"/>
              <a:gd name="T6" fmla="*/ 30 w 41"/>
              <a:gd name="T7" fmla="*/ 8 h 32"/>
              <a:gd name="T8" fmla="*/ 38 w 41"/>
              <a:gd name="T9" fmla="*/ 0 h 32"/>
              <a:gd name="T10" fmla="*/ 41 w 41"/>
              <a:gd name="T11" fmla="*/ 2 h 32"/>
              <a:gd name="T12" fmla="*/ 38 w 41"/>
              <a:gd name="T13" fmla="*/ 10 h 32"/>
              <a:gd name="T14" fmla="*/ 24 w 41"/>
              <a:gd name="T15" fmla="*/ 17 h 32"/>
              <a:gd name="T16" fmla="*/ 2 w 41"/>
              <a:gd name="T17" fmla="*/ 32 h 32"/>
              <a:gd name="T18" fmla="*/ 0 w 41"/>
              <a:gd name="T19" fmla="*/ 25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11" y="23"/>
                </a:lnTo>
                <a:lnTo>
                  <a:pt x="17" y="15"/>
                </a:lnTo>
                <a:lnTo>
                  <a:pt x="30" y="8"/>
                </a:lnTo>
                <a:lnTo>
                  <a:pt x="38" y="0"/>
                </a:lnTo>
                <a:lnTo>
                  <a:pt x="41" y="2"/>
                </a:lnTo>
                <a:lnTo>
                  <a:pt x="38" y="10"/>
                </a:lnTo>
                <a:lnTo>
                  <a:pt x="24" y="17"/>
                </a:lnTo>
                <a:lnTo>
                  <a:pt x="2" y="32"/>
                </a:lnTo>
                <a:lnTo>
                  <a:pt x="0" y="25"/>
                </a:lnTo>
                <a:lnTo>
                  <a:pt x="2" y="2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7" name="Freeform 843"/>
          <p:cNvSpPr>
            <a:spLocks/>
          </p:cNvSpPr>
          <p:nvPr/>
        </p:nvSpPr>
        <p:spPr bwMode="auto">
          <a:xfrm>
            <a:off x="4279900" y="5418259"/>
            <a:ext cx="65088" cy="50800"/>
          </a:xfrm>
          <a:custGeom>
            <a:avLst/>
            <a:gdLst>
              <a:gd name="T0" fmla="*/ 2 w 41"/>
              <a:gd name="T1" fmla="*/ 23 h 32"/>
              <a:gd name="T2" fmla="*/ 11 w 41"/>
              <a:gd name="T3" fmla="*/ 23 h 32"/>
              <a:gd name="T4" fmla="*/ 17 w 41"/>
              <a:gd name="T5" fmla="*/ 15 h 32"/>
              <a:gd name="T6" fmla="*/ 30 w 41"/>
              <a:gd name="T7" fmla="*/ 8 h 32"/>
              <a:gd name="T8" fmla="*/ 38 w 41"/>
              <a:gd name="T9" fmla="*/ 0 h 32"/>
              <a:gd name="T10" fmla="*/ 41 w 41"/>
              <a:gd name="T11" fmla="*/ 2 h 32"/>
              <a:gd name="T12" fmla="*/ 38 w 41"/>
              <a:gd name="T13" fmla="*/ 10 h 32"/>
              <a:gd name="T14" fmla="*/ 24 w 41"/>
              <a:gd name="T15" fmla="*/ 17 h 32"/>
              <a:gd name="T16" fmla="*/ 2 w 41"/>
              <a:gd name="T17" fmla="*/ 32 h 32"/>
              <a:gd name="T18" fmla="*/ 0 w 41"/>
              <a:gd name="T19" fmla="*/ 25 h 32"/>
              <a:gd name="T20" fmla="*/ 2 w 41"/>
              <a:gd name="T21" fmla="*/ 23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 h="32">
                <a:moveTo>
                  <a:pt x="2" y="23"/>
                </a:moveTo>
                <a:lnTo>
                  <a:pt x="11" y="23"/>
                </a:lnTo>
                <a:lnTo>
                  <a:pt x="17" y="15"/>
                </a:lnTo>
                <a:lnTo>
                  <a:pt x="30" y="8"/>
                </a:lnTo>
                <a:lnTo>
                  <a:pt x="38" y="0"/>
                </a:lnTo>
                <a:lnTo>
                  <a:pt x="41" y="2"/>
                </a:lnTo>
                <a:lnTo>
                  <a:pt x="38" y="10"/>
                </a:lnTo>
                <a:lnTo>
                  <a:pt x="24" y="17"/>
                </a:lnTo>
                <a:lnTo>
                  <a:pt x="2" y="32"/>
                </a:lnTo>
                <a:lnTo>
                  <a:pt x="0" y="25"/>
                </a:lnTo>
                <a:lnTo>
                  <a:pt x="2" y="2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38" name="Freeform 844"/>
          <p:cNvSpPr>
            <a:spLocks/>
          </p:cNvSpPr>
          <p:nvPr/>
        </p:nvSpPr>
        <p:spPr bwMode="auto">
          <a:xfrm>
            <a:off x="4549775" y="5248396"/>
            <a:ext cx="44450" cy="38100"/>
          </a:xfrm>
          <a:custGeom>
            <a:avLst/>
            <a:gdLst>
              <a:gd name="T0" fmla="*/ 22 w 28"/>
              <a:gd name="T1" fmla="*/ 9 h 24"/>
              <a:gd name="T2" fmla="*/ 0 w 28"/>
              <a:gd name="T3" fmla="*/ 24 h 24"/>
              <a:gd name="T4" fmla="*/ 3 w 28"/>
              <a:gd name="T5" fmla="*/ 19 h 24"/>
              <a:gd name="T6" fmla="*/ 11 w 28"/>
              <a:gd name="T7" fmla="*/ 15 h 24"/>
              <a:gd name="T8" fmla="*/ 20 w 28"/>
              <a:gd name="T9" fmla="*/ 5 h 24"/>
              <a:gd name="T10" fmla="*/ 28 w 28"/>
              <a:gd name="T11" fmla="*/ 0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0" y="24"/>
                </a:lnTo>
                <a:lnTo>
                  <a:pt x="3" y="19"/>
                </a:lnTo>
                <a:lnTo>
                  <a:pt x="11" y="15"/>
                </a:lnTo>
                <a:lnTo>
                  <a:pt x="20" y="5"/>
                </a:lnTo>
                <a:lnTo>
                  <a:pt x="28" y="0"/>
                </a:lnTo>
                <a:lnTo>
                  <a:pt x="22" y="9"/>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39" name="Freeform 845"/>
          <p:cNvSpPr>
            <a:spLocks/>
          </p:cNvSpPr>
          <p:nvPr/>
        </p:nvSpPr>
        <p:spPr bwMode="auto">
          <a:xfrm>
            <a:off x="4549775" y="5248396"/>
            <a:ext cx="44450" cy="38100"/>
          </a:xfrm>
          <a:custGeom>
            <a:avLst/>
            <a:gdLst>
              <a:gd name="T0" fmla="*/ 22 w 28"/>
              <a:gd name="T1" fmla="*/ 9 h 24"/>
              <a:gd name="T2" fmla="*/ 0 w 28"/>
              <a:gd name="T3" fmla="*/ 24 h 24"/>
              <a:gd name="T4" fmla="*/ 3 w 28"/>
              <a:gd name="T5" fmla="*/ 19 h 24"/>
              <a:gd name="T6" fmla="*/ 11 w 28"/>
              <a:gd name="T7" fmla="*/ 15 h 24"/>
              <a:gd name="T8" fmla="*/ 20 w 28"/>
              <a:gd name="T9" fmla="*/ 5 h 24"/>
              <a:gd name="T10" fmla="*/ 28 w 28"/>
              <a:gd name="T11" fmla="*/ 0 h 24"/>
              <a:gd name="T12" fmla="*/ 22 w 28"/>
              <a:gd name="T13" fmla="*/ 9 h 24"/>
            </a:gdLst>
            <a:ahLst/>
            <a:cxnLst>
              <a:cxn ang="0">
                <a:pos x="T0" y="T1"/>
              </a:cxn>
              <a:cxn ang="0">
                <a:pos x="T2" y="T3"/>
              </a:cxn>
              <a:cxn ang="0">
                <a:pos x="T4" y="T5"/>
              </a:cxn>
              <a:cxn ang="0">
                <a:pos x="T6" y="T7"/>
              </a:cxn>
              <a:cxn ang="0">
                <a:pos x="T8" y="T9"/>
              </a:cxn>
              <a:cxn ang="0">
                <a:pos x="T10" y="T11"/>
              </a:cxn>
              <a:cxn ang="0">
                <a:pos x="T12" y="T13"/>
              </a:cxn>
            </a:cxnLst>
            <a:rect l="0" t="0" r="r" b="b"/>
            <a:pathLst>
              <a:path w="28" h="24">
                <a:moveTo>
                  <a:pt x="22" y="9"/>
                </a:moveTo>
                <a:lnTo>
                  <a:pt x="0" y="24"/>
                </a:lnTo>
                <a:lnTo>
                  <a:pt x="3" y="19"/>
                </a:lnTo>
                <a:lnTo>
                  <a:pt x="11" y="15"/>
                </a:lnTo>
                <a:lnTo>
                  <a:pt x="20" y="5"/>
                </a:lnTo>
                <a:lnTo>
                  <a:pt x="28" y="0"/>
                </a:lnTo>
                <a:lnTo>
                  <a:pt x="22" y="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0" name="Freeform 846"/>
          <p:cNvSpPr>
            <a:spLocks/>
          </p:cNvSpPr>
          <p:nvPr/>
        </p:nvSpPr>
        <p:spPr bwMode="auto">
          <a:xfrm>
            <a:off x="5016500" y="5178546"/>
            <a:ext cx="50800" cy="26988"/>
          </a:xfrm>
          <a:custGeom>
            <a:avLst/>
            <a:gdLst>
              <a:gd name="T0" fmla="*/ 32 w 32"/>
              <a:gd name="T1" fmla="*/ 8 h 17"/>
              <a:gd name="T2" fmla="*/ 32 w 32"/>
              <a:gd name="T3" fmla="*/ 8 h 17"/>
              <a:gd name="T4" fmla="*/ 30 w 32"/>
              <a:gd name="T5" fmla="*/ 6 h 17"/>
              <a:gd name="T6" fmla="*/ 15 w 32"/>
              <a:gd name="T7" fmla="*/ 0 h 17"/>
              <a:gd name="T8" fmla="*/ 0 w 32"/>
              <a:gd name="T9" fmla="*/ 6 h 17"/>
              <a:gd name="T10" fmla="*/ 5 w 32"/>
              <a:gd name="T11" fmla="*/ 10 h 17"/>
              <a:gd name="T12" fmla="*/ 13 w 32"/>
              <a:gd name="T13" fmla="*/ 12 h 17"/>
              <a:gd name="T14" fmla="*/ 19 w 32"/>
              <a:gd name="T15" fmla="*/ 17 h 17"/>
              <a:gd name="T16" fmla="*/ 28 w 32"/>
              <a:gd name="T17" fmla="*/ 15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32" y="8"/>
                </a:lnTo>
                <a:lnTo>
                  <a:pt x="30" y="6"/>
                </a:lnTo>
                <a:lnTo>
                  <a:pt x="15" y="0"/>
                </a:lnTo>
                <a:lnTo>
                  <a:pt x="0" y="6"/>
                </a:lnTo>
                <a:lnTo>
                  <a:pt x="5" y="10"/>
                </a:lnTo>
                <a:lnTo>
                  <a:pt x="13" y="12"/>
                </a:lnTo>
                <a:lnTo>
                  <a:pt x="19" y="17"/>
                </a:lnTo>
                <a:lnTo>
                  <a:pt x="28" y="15"/>
                </a:lnTo>
                <a:lnTo>
                  <a:pt x="32" y="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1" name="Freeform 847"/>
          <p:cNvSpPr>
            <a:spLocks/>
          </p:cNvSpPr>
          <p:nvPr/>
        </p:nvSpPr>
        <p:spPr bwMode="auto">
          <a:xfrm>
            <a:off x="5016500" y="5178546"/>
            <a:ext cx="50800" cy="26988"/>
          </a:xfrm>
          <a:custGeom>
            <a:avLst/>
            <a:gdLst>
              <a:gd name="T0" fmla="*/ 32 w 32"/>
              <a:gd name="T1" fmla="*/ 8 h 17"/>
              <a:gd name="T2" fmla="*/ 32 w 32"/>
              <a:gd name="T3" fmla="*/ 8 h 17"/>
              <a:gd name="T4" fmla="*/ 30 w 32"/>
              <a:gd name="T5" fmla="*/ 6 h 17"/>
              <a:gd name="T6" fmla="*/ 15 w 32"/>
              <a:gd name="T7" fmla="*/ 0 h 17"/>
              <a:gd name="T8" fmla="*/ 0 w 32"/>
              <a:gd name="T9" fmla="*/ 6 h 17"/>
              <a:gd name="T10" fmla="*/ 5 w 32"/>
              <a:gd name="T11" fmla="*/ 10 h 17"/>
              <a:gd name="T12" fmla="*/ 13 w 32"/>
              <a:gd name="T13" fmla="*/ 12 h 17"/>
              <a:gd name="T14" fmla="*/ 19 w 32"/>
              <a:gd name="T15" fmla="*/ 17 h 17"/>
              <a:gd name="T16" fmla="*/ 28 w 32"/>
              <a:gd name="T17" fmla="*/ 15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32" y="8"/>
                </a:lnTo>
                <a:lnTo>
                  <a:pt x="30" y="6"/>
                </a:lnTo>
                <a:lnTo>
                  <a:pt x="15" y="0"/>
                </a:lnTo>
                <a:lnTo>
                  <a:pt x="0" y="6"/>
                </a:lnTo>
                <a:lnTo>
                  <a:pt x="5" y="10"/>
                </a:lnTo>
                <a:lnTo>
                  <a:pt x="13" y="12"/>
                </a:lnTo>
                <a:lnTo>
                  <a:pt x="19" y="17"/>
                </a:lnTo>
                <a:lnTo>
                  <a:pt x="28" y="15"/>
                </a:lnTo>
                <a:lnTo>
                  <a:pt x="32" y="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2" name="Freeform 848"/>
          <p:cNvSpPr>
            <a:spLocks/>
          </p:cNvSpPr>
          <p:nvPr/>
        </p:nvSpPr>
        <p:spPr bwMode="auto">
          <a:xfrm>
            <a:off x="5135562" y="5218234"/>
            <a:ext cx="23813" cy="26988"/>
          </a:xfrm>
          <a:custGeom>
            <a:avLst/>
            <a:gdLst>
              <a:gd name="T0" fmla="*/ 15 w 15"/>
              <a:gd name="T1" fmla="*/ 15 h 17"/>
              <a:gd name="T2" fmla="*/ 13 w 15"/>
              <a:gd name="T3" fmla="*/ 9 h 17"/>
              <a:gd name="T4" fmla="*/ 6 w 15"/>
              <a:gd name="T5" fmla="*/ 0 h 17"/>
              <a:gd name="T6" fmla="*/ 0 w 15"/>
              <a:gd name="T7" fmla="*/ 9 h 17"/>
              <a:gd name="T8" fmla="*/ 0 w 15"/>
              <a:gd name="T9" fmla="*/ 11 h 17"/>
              <a:gd name="T10" fmla="*/ 6 w 15"/>
              <a:gd name="T11" fmla="*/ 17 h 17"/>
              <a:gd name="T12" fmla="*/ 13 w 15"/>
              <a:gd name="T13" fmla="*/ 17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9"/>
                </a:lnTo>
                <a:lnTo>
                  <a:pt x="6" y="0"/>
                </a:lnTo>
                <a:lnTo>
                  <a:pt x="0" y="9"/>
                </a:lnTo>
                <a:lnTo>
                  <a:pt x="0" y="11"/>
                </a:lnTo>
                <a:lnTo>
                  <a:pt x="6" y="17"/>
                </a:lnTo>
                <a:lnTo>
                  <a:pt x="13" y="17"/>
                </a:lnTo>
                <a:lnTo>
                  <a:pt x="15" y="1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3" name="Freeform 849"/>
          <p:cNvSpPr>
            <a:spLocks/>
          </p:cNvSpPr>
          <p:nvPr/>
        </p:nvSpPr>
        <p:spPr bwMode="auto">
          <a:xfrm>
            <a:off x="5135562" y="5218234"/>
            <a:ext cx="23813" cy="26988"/>
          </a:xfrm>
          <a:custGeom>
            <a:avLst/>
            <a:gdLst>
              <a:gd name="T0" fmla="*/ 15 w 15"/>
              <a:gd name="T1" fmla="*/ 15 h 17"/>
              <a:gd name="T2" fmla="*/ 13 w 15"/>
              <a:gd name="T3" fmla="*/ 9 h 17"/>
              <a:gd name="T4" fmla="*/ 6 w 15"/>
              <a:gd name="T5" fmla="*/ 0 h 17"/>
              <a:gd name="T6" fmla="*/ 0 w 15"/>
              <a:gd name="T7" fmla="*/ 9 h 17"/>
              <a:gd name="T8" fmla="*/ 0 w 15"/>
              <a:gd name="T9" fmla="*/ 11 h 17"/>
              <a:gd name="T10" fmla="*/ 6 w 15"/>
              <a:gd name="T11" fmla="*/ 17 h 17"/>
              <a:gd name="T12" fmla="*/ 13 w 15"/>
              <a:gd name="T13" fmla="*/ 17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9"/>
                </a:lnTo>
                <a:lnTo>
                  <a:pt x="6" y="0"/>
                </a:lnTo>
                <a:lnTo>
                  <a:pt x="0" y="9"/>
                </a:lnTo>
                <a:lnTo>
                  <a:pt x="0" y="11"/>
                </a:lnTo>
                <a:lnTo>
                  <a:pt x="6" y="17"/>
                </a:lnTo>
                <a:lnTo>
                  <a:pt x="13" y="17"/>
                </a:lnTo>
                <a:lnTo>
                  <a:pt x="15" y="1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4" name="Freeform 850"/>
          <p:cNvSpPr>
            <a:spLocks/>
          </p:cNvSpPr>
          <p:nvPr/>
        </p:nvSpPr>
        <p:spPr bwMode="auto">
          <a:xfrm>
            <a:off x="4689475" y="4568946"/>
            <a:ext cx="800100" cy="709613"/>
          </a:xfrm>
          <a:custGeom>
            <a:avLst/>
            <a:gdLst>
              <a:gd name="T0" fmla="*/ 264 w 504"/>
              <a:gd name="T1" fmla="*/ 11 h 447"/>
              <a:gd name="T2" fmla="*/ 270 w 504"/>
              <a:gd name="T3" fmla="*/ 28 h 447"/>
              <a:gd name="T4" fmla="*/ 281 w 504"/>
              <a:gd name="T5" fmla="*/ 51 h 447"/>
              <a:gd name="T6" fmla="*/ 287 w 504"/>
              <a:gd name="T7" fmla="*/ 68 h 447"/>
              <a:gd name="T8" fmla="*/ 291 w 504"/>
              <a:gd name="T9" fmla="*/ 79 h 447"/>
              <a:gd name="T10" fmla="*/ 289 w 504"/>
              <a:gd name="T11" fmla="*/ 96 h 447"/>
              <a:gd name="T12" fmla="*/ 283 w 504"/>
              <a:gd name="T13" fmla="*/ 111 h 447"/>
              <a:gd name="T14" fmla="*/ 255 w 504"/>
              <a:gd name="T15" fmla="*/ 149 h 447"/>
              <a:gd name="T16" fmla="*/ 245 w 504"/>
              <a:gd name="T17" fmla="*/ 171 h 447"/>
              <a:gd name="T18" fmla="*/ 234 w 504"/>
              <a:gd name="T19" fmla="*/ 200 h 447"/>
              <a:gd name="T20" fmla="*/ 330 w 504"/>
              <a:gd name="T21" fmla="*/ 224 h 447"/>
              <a:gd name="T22" fmla="*/ 413 w 504"/>
              <a:gd name="T23" fmla="*/ 254 h 447"/>
              <a:gd name="T24" fmla="*/ 436 w 504"/>
              <a:gd name="T25" fmla="*/ 292 h 447"/>
              <a:gd name="T26" fmla="*/ 438 w 504"/>
              <a:gd name="T27" fmla="*/ 311 h 447"/>
              <a:gd name="T28" fmla="*/ 419 w 504"/>
              <a:gd name="T29" fmla="*/ 305 h 447"/>
              <a:gd name="T30" fmla="*/ 383 w 504"/>
              <a:gd name="T31" fmla="*/ 290 h 447"/>
              <a:gd name="T32" fmla="*/ 370 w 504"/>
              <a:gd name="T33" fmla="*/ 326 h 447"/>
              <a:gd name="T34" fmla="*/ 421 w 504"/>
              <a:gd name="T35" fmla="*/ 318 h 447"/>
              <a:gd name="T36" fmla="*/ 432 w 504"/>
              <a:gd name="T37" fmla="*/ 322 h 447"/>
              <a:gd name="T38" fmla="*/ 434 w 504"/>
              <a:gd name="T39" fmla="*/ 343 h 447"/>
              <a:gd name="T40" fmla="*/ 458 w 504"/>
              <a:gd name="T41" fmla="*/ 328 h 447"/>
              <a:gd name="T42" fmla="*/ 460 w 504"/>
              <a:gd name="T43" fmla="*/ 352 h 447"/>
              <a:gd name="T44" fmla="*/ 447 w 504"/>
              <a:gd name="T45" fmla="*/ 367 h 447"/>
              <a:gd name="T46" fmla="*/ 445 w 504"/>
              <a:gd name="T47" fmla="*/ 386 h 447"/>
              <a:gd name="T48" fmla="*/ 487 w 504"/>
              <a:gd name="T49" fmla="*/ 401 h 447"/>
              <a:gd name="T50" fmla="*/ 498 w 504"/>
              <a:gd name="T51" fmla="*/ 420 h 447"/>
              <a:gd name="T52" fmla="*/ 479 w 504"/>
              <a:gd name="T53" fmla="*/ 433 h 447"/>
              <a:gd name="T54" fmla="*/ 477 w 504"/>
              <a:gd name="T55" fmla="*/ 418 h 447"/>
              <a:gd name="T56" fmla="*/ 453 w 504"/>
              <a:gd name="T57" fmla="*/ 413 h 447"/>
              <a:gd name="T58" fmla="*/ 432 w 504"/>
              <a:gd name="T59" fmla="*/ 399 h 447"/>
              <a:gd name="T60" fmla="*/ 387 w 504"/>
              <a:gd name="T61" fmla="*/ 381 h 447"/>
              <a:gd name="T62" fmla="*/ 404 w 504"/>
              <a:gd name="T63" fmla="*/ 420 h 447"/>
              <a:gd name="T64" fmla="*/ 385 w 504"/>
              <a:gd name="T65" fmla="*/ 418 h 447"/>
              <a:gd name="T66" fmla="*/ 355 w 504"/>
              <a:gd name="T67" fmla="*/ 413 h 447"/>
              <a:gd name="T68" fmla="*/ 334 w 504"/>
              <a:gd name="T69" fmla="*/ 430 h 447"/>
              <a:gd name="T70" fmla="*/ 298 w 504"/>
              <a:gd name="T71" fmla="*/ 426 h 447"/>
              <a:gd name="T72" fmla="*/ 283 w 504"/>
              <a:gd name="T73" fmla="*/ 392 h 447"/>
              <a:gd name="T74" fmla="*/ 277 w 504"/>
              <a:gd name="T75" fmla="*/ 396 h 447"/>
              <a:gd name="T76" fmla="*/ 245 w 504"/>
              <a:gd name="T77" fmla="*/ 371 h 447"/>
              <a:gd name="T78" fmla="*/ 208 w 504"/>
              <a:gd name="T79" fmla="*/ 367 h 447"/>
              <a:gd name="T80" fmla="*/ 202 w 504"/>
              <a:gd name="T81" fmla="*/ 390 h 447"/>
              <a:gd name="T82" fmla="*/ 130 w 504"/>
              <a:gd name="T83" fmla="*/ 388 h 447"/>
              <a:gd name="T84" fmla="*/ 79 w 504"/>
              <a:gd name="T85" fmla="*/ 371 h 447"/>
              <a:gd name="T86" fmla="*/ 79 w 504"/>
              <a:gd name="T87" fmla="*/ 343 h 447"/>
              <a:gd name="T88" fmla="*/ 40 w 504"/>
              <a:gd name="T89" fmla="*/ 379 h 447"/>
              <a:gd name="T90" fmla="*/ 36 w 504"/>
              <a:gd name="T91" fmla="*/ 360 h 447"/>
              <a:gd name="T92" fmla="*/ 42 w 504"/>
              <a:gd name="T93" fmla="*/ 335 h 447"/>
              <a:gd name="T94" fmla="*/ 42 w 504"/>
              <a:gd name="T95" fmla="*/ 279 h 447"/>
              <a:gd name="T96" fmla="*/ 55 w 504"/>
              <a:gd name="T97" fmla="*/ 243 h 447"/>
              <a:gd name="T98" fmla="*/ 51 w 504"/>
              <a:gd name="T99" fmla="*/ 215 h 447"/>
              <a:gd name="T100" fmla="*/ 30 w 504"/>
              <a:gd name="T101" fmla="*/ 177 h 447"/>
              <a:gd name="T102" fmla="*/ 2 w 504"/>
              <a:gd name="T103" fmla="*/ 12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447">
                <a:moveTo>
                  <a:pt x="0" y="13"/>
                </a:moveTo>
                <a:lnTo>
                  <a:pt x="115" y="9"/>
                </a:lnTo>
                <a:lnTo>
                  <a:pt x="268" y="0"/>
                </a:lnTo>
                <a:lnTo>
                  <a:pt x="266" y="4"/>
                </a:lnTo>
                <a:lnTo>
                  <a:pt x="264" y="11"/>
                </a:lnTo>
                <a:lnTo>
                  <a:pt x="270" y="7"/>
                </a:lnTo>
                <a:lnTo>
                  <a:pt x="277" y="7"/>
                </a:lnTo>
                <a:lnTo>
                  <a:pt x="277" y="13"/>
                </a:lnTo>
                <a:lnTo>
                  <a:pt x="270" y="19"/>
                </a:lnTo>
                <a:lnTo>
                  <a:pt x="270" y="28"/>
                </a:lnTo>
                <a:lnTo>
                  <a:pt x="279" y="32"/>
                </a:lnTo>
                <a:lnTo>
                  <a:pt x="270" y="41"/>
                </a:lnTo>
                <a:lnTo>
                  <a:pt x="272" y="45"/>
                </a:lnTo>
                <a:lnTo>
                  <a:pt x="285" y="43"/>
                </a:lnTo>
                <a:lnTo>
                  <a:pt x="281" y="51"/>
                </a:lnTo>
                <a:lnTo>
                  <a:pt x="285" y="58"/>
                </a:lnTo>
                <a:lnTo>
                  <a:pt x="279" y="56"/>
                </a:lnTo>
                <a:lnTo>
                  <a:pt x="277" y="58"/>
                </a:lnTo>
                <a:lnTo>
                  <a:pt x="281" y="64"/>
                </a:lnTo>
                <a:lnTo>
                  <a:pt x="287" y="68"/>
                </a:lnTo>
                <a:lnTo>
                  <a:pt x="289" y="73"/>
                </a:lnTo>
                <a:lnTo>
                  <a:pt x="298" y="75"/>
                </a:lnTo>
                <a:lnTo>
                  <a:pt x="298" y="77"/>
                </a:lnTo>
                <a:lnTo>
                  <a:pt x="298" y="79"/>
                </a:lnTo>
                <a:lnTo>
                  <a:pt x="291" y="79"/>
                </a:lnTo>
                <a:lnTo>
                  <a:pt x="287" y="85"/>
                </a:lnTo>
                <a:lnTo>
                  <a:pt x="279" y="88"/>
                </a:lnTo>
                <a:lnTo>
                  <a:pt x="274" y="96"/>
                </a:lnTo>
                <a:lnTo>
                  <a:pt x="281" y="96"/>
                </a:lnTo>
                <a:lnTo>
                  <a:pt x="289" y="96"/>
                </a:lnTo>
                <a:lnTo>
                  <a:pt x="283" y="102"/>
                </a:lnTo>
                <a:lnTo>
                  <a:pt x="283" y="107"/>
                </a:lnTo>
                <a:lnTo>
                  <a:pt x="277" y="107"/>
                </a:lnTo>
                <a:lnTo>
                  <a:pt x="283" y="109"/>
                </a:lnTo>
                <a:lnTo>
                  <a:pt x="283" y="111"/>
                </a:lnTo>
                <a:lnTo>
                  <a:pt x="268" y="130"/>
                </a:lnTo>
                <a:lnTo>
                  <a:pt x="262" y="132"/>
                </a:lnTo>
                <a:lnTo>
                  <a:pt x="257" y="139"/>
                </a:lnTo>
                <a:lnTo>
                  <a:pt x="264" y="143"/>
                </a:lnTo>
                <a:lnTo>
                  <a:pt x="255" y="149"/>
                </a:lnTo>
                <a:lnTo>
                  <a:pt x="255" y="156"/>
                </a:lnTo>
                <a:lnTo>
                  <a:pt x="247" y="162"/>
                </a:lnTo>
                <a:lnTo>
                  <a:pt x="253" y="162"/>
                </a:lnTo>
                <a:lnTo>
                  <a:pt x="253" y="164"/>
                </a:lnTo>
                <a:lnTo>
                  <a:pt x="245" y="171"/>
                </a:lnTo>
                <a:lnTo>
                  <a:pt x="249" y="186"/>
                </a:lnTo>
                <a:lnTo>
                  <a:pt x="240" y="186"/>
                </a:lnTo>
                <a:lnTo>
                  <a:pt x="247" y="192"/>
                </a:lnTo>
                <a:lnTo>
                  <a:pt x="245" y="198"/>
                </a:lnTo>
                <a:lnTo>
                  <a:pt x="234" y="200"/>
                </a:lnTo>
                <a:lnTo>
                  <a:pt x="238" y="207"/>
                </a:lnTo>
                <a:lnTo>
                  <a:pt x="238" y="215"/>
                </a:lnTo>
                <a:lnTo>
                  <a:pt x="243" y="222"/>
                </a:lnTo>
                <a:lnTo>
                  <a:pt x="236" y="230"/>
                </a:lnTo>
                <a:lnTo>
                  <a:pt x="330" y="224"/>
                </a:lnTo>
                <a:lnTo>
                  <a:pt x="419" y="217"/>
                </a:lnTo>
                <a:lnTo>
                  <a:pt x="421" y="220"/>
                </a:lnTo>
                <a:lnTo>
                  <a:pt x="419" y="226"/>
                </a:lnTo>
                <a:lnTo>
                  <a:pt x="415" y="241"/>
                </a:lnTo>
                <a:lnTo>
                  <a:pt x="413" y="254"/>
                </a:lnTo>
                <a:lnTo>
                  <a:pt x="415" y="260"/>
                </a:lnTo>
                <a:lnTo>
                  <a:pt x="419" y="269"/>
                </a:lnTo>
                <a:lnTo>
                  <a:pt x="430" y="277"/>
                </a:lnTo>
                <a:lnTo>
                  <a:pt x="432" y="283"/>
                </a:lnTo>
                <a:lnTo>
                  <a:pt x="436" y="292"/>
                </a:lnTo>
                <a:lnTo>
                  <a:pt x="434" y="294"/>
                </a:lnTo>
                <a:lnTo>
                  <a:pt x="438" y="303"/>
                </a:lnTo>
                <a:lnTo>
                  <a:pt x="445" y="305"/>
                </a:lnTo>
                <a:lnTo>
                  <a:pt x="447" y="307"/>
                </a:lnTo>
                <a:lnTo>
                  <a:pt x="438" y="311"/>
                </a:lnTo>
                <a:lnTo>
                  <a:pt x="438" y="309"/>
                </a:lnTo>
                <a:lnTo>
                  <a:pt x="436" y="311"/>
                </a:lnTo>
                <a:lnTo>
                  <a:pt x="428" y="309"/>
                </a:lnTo>
                <a:lnTo>
                  <a:pt x="421" y="303"/>
                </a:lnTo>
                <a:lnTo>
                  <a:pt x="419" y="305"/>
                </a:lnTo>
                <a:lnTo>
                  <a:pt x="415" y="303"/>
                </a:lnTo>
                <a:lnTo>
                  <a:pt x="406" y="303"/>
                </a:lnTo>
                <a:lnTo>
                  <a:pt x="400" y="296"/>
                </a:lnTo>
                <a:lnTo>
                  <a:pt x="392" y="292"/>
                </a:lnTo>
                <a:lnTo>
                  <a:pt x="383" y="290"/>
                </a:lnTo>
                <a:lnTo>
                  <a:pt x="377" y="292"/>
                </a:lnTo>
                <a:lnTo>
                  <a:pt x="366" y="307"/>
                </a:lnTo>
                <a:lnTo>
                  <a:pt x="360" y="313"/>
                </a:lnTo>
                <a:lnTo>
                  <a:pt x="360" y="322"/>
                </a:lnTo>
                <a:lnTo>
                  <a:pt x="370" y="326"/>
                </a:lnTo>
                <a:lnTo>
                  <a:pt x="381" y="326"/>
                </a:lnTo>
                <a:lnTo>
                  <a:pt x="402" y="324"/>
                </a:lnTo>
                <a:lnTo>
                  <a:pt x="409" y="320"/>
                </a:lnTo>
                <a:lnTo>
                  <a:pt x="415" y="313"/>
                </a:lnTo>
                <a:lnTo>
                  <a:pt x="421" y="318"/>
                </a:lnTo>
                <a:lnTo>
                  <a:pt x="426" y="311"/>
                </a:lnTo>
                <a:lnTo>
                  <a:pt x="428" y="318"/>
                </a:lnTo>
                <a:lnTo>
                  <a:pt x="434" y="313"/>
                </a:lnTo>
                <a:lnTo>
                  <a:pt x="436" y="313"/>
                </a:lnTo>
                <a:lnTo>
                  <a:pt x="432" y="322"/>
                </a:lnTo>
                <a:lnTo>
                  <a:pt x="417" y="330"/>
                </a:lnTo>
                <a:lnTo>
                  <a:pt x="417" y="332"/>
                </a:lnTo>
                <a:lnTo>
                  <a:pt x="424" y="337"/>
                </a:lnTo>
                <a:lnTo>
                  <a:pt x="430" y="337"/>
                </a:lnTo>
                <a:lnTo>
                  <a:pt x="434" y="343"/>
                </a:lnTo>
                <a:lnTo>
                  <a:pt x="441" y="343"/>
                </a:lnTo>
                <a:lnTo>
                  <a:pt x="445" y="337"/>
                </a:lnTo>
                <a:lnTo>
                  <a:pt x="445" y="328"/>
                </a:lnTo>
                <a:lnTo>
                  <a:pt x="455" y="320"/>
                </a:lnTo>
                <a:lnTo>
                  <a:pt x="458" y="328"/>
                </a:lnTo>
                <a:lnTo>
                  <a:pt x="458" y="337"/>
                </a:lnTo>
                <a:lnTo>
                  <a:pt x="464" y="339"/>
                </a:lnTo>
                <a:lnTo>
                  <a:pt x="464" y="345"/>
                </a:lnTo>
                <a:lnTo>
                  <a:pt x="462" y="354"/>
                </a:lnTo>
                <a:lnTo>
                  <a:pt x="460" y="352"/>
                </a:lnTo>
                <a:lnTo>
                  <a:pt x="453" y="350"/>
                </a:lnTo>
                <a:lnTo>
                  <a:pt x="445" y="358"/>
                </a:lnTo>
                <a:lnTo>
                  <a:pt x="449" y="364"/>
                </a:lnTo>
                <a:lnTo>
                  <a:pt x="453" y="371"/>
                </a:lnTo>
                <a:lnTo>
                  <a:pt x="447" y="367"/>
                </a:lnTo>
                <a:lnTo>
                  <a:pt x="441" y="369"/>
                </a:lnTo>
                <a:lnTo>
                  <a:pt x="443" y="373"/>
                </a:lnTo>
                <a:lnTo>
                  <a:pt x="434" y="375"/>
                </a:lnTo>
                <a:lnTo>
                  <a:pt x="438" y="384"/>
                </a:lnTo>
                <a:lnTo>
                  <a:pt x="445" y="386"/>
                </a:lnTo>
                <a:lnTo>
                  <a:pt x="453" y="388"/>
                </a:lnTo>
                <a:lnTo>
                  <a:pt x="458" y="396"/>
                </a:lnTo>
                <a:lnTo>
                  <a:pt x="466" y="396"/>
                </a:lnTo>
                <a:lnTo>
                  <a:pt x="475" y="401"/>
                </a:lnTo>
                <a:lnTo>
                  <a:pt x="487" y="401"/>
                </a:lnTo>
                <a:lnTo>
                  <a:pt x="494" y="405"/>
                </a:lnTo>
                <a:lnTo>
                  <a:pt x="498" y="413"/>
                </a:lnTo>
                <a:lnTo>
                  <a:pt x="504" y="416"/>
                </a:lnTo>
                <a:lnTo>
                  <a:pt x="504" y="418"/>
                </a:lnTo>
                <a:lnTo>
                  <a:pt x="498" y="420"/>
                </a:lnTo>
                <a:lnTo>
                  <a:pt x="498" y="424"/>
                </a:lnTo>
                <a:lnTo>
                  <a:pt x="496" y="430"/>
                </a:lnTo>
                <a:lnTo>
                  <a:pt x="494" y="437"/>
                </a:lnTo>
                <a:lnTo>
                  <a:pt x="483" y="426"/>
                </a:lnTo>
                <a:lnTo>
                  <a:pt x="479" y="433"/>
                </a:lnTo>
                <a:lnTo>
                  <a:pt x="477" y="441"/>
                </a:lnTo>
                <a:lnTo>
                  <a:pt x="468" y="447"/>
                </a:lnTo>
                <a:lnTo>
                  <a:pt x="475" y="433"/>
                </a:lnTo>
                <a:lnTo>
                  <a:pt x="479" y="426"/>
                </a:lnTo>
                <a:lnTo>
                  <a:pt x="477" y="418"/>
                </a:lnTo>
                <a:lnTo>
                  <a:pt x="475" y="428"/>
                </a:lnTo>
                <a:lnTo>
                  <a:pt x="468" y="426"/>
                </a:lnTo>
                <a:lnTo>
                  <a:pt x="464" y="418"/>
                </a:lnTo>
                <a:lnTo>
                  <a:pt x="462" y="411"/>
                </a:lnTo>
                <a:lnTo>
                  <a:pt x="453" y="413"/>
                </a:lnTo>
                <a:lnTo>
                  <a:pt x="445" y="411"/>
                </a:lnTo>
                <a:lnTo>
                  <a:pt x="441" y="405"/>
                </a:lnTo>
                <a:lnTo>
                  <a:pt x="434" y="407"/>
                </a:lnTo>
                <a:lnTo>
                  <a:pt x="426" y="407"/>
                </a:lnTo>
                <a:lnTo>
                  <a:pt x="432" y="399"/>
                </a:lnTo>
                <a:lnTo>
                  <a:pt x="428" y="396"/>
                </a:lnTo>
                <a:lnTo>
                  <a:pt x="421" y="392"/>
                </a:lnTo>
                <a:lnTo>
                  <a:pt x="415" y="392"/>
                </a:lnTo>
                <a:lnTo>
                  <a:pt x="387" y="381"/>
                </a:lnTo>
                <a:lnTo>
                  <a:pt x="387" y="381"/>
                </a:lnTo>
                <a:lnTo>
                  <a:pt x="389" y="388"/>
                </a:lnTo>
                <a:lnTo>
                  <a:pt x="404" y="396"/>
                </a:lnTo>
                <a:lnTo>
                  <a:pt x="406" y="411"/>
                </a:lnTo>
                <a:lnTo>
                  <a:pt x="398" y="413"/>
                </a:lnTo>
                <a:lnTo>
                  <a:pt x="404" y="420"/>
                </a:lnTo>
                <a:lnTo>
                  <a:pt x="400" y="426"/>
                </a:lnTo>
                <a:lnTo>
                  <a:pt x="394" y="433"/>
                </a:lnTo>
                <a:lnTo>
                  <a:pt x="387" y="435"/>
                </a:lnTo>
                <a:lnTo>
                  <a:pt x="383" y="428"/>
                </a:lnTo>
                <a:lnTo>
                  <a:pt x="385" y="418"/>
                </a:lnTo>
                <a:lnTo>
                  <a:pt x="377" y="416"/>
                </a:lnTo>
                <a:lnTo>
                  <a:pt x="370" y="418"/>
                </a:lnTo>
                <a:lnTo>
                  <a:pt x="366" y="409"/>
                </a:lnTo>
                <a:lnTo>
                  <a:pt x="364" y="411"/>
                </a:lnTo>
                <a:lnTo>
                  <a:pt x="355" y="413"/>
                </a:lnTo>
                <a:lnTo>
                  <a:pt x="349" y="416"/>
                </a:lnTo>
                <a:lnTo>
                  <a:pt x="347" y="422"/>
                </a:lnTo>
                <a:lnTo>
                  <a:pt x="347" y="433"/>
                </a:lnTo>
                <a:lnTo>
                  <a:pt x="340" y="435"/>
                </a:lnTo>
                <a:lnTo>
                  <a:pt x="334" y="430"/>
                </a:lnTo>
                <a:lnTo>
                  <a:pt x="332" y="430"/>
                </a:lnTo>
                <a:lnTo>
                  <a:pt x="323" y="435"/>
                </a:lnTo>
                <a:lnTo>
                  <a:pt x="311" y="426"/>
                </a:lnTo>
                <a:lnTo>
                  <a:pt x="302" y="428"/>
                </a:lnTo>
                <a:lnTo>
                  <a:pt x="298" y="426"/>
                </a:lnTo>
                <a:lnTo>
                  <a:pt x="298" y="418"/>
                </a:lnTo>
                <a:lnTo>
                  <a:pt x="296" y="411"/>
                </a:lnTo>
                <a:lnTo>
                  <a:pt x="287" y="405"/>
                </a:lnTo>
                <a:lnTo>
                  <a:pt x="283" y="399"/>
                </a:lnTo>
                <a:lnTo>
                  <a:pt x="283" y="392"/>
                </a:lnTo>
                <a:lnTo>
                  <a:pt x="285" y="390"/>
                </a:lnTo>
                <a:lnTo>
                  <a:pt x="283" y="384"/>
                </a:lnTo>
                <a:lnTo>
                  <a:pt x="283" y="390"/>
                </a:lnTo>
                <a:lnTo>
                  <a:pt x="281" y="390"/>
                </a:lnTo>
                <a:lnTo>
                  <a:pt x="277" y="396"/>
                </a:lnTo>
                <a:lnTo>
                  <a:pt x="264" y="392"/>
                </a:lnTo>
                <a:lnTo>
                  <a:pt x="255" y="392"/>
                </a:lnTo>
                <a:lnTo>
                  <a:pt x="253" y="381"/>
                </a:lnTo>
                <a:lnTo>
                  <a:pt x="247" y="377"/>
                </a:lnTo>
                <a:lnTo>
                  <a:pt x="245" y="371"/>
                </a:lnTo>
                <a:lnTo>
                  <a:pt x="230" y="371"/>
                </a:lnTo>
                <a:lnTo>
                  <a:pt x="223" y="373"/>
                </a:lnTo>
                <a:lnTo>
                  <a:pt x="221" y="371"/>
                </a:lnTo>
                <a:lnTo>
                  <a:pt x="223" y="362"/>
                </a:lnTo>
                <a:lnTo>
                  <a:pt x="208" y="367"/>
                </a:lnTo>
                <a:lnTo>
                  <a:pt x="202" y="371"/>
                </a:lnTo>
                <a:lnTo>
                  <a:pt x="198" y="373"/>
                </a:lnTo>
                <a:lnTo>
                  <a:pt x="191" y="373"/>
                </a:lnTo>
                <a:lnTo>
                  <a:pt x="198" y="379"/>
                </a:lnTo>
                <a:lnTo>
                  <a:pt x="202" y="390"/>
                </a:lnTo>
                <a:lnTo>
                  <a:pt x="196" y="390"/>
                </a:lnTo>
                <a:lnTo>
                  <a:pt x="185" y="396"/>
                </a:lnTo>
                <a:lnTo>
                  <a:pt x="179" y="396"/>
                </a:lnTo>
                <a:lnTo>
                  <a:pt x="142" y="392"/>
                </a:lnTo>
                <a:lnTo>
                  <a:pt x="130" y="388"/>
                </a:lnTo>
                <a:lnTo>
                  <a:pt x="121" y="384"/>
                </a:lnTo>
                <a:lnTo>
                  <a:pt x="108" y="377"/>
                </a:lnTo>
                <a:lnTo>
                  <a:pt x="93" y="373"/>
                </a:lnTo>
                <a:lnTo>
                  <a:pt x="85" y="373"/>
                </a:lnTo>
                <a:lnTo>
                  <a:pt x="79" y="371"/>
                </a:lnTo>
                <a:lnTo>
                  <a:pt x="81" y="367"/>
                </a:lnTo>
                <a:lnTo>
                  <a:pt x="87" y="364"/>
                </a:lnTo>
                <a:lnTo>
                  <a:pt x="87" y="356"/>
                </a:lnTo>
                <a:lnTo>
                  <a:pt x="85" y="350"/>
                </a:lnTo>
                <a:lnTo>
                  <a:pt x="79" y="343"/>
                </a:lnTo>
                <a:lnTo>
                  <a:pt x="76" y="360"/>
                </a:lnTo>
                <a:lnTo>
                  <a:pt x="70" y="367"/>
                </a:lnTo>
                <a:lnTo>
                  <a:pt x="76" y="371"/>
                </a:lnTo>
                <a:lnTo>
                  <a:pt x="74" y="375"/>
                </a:lnTo>
                <a:lnTo>
                  <a:pt x="40" y="379"/>
                </a:lnTo>
                <a:lnTo>
                  <a:pt x="34" y="384"/>
                </a:lnTo>
                <a:lnTo>
                  <a:pt x="25" y="377"/>
                </a:lnTo>
                <a:lnTo>
                  <a:pt x="27" y="371"/>
                </a:lnTo>
                <a:lnTo>
                  <a:pt x="34" y="367"/>
                </a:lnTo>
                <a:lnTo>
                  <a:pt x="36" y="360"/>
                </a:lnTo>
                <a:lnTo>
                  <a:pt x="34" y="352"/>
                </a:lnTo>
                <a:lnTo>
                  <a:pt x="34" y="352"/>
                </a:lnTo>
                <a:lnTo>
                  <a:pt x="34" y="352"/>
                </a:lnTo>
                <a:lnTo>
                  <a:pt x="40" y="343"/>
                </a:lnTo>
                <a:lnTo>
                  <a:pt x="42" y="335"/>
                </a:lnTo>
                <a:lnTo>
                  <a:pt x="40" y="318"/>
                </a:lnTo>
                <a:lnTo>
                  <a:pt x="36" y="309"/>
                </a:lnTo>
                <a:lnTo>
                  <a:pt x="40" y="301"/>
                </a:lnTo>
                <a:lnTo>
                  <a:pt x="38" y="288"/>
                </a:lnTo>
                <a:lnTo>
                  <a:pt x="42" y="279"/>
                </a:lnTo>
                <a:lnTo>
                  <a:pt x="49" y="273"/>
                </a:lnTo>
                <a:lnTo>
                  <a:pt x="49" y="264"/>
                </a:lnTo>
                <a:lnTo>
                  <a:pt x="53" y="258"/>
                </a:lnTo>
                <a:lnTo>
                  <a:pt x="53" y="249"/>
                </a:lnTo>
                <a:lnTo>
                  <a:pt x="55" y="243"/>
                </a:lnTo>
                <a:lnTo>
                  <a:pt x="53" y="237"/>
                </a:lnTo>
                <a:lnTo>
                  <a:pt x="55" y="230"/>
                </a:lnTo>
                <a:lnTo>
                  <a:pt x="53" y="224"/>
                </a:lnTo>
                <a:lnTo>
                  <a:pt x="55" y="217"/>
                </a:lnTo>
                <a:lnTo>
                  <a:pt x="51" y="215"/>
                </a:lnTo>
                <a:lnTo>
                  <a:pt x="40" y="200"/>
                </a:lnTo>
                <a:lnTo>
                  <a:pt x="40" y="194"/>
                </a:lnTo>
                <a:lnTo>
                  <a:pt x="36" y="188"/>
                </a:lnTo>
                <a:lnTo>
                  <a:pt x="34" y="186"/>
                </a:lnTo>
                <a:lnTo>
                  <a:pt x="30" y="177"/>
                </a:lnTo>
                <a:lnTo>
                  <a:pt x="25" y="171"/>
                </a:lnTo>
                <a:lnTo>
                  <a:pt x="25" y="160"/>
                </a:lnTo>
                <a:lnTo>
                  <a:pt x="21" y="145"/>
                </a:lnTo>
                <a:lnTo>
                  <a:pt x="15" y="139"/>
                </a:lnTo>
                <a:lnTo>
                  <a:pt x="2" y="128"/>
                </a:lnTo>
                <a:lnTo>
                  <a:pt x="0" y="13"/>
                </a:lnTo>
                <a:close/>
              </a:path>
            </a:pathLst>
          </a:cu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1445" name="Freeform 851"/>
          <p:cNvSpPr>
            <a:spLocks/>
          </p:cNvSpPr>
          <p:nvPr/>
        </p:nvSpPr>
        <p:spPr bwMode="auto">
          <a:xfrm>
            <a:off x="4689475" y="4568946"/>
            <a:ext cx="800100" cy="709613"/>
          </a:xfrm>
          <a:custGeom>
            <a:avLst/>
            <a:gdLst>
              <a:gd name="T0" fmla="*/ 264 w 504"/>
              <a:gd name="T1" fmla="*/ 11 h 447"/>
              <a:gd name="T2" fmla="*/ 270 w 504"/>
              <a:gd name="T3" fmla="*/ 28 h 447"/>
              <a:gd name="T4" fmla="*/ 281 w 504"/>
              <a:gd name="T5" fmla="*/ 51 h 447"/>
              <a:gd name="T6" fmla="*/ 287 w 504"/>
              <a:gd name="T7" fmla="*/ 68 h 447"/>
              <a:gd name="T8" fmla="*/ 291 w 504"/>
              <a:gd name="T9" fmla="*/ 79 h 447"/>
              <a:gd name="T10" fmla="*/ 289 w 504"/>
              <a:gd name="T11" fmla="*/ 96 h 447"/>
              <a:gd name="T12" fmla="*/ 283 w 504"/>
              <a:gd name="T13" fmla="*/ 111 h 447"/>
              <a:gd name="T14" fmla="*/ 255 w 504"/>
              <a:gd name="T15" fmla="*/ 149 h 447"/>
              <a:gd name="T16" fmla="*/ 245 w 504"/>
              <a:gd name="T17" fmla="*/ 171 h 447"/>
              <a:gd name="T18" fmla="*/ 234 w 504"/>
              <a:gd name="T19" fmla="*/ 200 h 447"/>
              <a:gd name="T20" fmla="*/ 330 w 504"/>
              <a:gd name="T21" fmla="*/ 224 h 447"/>
              <a:gd name="T22" fmla="*/ 413 w 504"/>
              <a:gd name="T23" fmla="*/ 254 h 447"/>
              <a:gd name="T24" fmla="*/ 436 w 504"/>
              <a:gd name="T25" fmla="*/ 292 h 447"/>
              <a:gd name="T26" fmla="*/ 438 w 504"/>
              <a:gd name="T27" fmla="*/ 311 h 447"/>
              <a:gd name="T28" fmla="*/ 419 w 504"/>
              <a:gd name="T29" fmla="*/ 305 h 447"/>
              <a:gd name="T30" fmla="*/ 383 w 504"/>
              <a:gd name="T31" fmla="*/ 290 h 447"/>
              <a:gd name="T32" fmla="*/ 370 w 504"/>
              <a:gd name="T33" fmla="*/ 326 h 447"/>
              <a:gd name="T34" fmla="*/ 421 w 504"/>
              <a:gd name="T35" fmla="*/ 318 h 447"/>
              <a:gd name="T36" fmla="*/ 432 w 504"/>
              <a:gd name="T37" fmla="*/ 322 h 447"/>
              <a:gd name="T38" fmla="*/ 434 w 504"/>
              <a:gd name="T39" fmla="*/ 343 h 447"/>
              <a:gd name="T40" fmla="*/ 458 w 504"/>
              <a:gd name="T41" fmla="*/ 328 h 447"/>
              <a:gd name="T42" fmla="*/ 460 w 504"/>
              <a:gd name="T43" fmla="*/ 352 h 447"/>
              <a:gd name="T44" fmla="*/ 447 w 504"/>
              <a:gd name="T45" fmla="*/ 367 h 447"/>
              <a:gd name="T46" fmla="*/ 445 w 504"/>
              <a:gd name="T47" fmla="*/ 386 h 447"/>
              <a:gd name="T48" fmla="*/ 487 w 504"/>
              <a:gd name="T49" fmla="*/ 401 h 447"/>
              <a:gd name="T50" fmla="*/ 498 w 504"/>
              <a:gd name="T51" fmla="*/ 420 h 447"/>
              <a:gd name="T52" fmla="*/ 479 w 504"/>
              <a:gd name="T53" fmla="*/ 433 h 447"/>
              <a:gd name="T54" fmla="*/ 477 w 504"/>
              <a:gd name="T55" fmla="*/ 418 h 447"/>
              <a:gd name="T56" fmla="*/ 453 w 504"/>
              <a:gd name="T57" fmla="*/ 413 h 447"/>
              <a:gd name="T58" fmla="*/ 432 w 504"/>
              <a:gd name="T59" fmla="*/ 399 h 447"/>
              <a:gd name="T60" fmla="*/ 387 w 504"/>
              <a:gd name="T61" fmla="*/ 381 h 447"/>
              <a:gd name="T62" fmla="*/ 404 w 504"/>
              <a:gd name="T63" fmla="*/ 420 h 447"/>
              <a:gd name="T64" fmla="*/ 385 w 504"/>
              <a:gd name="T65" fmla="*/ 418 h 447"/>
              <a:gd name="T66" fmla="*/ 355 w 504"/>
              <a:gd name="T67" fmla="*/ 413 h 447"/>
              <a:gd name="T68" fmla="*/ 334 w 504"/>
              <a:gd name="T69" fmla="*/ 430 h 447"/>
              <a:gd name="T70" fmla="*/ 298 w 504"/>
              <a:gd name="T71" fmla="*/ 426 h 447"/>
              <a:gd name="T72" fmla="*/ 283 w 504"/>
              <a:gd name="T73" fmla="*/ 392 h 447"/>
              <a:gd name="T74" fmla="*/ 277 w 504"/>
              <a:gd name="T75" fmla="*/ 396 h 447"/>
              <a:gd name="T76" fmla="*/ 245 w 504"/>
              <a:gd name="T77" fmla="*/ 371 h 447"/>
              <a:gd name="T78" fmla="*/ 208 w 504"/>
              <a:gd name="T79" fmla="*/ 367 h 447"/>
              <a:gd name="T80" fmla="*/ 202 w 504"/>
              <a:gd name="T81" fmla="*/ 390 h 447"/>
              <a:gd name="T82" fmla="*/ 130 w 504"/>
              <a:gd name="T83" fmla="*/ 388 h 447"/>
              <a:gd name="T84" fmla="*/ 79 w 504"/>
              <a:gd name="T85" fmla="*/ 371 h 447"/>
              <a:gd name="T86" fmla="*/ 79 w 504"/>
              <a:gd name="T87" fmla="*/ 343 h 447"/>
              <a:gd name="T88" fmla="*/ 40 w 504"/>
              <a:gd name="T89" fmla="*/ 379 h 447"/>
              <a:gd name="T90" fmla="*/ 36 w 504"/>
              <a:gd name="T91" fmla="*/ 360 h 447"/>
              <a:gd name="T92" fmla="*/ 42 w 504"/>
              <a:gd name="T93" fmla="*/ 335 h 447"/>
              <a:gd name="T94" fmla="*/ 42 w 504"/>
              <a:gd name="T95" fmla="*/ 279 h 447"/>
              <a:gd name="T96" fmla="*/ 55 w 504"/>
              <a:gd name="T97" fmla="*/ 243 h 447"/>
              <a:gd name="T98" fmla="*/ 51 w 504"/>
              <a:gd name="T99" fmla="*/ 215 h 447"/>
              <a:gd name="T100" fmla="*/ 30 w 504"/>
              <a:gd name="T101" fmla="*/ 177 h 447"/>
              <a:gd name="T102" fmla="*/ 2 w 504"/>
              <a:gd name="T103" fmla="*/ 128 h 4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4" h="447">
                <a:moveTo>
                  <a:pt x="0" y="13"/>
                </a:moveTo>
                <a:lnTo>
                  <a:pt x="115" y="9"/>
                </a:lnTo>
                <a:lnTo>
                  <a:pt x="268" y="0"/>
                </a:lnTo>
                <a:lnTo>
                  <a:pt x="266" y="4"/>
                </a:lnTo>
                <a:lnTo>
                  <a:pt x="264" y="11"/>
                </a:lnTo>
                <a:lnTo>
                  <a:pt x="270" y="7"/>
                </a:lnTo>
                <a:lnTo>
                  <a:pt x="277" y="7"/>
                </a:lnTo>
                <a:lnTo>
                  <a:pt x="277" y="13"/>
                </a:lnTo>
                <a:lnTo>
                  <a:pt x="270" y="19"/>
                </a:lnTo>
                <a:lnTo>
                  <a:pt x="270" y="28"/>
                </a:lnTo>
                <a:lnTo>
                  <a:pt x="279" y="32"/>
                </a:lnTo>
                <a:lnTo>
                  <a:pt x="270" y="41"/>
                </a:lnTo>
                <a:lnTo>
                  <a:pt x="272" y="45"/>
                </a:lnTo>
                <a:lnTo>
                  <a:pt x="285" y="43"/>
                </a:lnTo>
                <a:lnTo>
                  <a:pt x="281" y="51"/>
                </a:lnTo>
                <a:lnTo>
                  <a:pt x="285" y="58"/>
                </a:lnTo>
                <a:lnTo>
                  <a:pt x="279" y="56"/>
                </a:lnTo>
                <a:lnTo>
                  <a:pt x="277" y="58"/>
                </a:lnTo>
                <a:lnTo>
                  <a:pt x="281" y="64"/>
                </a:lnTo>
                <a:lnTo>
                  <a:pt x="287" y="68"/>
                </a:lnTo>
                <a:lnTo>
                  <a:pt x="289" y="73"/>
                </a:lnTo>
                <a:lnTo>
                  <a:pt x="298" y="75"/>
                </a:lnTo>
                <a:lnTo>
                  <a:pt x="298" y="77"/>
                </a:lnTo>
                <a:lnTo>
                  <a:pt x="298" y="79"/>
                </a:lnTo>
                <a:lnTo>
                  <a:pt x="291" y="79"/>
                </a:lnTo>
                <a:lnTo>
                  <a:pt x="287" y="85"/>
                </a:lnTo>
                <a:lnTo>
                  <a:pt x="279" y="88"/>
                </a:lnTo>
                <a:lnTo>
                  <a:pt x="274" y="96"/>
                </a:lnTo>
                <a:lnTo>
                  <a:pt x="281" y="96"/>
                </a:lnTo>
                <a:lnTo>
                  <a:pt x="289" y="96"/>
                </a:lnTo>
                <a:lnTo>
                  <a:pt x="283" y="102"/>
                </a:lnTo>
                <a:lnTo>
                  <a:pt x="283" y="107"/>
                </a:lnTo>
                <a:lnTo>
                  <a:pt x="277" y="107"/>
                </a:lnTo>
                <a:lnTo>
                  <a:pt x="283" y="109"/>
                </a:lnTo>
                <a:lnTo>
                  <a:pt x="283" y="111"/>
                </a:lnTo>
                <a:lnTo>
                  <a:pt x="268" y="130"/>
                </a:lnTo>
                <a:lnTo>
                  <a:pt x="262" y="132"/>
                </a:lnTo>
                <a:lnTo>
                  <a:pt x="257" y="139"/>
                </a:lnTo>
                <a:lnTo>
                  <a:pt x="264" y="143"/>
                </a:lnTo>
                <a:lnTo>
                  <a:pt x="255" y="149"/>
                </a:lnTo>
                <a:lnTo>
                  <a:pt x="255" y="156"/>
                </a:lnTo>
                <a:lnTo>
                  <a:pt x="247" y="162"/>
                </a:lnTo>
                <a:lnTo>
                  <a:pt x="253" y="162"/>
                </a:lnTo>
                <a:lnTo>
                  <a:pt x="253" y="164"/>
                </a:lnTo>
                <a:lnTo>
                  <a:pt x="245" y="171"/>
                </a:lnTo>
                <a:lnTo>
                  <a:pt x="249" y="186"/>
                </a:lnTo>
                <a:lnTo>
                  <a:pt x="240" y="186"/>
                </a:lnTo>
                <a:lnTo>
                  <a:pt x="247" y="192"/>
                </a:lnTo>
                <a:lnTo>
                  <a:pt x="245" y="198"/>
                </a:lnTo>
                <a:lnTo>
                  <a:pt x="234" y="200"/>
                </a:lnTo>
                <a:lnTo>
                  <a:pt x="238" y="207"/>
                </a:lnTo>
                <a:lnTo>
                  <a:pt x="238" y="215"/>
                </a:lnTo>
                <a:lnTo>
                  <a:pt x="243" y="222"/>
                </a:lnTo>
                <a:lnTo>
                  <a:pt x="236" y="230"/>
                </a:lnTo>
                <a:lnTo>
                  <a:pt x="330" y="224"/>
                </a:lnTo>
                <a:lnTo>
                  <a:pt x="419" y="217"/>
                </a:lnTo>
                <a:lnTo>
                  <a:pt x="421" y="220"/>
                </a:lnTo>
                <a:lnTo>
                  <a:pt x="419" y="226"/>
                </a:lnTo>
                <a:lnTo>
                  <a:pt x="415" y="241"/>
                </a:lnTo>
                <a:lnTo>
                  <a:pt x="413" y="254"/>
                </a:lnTo>
                <a:lnTo>
                  <a:pt x="415" y="260"/>
                </a:lnTo>
                <a:lnTo>
                  <a:pt x="419" y="269"/>
                </a:lnTo>
                <a:lnTo>
                  <a:pt x="430" y="277"/>
                </a:lnTo>
                <a:lnTo>
                  <a:pt x="432" y="283"/>
                </a:lnTo>
                <a:lnTo>
                  <a:pt x="436" y="292"/>
                </a:lnTo>
                <a:lnTo>
                  <a:pt x="434" y="294"/>
                </a:lnTo>
                <a:lnTo>
                  <a:pt x="438" y="303"/>
                </a:lnTo>
                <a:lnTo>
                  <a:pt x="445" y="305"/>
                </a:lnTo>
                <a:lnTo>
                  <a:pt x="447" y="307"/>
                </a:lnTo>
                <a:lnTo>
                  <a:pt x="438" y="311"/>
                </a:lnTo>
                <a:lnTo>
                  <a:pt x="438" y="309"/>
                </a:lnTo>
                <a:lnTo>
                  <a:pt x="436" y="311"/>
                </a:lnTo>
                <a:lnTo>
                  <a:pt x="428" y="309"/>
                </a:lnTo>
                <a:lnTo>
                  <a:pt x="421" y="303"/>
                </a:lnTo>
                <a:lnTo>
                  <a:pt x="419" y="305"/>
                </a:lnTo>
                <a:lnTo>
                  <a:pt x="415" y="303"/>
                </a:lnTo>
                <a:lnTo>
                  <a:pt x="406" y="303"/>
                </a:lnTo>
                <a:lnTo>
                  <a:pt x="400" y="296"/>
                </a:lnTo>
                <a:lnTo>
                  <a:pt x="392" y="292"/>
                </a:lnTo>
                <a:lnTo>
                  <a:pt x="383" y="290"/>
                </a:lnTo>
                <a:lnTo>
                  <a:pt x="377" y="292"/>
                </a:lnTo>
                <a:lnTo>
                  <a:pt x="366" y="307"/>
                </a:lnTo>
                <a:lnTo>
                  <a:pt x="360" y="313"/>
                </a:lnTo>
                <a:lnTo>
                  <a:pt x="360" y="322"/>
                </a:lnTo>
                <a:lnTo>
                  <a:pt x="370" y="326"/>
                </a:lnTo>
                <a:lnTo>
                  <a:pt x="381" y="326"/>
                </a:lnTo>
                <a:lnTo>
                  <a:pt x="402" y="324"/>
                </a:lnTo>
                <a:lnTo>
                  <a:pt x="409" y="320"/>
                </a:lnTo>
                <a:lnTo>
                  <a:pt x="415" y="313"/>
                </a:lnTo>
                <a:lnTo>
                  <a:pt x="421" y="318"/>
                </a:lnTo>
                <a:lnTo>
                  <a:pt x="426" y="311"/>
                </a:lnTo>
                <a:lnTo>
                  <a:pt x="428" y="318"/>
                </a:lnTo>
                <a:lnTo>
                  <a:pt x="434" y="313"/>
                </a:lnTo>
                <a:lnTo>
                  <a:pt x="436" y="313"/>
                </a:lnTo>
                <a:lnTo>
                  <a:pt x="432" y="322"/>
                </a:lnTo>
                <a:lnTo>
                  <a:pt x="417" y="330"/>
                </a:lnTo>
                <a:lnTo>
                  <a:pt x="417" y="332"/>
                </a:lnTo>
                <a:lnTo>
                  <a:pt x="424" y="337"/>
                </a:lnTo>
                <a:lnTo>
                  <a:pt x="430" y="337"/>
                </a:lnTo>
                <a:lnTo>
                  <a:pt x="434" y="343"/>
                </a:lnTo>
                <a:lnTo>
                  <a:pt x="441" y="343"/>
                </a:lnTo>
                <a:lnTo>
                  <a:pt x="445" y="337"/>
                </a:lnTo>
                <a:lnTo>
                  <a:pt x="445" y="328"/>
                </a:lnTo>
                <a:lnTo>
                  <a:pt x="455" y="320"/>
                </a:lnTo>
                <a:lnTo>
                  <a:pt x="458" y="328"/>
                </a:lnTo>
                <a:lnTo>
                  <a:pt x="458" y="337"/>
                </a:lnTo>
                <a:lnTo>
                  <a:pt x="464" y="339"/>
                </a:lnTo>
                <a:lnTo>
                  <a:pt x="464" y="345"/>
                </a:lnTo>
                <a:lnTo>
                  <a:pt x="462" y="354"/>
                </a:lnTo>
                <a:lnTo>
                  <a:pt x="460" y="352"/>
                </a:lnTo>
                <a:lnTo>
                  <a:pt x="453" y="350"/>
                </a:lnTo>
                <a:lnTo>
                  <a:pt x="445" y="358"/>
                </a:lnTo>
                <a:lnTo>
                  <a:pt x="449" y="364"/>
                </a:lnTo>
                <a:lnTo>
                  <a:pt x="453" y="371"/>
                </a:lnTo>
                <a:lnTo>
                  <a:pt x="447" y="367"/>
                </a:lnTo>
                <a:lnTo>
                  <a:pt x="441" y="369"/>
                </a:lnTo>
                <a:lnTo>
                  <a:pt x="443" y="373"/>
                </a:lnTo>
                <a:lnTo>
                  <a:pt x="434" y="375"/>
                </a:lnTo>
                <a:lnTo>
                  <a:pt x="438" y="384"/>
                </a:lnTo>
                <a:lnTo>
                  <a:pt x="445" y="386"/>
                </a:lnTo>
                <a:lnTo>
                  <a:pt x="453" y="388"/>
                </a:lnTo>
                <a:lnTo>
                  <a:pt x="458" y="396"/>
                </a:lnTo>
                <a:lnTo>
                  <a:pt x="466" y="396"/>
                </a:lnTo>
                <a:lnTo>
                  <a:pt x="475" y="401"/>
                </a:lnTo>
                <a:lnTo>
                  <a:pt x="487" y="401"/>
                </a:lnTo>
                <a:lnTo>
                  <a:pt x="494" y="405"/>
                </a:lnTo>
                <a:lnTo>
                  <a:pt x="498" y="413"/>
                </a:lnTo>
                <a:lnTo>
                  <a:pt x="504" y="416"/>
                </a:lnTo>
                <a:lnTo>
                  <a:pt x="504" y="418"/>
                </a:lnTo>
                <a:lnTo>
                  <a:pt x="498" y="420"/>
                </a:lnTo>
                <a:lnTo>
                  <a:pt x="498" y="424"/>
                </a:lnTo>
                <a:lnTo>
                  <a:pt x="496" y="430"/>
                </a:lnTo>
                <a:lnTo>
                  <a:pt x="494" y="437"/>
                </a:lnTo>
                <a:lnTo>
                  <a:pt x="483" y="426"/>
                </a:lnTo>
                <a:lnTo>
                  <a:pt x="479" y="433"/>
                </a:lnTo>
                <a:lnTo>
                  <a:pt x="477" y="441"/>
                </a:lnTo>
                <a:lnTo>
                  <a:pt x="468" y="447"/>
                </a:lnTo>
                <a:lnTo>
                  <a:pt x="475" y="433"/>
                </a:lnTo>
                <a:lnTo>
                  <a:pt x="479" y="426"/>
                </a:lnTo>
                <a:lnTo>
                  <a:pt x="477" y="418"/>
                </a:lnTo>
                <a:lnTo>
                  <a:pt x="475" y="428"/>
                </a:lnTo>
                <a:lnTo>
                  <a:pt x="468" y="426"/>
                </a:lnTo>
                <a:lnTo>
                  <a:pt x="464" y="418"/>
                </a:lnTo>
                <a:lnTo>
                  <a:pt x="462" y="411"/>
                </a:lnTo>
                <a:lnTo>
                  <a:pt x="453" y="413"/>
                </a:lnTo>
                <a:lnTo>
                  <a:pt x="445" y="411"/>
                </a:lnTo>
                <a:lnTo>
                  <a:pt x="441" y="405"/>
                </a:lnTo>
                <a:lnTo>
                  <a:pt x="434" y="407"/>
                </a:lnTo>
                <a:lnTo>
                  <a:pt x="426" y="407"/>
                </a:lnTo>
                <a:lnTo>
                  <a:pt x="432" y="399"/>
                </a:lnTo>
                <a:lnTo>
                  <a:pt x="428" y="396"/>
                </a:lnTo>
                <a:lnTo>
                  <a:pt x="421" y="392"/>
                </a:lnTo>
                <a:lnTo>
                  <a:pt x="415" y="392"/>
                </a:lnTo>
                <a:lnTo>
                  <a:pt x="387" y="381"/>
                </a:lnTo>
                <a:lnTo>
                  <a:pt x="387" y="381"/>
                </a:lnTo>
                <a:lnTo>
                  <a:pt x="389" y="388"/>
                </a:lnTo>
                <a:lnTo>
                  <a:pt x="404" y="396"/>
                </a:lnTo>
                <a:lnTo>
                  <a:pt x="406" y="411"/>
                </a:lnTo>
                <a:lnTo>
                  <a:pt x="398" y="413"/>
                </a:lnTo>
                <a:lnTo>
                  <a:pt x="404" y="420"/>
                </a:lnTo>
                <a:lnTo>
                  <a:pt x="400" y="426"/>
                </a:lnTo>
                <a:lnTo>
                  <a:pt x="394" y="433"/>
                </a:lnTo>
                <a:lnTo>
                  <a:pt x="387" y="435"/>
                </a:lnTo>
                <a:lnTo>
                  <a:pt x="383" y="428"/>
                </a:lnTo>
                <a:lnTo>
                  <a:pt x="385" y="418"/>
                </a:lnTo>
                <a:lnTo>
                  <a:pt x="377" y="416"/>
                </a:lnTo>
                <a:lnTo>
                  <a:pt x="370" y="418"/>
                </a:lnTo>
                <a:lnTo>
                  <a:pt x="366" y="409"/>
                </a:lnTo>
                <a:lnTo>
                  <a:pt x="364" y="411"/>
                </a:lnTo>
                <a:lnTo>
                  <a:pt x="355" y="413"/>
                </a:lnTo>
                <a:lnTo>
                  <a:pt x="349" y="416"/>
                </a:lnTo>
                <a:lnTo>
                  <a:pt x="347" y="422"/>
                </a:lnTo>
                <a:lnTo>
                  <a:pt x="347" y="433"/>
                </a:lnTo>
                <a:lnTo>
                  <a:pt x="340" y="435"/>
                </a:lnTo>
                <a:lnTo>
                  <a:pt x="334" y="430"/>
                </a:lnTo>
                <a:lnTo>
                  <a:pt x="332" y="430"/>
                </a:lnTo>
                <a:lnTo>
                  <a:pt x="323" y="435"/>
                </a:lnTo>
                <a:lnTo>
                  <a:pt x="311" y="426"/>
                </a:lnTo>
                <a:lnTo>
                  <a:pt x="302" y="428"/>
                </a:lnTo>
                <a:lnTo>
                  <a:pt x="298" y="426"/>
                </a:lnTo>
                <a:lnTo>
                  <a:pt x="298" y="418"/>
                </a:lnTo>
                <a:lnTo>
                  <a:pt x="296" y="411"/>
                </a:lnTo>
                <a:lnTo>
                  <a:pt x="287" y="405"/>
                </a:lnTo>
                <a:lnTo>
                  <a:pt x="283" y="399"/>
                </a:lnTo>
                <a:lnTo>
                  <a:pt x="283" y="392"/>
                </a:lnTo>
                <a:lnTo>
                  <a:pt x="285" y="390"/>
                </a:lnTo>
                <a:lnTo>
                  <a:pt x="283" y="384"/>
                </a:lnTo>
                <a:lnTo>
                  <a:pt x="283" y="390"/>
                </a:lnTo>
                <a:lnTo>
                  <a:pt x="281" y="390"/>
                </a:lnTo>
                <a:lnTo>
                  <a:pt x="277" y="396"/>
                </a:lnTo>
                <a:lnTo>
                  <a:pt x="264" y="392"/>
                </a:lnTo>
                <a:lnTo>
                  <a:pt x="255" y="392"/>
                </a:lnTo>
                <a:lnTo>
                  <a:pt x="253" y="381"/>
                </a:lnTo>
                <a:lnTo>
                  <a:pt x="247" y="377"/>
                </a:lnTo>
                <a:lnTo>
                  <a:pt x="245" y="371"/>
                </a:lnTo>
                <a:lnTo>
                  <a:pt x="230" y="371"/>
                </a:lnTo>
                <a:lnTo>
                  <a:pt x="223" y="373"/>
                </a:lnTo>
                <a:lnTo>
                  <a:pt x="221" y="371"/>
                </a:lnTo>
                <a:lnTo>
                  <a:pt x="223" y="362"/>
                </a:lnTo>
                <a:lnTo>
                  <a:pt x="208" y="367"/>
                </a:lnTo>
                <a:lnTo>
                  <a:pt x="202" y="371"/>
                </a:lnTo>
                <a:lnTo>
                  <a:pt x="198" y="373"/>
                </a:lnTo>
                <a:lnTo>
                  <a:pt x="191" y="373"/>
                </a:lnTo>
                <a:lnTo>
                  <a:pt x="198" y="379"/>
                </a:lnTo>
                <a:lnTo>
                  <a:pt x="202" y="390"/>
                </a:lnTo>
                <a:lnTo>
                  <a:pt x="196" y="390"/>
                </a:lnTo>
                <a:lnTo>
                  <a:pt x="185" y="396"/>
                </a:lnTo>
                <a:lnTo>
                  <a:pt x="179" y="396"/>
                </a:lnTo>
                <a:lnTo>
                  <a:pt x="142" y="392"/>
                </a:lnTo>
                <a:lnTo>
                  <a:pt x="130" y="388"/>
                </a:lnTo>
                <a:lnTo>
                  <a:pt x="121" y="384"/>
                </a:lnTo>
                <a:lnTo>
                  <a:pt x="108" y="377"/>
                </a:lnTo>
                <a:lnTo>
                  <a:pt x="93" y="373"/>
                </a:lnTo>
                <a:lnTo>
                  <a:pt x="85" y="373"/>
                </a:lnTo>
                <a:lnTo>
                  <a:pt x="79" y="371"/>
                </a:lnTo>
                <a:lnTo>
                  <a:pt x="81" y="367"/>
                </a:lnTo>
                <a:lnTo>
                  <a:pt x="87" y="364"/>
                </a:lnTo>
                <a:lnTo>
                  <a:pt x="87" y="356"/>
                </a:lnTo>
                <a:lnTo>
                  <a:pt x="85" y="350"/>
                </a:lnTo>
                <a:lnTo>
                  <a:pt x="79" y="343"/>
                </a:lnTo>
                <a:lnTo>
                  <a:pt x="76" y="360"/>
                </a:lnTo>
                <a:lnTo>
                  <a:pt x="70" y="367"/>
                </a:lnTo>
                <a:lnTo>
                  <a:pt x="76" y="371"/>
                </a:lnTo>
                <a:lnTo>
                  <a:pt x="74" y="375"/>
                </a:lnTo>
                <a:lnTo>
                  <a:pt x="40" y="379"/>
                </a:lnTo>
                <a:lnTo>
                  <a:pt x="34" y="384"/>
                </a:lnTo>
                <a:lnTo>
                  <a:pt x="25" y="377"/>
                </a:lnTo>
                <a:lnTo>
                  <a:pt x="27" y="371"/>
                </a:lnTo>
                <a:lnTo>
                  <a:pt x="34" y="367"/>
                </a:lnTo>
                <a:lnTo>
                  <a:pt x="36" y="360"/>
                </a:lnTo>
                <a:lnTo>
                  <a:pt x="34" y="352"/>
                </a:lnTo>
                <a:lnTo>
                  <a:pt x="34" y="352"/>
                </a:lnTo>
                <a:lnTo>
                  <a:pt x="34" y="352"/>
                </a:lnTo>
                <a:lnTo>
                  <a:pt x="40" y="343"/>
                </a:lnTo>
                <a:lnTo>
                  <a:pt x="42" y="335"/>
                </a:lnTo>
                <a:lnTo>
                  <a:pt x="40" y="318"/>
                </a:lnTo>
                <a:lnTo>
                  <a:pt x="36" y="309"/>
                </a:lnTo>
                <a:lnTo>
                  <a:pt x="40" y="301"/>
                </a:lnTo>
                <a:lnTo>
                  <a:pt x="38" y="288"/>
                </a:lnTo>
                <a:lnTo>
                  <a:pt x="42" y="279"/>
                </a:lnTo>
                <a:lnTo>
                  <a:pt x="49" y="273"/>
                </a:lnTo>
                <a:lnTo>
                  <a:pt x="49" y="264"/>
                </a:lnTo>
                <a:lnTo>
                  <a:pt x="53" y="258"/>
                </a:lnTo>
                <a:lnTo>
                  <a:pt x="53" y="249"/>
                </a:lnTo>
                <a:lnTo>
                  <a:pt x="55" y="243"/>
                </a:lnTo>
                <a:lnTo>
                  <a:pt x="53" y="237"/>
                </a:lnTo>
                <a:lnTo>
                  <a:pt x="55" y="230"/>
                </a:lnTo>
                <a:lnTo>
                  <a:pt x="53" y="224"/>
                </a:lnTo>
                <a:lnTo>
                  <a:pt x="55" y="217"/>
                </a:lnTo>
                <a:lnTo>
                  <a:pt x="51" y="215"/>
                </a:lnTo>
                <a:lnTo>
                  <a:pt x="40" y="200"/>
                </a:lnTo>
                <a:lnTo>
                  <a:pt x="40" y="194"/>
                </a:lnTo>
                <a:lnTo>
                  <a:pt x="36" y="188"/>
                </a:lnTo>
                <a:lnTo>
                  <a:pt x="34" y="186"/>
                </a:lnTo>
                <a:lnTo>
                  <a:pt x="30" y="177"/>
                </a:lnTo>
                <a:lnTo>
                  <a:pt x="25" y="171"/>
                </a:lnTo>
                <a:lnTo>
                  <a:pt x="25" y="160"/>
                </a:lnTo>
                <a:lnTo>
                  <a:pt x="21" y="145"/>
                </a:lnTo>
                <a:lnTo>
                  <a:pt x="15" y="139"/>
                </a:lnTo>
                <a:lnTo>
                  <a:pt x="2" y="128"/>
                </a:lnTo>
                <a:lnTo>
                  <a:pt x="0"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6" name="Freeform 852"/>
          <p:cNvSpPr>
            <a:spLocks/>
          </p:cNvSpPr>
          <p:nvPr/>
        </p:nvSpPr>
        <p:spPr bwMode="auto">
          <a:xfrm>
            <a:off x="5016500" y="5178546"/>
            <a:ext cx="50800" cy="26988"/>
          </a:xfrm>
          <a:custGeom>
            <a:avLst/>
            <a:gdLst>
              <a:gd name="T0" fmla="*/ 32 w 32"/>
              <a:gd name="T1" fmla="*/ 8 h 17"/>
              <a:gd name="T2" fmla="*/ 28 w 32"/>
              <a:gd name="T3" fmla="*/ 15 h 17"/>
              <a:gd name="T4" fmla="*/ 19 w 32"/>
              <a:gd name="T5" fmla="*/ 17 h 17"/>
              <a:gd name="T6" fmla="*/ 13 w 32"/>
              <a:gd name="T7" fmla="*/ 12 h 17"/>
              <a:gd name="T8" fmla="*/ 5 w 32"/>
              <a:gd name="T9" fmla="*/ 10 h 17"/>
              <a:gd name="T10" fmla="*/ 0 w 32"/>
              <a:gd name="T11" fmla="*/ 6 h 17"/>
              <a:gd name="T12" fmla="*/ 15 w 32"/>
              <a:gd name="T13" fmla="*/ 0 h 17"/>
              <a:gd name="T14" fmla="*/ 30 w 32"/>
              <a:gd name="T15" fmla="*/ 6 h 17"/>
              <a:gd name="T16" fmla="*/ 32 w 32"/>
              <a:gd name="T17" fmla="*/ 8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28" y="15"/>
                </a:lnTo>
                <a:lnTo>
                  <a:pt x="19" y="17"/>
                </a:lnTo>
                <a:lnTo>
                  <a:pt x="13" y="12"/>
                </a:lnTo>
                <a:lnTo>
                  <a:pt x="5" y="10"/>
                </a:lnTo>
                <a:lnTo>
                  <a:pt x="0" y="6"/>
                </a:lnTo>
                <a:lnTo>
                  <a:pt x="15" y="0"/>
                </a:lnTo>
                <a:lnTo>
                  <a:pt x="30" y="6"/>
                </a:lnTo>
                <a:lnTo>
                  <a:pt x="32" y="8"/>
                </a:lnTo>
                <a:lnTo>
                  <a:pt x="32" y="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7" name="Freeform 853"/>
          <p:cNvSpPr>
            <a:spLocks/>
          </p:cNvSpPr>
          <p:nvPr/>
        </p:nvSpPr>
        <p:spPr bwMode="auto">
          <a:xfrm>
            <a:off x="5016500" y="5178546"/>
            <a:ext cx="50800" cy="26988"/>
          </a:xfrm>
          <a:custGeom>
            <a:avLst/>
            <a:gdLst>
              <a:gd name="T0" fmla="*/ 32 w 32"/>
              <a:gd name="T1" fmla="*/ 8 h 17"/>
              <a:gd name="T2" fmla="*/ 28 w 32"/>
              <a:gd name="T3" fmla="*/ 15 h 17"/>
              <a:gd name="T4" fmla="*/ 19 w 32"/>
              <a:gd name="T5" fmla="*/ 17 h 17"/>
              <a:gd name="T6" fmla="*/ 13 w 32"/>
              <a:gd name="T7" fmla="*/ 12 h 17"/>
              <a:gd name="T8" fmla="*/ 5 w 32"/>
              <a:gd name="T9" fmla="*/ 10 h 17"/>
              <a:gd name="T10" fmla="*/ 0 w 32"/>
              <a:gd name="T11" fmla="*/ 6 h 17"/>
              <a:gd name="T12" fmla="*/ 15 w 32"/>
              <a:gd name="T13" fmla="*/ 0 h 17"/>
              <a:gd name="T14" fmla="*/ 30 w 32"/>
              <a:gd name="T15" fmla="*/ 6 h 17"/>
              <a:gd name="T16" fmla="*/ 32 w 32"/>
              <a:gd name="T17" fmla="*/ 8 h 17"/>
              <a:gd name="T18" fmla="*/ 32 w 32"/>
              <a:gd name="T19"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17">
                <a:moveTo>
                  <a:pt x="32" y="8"/>
                </a:moveTo>
                <a:lnTo>
                  <a:pt x="28" y="15"/>
                </a:lnTo>
                <a:lnTo>
                  <a:pt x="19" y="17"/>
                </a:lnTo>
                <a:lnTo>
                  <a:pt x="13" y="12"/>
                </a:lnTo>
                <a:lnTo>
                  <a:pt x="5" y="10"/>
                </a:lnTo>
                <a:lnTo>
                  <a:pt x="0" y="6"/>
                </a:lnTo>
                <a:lnTo>
                  <a:pt x="15" y="0"/>
                </a:lnTo>
                <a:lnTo>
                  <a:pt x="30" y="6"/>
                </a:lnTo>
                <a:lnTo>
                  <a:pt x="32" y="8"/>
                </a:lnTo>
                <a:lnTo>
                  <a:pt x="32" y="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48" name="Freeform 854"/>
          <p:cNvSpPr>
            <a:spLocks/>
          </p:cNvSpPr>
          <p:nvPr/>
        </p:nvSpPr>
        <p:spPr bwMode="auto">
          <a:xfrm>
            <a:off x="5135562" y="5218234"/>
            <a:ext cx="23813" cy="26988"/>
          </a:xfrm>
          <a:custGeom>
            <a:avLst/>
            <a:gdLst>
              <a:gd name="T0" fmla="*/ 15 w 15"/>
              <a:gd name="T1" fmla="*/ 15 h 17"/>
              <a:gd name="T2" fmla="*/ 13 w 15"/>
              <a:gd name="T3" fmla="*/ 17 h 17"/>
              <a:gd name="T4" fmla="*/ 6 w 15"/>
              <a:gd name="T5" fmla="*/ 17 h 17"/>
              <a:gd name="T6" fmla="*/ 0 w 15"/>
              <a:gd name="T7" fmla="*/ 11 h 17"/>
              <a:gd name="T8" fmla="*/ 0 w 15"/>
              <a:gd name="T9" fmla="*/ 9 h 17"/>
              <a:gd name="T10" fmla="*/ 6 w 15"/>
              <a:gd name="T11" fmla="*/ 0 h 17"/>
              <a:gd name="T12" fmla="*/ 13 w 15"/>
              <a:gd name="T13" fmla="*/ 9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17"/>
                </a:lnTo>
                <a:lnTo>
                  <a:pt x="6" y="17"/>
                </a:lnTo>
                <a:lnTo>
                  <a:pt x="0" y="11"/>
                </a:lnTo>
                <a:lnTo>
                  <a:pt x="0" y="9"/>
                </a:lnTo>
                <a:lnTo>
                  <a:pt x="6" y="0"/>
                </a:lnTo>
                <a:lnTo>
                  <a:pt x="13" y="9"/>
                </a:lnTo>
                <a:lnTo>
                  <a:pt x="15" y="1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49" name="Freeform 855"/>
          <p:cNvSpPr>
            <a:spLocks/>
          </p:cNvSpPr>
          <p:nvPr/>
        </p:nvSpPr>
        <p:spPr bwMode="auto">
          <a:xfrm>
            <a:off x="5135562" y="5218234"/>
            <a:ext cx="23813" cy="26988"/>
          </a:xfrm>
          <a:custGeom>
            <a:avLst/>
            <a:gdLst>
              <a:gd name="T0" fmla="*/ 15 w 15"/>
              <a:gd name="T1" fmla="*/ 15 h 17"/>
              <a:gd name="T2" fmla="*/ 13 w 15"/>
              <a:gd name="T3" fmla="*/ 17 h 17"/>
              <a:gd name="T4" fmla="*/ 6 w 15"/>
              <a:gd name="T5" fmla="*/ 17 h 17"/>
              <a:gd name="T6" fmla="*/ 0 w 15"/>
              <a:gd name="T7" fmla="*/ 11 h 17"/>
              <a:gd name="T8" fmla="*/ 0 w 15"/>
              <a:gd name="T9" fmla="*/ 9 h 17"/>
              <a:gd name="T10" fmla="*/ 6 w 15"/>
              <a:gd name="T11" fmla="*/ 0 h 17"/>
              <a:gd name="T12" fmla="*/ 13 w 15"/>
              <a:gd name="T13" fmla="*/ 9 h 17"/>
              <a:gd name="T14" fmla="*/ 15 w 15"/>
              <a:gd name="T15" fmla="*/ 15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7">
                <a:moveTo>
                  <a:pt x="15" y="15"/>
                </a:moveTo>
                <a:lnTo>
                  <a:pt x="13" y="17"/>
                </a:lnTo>
                <a:lnTo>
                  <a:pt x="6" y="17"/>
                </a:lnTo>
                <a:lnTo>
                  <a:pt x="0" y="11"/>
                </a:lnTo>
                <a:lnTo>
                  <a:pt x="0" y="9"/>
                </a:lnTo>
                <a:lnTo>
                  <a:pt x="6" y="0"/>
                </a:lnTo>
                <a:lnTo>
                  <a:pt x="13" y="9"/>
                </a:lnTo>
                <a:lnTo>
                  <a:pt x="15" y="1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0" name="Freeform 856"/>
          <p:cNvSpPr>
            <a:spLocks/>
          </p:cNvSpPr>
          <p:nvPr/>
        </p:nvSpPr>
        <p:spPr bwMode="auto">
          <a:xfrm>
            <a:off x="5013325" y="2081334"/>
            <a:ext cx="20638" cy="23813"/>
          </a:xfrm>
          <a:custGeom>
            <a:avLst/>
            <a:gdLst>
              <a:gd name="T0" fmla="*/ 13 w 13"/>
              <a:gd name="T1" fmla="*/ 0 h 15"/>
              <a:gd name="T2" fmla="*/ 11 w 13"/>
              <a:gd name="T3" fmla="*/ 0 h 15"/>
              <a:gd name="T4" fmla="*/ 4 w 13"/>
              <a:gd name="T5" fmla="*/ 6 h 15"/>
              <a:gd name="T6" fmla="*/ 0 w 13"/>
              <a:gd name="T7" fmla="*/ 15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11" y="0"/>
                </a:lnTo>
                <a:lnTo>
                  <a:pt x="4" y="6"/>
                </a:lnTo>
                <a:lnTo>
                  <a:pt x="0" y="15"/>
                </a:lnTo>
                <a:lnTo>
                  <a:pt x="13"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1" name="Freeform 857"/>
          <p:cNvSpPr>
            <a:spLocks/>
          </p:cNvSpPr>
          <p:nvPr/>
        </p:nvSpPr>
        <p:spPr bwMode="auto">
          <a:xfrm>
            <a:off x="5013325" y="2081334"/>
            <a:ext cx="20638" cy="23813"/>
          </a:xfrm>
          <a:custGeom>
            <a:avLst/>
            <a:gdLst>
              <a:gd name="T0" fmla="*/ 13 w 13"/>
              <a:gd name="T1" fmla="*/ 0 h 15"/>
              <a:gd name="T2" fmla="*/ 11 w 13"/>
              <a:gd name="T3" fmla="*/ 0 h 15"/>
              <a:gd name="T4" fmla="*/ 4 w 13"/>
              <a:gd name="T5" fmla="*/ 6 h 15"/>
              <a:gd name="T6" fmla="*/ 0 w 13"/>
              <a:gd name="T7" fmla="*/ 15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11" y="0"/>
                </a:lnTo>
                <a:lnTo>
                  <a:pt x="4" y="6"/>
                </a:lnTo>
                <a:lnTo>
                  <a:pt x="0" y="15"/>
                </a:lnTo>
                <a:lnTo>
                  <a:pt x="13"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2" name="Freeform 858"/>
          <p:cNvSpPr>
            <a:spLocks/>
          </p:cNvSpPr>
          <p:nvPr/>
        </p:nvSpPr>
        <p:spPr bwMode="auto">
          <a:xfrm>
            <a:off x="5030787" y="2063871"/>
            <a:ext cx="12700" cy="9525"/>
          </a:xfrm>
          <a:custGeom>
            <a:avLst/>
            <a:gdLst>
              <a:gd name="T0" fmla="*/ 8 w 8"/>
              <a:gd name="T1" fmla="*/ 2 h 6"/>
              <a:gd name="T2" fmla="*/ 6 w 8"/>
              <a:gd name="T3" fmla="*/ 0 h 6"/>
              <a:gd name="T4" fmla="*/ 0 w 8"/>
              <a:gd name="T5" fmla="*/ 6 h 6"/>
              <a:gd name="T6" fmla="*/ 8 w 8"/>
              <a:gd name="T7" fmla="*/ 2 h 6"/>
            </a:gdLst>
            <a:ahLst/>
            <a:cxnLst>
              <a:cxn ang="0">
                <a:pos x="T0" y="T1"/>
              </a:cxn>
              <a:cxn ang="0">
                <a:pos x="T2" y="T3"/>
              </a:cxn>
              <a:cxn ang="0">
                <a:pos x="T4" y="T5"/>
              </a:cxn>
              <a:cxn ang="0">
                <a:pos x="T6" y="T7"/>
              </a:cxn>
            </a:cxnLst>
            <a:rect l="0" t="0" r="r" b="b"/>
            <a:pathLst>
              <a:path w="8" h="6">
                <a:moveTo>
                  <a:pt x="8" y="2"/>
                </a:moveTo>
                <a:lnTo>
                  <a:pt x="6" y="0"/>
                </a:lnTo>
                <a:lnTo>
                  <a:pt x="0" y="6"/>
                </a:lnTo>
                <a:lnTo>
                  <a:pt x="8"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3" name="Freeform 859"/>
          <p:cNvSpPr>
            <a:spLocks/>
          </p:cNvSpPr>
          <p:nvPr/>
        </p:nvSpPr>
        <p:spPr bwMode="auto">
          <a:xfrm>
            <a:off x="5030787" y="2063871"/>
            <a:ext cx="12700" cy="9525"/>
          </a:xfrm>
          <a:custGeom>
            <a:avLst/>
            <a:gdLst>
              <a:gd name="T0" fmla="*/ 8 w 8"/>
              <a:gd name="T1" fmla="*/ 2 h 6"/>
              <a:gd name="T2" fmla="*/ 6 w 8"/>
              <a:gd name="T3" fmla="*/ 0 h 6"/>
              <a:gd name="T4" fmla="*/ 0 w 8"/>
              <a:gd name="T5" fmla="*/ 6 h 6"/>
              <a:gd name="T6" fmla="*/ 8 w 8"/>
              <a:gd name="T7" fmla="*/ 2 h 6"/>
            </a:gdLst>
            <a:ahLst/>
            <a:cxnLst>
              <a:cxn ang="0">
                <a:pos x="T0" y="T1"/>
              </a:cxn>
              <a:cxn ang="0">
                <a:pos x="T2" y="T3"/>
              </a:cxn>
              <a:cxn ang="0">
                <a:pos x="T4" y="T5"/>
              </a:cxn>
              <a:cxn ang="0">
                <a:pos x="T6" y="T7"/>
              </a:cxn>
            </a:cxnLst>
            <a:rect l="0" t="0" r="r" b="b"/>
            <a:pathLst>
              <a:path w="8" h="6">
                <a:moveTo>
                  <a:pt x="8" y="2"/>
                </a:moveTo>
                <a:lnTo>
                  <a:pt x="6" y="0"/>
                </a:lnTo>
                <a:lnTo>
                  <a:pt x="0" y="6"/>
                </a:lnTo>
                <a:lnTo>
                  <a:pt x="8"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4" name="Freeform 860"/>
          <p:cNvSpPr>
            <a:spLocks/>
          </p:cNvSpPr>
          <p:nvPr/>
        </p:nvSpPr>
        <p:spPr bwMode="auto">
          <a:xfrm>
            <a:off x="5051425" y="2043234"/>
            <a:ext cx="3175" cy="14288"/>
          </a:xfrm>
          <a:custGeom>
            <a:avLst/>
            <a:gdLst>
              <a:gd name="T0" fmla="*/ 2 w 2"/>
              <a:gd name="T1" fmla="*/ 2 h 9"/>
              <a:gd name="T2" fmla="*/ 0 w 2"/>
              <a:gd name="T3" fmla="*/ 0 h 9"/>
              <a:gd name="T4" fmla="*/ 0 w 2"/>
              <a:gd name="T5" fmla="*/ 9 h 9"/>
              <a:gd name="T6" fmla="*/ 2 w 2"/>
              <a:gd name="T7" fmla="*/ 2 h 9"/>
            </a:gdLst>
            <a:ahLst/>
            <a:cxnLst>
              <a:cxn ang="0">
                <a:pos x="T0" y="T1"/>
              </a:cxn>
              <a:cxn ang="0">
                <a:pos x="T2" y="T3"/>
              </a:cxn>
              <a:cxn ang="0">
                <a:pos x="T4" y="T5"/>
              </a:cxn>
              <a:cxn ang="0">
                <a:pos x="T6" y="T7"/>
              </a:cxn>
            </a:cxnLst>
            <a:rect l="0" t="0" r="r" b="b"/>
            <a:pathLst>
              <a:path w="2" h="9">
                <a:moveTo>
                  <a:pt x="2" y="2"/>
                </a:moveTo>
                <a:lnTo>
                  <a:pt x="0" y="0"/>
                </a:lnTo>
                <a:lnTo>
                  <a:pt x="0" y="9"/>
                </a:lnTo>
                <a:lnTo>
                  <a:pt x="2"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5" name="Freeform 861"/>
          <p:cNvSpPr>
            <a:spLocks/>
          </p:cNvSpPr>
          <p:nvPr/>
        </p:nvSpPr>
        <p:spPr bwMode="auto">
          <a:xfrm>
            <a:off x="5051425" y="2043234"/>
            <a:ext cx="3175" cy="14288"/>
          </a:xfrm>
          <a:custGeom>
            <a:avLst/>
            <a:gdLst>
              <a:gd name="T0" fmla="*/ 2 w 2"/>
              <a:gd name="T1" fmla="*/ 2 h 9"/>
              <a:gd name="T2" fmla="*/ 0 w 2"/>
              <a:gd name="T3" fmla="*/ 0 h 9"/>
              <a:gd name="T4" fmla="*/ 0 w 2"/>
              <a:gd name="T5" fmla="*/ 9 h 9"/>
              <a:gd name="T6" fmla="*/ 2 w 2"/>
              <a:gd name="T7" fmla="*/ 2 h 9"/>
            </a:gdLst>
            <a:ahLst/>
            <a:cxnLst>
              <a:cxn ang="0">
                <a:pos x="T0" y="T1"/>
              </a:cxn>
              <a:cxn ang="0">
                <a:pos x="T2" y="T3"/>
              </a:cxn>
              <a:cxn ang="0">
                <a:pos x="T4" y="T5"/>
              </a:cxn>
              <a:cxn ang="0">
                <a:pos x="T6" y="T7"/>
              </a:cxn>
            </a:cxnLst>
            <a:rect l="0" t="0" r="r" b="b"/>
            <a:pathLst>
              <a:path w="2" h="9">
                <a:moveTo>
                  <a:pt x="2" y="2"/>
                </a:moveTo>
                <a:lnTo>
                  <a:pt x="0" y="0"/>
                </a:lnTo>
                <a:lnTo>
                  <a:pt x="0" y="9"/>
                </a:lnTo>
                <a:lnTo>
                  <a:pt x="2"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6" name="Freeform 862"/>
          <p:cNvSpPr>
            <a:spLocks/>
          </p:cNvSpPr>
          <p:nvPr/>
        </p:nvSpPr>
        <p:spPr bwMode="auto">
          <a:xfrm>
            <a:off x="4764087" y="2067046"/>
            <a:ext cx="709613" cy="792163"/>
          </a:xfrm>
          <a:custGeom>
            <a:avLst/>
            <a:gdLst>
              <a:gd name="T0" fmla="*/ 70 w 447"/>
              <a:gd name="T1" fmla="*/ 36 h 499"/>
              <a:gd name="T2" fmla="*/ 119 w 447"/>
              <a:gd name="T3" fmla="*/ 15 h 499"/>
              <a:gd name="T4" fmla="*/ 140 w 447"/>
              <a:gd name="T5" fmla="*/ 4 h 499"/>
              <a:gd name="T6" fmla="*/ 155 w 447"/>
              <a:gd name="T7" fmla="*/ 13 h 499"/>
              <a:gd name="T8" fmla="*/ 149 w 447"/>
              <a:gd name="T9" fmla="*/ 34 h 499"/>
              <a:gd name="T10" fmla="*/ 159 w 447"/>
              <a:gd name="T11" fmla="*/ 34 h 499"/>
              <a:gd name="T12" fmla="*/ 187 w 447"/>
              <a:gd name="T13" fmla="*/ 41 h 499"/>
              <a:gd name="T14" fmla="*/ 206 w 447"/>
              <a:gd name="T15" fmla="*/ 51 h 499"/>
              <a:gd name="T16" fmla="*/ 315 w 447"/>
              <a:gd name="T17" fmla="*/ 92 h 499"/>
              <a:gd name="T18" fmla="*/ 340 w 447"/>
              <a:gd name="T19" fmla="*/ 92 h 499"/>
              <a:gd name="T20" fmla="*/ 372 w 447"/>
              <a:gd name="T21" fmla="*/ 100 h 499"/>
              <a:gd name="T22" fmla="*/ 391 w 447"/>
              <a:gd name="T23" fmla="*/ 117 h 499"/>
              <a:gd name="T24" fmla="*/ 400 w 447"/>
              <a:gd name="T25" fmla="*/ 132 h 499"/>
              <a:gd name="T26" fmla="*/ 400 w 447"/>
              <a:gd name="T27" fmla="*/ 160 h 499"/>
              <a:gd name="T28" fmla="*/ 411 w 447"/>
              <a:gd name="T29" fmla="*/ 173 h 499"/>
              <a:gd name="T30" fmla="*/ 419 w 447"/>
              <a:gd name="T31" fmla="*/ 185 h 499"/>
              <a:gd name="T32" fmla="*/ 419 w 447"/>
              <a:gd name="T33" fmla="*/ 198 h 499"/>
              <a:gd name="T34" fmla="*/ 404 w 447"/>
              <a:gd name="T35" fmla="*/ 213 h 499"/>
              <a:gd name="T36" fmla="*/ 394 w 447"/>
              <a:gd name="T37" fmla="*/ 245 h 499"/>
              <a:gd name="T38" fmla="*/ 404 w 447"/>
              <a:gd name="T39" fmla="*/ 245 h 499"/>
              <a:gd name="T40" fmla="*/ 417 w 447"/>
              <a:gd name="T41" fmla="*/ 226 h 499"/>
              <a:gd name="T42" fmla="*/ 436 w 447"/>
              <a:gd name="T43" fmla="*/ 211 h 499"/>
              <a:gd name="T44" fmla="*/ 445 w 447"/>
              <a:gd name="T45" fmla="*/ 232 h 499"/>
              <a:gd name="T46" fmla="*/ 434 w 447"/>
              <a:gd name="T47" fmla="*/ 275 h 499"/>
              <a:gd name="T48" fmla="*/ 432 w 447"/>
              <a:gd name="T49" fmla="*/ 298 h 499"/>
              <a:gd name="T50" fmla="*/ 425 w 447"/>
              <a:gd name="T51" fmla="*/ 326 h 499"/>
              <a:gd name="T52" fmla="*/ 423 w 447"/>
              <a:gd name="T53" fmla="*/ 358 h 499"/>
              <a:gd name="T54" fmla="*/ 419 w 447"/>
              <a:gd name="T55" fmla="*/ 388 h 499"/>
              <a:gd name="T56" fmla="*/ 419 w 447"/>
              <a:gd name="T57" fmla="*/ 424 h 499"/>
              <a:gd name="T58" fmla="*/ 430 w 447"/>
              <a:gd name="T59" fmla="*/ 445 h 499"/>
              <a:gd name="T60" fmla="*/ 432 w 447"/>
              <a:gd name="T61" fmla="*/ 467 h 499"/>
              <a:gd name="T62" fmla="*/ 332 w 447"/>
              <a:gd name="T63" fmla="*/ 490 h 499"/>
              <a:gd name="T64" fmla="*/ 172 w 447"/>
              <a:gd name="T65" fmla="*/ 479 h 499"/>
              <a:gd name="T66" fmla="*/ 159 w 447"/>
              <a:gd name="T67" fmla="*/ 460 h 499"/>
              <a:gd name="T68" fmla="*/ 151 w 447"/>
              <a:gd name="T69" fmla="*/ 430 h 499"/>
              <a:gd name="T70" fmla="*/ 149 w 447"/>
              <a:gd name="T71" fmla="*/ 407 h 499"/>
              <a:gd name="T72" fmla="*/ 144 w 447"/>
              <a:gd name="T73" fmla="*/ 390 h 499"/>
              <a:gd name="T74" fmla="*/ 140 w 447"/>
              <a:gd name="T75" fmla="*/ 373 h 499"/>
              <a:gd name="T76" fmla="*/ 125 w 447"/>
              <a:gd name="T77" fmla="*/ 337 h 499"/>
              <a:gd name="T78" fmla="*/ 104 w 447"/>
              <a:gd name="T79" fmla="*/ 326 h 499"/>
              <a:gd name="T80" fmla="*/ 70 w 447"/>
              <a:gd name="T81" fmla="*/ 292 h 499"/>
              <a:gd name="T82" fmla="*/ 49 w 447"/>
              <a:gd name="T83" fmla="*/ 277 h 499"/>
              <a:gd name="T84" fmla="*/ 21 w 447"/>
              <a:gd name="T85" fmla="*/ 264 h 499"/>
              <a:gd name="T86" fmla="*/ 12 w 447"/>
              <a:gd name="T87" fmla="*/ 237 h 499"/>
              <a:gd name="T88" fmla="*/ 10 w 447"/>
              <a:gd name="T89" fmla="*/ 198 h 499"/>
              <a:gd name="T90" fmla="*/ 4 w 447"/>
              <a:gd name="T91" fmla="*/ 164 h 499"/>
              <a:gd name="T92" fmla="*/ 4 w 447"/>
              <a:gd name="T93" fmla="*/ 143 h 499"/>
              <a:gd name="T94" fmla="*/ 25 w 447"/>
              <a:gd name="T95" fmla="*/ 119 h 499"/>
              <a:gd name="T96" fmla="*/ 44 w 447"/>
              <a:gd name="T97" fmla="*/ 96 h 499"/>
              <a:gd name="T98" fmla="*/ 51 w 447"/>
              <a:gd name="T99" fmla="*/ 3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499">
                <a:moveTo>
                  <a:pt x="55" y="28"/>
                </a:moveTo>
                <a:lnTo>
                  <a:pt x="61" y="34"/>
                </a:lnTo>
                <a:lnTo>
                  <a:pt x="70" y="36"/>
                </a:lnTo>
                <a:lnTo>
                  <a:pt x="76" y="34"/>
                </a:lnTo>
                <a:lnTo>
                  <a:pt x="104" y="24"/>
                </a:lnTo>
                <a:lnTo>
                  <a:pt x="119" y="15"/>
                </a:lnTo>
                <a:lnTo>
                  <a:pt x="125" y="13"/>
                </a:lnTo>
                <a:lnTo>
                  <a:pt x="134" y="9"/>
                </a:lnTo>
                <a:lnTo>
                  <a:pt x="140" y="4"/>
                </a:lnTo>
                <a:lnTo>
                  <a:pt x="149" y="0"/>
                </a:lnTo>
                <a:lnTo>
                  <a:pt x="157" y="4"/>
                </a:lnTo>
                <a:lnTo>
                  <a:pt x="155" y="13"/>
                </a:lnTo>
                <a:lnTo>
                  <a:pt x="151" y="19"/>
                </a:lnTo>
                <a:lnTo>
                  <a:pt x="151" y="26"/>
                </a:lnTo>
                <a:lnTo>
                  <a:pt x="149" y="34"/>
                </a:lnTo>
                <a:lnTo>
                  <a:pt x="147" y="38"/>
                </a:lnTo>
                <a:lnTo>
                  <a:pt x="153" y="38"/>
                </a:lnTo>
                <a:lnTo>
                  <a:pt x="159" y="34"/>
                </a:lnTo>
                <a:lnTo>
                  <a:pt x="168" y="36"/>
                </a:lnTo>
                <a:lnTo>
                  <a:pt x="174" y="38"/>
                </a:lnTo>
                <a:lnTo>
                  <a:pt x="187" y="41"/>
                </a:lnTo>
                <a:lnTo>
                  <a:pt x="191" y="43"/>
                </a:lnTo>
                <a:lnTo>
                  <a:pt x="198" y="47"/>
                </a:lnTo>
                <a:lnTo>
                  <a:pt x="206" y="51"/>
                </a:lnTo>
                <a:lnTo>
                  <a:pt x="215" y="66"/>
                </a:lnTo>
                <a:lnTo>
                  <a:pt x="289" y="81"/>
                </a:lnTo>
                <a:lnTo>
                  <a:pt x="315" y="92"/>
                </a:lnTo>
                <a:lnTo>
                  <a:pt x="317" y="92"/>
                </a:lnTo>
                <a:lnTo>
                  <a:pt x="332" y="94"/>
                </a:lnTo>
                <a:lnTo>
                  <a:pt x="340" y="92"/>
                </a:lnTo>
                <a:lnTo>
                  <a:pt x="347" y="94"/>
                </a:lnTo>
                <a:lnTo>
                  <a:pt x="366" y="96"/>
                </a:lnTo>
                <a:lnTo>
                  <a:pt x="372" y="100"/>
                </a:lnTo>
                <a:lnTo>
                  <a:pt x="374" y="113"/>
                </a:lnTo>
                <a:lnTo>
                  <a:pt x="381" y="113"/>
                </a:lnTo>
                <a:lnTo>
                  <a:pt x="391" y="117"/>
                </a:lnTo>
                <a:lnTo>
                  <a:pt x="400" y="124"/>
                </a:lnTo>
                <a:lnTo>
                  <a:pt x="398" y="126"/>
                </a:lnTo>
                <a:lnTo>
                  <a:pt x="400" y="132"/>
                </a:lnTo>
                <a:lnTo>
                  <a:pt x="400" y="147"/>
                </a:lnTo>
                <a:lnTo>
                  <a:pt x="398" y="156"/>
                </a:lnTo>
                <a:lnTo>
                  <a:pt x="400" y="160"/>
                </a:lnTo>
                <a:lnTo>
                  <a:pt x="406" y="158"/>
                </a:lnTo>
                <a:lnTo>
                  <a:pt x="415" y="158"/>
                </a:lnTo>
                <a:lnTo>
                  <a:pt x="411" y="173"/>
                </a:lnTo>
                <a:lnTo>
                  <a:pt x="411" y="179"/>
                </a:lnTo>
                <a:lnTo>
                  <a:pt x="417" y="185"/>
                </a:lnTo>
                <a:lnTo>
                  <a:pt x="419" y="185"/>
                </a:lnTo>
                <a:lnTo>
                  <a:pt x="421" y="188"/>
                </a:lnTo>
                <a:lnTo>
                  <a:pt x="419" y="194"/>
                </a:lnTo>
                <a:lnTo>
                  <a:pt x="419" y="198"/>
                </a:lnTo>
                <a:lnTo>
                  <a:pt x="413" y="205"/>
                </a:lnTo>
                <a:lnTo>
                  <a:pt x="404" y="207"/>
                </a:lnTo>
                <a:lnTo>
                  <a:pt x="404" y="213"/>
                </a:lnTo>
                <a:lnTo>
                  <a:pt x="400" y="222"/>
                </a:lnTo>
                <a:lnTo>
                  <a:pt x="396" y="237"/>
                </a:lnTo>
                <a:lnTo>
                  <a:pt x="394" y="245"/>
                </a:lnTo>
                <a:lnTo>
                  <a:pt x="394" y="251"/>
                </a:lnTo>
                <a:lnTo>
                  <a:pt x="400" y="251"/>
                </a:lnTo>
                <a:lnTo>
                  <a:pt x="404" y="245"/>
                </a:lnTo>
                <a:lnTo>
                  <a:pt x="411" y="241"/>
                </a:lnTo>
                <a:lnTo>
                  <a:pt x="417" y="232"/>
                </a:lnTo>
                <a:lnTo>
                  <a:pt x="417" y="226"/>
                </a:lnTo>
                <a:lnTo>
                  <a:pt x="421" y="217"/>
                </a:lnTo>
                <a:lnTo>
                  <a:pt x="430" y="215"/>
                </a:lnTo>
                <a:lnTo>
                  <a:pt x="436" y="211"/>
                </a:lnTo>
                <a:lnTo>
                  <a:pt x="443" y="217"/>
                </a:lnTo>
                <a:lnTo>
                  <a:pt x="447" y="224"/>
                </a:lnTo>
                <a:lnTo>
                  <a:pt x="445" y="232"/>
                </a:lnTo>
                <a:lnTo>
                  <a:pt x="436" y="251"/>
                </a:lnTo>
                <a:lnTo>
                  <a:pt x="436" y="266"/>
                </a:lnTo>
                <a:lnTo>
                  <a:pt x="434" y="275"/>
                </a:lnTo>
                <a:lnTo>
                  <a:pt x="438" y="288"/>
                </a:lnTo>
                <a:lnTo>
                  <a:pt x="438" y="292"/>
                </a:lnTo>
                <a:lnTo>
                  <a:pt x="432" y="298"/>
                </a:lnTo>
                <a:lnTo>
                  <a:pt x="428" y="305"/>
                </a:lnTo>
                <a:lnTo>
                  <a:pt x="425" y="320"/>
                </a:lnTo>
                <a:lnTo>
                  <a:pt x="425" y="326"/>
                </a:lnTo>
                <a:lnTo>
                  <a:pt x="428" y="341"/>
                </a:lnTo>
                <a:lnTo>
                  <a:pt x="428" y="349"/>
                </a:lnTo>
                <a:lnTo>
                  <a:pt x="423" y="358"/>
                </a:lnTo>
                <a:lnTo>
                  <a:pt x="423" y="364"/>
                </a:lnTo>
                <a:lnTo>
                  <a:pt x="423" y="371"/>
                </a:lnTo>
                <a:lnTo>
                  <a:pt x="419" y="388"/>
                </a:lnTo>
                <a:lnTo>
                  <a:pt x="417" y="401"/>
                </a:lnTo>
                <a:lnTo>
                  <a:pt x="421" y="418"/>
                </a:lnTo>
                <a:lnTo>
                  <a:pt x="419" y="424"/>
                </a:lnTo>
                <a:lnTo>
                  <a:pt x="425" y="430"/>
                </a:lnTo>
                <a:lnTo>
                  <a:pt x="425" y="439"/>
                </a:lnTo>
                <a:lnTo>
                  <a:pt x="430" y="445"/>
                </a:lnTo>
                <a:lnTo>
                  <a:pt x="432" y="452"/>
                </a:lnTo>
                <a:lnTo>
                  <a:pt x="432" y="460"/>
                </a:lnTo>
                <a:lnTo>
                  <a:pt x="432" y="467"/>
                </a:lnTo>
                <a:lnTo>
                  <a:pt x="434" y="481"/>
                </a:lnTo>
                <a:lnTo>
                  <a:pt x="430" y="481"/>
                </a:lnTo>
                <a:lnTo>
                  <a:pt x="332" y="490"/>
                </a:lnTo>
                <a:lnTo>
                  <a:pt x="200" y="499"/>
                </a:lnTo>
                <a:lnTo>
                  <a:pt x="193" y="484"/>
                </a:lnTo>
                <a:lnTo>
                  <a:pt x="172" y="479"/>
                </a:lnTo>
                <a:lnTo>
                  <a:pt x="166" y="477"/>
                </a:lnTo>
                <a:lnTo>
                  <a:pt x="161" y="469"/>
                </a:lnTo>
                <a:lnTo>
                  <a:pt x="159" y="460"/>
                </a:lnTo>
                <a:lnTo>
                  <a:pt x="155" y="454"/>
                </a:lnTo>
                <a:lnTo>
                  <a:pt x="155" y="441"/>
                </a:lnTo>
                <a:lnTo>
                  <a:pt x="151" y="430"/>
                </a:lnTo>
                <a:lnTo>
                  <a:pt x="159" y="415"/>
                </a:lnTo>
                <a:lnTo>
                  <a:pt x="155" y="409"/>
                </a:lnTo>
                <a:lnTo>
                  <a:pt x="149" y="407"/>
                </a:lnTo>
                <a:lnTo>
                  <a:pt x="147" y="398"/>
                </a:lnTo>
                <a:lnTo>
                  <a:pt x="144" y="396"/>
                </a:lnTo>
                <a:lnTo>
                  <a:pt x="144" y="390"/>
                </a:lnTo>
                <a:lnTo>
                  <a:pt x="142" y="383"/>
                </a:lnTo>
                <a:lnTo>
                  <a:pt x="142" y="379"/>
                </a:lnTo>
                <a:lnTo>
                  <a:pt x="140" y="373"/>
                </a:lnTo>
                <a:lnTo>
                  <a:pt x="138" y="354"/>
                </a:lnTo>
                <a:lnTo>
                  <a:pt x="132" y="343"/>
                </a:lnTo>
                <a:lnTo>
                  <a:pt x="125" y="337"/>
                </a:lnTo>
                <a:lnTo>
                  <a:pt x="119" y="332"/>
                </a:lnTo>
                <a:lnTo>
                  <a:pt x="110" y="330"/>
                </a:lnTo>
                <a:lnTo>
                  <a:pt x="104" y="326"/>
                </a:lnTo>
                <a:lnTo>
                  <a:pt x="89" y="313"/>
                </a:lnTo>
                <a:lnTo>
                  <a:pt x="81" y="298"/>
                </a:lnTo>
                <a:lnTo>
                  <a:pt x="70" y="292"/>
                </a:lnTo>
                <a:lnTo>
                  <a:pt x="59" y="288"/>
                </a:lnTo>
                <a:lnTo>
                  <a:pt x="53" y="283"/>
                </a:lnTo>
                <a:lnTo>
                  <a:pt x="49" y="277"/>
                </a:lnTo>
                <a:lnTo>
                  <a:pt x="36" y="275"/>
                </a:lnTo>
                <a:lnTo>
                  <a:pt x="27" y="271"/>
                </a:lnTo>
                <a:lnTo>
                  <a:pt x="21" y="264"/>
                </a:lnTo>
                <a:lnTo>
                  <a:pt x="10" y="256"/>
                </a:lnTo>
                <a:lnTo>
                  <a:pt x="12" y="247"/>
                </a:lnTo>
                <a:lnTo>
                  <a:pt x="12" y="237"/>
                </a:lnTo>
                <a:lnTo>
                  <a:pt x="10" y="219"/>
                </a:lnTo>
                <a:lnTo>
                  <a:pt x="12" y="213"/>
                </a:lnTo>
                <a:lnTo>
                  <a:pt x="10" y="198"/>
                </a:lnTo>
                <a:lnTo>
                  <a:pt x="19" y="181"/>
                </a:lnTo>
                <a:lnTo>
                  <a:pt x="10" y="166"/>
                </a:lnTo>
                <a:lnTo>
                  <a:pt x="4" y="164"/>
                </a:lnTo>
                <a:lnTo>
                  <a:pt x="0" y="158"/>
                </a:lnTo>
                <a:lnTo>
                  <a:pt x="0" y="149"/>
                </a:lnTo>
                <a:lnTo>
                  <a:pt x="4" y="143"/>
                </a:lnTo>
                <a:lnTo>
                  <a:pt x="8" y="136"/>
                </a:lnTo>
                <a:lnTo>
                  <a:pt x="10" y="128"/>
                </a:lnTo>
                <a:lnTo>
                  <a:pt x="25" y="119"/>
                </a:lnTo>
                <a:lnTo>
                  <a:pt x="38" y="111"/>
                </a:lnTo>
                <a:lnTo>
                  <a:pt x="42" y="104"/>
                </a:lnTo>
                <a:lnTo>
                  <a:pt x="44" y="96"/>
                </a:lnTo>
                <a:lnTo>
                  <a:pt x="40" y="38"/>
                </a:lnTo>
                <a:lnTo>
                  <a:pt x="46" y="38"/>
                </a:lnTo>
                <a:lnTo>
                  <a:pt x="51" y="32"/>
                </a:lnTo>
                <a:lnTo>
                  <a:pt x="51" y="30"/>
                </a:lnTo>
                <a:lnTo>
                  <a:pt x="55" y="28"/>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7" name="Freeform 863"/>
          <p:cNvSpPr>
            <a:spLocks/>
          </p:cNvSpPr>
          <p:nvPr/>
        </p:nvSpPr>
        <p:spPr bwMode="auto">
          <a:xfrm>
            <a:off x="4764087" y="2067046"/>
            <a:ext cx="709613" cy="792163"/>
          </a:xfrm>
          <a:custGeom>
            <a:avLst/>
            <a:gdLst>
              <a:gd name="T0" fmla="*/ 70 w 447"/>
              <a:gd name="T1" fmla="*/ 36 h 499"/>
              <a:gd name="T2" fmla="*/ 119 w 447"/>
              <a:gd name="T3" fmla="*/ 15 h 499"/>
              <a:gd name="T4" fmla="*/ 140 w 447"/>
              <a:gd name="T5" fmla="*/ 4 h 499"/>
              <a:gd name="T6" fmla="*/ 155 w 447"/>
              <a:gd name="T7" fmla="*/ 13 h 499"/>
              <a:gd name="T8" fmla="*/ 149 w 447"/>
              <a:gd name="T9" fmla="*/ 34 h 499"/>
              <a:gd name="T10" fmla="*/ 159 w 447"/>
              <a:gd name="T11" fmla="*/ 34 h 499"/>
              <a:gd name="T12" fmla="*/ 187 w 447"/>
              <a:gd name="T13" fmla="*/ 41 h 499"/>
              <a:gd name="T14" fmla="*/ 206 w 447"/>
              <a:gd name="T15" fmla="*/ 51 h 499"/>
              <a:gd name="T16" fmla="*/ 315 w 447"/>
              <a:gd name="T17" fmla="*/ 92 h 499"/>
              <a:gd name="T18" fmla="*/ 340 w 447"/>
              <a:gd name="T19" fmla="*/ 92 h 499"/>
              <a:gd name="T20" fmla="*/ 372 w 447"/>
              <a:gd name="T21" fmla="*/ 100 h 499"/>
              <a:gd name="T22" fmla="*/ 391 w 447"/>
              <a:gd name="T23" fmla="*/ 117 h 499"/>
              <a:gd name="T24" fmla="*/ 400 w 447"/>
              <a:gd name="T25" fmla="*/ 132 h 499"/>
              <a:gd name="T26" fmla="*/ 400 w 447"/>
              <a:gd name="T27" fmla="*/ 160 h 499"/>
              <a:gd name="T28" fmla="*/ 411 w 447"/>
              <a:gd name="T29" fmla="*/ 173 h 499"/>
              <a:gd name="T30" fmla="*/ 419 w 447"/>
              <a:gd name="T31" fmla="*/ 185 h 499"/>
              <a:gd name="T32" fmla="*/ 419 w 447"/>
              <a:gd name="T33" fmla="*/ 198 h 499"/>
              <a:gd name="T34" fmla="*/ 404 w 447"/>
              <a:gd name="T35" fmla="*/ 213 h 499"/>
              <a:gd name="T36" fmla="*/ 394 w 447"/>
              <a:gd name="T37" fmla="*/ 245 h 499"/>
              <a:gd name="T38" fmla="*/ 404 w 447"/>
              <a:gd name="T39" fmla="*/ 245 h 499"/>
              <a:gd name="T40" fmla="*/ 417 w 447"/>
              <a:gd name="T41" fmla="*/ 226 h 499"/>
              <a:gd name="T42" fmla="*/ 436 w 447"/>
              <a:gd name="T43" fmla="*/ 211 h 499"/>
              <a:gd name="T44" fmla="*/ 445 w 447"/>
              <a:gd name="T45" fmla="*/ 232 h 499"/>
              <a:gd name="T46" fmla="*/ 434 w 447"/>
              <a:gd name="T47" fmla="*/ 275 h 499"/>
              <a:gd name="T48" fmla="*/ 432 w 447"/>
              <a:gd name="T49" fmla="*/ 298 h 499"/>
              <a:gd name="T50" fmla="*/ 425 w 447"/>
              <a:gd name="T51" fmla="*/ 326 h 499"/>
              <a:gd name="T52" fmla="*/ 423 w 447"/>
              <a:gd name="T53" fmla="*/ 358 h 499"/>
              <a:gd name="T54" fmla="*/ 419 w 447"/>
              <a:gd name="T55" fmla="*/ 388 h 499"/>
              <a:gd name="T56" fmla="*/ 419 w 447"/>
              <a:gd name="T57" fmla="*/ 424 h 499"/>
              <a:gd name="T58" fmla="*/ 430 w 447"/>
              <a:gd name="T59" fmla="*/ 445 h 499"/>
              <a:gd name="T60" fmla="*/ 432 w 447"/>
              <a:gd name="T61" fmla="*/ 467 h 499"/>
              <a:gd name="T62" fmla="*/ 332 w 447"/>
              <a:gd name="T63" fmla="*/ 490 h 499"/>
              <a:gd name="T64" fmla="*/ 172 w 447"/>
              <a:gd name="T65" fmla="*/ 479 h 499"/>
              <a:gd name="T66" fmla="*/ 159 w 447"/>
              <a:gd name="T67" fmla="*/ 460 h 499"/>
              <a:gd name="T68" fmla="*/ 151 w 447"/>
              <a:gd name="T69" fmla="*/ 430 h 499"/>
              <a:gd name="T70" fmla="*/ 149 w 447"/>
              <a:gd name="T71" fmla="*/ 407 h 499"/>
              <a:gd name="T72" fmla="*/ 144 w 447"/>
              <a:gd name="T73" fmla="*/ 390 h 499"/>
              <a:gd name="T74" fmla="*/ 140 w 447"/>
              <a:gd name="T75" fmla="*/ 373 h 499"/>
              <a:gd name="T76" fmla="*/ 125 w 447"/>
              <a:gd name="T77" fmla="*/ 337 h 499"/>
              <a:gd name="T78" fmla="*/ 104 w 447"/>
              <a:gd name="T79" fmla="*/ 326 h 499"/>
              <a:gd name="T80" fmla="*/ 70 w 447"/>
              <a:gd name="T81" fmla="*/ 292 h 499"/>
              <a:gd name="T82" fmla="*/ 49 w 447"/>
              <a:gd name="T83" fmla="*/ 277 h 499"/>
              <a:gd name="T84" fmla="*/ 21 w 447"/>
              <a:gd name="T85" fmla="*/ 264 h 499"/>
              <a:gd name="T86" fmla="*/ 12 w 447"/>
              <a:gd name="T87" fmla="*/ 237 h 499"/>
              <a:gd name="T88" fmla="*/ 10 w 447"/>
              <a:gd name="T89" fmla="*/ 198 h 499"/>
              <a:gd name="T90" fmla="*/ 4 w 447"/>
              <a:gd name="T91" fmla="*/ 164 h 499"/>
              <a:gd name="T92" fmla="*/ 4 w 447"/>
              <a:gd name="T93" fmla="*/ 143 h 499"/>
              <a:gd name="T94" fmla="*/ 25 w 447"/>
              <a:gd name="T95" fmla="*/ 119 h 499"/>
              <a:gd name="T96" fmla="*/ 44 w 447"/>
              <a:gd name="T97" fmla="*/ 96 h 499"/>
              <a:gd name="T98" fmla="*/ 51 w 447"/>
              <a:gd name="T99" fmla="*/ 32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47" h="499">
                <a:moveTo>
                  <a:pt x="55" y="28"/>
                </a:moveTo>
                <a:lnTo>
                  <a:pt x="61" y="34"/>
                </a:lnTo>
                <a:lnTo>
                  <a:pt x="70" y="36"/>
                </a:lnTo>
                <a:lnTo>
                  <a:pt x="76" y="34"/>
                </a:lnTo>
                <a:lnTo>
                  <a:pt x="104" y="24"/>
                </a:lnTo>
                <a:lnTo>
                  <a:pt x="119" y="15"/>
                </a:lnTo>
                <a:lnTo>
                  <a:pt x="125" y="13"/>
                </a:lnTo>
                <a:lnTo>
                  <a:pt x="134" y="9"/>
                </a:lnTo>
                <a:lnTo>
                  <a:pt x="140" y="4"/>
                </a:lnTo>
                <a:lnTo>
                  <a:pt x="149" y="0"/>
                </a:lnTo>
                <a:lnTo>
                  <a:pt x="157" y="4"/>
                </a:lnTo>
                <a:lnTo>
                  <a:pt x="155" y="13"/>
                </a:lnTo>
                <a:lnTo>
                  <a:pt x="151" y="19"/>
                </a:lnTo>
                <a:lnTo>
                  <a:pt x="151" y="26"/>
                </a:lnTo>
                <a:lnTo>
                  <a:pt x="149" y="34"/>
                </a:lnTo>
                <a:lnTo>
                  <a:pt x="147" y="38"/>
                </a:lnTo>
                <a:lnTo>
                  <a:pt x="153" y="38"/>
                </a:lnTo>
                <a:lnTo>
                  <a:pt x="159" y="34"/>
                </a:lnTo>
                <a:lnTo>
                  <a:pt x="168" y="36"/>
                </a:lnTo>
                <a:lnTo>
                  <a:pt x="174" y="38"/>
                </a:lnTo>
                <a:lnTo>
                  <a:pt x="187" y="41"/>
                </a:lnTo>
                <a:lnTo>
                  <a:pt x="191" y="43"/>
                </a:lnTo>
                <a:lnTo>
                  <a:pt x="198" y="47"/>
                </a:lnTo>
                <a:lnTo>
                  <a:pt x="206" y="51"/>
                </a:lnTo>
                <a:lnTo>
                  <a:pt x="215" y="66"/>
                </a:lnTo>
                <a:lnTo>
                  <a:pt x="289" y="81"/>
                </a:lnTo>
                <a:lnTo>
                  <a:pt x="315" y="92"/>
                </a:lnTo>
                <a:lnTo>
                  <a:pt x="317" y="92"/>
                </a:lnTo>
                <a:lnTo>
                  <a:pt x="332" y="94"/>
                </a:lnTo>
                <a:lnTo>
                  <a:pt x="340" y="92"/>
                </a:lnTo>
                <a:lnTo>
                  <a:pt x="347" y="94"/>
                </a:lnTo>
                <a:lnTo>
                  <a:pt x="366" y="96"/>
                </a:lnTo>
                <a:lnTo>
                  <a:pt x="372" y="100"/>
                </a:lnTo>
                <a:lnTo>
                  <a:pt x="374" y="113"/>
                </a:lnTo>
                <a:lnTo>
                  <a:pt x="381" y="113"/>
                </a:lnTo>
                <a:lnTo>
                  <a:pt x="391" y="117"/>
                </a:lnTo>
                <a:lnTo>
                  <a:pt x="400" y="124"/>
                </a:lnTo>
                <a:lnTo>
                  <a:pt x="398" y="126"/>
                </a:lnTo>
                <a:lnTo>
                  <a:pt x="400" y="132"/>
                </a:lnTo>
                <a:lnTo>
                  <a:pt x="400" y="147"/>
                </a:lnTo>
                <a:lnTo>
                  <a:pt x="398" y="156"/>
                </a:lnTo>
                <a:lnTo>
                  <a:pt x="400" y="160"/>
                </a:lnTo>
                <a:lnTo>
                  <a:pt x="406" y="158"/>
                </a:lnTo>
                <a:lnTo>
                  <a:pt x="415" y="158"/>
                </a:lnTo>
                <a:lnTo>
                  <a:pt x="411" y="173"/>
                </a:lnTo>
                <a:lnTo>
                  <a:pt x="411" y="179"/>
                </a:lnTo>
                <a:lnTo>
                  <a:pt x="417" y="185"/>
                </a:lnTo>
                <a:lnTo>
                  <a:pt x="419" y="185"/>
                </a:lnTo>
                <a:lnTo>
                  <a:pt x="421" y="188"/>
                </a:lnTo>
                <a:lnTo>
                  <a:pt x="419" y="194"/>
                </a:lnTo>
                <a:lnTo>
                  <a:pt x="419" y="198"/>
                </a:lnTo>
                <a:lnTo>
                  <a:pt x="413" y="205"/>
                </a:lnTo>
                <a:lnTo>
                  <a:pt x="404" y="207"/>
                </a:lnTo>
                <a:lnTo>
                  <a:pt x="404" y="213"/>
                </a:lnTo>
                <a:lnTo>
                  <a:pt x="400" y="222"/>
                </a:lnTo>
                <a:lnTo>
                  <a:pt x="396" y="237"/>
                </a:lnTo>
                <a:lnTo>
                  <a:pt x="394" y="245"/>
                </a:lnTo>
                <a:lnTo>
                  <a:pt x="394" y="251"/>
                </a:lnTo>
                <a:lnTo>
                  <a:pt x="400" y="251"/>
                </a:lnTo>
                <a:lnTo>
                  <a:pt x="404" y="245"/>
                </a:lnTo>
                <a:lnTo>
                  <a:pt x="411" y="241"/>
                </a:lnTo>
                <a:lnTo>
                  <a:pt x="417" y="232"/>
                </a:lnTo>
                <a:lnTo>
                  <a:pt x="417" y="226"/>
                </a:lnTo>
                <a:lnTo>
                  <a:pt x="421" y="217"/>
                </a:lnTo>
                <a:lnTo>
                  <a:pt x="430" y="215"/>
                </a:lnTo>
                <a:lnTo>
                  <a:pt x="436" y="211"/>
                </a:lnTo>
                <a:lnTo>
                  <a:pt x="443" y="217"/>
                </a:lnTo>
                <a:lnTo>
                  <a:pt x="447" y="224"/>
                </a:lnTo>
                <a:lnTo>
                  <a:pt x="445" y="232"/>
                </a:lnTo>
                <a:lnTo>
                  <a:pt x="436" y="251"/>
                </a:lnTo>
                <a:lnTo>
                  <a:pt x="436" y="266"/>
                </a:lnTo>
                <a:lnTo>
                  <a:pt x="434" y="275"/>
                </a:lnTo>
                <a:lnTo>
                  <a:pt x="438" y="288"/>
                </a:lnTo>
                <a:lnTo>
                  <a:pt x="438" y="292"/>
                </a:lnTo>
                <a:lnTo>
                  <a:pt x="432" y="298"/>
                </a:lnTo>
                <a:lnTo>
                  <a:pt x="428" y="305"/>
                </a:lnTo>
                <a:lnTo>
                  <a:pt x="425" y="320"/>
                </a:lnTo>
                <a:lnTo>
                  <a:pt x="425" y="326"/>
                </a:lnTo>
                <a:lnTo>
                  <a:pt x="428" y="341"/>
                </a:lnTo>
                <a:lnTo>
                  <a:pt x="428" y="349"/>
                </a:lnTo>
                <a:lnTo>
                  <a:pt x="423" y="358"/>
                </a:lnTo>
                <a:lnTo>
                  <a:pt x="423" y="364"/>
                </a:lnTo>
                <a:lnTo>
                  <a:pt x="423" y="371"/>
                </a:lnTo>
                <a:lnTo>
                  <a:pt x="419" y="388"/>
                </a:lnTo>
                <a:lnTo>
                  <a:pt x="417" y="401"/>
                </a:lnTo>
                <a:lnTo>
                  <a:pt x="421" y="418"/>
                </a:lnTo>
                <a:lnTo>
                  <a:pt x="419" y="424"/>
                </a:lnTo>
                <a:lnTo>
                  <a:pt x="425" y="430"/>
                </a:lnTo>
                <a:lnTo>
                  <a:pt x="425" y="439"/>
                </a:lnTo>
                <a:lnTo>
                  <a:pt x="430" y="445"/>
                </a:lnTo>
                <a:lnTo>
                  <a:pt x="432" y="452"/>
                </a:lnTo>
                <a:lnTo>
                  <a:pt x="432" y="460"/>
                </a:lnTo>
                <a:lnTo>
                  <a:pt x="432" y="467"/>
                </a:lnTo>
                <a:lnTo>
                  <a:pt x="434" y="481"/>
                </a:lnTo>
                <a:lnTo>
                  <a:pt x="430" y="481"/>
                </a:lnTo>
                <a:lnTo>
                  <a:pt x="332" y="490"/>
                </a:lnTo>
                <a:lnTo>
                  <a:pt x="200" y="499"/>
                </a:lnTo>
                <a:lnTo>
                  <a:pt x="193" y="484"/>
                </a:lnTo>
                <a:lnTo>
                  <a:pt x="172" y="479"/>
                </a:lnTo>
                <a:lnTo>
                  <a:pt x="166" y="477"/>
                </a:lnTo>
                <a:lnTo>
                  <a:pt x="161" y="469"/>
                </a:lnTo>
                <a:lnTo>
                  <a:pt x="159" y="460"/>
                </a:lnTo>
                <a:lnTo>
                  <a:pt x="155" y="454"/>
                </a:lnTo>
                <a:lnTo>
                  <a:pt x="155" y="441"/>
                </a:lnTo>
                <a:lnTo>
                  <a:pt x="151" y="430"/>
                </a:lnTo>
                <a:lnTo>
                  <a:pt x="159" y="415"/>
                </a:lnTo>
                <a:lnTo>
                  <a:pt x="155" y="409"/>
                </a:lnTo>
                <a:lnTo>
                  <a:pt x="149" y="407"/>
                </a:lnTo>
                <a:lnTo>
                  <a:pt x="147" y="398"/>
                </a:lnTo>
                <a:lnTo>
                  <a:pt x="144" y="396"/>
                </a:lnTo>
                <a:lnTo>
                  <a:pt x="144" y="390"/>
                </a:lnTo>
                <a:lnTo>
                  <a:pt x="142" y="383"/>
                </a:lnTo>
                <a:lnTo>
                  <a:pt x="142" y="379"/>
                </a:lnTo>
                <a:lnTo>
                  <a:pt x="140" y="373"/>
                </a:lnTo>
                <a:lnTo>
                  <a:pt x="138" y="354"/>
                </a:lnTo>
                <a:lnTo>
                  <a:pt x="132" y="343"/>
                </a:lnTo>
                <a:lnTo>
                  <a:pt x="125" y="337"/>
                </a:lnTo>
                <a:lnTo>
                  <a:pt x="119" y="332"/>
                </a:lnTo>
                <a:lnTo>
                  <a:pt x="110" y="330"/>
                </a:lnTo>
                <a:lnTo>
                  <a:pt x="104" y="326"/>
                </a:lnTo>
                <a:lnTo>
                  <a:pt x="89" y="313"/>
                </a:lnTo>
                <a:lnTo>
                  <a:pt x="81" y="298"/>
                </a:lnTo>
                <a:lnTo>
                  <a:pt x="70" y="292"/>
                </a:lnTo>
                <a:lnTo>
                  <a:pt x="59" y="288"/>
                </a:lnTo>
                <a:lnTo>
                  <a:pt x="53" y="283"/>
                </a:lnTo>
                <a:lnTo>
                  <a:pt x="49" y="277"/>
                </a:lnTo>
                <a:lnTo>
                  <a:pt x="36" y="275"/>
                </a:lnTo>
                <a:lnTo>
                  <a:pt x="27" y="271"/>
                </a:lnTo>
                <a:lnTo>
                  <a:pt x="21" y="264"/>
                </a:lnTo>
                <a:lnTo>
                  <a:pt x="10" y="256"/>
                </a:lnTo>
                <a:lnTo>
                  <a:pt x="12" y="247"/>
                </a:lnTo>
                <a:lnTo>
                  <a:pt x="12" y="237"/>
                </a:lnTo>
                <a:lnTo>
                  <a:pt x="10" y="219"/>
                </a:lnTo>
                <a:lnTo>
                  <a:pt x="12" y="213"/>
                </a:lnTo>
                <a:lnTo>
                  <a:pt x="10" y="198"/>
                </a:lnTo>
                <a:lnTo>
                  <a:pt x="19" y="181"/>
                </a:lnTo>
                <a:lnTo>
                  <a:pt x="10" y="166"/>
                </a:lnTo>
                <a:lnTo>
                  <a:pt x="4" y="164"/>
                </a:lnTo>
                <a:lnTo>
                  <a:pt x="0" y="158"/>
                </a:lnTo>
                <a:lnTo>
                  <a:pt x="0" y="149"/>
                </a:lnTo>
                <a:lnTo>
                  <a:pt x="4" y="143"/>
                </a:lnTo>
                <a:lnTo>
                  <a:pt x="8" y="136"/>
                </a:lnTo>
                <a:lnTo>
                  <a:pt x="10" y="128"/>
                </a:lnTo>
                <a:lnTo>
                  <a:pt x="25" y="119"/>
                </a:lnTo>
                <a:lnTo>
                  <a:pt x="38" y="111"/>
                </a:lnTo>
                <a:lnTo>
                  <a:pt x="42" y="104"/>
                </a:lnTo>
                <a:lnTo>
                  <a:pt x="44" y="96"/>
                </a:lnTo>
                <a:lnTo>
                  <a:pt x="40" y="38"/>
                </a:lnTo>
                <a:lnTo>
                  <a:pt x="46" y="38"/>
                </a:lnTo>
                <a:lnTo>
                  <a:pt x="51" y="32"/>
                </a:lnTo>
                <a:lnTo>
                  <a:pt x="51" y="30"/>
                </a:lnTo>
                <a:lnTo>
                  <a:pt x="55" y="2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58" name="Freeform 864"/>
          <p:cNvSpPr>
            <a:spLocks/>
          </p:cNvSpPr>
          <p:nvPr/>
        </p:nvSpPr>
        <p:spPr bwMode="auto">
          <a:xfrm>
            <a:off x="5459412" y="2324221"/>
            <a:ext cx="47625" cy="84138"/>
          </a:xfrm>
          <a:custGeom>
            <a:avLst/>
            <a:gdLst>
              <a:gd name="T0" fmla="*/ 2 w 30"/>
              <a:gd name="T1" fmla="*/ 34 h 53"/>
              <a:gd name="T2" fmla="*/ 0 w 30"/>
              <a:gd name="T3" fmla="*/ 47 h 53"/>
              <a:gd name="T4" fmla="*/ 5 w 30"/>
              <a:gd name="T5" fmla="*/ 53 h 53"/>
              <a:gd name="T6" fmla="*/ 11 w 30"/>
              <a:gd name="T7" fmla="*/ 53 h 53"/>
              <a:gd name="T8" fmla="*/ 15 w 30"/>
              <a:gd name="T9" fmla="*/ 47 h 53"/>
              <a:gd name="T10" fmla="*/ 19 w 30"/>
              <a:gd name="T11" fmla="*/ 40 h 53"/>
              <a:gd name="T12" fmla="*/ 19 w 30"/>
              <a:gd name="T13" fmla="*/ 34 h 53"/>
              <a:gd name="T14" fmla="*/ 24 w 30"/>
              <a:gd name="T15" fmla="*/ 23 h 53"/>
              <a:gd name="T16" fmla="*/ 24 w 30"/>
              <a:gd name="T17" fmla="*/ 17 h 53"/>
              <a:gd name="T18" fmla="*/ 30 w 30"/>
              <a:gd name="T19" fmla="*/ 2 h 53"/>
              <a:gd name="T20" fmla="*/ 28 w 30"/>
              <a:gd name="T21" fmla="*/ 0 h 53"/>
              <a:gd name="T22" fmla="*/ 22 w 30"/>
              <a:gd name="T23" fmla="*/ 6 h 53"/>
              <a:gd name="T24" fmla="*/ 17 w 30"/>
              <a:gd name="T25" fmla="*/ 13 h 53"/>
              <a:gd name="T26" fmla="*/ 9 w 30"/>
              <a:gd name="T27" fmla="*/ 21 h 53"/>
              <a:gd name="T28" fmla="*/ 9 w 30"/>
              <a:gd name="T29" fmla="*/ 28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0" y="47"/>
                </a:lnTo>
                <a:lnTo>
                  <a:pt x="5" y="53"/>
                </a:lnTo>
                <a:lnTo>
                  <a:pt x="11" y="53"/>
                </a:lnTo>
                <a:lnTo>
                  <a:pt x="15" y="47"/>
                </a:lnTo>
                <a:lnTo>
                  <a:pt x="19" y="40"/>
                </a:lnTo>
                <a:lnTo>
                  <a:pt x="19" y="34"/>
                </a:lnTo>
                <a:lnTo>
                  <a:pt x="24" y="23"/>
                </a:lnTo>
                <a:lnTo>
                  <a:pt x="24" y="17"/>
                </a:lnTo>
                <a:lnTo>
                  <a:pt x="30" y="2"/>
                </a:lnTo>
                <a:lnTo>
                  <a:pt x="28" y="0"/>
                </a:lnTo>
                <a:lnTo>
                  <a:pt x="22" y="6"/>
                </a:lnTo>
                <a:lnTo>
                  <a:pt x="17" y="13"/>
                </a:lnTo>
                <a:lnTo>
                  <a:pt x="9" y="21"/>
                </a:lnTo>
                <a:lnTo>
                  <a:pt x="9" y="28"/>
                </a:lnTo>
                <a:lnTo>
                  <a:pt x="2" y="3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59" name="Freeform 865"/>
          <p:cNvSpPr>
            <a:spLocks/>
          </p:cNvSpPr>
          <p:nvPr/>
        </p:nvSpPr>
        <p:spPr bwMode="auto">
          <a:xfrm>
            <a:off x="5459412" y="2324221"/>
            <a:ext cx="47625" cy="84138"/>
          </a:xfrm>
          <a:custGeom>
            <a:avLst/>
            <a:gdLst>
              <a:gd name="T0" fmla="*/ 2 w 30"/>
              <a:gd name="T1" fmla="*/ 34 h 53"/>
              <a:gd name="T2" fmla="*/ 0 w 30"/>
              <a:gd name="T3" fmla="*/ 47 h 53"/>
              <a:gd name="T4" fmla="*/ 5 w 30"/>
              <a:gd name="T5" fmla="*/ 53 h 53"/>
              <a:gd name="T6" fmla="*/ 11 w 30"/>
              <a:gd name="T7" fmla="*/ 53 h 53"/>
              <a:gd name="T8" fmla="*/ 15 w 30"/>
              <a:gd name="T9" fmla="*/ 47 h 53"/>
              <a:gd name="T10" fmla="*/ 19 w 30"/>
              <a:gd name="T11" fmla="*/ 40 h 53"/>
              <a:gd name="T12" fmla="*/ 19 w 30"/>
              <a:gd name="T13" fmla="*/ 34 h 53"/>
              <a:gd name="T14" fmla="*/ 24 w 30"/>
              <a:gd name="T15" fmla="*/ 23 h 53"/>
              <a:gd name="T16" fmla="*/ 24 w 30"/>
              <a:gd name="T17" fmla="*/ 17 h 53"/>
              <a:gd name="T18" fmla="*/ 30 w 30"/>
              <a:gd name="T19" fmla="*/ 2 h 53"/>
              <a:gd name="T20" fmla="*/ 28 w 30"/>
              <a:gd name="T21" fmla="*/ 0 h 53"/>
              <a:gd name="T22" fmla="*/ 22 w 30"/>
              <a:gd name="T23" fmla="*/ 6 h 53"/>
              <a:gd name="T24" fmla="*/ 17 w 30"/>
              <a:gd name="T25" fmla="*/ 13 h 53"/>
              <a:gd name="T26" fmla="*/ 9 w 30"/>
              <a:gd name="T27" fmla="*/ 21 h 53"/>
              <a:gd name="T28" fmla="*/ 9 w 30"/>
              <a:gd name="T29" fmla="*/ 28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0" y="47"/>
                </a:lnTo>
                <a:lnTo>
                  <a:pt x="5" y="53"/>
                </a:lnTo>
                <a:lnTo>
                  <a:pt x="11" y="53"/>
                </a:lnTo>
                <a:lnTo>
                  <a:pt x="15" y="47"/>
                </a:lnTo>
                <a:lnTo>
                  <a:pt x="19" y="40"/>
                </a:lnTo>
                <a:lnTo>
                  <a:pt x="19" y="34"/>
                </a:lnTo>
                <a:lnTo>
                  <a:pt x="24" y="23"/>
                </a:lnTo>
                <a:lnTo>
                  <a:pt x="24" y="17"/>
                </a:lnTo>
                <a:lnTo>
                  <a:pt x="30" y="2"/>
                </a:lnTo>
                <a:lnTo>
                  <a:pt x="28" y="0"/>
                </a:lnTo>
                <a:lnTo>
                  <a:pt x="22" y="6"/>
                </a:lnTo>
                <a:lnTo>
                  <a:pt x="17" y="13"/>
                </a:lnTo>
                <a:lnTo>
                  <a:pt x="9" y="21"/>
                </a:lnTo>
                <a:lnTo>
                  <a:pt x="9" y="28"/>
                </a:lnTo>
                <a:lnTo>
                  <a:pt x="2" y="3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0" name="Freeform 866"/>
          <p:cNvSpPr>
            <a:spLocks/>
          </p:cNvSpPr>
          <p:nvPr/>
        </p:nvSpPr>
        <p:spPr bwMode="auto">
          <a:xfrm>
            <a:off x="5013325" y="2081334"/>
            <a:ext cx="20638" cy="23813"/>
          </a:xfrm>
          <a:custGeom>
            <a:avLst/>
            <a:gdLst>
              <a:gd name="T0" fmla="*/ 13 w 13"/>
              <a:gd name="T1" fmla="*/ 0 h 15"/>
              <a:gd name="T2" fmla="*/ 0 w 13"/>
              <a:gd name="T3" fmla="*/ 15 h 15"/>
              <a:gd name="T4" fmla="*/ 4 w 13"/>
              <a:gd name="T5" fmla="*/ 6 h 15"/>
              <a:gd name="T6" fmla="*/ 11 w 13"/>
              <a:gd name="T7" fmla="*/ 0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0" y="15"/>
                </a:lnTo>
                <a:lnTo>
                  <a:pt x="4" y="6"/>
                </a:lnTo>
                <a:lnTo>
                  <a:pt x="11" y="0"/>
                </a:lnTo>
                <a:lnTo>
                  <a:pt x="13"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1" name="Freeform 867"/>
          <p:cNvSpPr>
            <a:spLocks/>
          </p:cNvSpPr>
          <p:nvPr/>
        </p:nvSpPr>
        <p:spPr bwMode="auto">
          <a:xfrm>
            <a:off x="5013325" y="2081334"/>
            <a:ext cx="20638" cy="23813"/>
          </a:xfrm>
          <a:custGeom>
            <a:avLst/>
            <a:gdLst>
              <a:gd name="T0" fmla="*/ 13 w 13"/>
              <a:gd name="T1" fmla="*/ 0 h 15"/>
              <a:gd name="T2" fmla="*/ 0 w 13"/>
              <a:gd name="T3" fmla="*/ 15 h 15"/>
              <a:gd name="T4" fmla="*/ 4 w 13"/>
              <a:gd name="T5" fmla="*/ 6 h 15"/>
              <a:gd name="T6" fmla="*/ 11 w 13"/>
              <a:gd name="T7" fmla="*/ 0 h 15"/>
              <a:gd name="T8" fmla="*/ 13 w 13"/>
              <a:gd name="T9" fmla="*/ 0 h 15"/>
            </a:gdLst>
            <a:ahLst/>
            <a:cxnLst>
              <a:cxn ang="0">
                <a:pos x="T0" y="T1"/>
              </a:cxn>
              <a:cxn ang="0">
                <a:pos x="T2" y="T3"/>
              </a:cxn>
              <a:cxn ang="0">
                <a:pos x="T4" y="T5"/>
              </a:cxn>
              <a:cxn ang="0">
                <a:pos x="T6" y="T7"/>
              </a:cxn>
              <a:cxn ang="0">
                <a:pos x="T8" y="T9"/>
              </a:cxn>
            </a:cxnLst>
            <a:rect l="0" t="0" r="r" b="b"/>
            <a:pathLst>
              <a:path w="13" h="15">
                <a:moveTo>
                  <a:pt x="13" y="0"/>
                </a:moveTo>
                <a:lnTo>
                  <a:pt x="0" y="15"/>
                </a:lnTo>
                <a:lnTo>
                  <a:pt x="4" y="6"/>
                </a:lnTo>
                <a:lnTo>
                  <a:pt x="11" y="0"/>
                </a:lnTo>
                <a:lnTo>
                  <a:pt x="13"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462" name="Freeform 868"/>
          <p:cNvSpPr>
            <a:spLocks/>
          </p:cNvSpPr>
          <p:nvPr/>
        </p:nvSpPr>
        <p:spPr bwMode="auto">
          <a:xfrm>
            <a:off x="5051425" y="2043234"/>
            <a:ext cx="3175" cy="14288"/>
          </a:xfrm>
          <a:custGeom>
            <a:avLst/>
            <a:gdLst>
              <a:gd name="T0" fmla="*/ 2 w 2"/>
              <a:gd name="T1" fmla="*/ 2 h 9"/>
              <a:gd name="T2" fmla="*/ 0 w 2"/>
              <a:gd name="T3" fmla="*/ 9 h 9"/>
              <a:gd name="T4" fmla="*/ 0 w 2"/>
              <a:gd name="T5" fmla="*/ 0 h 9"/>
              <a:gd name="T6" fmla="*/ 2 w 2"/>
              <a:gd name="T7" fmla="*/ 2 h 9"/>
            </a:gdLst>
            <a:ahLst/>
            <a:cxnLst>
              <a:cxn ang="0">
                <a:pos x="T0" y="T1"/>
              </a:cxn>
              <a:cxn ang="0">
                <a:pos x="T2" y="T3"/>
              </a:cxn>
              <a:cxn ang="0">
                <a:pos x="T4" y="T5"/>
              </a:cxn>
              <a:cxn ang="0">
                <a:pos x="T6" y="T7"/>
              </a:cxn>
            </a:cxnLst>
            <a:rect l="0" t="0" r="r" b="b"/>
            <a:pathLst>
              <a:path w="2" h="9">
                <a:moveTo>
                  <a:pt x="2" y="2"/>
                </a:moveTo>
                <a:lnTo>
                  <a:pt x="0" y="9"/>
                </a:lnTo>
                <a:lnTo>
                  <a:pt x="0" y="0"/>
                </a:lnTo>
                <a:lnTo>
                  <a:pt x="2" y="2"/>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63" name="Freeform 869"/>
          <p:cNvSpPr>
            <a:spLocks/>
          </p:cNvSpPr>
          <p:nvPr/>
        </p:nvSpPr>
        <p:spPr bwMode="auto">
          <a:xfrm>
            <a:off x="5051425" y="2043234"/>
            <a:ext cx="3175" cy="14288"/>
          </a:xfrm>
          <a:custGeom>
            <a:avLst/>
            <a:gdLst>
              <a:gd name="T0" fmla="*/ 2 w 2"/>
              <a:gd name="T1" fmla="*/ 2 h 9"/>
              <a:gd name="T2" fmla="*/ 0 w 2"/>
              <a:gd name="T3" fmla="*/ 9 h 9"/>
              <a:gd name="T4" fmla="*/ 0 w 2"/>
              <a:gd name="T5" fmla="*/ 0 h 9"/>
              <a:gd name="T6" fmla="*/ 2 w 2"/>
              <a:gd name="T7" fmla="*/ 2 h 9"/>
            </a:gdLst>
            <a:ahLst/>
            <a:cxnLst>
              <a:cxn ang="0">
                <a:pos x="T0" y="T1"/>
              </a:cxn>
              <a:cxn ang="0">
                <a:pos x="T2" y="T3"/>
              </a:cxn>
              <a:cxn ang="0">
                <a:pos x="T4" y="T5"/>
              </a:cxn>
              <a:cxn ang="0">
                <a:pos x="T6" y="T7"/>
              </a:cxn>
            </a:cxnLst>
            <a:rect l="0" t="0" r="r" b="b"/>
            <a:pathLst>
              <a:path w="2" h="9">
                <a:moveTo>
                  <a:pt x="2" y="2"/>
                </a:moveTo>
                <a:lnTo>
                  <a:pt x="0" y="9"/>
                </a:lnTo>
                <a:lnTo>
                  <a:pt x="0" y="0"/>
                </a:lnTo>
                <a:lnTo>
                  <a:pt x="2"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4" name="Freeform 871"/>
          <p:cNvSpPr>
            <a:spLocks/>
          </p:cNvSpPr>
          <p:nvPr/>
        </p:nvSpPr>
        <p:spPr bwMode="auto">
          <a:xfrm>
            <a:off x="5459413" y="2324221"/>
            <a:ext cx="47625" cy="84138"/>
          </a:xfrm>
          <a:custGeom>
            <a:avLst/>
            <a:gdLst>
              <a:gd name="T0" fmla="*/ 2 w 30"/>
              <a:gd name="T1" fmla="*/ 34 h 53"/>
              <a:gd name="T2" fmla="*/ 9 w 30"/>
              <a:gd name="T3" fmla="*/ 28 h 53"/>
              <a:gd name="T4" fmla="*/ 9 w 30"/>
              <a:gd name="T5" fmla="*/ 21 h 53"/>
              <a:gd name="T6" fmla="*/ 17 w 30"/>
              <a:gd name="T7" fmla="*/ 13 h 53"/>
              <a:gd name="T8" fmla="*/ 22 w 30"/>
              <a:gd name="T9" fmla="*/ 6 h 53"/>
              <a:gd name="T10" fmla="*/ 28 w 30"/>
              <a:gd name="T11" fmla="*/ 0 h 53"/>
              <a:gd name="T12" fmla="*/ 30 w 30"/>
              <a:gd name="T13" fmla="*/ 2 h 53"/>
              <a:gd name="T14" fmla="*/ 24 w 30"/>
              <a:gd name="T15" fmla="*/ 17 h 53"/>
              <a:gd name="T16" fmla="*/ 24 w 30"/>
              <a:gd name="T17" fmla="*/ 23 h 53"/>
              <a:gd name="T18" fmla="*/ 19 w 30"/>
              <a:gd name="T19" fmla="*/ 34 h 53"/>
              <a:gd name="T20" fmla="*/ 19 w 30"/>
              <a:gd name="T21" fmla="*/ 40 h 53"/>
              <a:gd name="T22" fmla="*/ 15 w 30"/>
              <a:gd name="T23" fmla="*/ 47 h 53"/>
              <a:gd name="T24" fmla="*/ 11 w 30"/>
              <a:gd name="T25" fmla="*/ 53 h 53"/>
              <a:gd name="T26" fmla="*/ 5 w 30"/>
              <a:gd name="T27" fmla="*/ 53 h 53"/>
              <a:gd name="T28" fmla="*/ 0 w 30"/>
              <a:gd name="T29" fmla="*/ 47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9" y="28"/>
                </a:lnTo>
                <a:lnTo>
                  <a:pt x="9" y="21"/>
                </a:lnTo>
                <a:lnTo>
                  <a:pt x="17" y="13"/>
                </a:lnTo>
                <a:lnTo>
                  <a:pt x="22" y="6"/>
                </a:lnTo>
                <a:lnTo>
                  <a:pt x="28" y="0"/>
                </a:lnTo>
                <a:lnTo>
                  <a:pt x="30" y="2"/>
                </a:lnTo>
                <a:lnTo>
                  <a:pt x="24" y="17"/>
                </a:lnTo>
                <a:lnTo>
                  <a:pt x="24" y="23"/>
                </a:lnTo>
                <a:lnTo>
                  <a:pt x="19" y="34"/>
                </a:lnTo>
                <a:lnTo>
                  <a:pt x="19" y="40"/>
                </a:lnTo>
                <a:lnTo>
                  <a:pt x="15" y="47"/>
                </a:lnTo>
                <a:lnTo>
                  <a:pt x="11" y="53"/>
                </a:lnTo>
                <a:lnTo>
                  <a:pt x="5" y="53"/>
                </a:lnTo>
                <a:lnTo>
                  <a:pt x="0" y="47"/>
                </a:lnTo>
                <a:lnTo>
                  <a:pt x="2" y="34"/>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5" name="Freeform 872"/>
          <p:cNvSpPr>
            <a:spLocks/>
          </p:cNvSpPr>
          <p:nvPr/>
        </p:nvSpPr>
        <p:spPr bwMode="auto">
          <a:xfrm>
            <a:off x="5459413" y="2324221"/>
            <a:ext cx="47625" cy="84138"/>
          </a:xfrm>
          <a:custGeom>
            <a:avLst/>
            <a:gdLst>
              <a:gd name="T0" fmla="*/ 2 w 30"/>
              <a:gd name="T1" fmla="*/ 34 h 53"/>
              <a:gd name="T2" fmla="*/ 9 w 30"/>
              <a:gd name="T3" fmla="*/ 28 h 53"/>
              <a:gd name="T4" fmla="*/ 9 w 30"/>
              <a:gd name="T5" fmla="*/ 21 h 53"/>
              <a:gd name="T6" fmla="*/ 17 w 30"/>
              <a:gd name="T7" fmla="*/ 13 h 53"/>
              <a:gd name="T8" fmla="*/ 22 w 30"/>
              <a:gd name="T9" fmla="*/ 6 h 53"/>
              <a:gd name="T10" fmla="*/ 28 w 30"/>
              <a:gd name="T11" fmla="*/ 0 h 53"/>
              <a:gd name="T12" fmla="*/ 30 w 30"/>
              <a:gd name="T13" fmla="*/ 2 h 53"/>
              <a:gd name="T14" fmla="*/ 24 w 30"/>
              <a:gd name="T15" fmla="*/ 17 h 53"/>
              <a:gd name="T16" fmla="*/ 24 w 30"/>
              <a:gd name="T17" fmla="*/ 23 h 53"/>
              <a:gd name="T18" fmla="*/ 19 w 30"/>
              <a:gd name="T19" fmla="*/ 34 h 53"/>
              <a:gd name="T20" fmla="*/ 19 w 30"/>
              <a:gd name="T21" fmla="*/ 40 h 53"/>
              <a:gd name="T22" fmla="*/ 15 w 30"/>
              <a:gd name="T23" fmla="*/ 47 h 53"/>
              <a:gd name="T24" fmla="*/ 11 w 30"/>
              <a:gd name="T25" fmla="*/ 53 h 53"/>
              <a:gd name="T26" fmla="*/ 5 w 30"/>
              <a:gd name="T27" fmla="*/ 53 h 53"/>
              <a:gd name="T28" fmla="*/ 0 w 30"/>
              <a:gd name="T29" fmla="*/ 47 h 53"/>
              <a:gd name="T30" fmla="*/ 2 w 30"/>
              <a:gd name="T31" fmla="*/ 34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0" h="53">
                <a:moveTo>
                  <a:pt x="2" y="34"/>
                </a:moveTo>
                <a:lnTo>
                  <a:pt x="9" y="28"/>
                </a:lnTo>
                <a:lnTo>
                  <a:pt x="9" y="21"/>
                </a:lnTo>
                <a:lnTo>
                  <a:pt x="17" y="13"/>
                </a:lnTo>
                <a:lnTo>
                  <a:pt x="22" y="6"/>
                </a:lnTo>
                <a:lnTo>
                  <a:pt x="28" y="0"/>
                </a:lnTo>
                <a:lnTo>
                  <a:pt x="30" y="2"/>
                </a:lnTo>
                <a:lnTo>
                  <a:pt x="24" y="17"/>
                </a:lnTo>
                <a:lnTo>
                  <a:pt x="24" y="23"/>
                </a:lnTo>
                <a:lnTo>
                  <a:pt x="19" y="34"/>
                </a:lnTo>
                <a:lnTo>
                  <a:pt x="19" y="40"/>
                </a:lnTo>
                <a:lnTo>
                  <a:pt x="15" y="47"/>
                </a:lnTo>
                <a:lnTo>
                  <a:pt x="11" y="53"/>
                </a:lnTo>
                <a:lnTo>
                  <a:pt x="5" y="53"/>
                </a:lnTo>
                <a:lnTo>
                  <a:pt x="0" y="47"/>
                </a:lnTo>
                <a:lnTo>
                  <a:pt x="2" y="3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6" name="Freeform 873"/>
          <p:cNvSpPr>
            <a:spLocks/>
          </p:cNvSpPr>
          <p:nvPr/>
        </p:nvSpPr>
        <p:spPr bwMode="auto">
          <a:xfrm>
            <a:off x="5060950" y="4180009"/>
            <a:ext cx="506413" cy="876300"/>
          </a:xfrm>
          <a:custGeom>
            <a:avLst/>
            <a:gdLst>
              <a:gd name="T0" fmla="*/ 34 w 319"/>
              <a:gd name="T1" fmla="*/ 228 h 552"/>
              <a:gd name="T2" fmla="*/ 38 w 319"/>
              <a:gd name="T3" fmla="*/ 215 h 552"/>
              <a:gd name="T4" fmla="*/ 36 w 319"/>
              <a:gd name="T5" fmla="*/ 200 h 552"/>
              <a:gd name="T6" fmla="*/ 34 w 319"/>
              <a:gd name="T7" fmla="*/ 194 h 552"/>
              <a:gd name="T8" fmla="*/ 28 w 319"/>
              <a:gd name="T9" fmla="*/ 188 h 552"/>
              <a:gd name="T10" fmla="*/ 26 w 319"/>
              <a:gd name="T11" fmla="*/ 169 h 552"/>
              <a:gd name="T12" fmla="*/ 38 w 319"/>
              <a:gd name="T13" fmla="*/ 164 h 552"/>
              <a:gd name="T14" fmla="*/ 38 w 319"/>
              <a:gd name="T15" fmla="*/ 156 h 552"/>
              <a:gd name="T16" fmla="*/ 40 w 319"/>
              <a:gd name="T17" fmla="*/ 139 h 552"/>
              <a:gd name="T18" fmla="*/ 49 w 319"/>
              <a:gd name="T19" fmla="*/ 120 h 552"/>
              <a:gd name="T20" fmla="*/ 47 w 319"/>
              <a:gd name="T21" fmla="*/ 105 h 552"/>
              <a:gd name="T22" fmla="*/ 64 w 319"/>
              <a:gd name="T23" fmla="*/ 96 h 552"/>
              <a:gd name="T24" fmla="*/ 72 w 319"/>
              <a:gd name="T25" fmla="*/ 88 h 552"/>
              <a:gd name="T26" fmla="*/ 81 w 319"/>
              <a:gd name="T27" fmla="*/ 64 h 552"/>
              <a:gd name="T28" fmla="*/ 79 w 319"/>
              <a:gd name="T29" fmla="*/ 58 h 552"/>
              <a:gd name="T30" fmla="*/ 79 w 319"/>
              <a:gd name="T31" fmla="*/ 39 h 552"/>
              <a:gd name="T32" fmla="*/ 85 w 319"/>
              <a:gd name="T33" fmla="*/ 30 h 552"/>
              <a:gd name="T34" fmla="*/ 102 w 319"/>
              <a:gd name="T35" fmla="*/ 26 h 552"/>
              <a:gd name="T36" fmla="*/ 224 w 319"/>
              <a:gd name="T37" fmla="*/ 7 h 552"/>
              <a:gd name="T38" fmla="*/ 296 w 319"/>
              <a:gd name="T39" fmla="*/ 5 h 552"/>
              <a:gd name="T40" fmla="*/ 319 w 319"/>
              <a:gd name="T41" fmla="*/ 518 h 552"/>
              <a:gd name="T42" fmla="*/ 300 w 319"/>
              <a:gd name="T43" fmla="*/ 522 h 552"/>
              <a:gd name="T44" fmla="*/ 285 w 319"/>
              <a:gd name="T45" fmla="*/ 526 h 552"/>
              <a:gd name="T46" fmla="*/ 275 w 319"/>
              <a:gd name="T47" fmla="*/ 522 h 552"/>
              <a:gd name="T48" fmla="*/ 243 w 319"/>
              <a:gd name="T49" fmla="*/ 533 h 552"/>
              <a:gd name="T50" fmla="*/ 232 w 319"/>
              <a:gd name="T51" fmla="*/ 535 h 552"/>
              <a:gd name="T52" fmla="*/ 224 w 319"/>
              <a:gd name="T53" fmla="*/ 546 h 552"/>
              <a:gd name="T54" fmla="*/ 211 w 319"/>
              <a:gd name="T55" fmla="*/ 550 h 552"/>
              <a:gd name="T56" fmla="*/ 202 w 319"/>
              <a:gd name="T57" fmla="*/ 537 h 552"/>
              <a:gd name="T58" fmla="*/ 185 w 319"/>
              <a:gd name="T59" fmla="*/ 514 h 552"/>
              <a:gd name="T60" fmla="*/ 181 w 319"/>
              <a:gd name="T61" fmla="*/ 486 h 552"/>
              <a:gd name="T62" fmla="*/ 185 w 319"/>
              <a:gd name="T63" fmla="*/ 462 h 552"/>
              <a:gd name="T64" fmla="*/ 9 w 319"/>
              <a:gd name="T65" fmla="*/ 467 h 552"/>
              <a:gd name="T66" fmla="*/ 0 w 319"/>
              <a:gd name="T67" fmla="*/ 445 h 552"/>
              <a:gd name="T68" fmla="*/ 6 w 319"/>
              <a:gd name="T69" fmla="*/ 431 h 552"/>
              <a:gd name="T70" fmla="*/ 19 w 319"/>
              <a:gd name="T71" fmla="*/ 409 h 552"/>
              <a:gd name="T72" fmla="*/ 21 w 319"/>
              <a:gd name="T73" fmla="*/ 401 h 552"/>
              <a:gd name="T74" fmla="*/ 23 w 319"/>
              <a:gd name="T75" fmla="*/ 384 h 552"/>
              <a:gd name="T76" fmla="*/ 49 w 319"/>
              <a:gd name="T77" fmla="*/ 356 h 552"/>
              <a:gd name="T78" fmla="*/ 49 w 319"/>
              <a:gd name="T79" fmla="*/ 352 h 552"/>
              <a:gd name="T80" fmla="*/ 47 w 319"/>
              <a:gd name="T81" fmla="*/ 341 h 552"/>
              <a:gd name="T82" fmla="*/ 53 w 319"/>
              <a:gd name="T83" fmla="*/ 330 h 552"/>
              <a:gd name="T84" fmla="*/ 64 w 319"/>
              <a:gd name="T85" fmla="*/ 322 h 552"/>
              <a:gd name="T86" fmla="*/ 53 w 319"/>
              <a:gd name="T87" fmla="*/ 313 h 552"/>
              <a:gd name="T88" fmla="*/ 45 w 319"/>
              <a:gd name="T89" fmla="*/ 301 h 552"/>
              <a:gd name="T90" fmla="*/ 51 w 319"/>
              <a:gd name="T91" fmla="*/ 288 h 552"/>
              <a:gd name="T92" fmla="*/ 45 w 319"/>
              <a:gd name="T93" fmla="*/ 277 h 552"/>
              <a:gd name="T94" fmla="*/ 43 w 319"/>
              <a:gd name="T95" fmla="*/ 258 h 552"/>
              <a:gd name="T96" fmla="*/ 30 w 319"/>
              <a:gd name="T97" fmla="*/ 25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 h="552">
                <a:moveTo>
                  <a:pt x="34" y="245"/>
                </a:moveTo>
                <a:lnTo>
                  <a:pt x="34" y="235"/>
                </a:lnTo>
                <a:lnTo>
                  <a:pt x="34" y="228"/>
                </a:lnTo>
                <a:lnTo>
                  <a:pt x="40" y="228"/>
                </a:lnTo>
                <a:lnTo>
                  <a:pt x="40" y="228"/>
                </a:lnTo>
                <a:lnTo>
                  <a:pt x="38" y="215"/>
                </a:lnTo>
                <a:lnTo>
                  <a:pt x="36" y="215"/>
                </a:lnTo>
                <a:lnTo>
                  <a:pt x="34" y="207"/>
                </a:lnTo>
                <a:lnTo>
                  <a:pt x="36" y="200"/>
                </a:lnTo>
                <a:lnTo>
                  <a:pt x="34" y="200"/>
                </a:lnTo>
                <a:lnTo>
                  <a:pt x="28" y="198"/>
                </a:lnTo>
                <a:lnTo>
                  <a:pt x="34" y="194"/>
                </a:lnTo>
                <a:lnTo>
                  <a:pt x="32" y="190"/>
                </a:lnTo>
                <a:lnTo>
                  <a:pt x="23" y="196"/>
                </a:lnTo>
                <a:lnTo>
                  <a:pt x="28" y="188"/>
                </a:lnTo>
                <a:lnTo>
                  <a:pt x="23" y="181"/>
                </a:lnTo>
                <a:lnTo>
                  <a:pt x="30" y="175"/>
                </a:lnTo>
                <a:lnTo>
                  <a:pt x="26" y="169"/>
                </a:lnTo>
                <a:lnTo>
                  <a:pt x="30" y="166"/>
                </a:lnTo>
                <a:lnTo>
                  <a:pt x="32" y="169"/>
                </a:lnTo>
                <a:lnTo>
                  <a:pt x="38" y="164"/>
                </a:lnTo>
                <a:lnTo>
                  <a:pt x="32" y="162"/>
                </a:lnTo>
                <a:lnTo>
                  <a:pt x="32" y="156"/>
                </a:lnTo>
                <a:lnTo>
                  <a:pt x="38" y="156"/>
                </a:lnTo>
                <a:lnTo>
                  <a:pt x="40" y="152"/>
                </a:lnTo>
                <a:lnTo>
                  <a:pt x="38" y="145"/>
                </a:lnTo>
                <a:lnTo>
                  <a:pt x="40" y="139"/>
                </a:lnTo>
                <a:lnTo>
                  <a:pt x="34" y="134"/>
                </a:lnTo>
                <a:lnTo>
                  <a:pt x="53" y="126"/>
                </a:lnTo>
                <a:lnTo>
                  <a:pt x="49" y="120"/>
                </a:lnTo>
                <a:lnTo>
                  <a:pt x="49" y="113"/>
                </a:lnTo>
                <a:lnTo>
                  <a:pt x="53" y="111"/>
                </a:lnTo>
                <a:lnTo>
                  <a:pt x="47" y="105"/>
                </a:lnTo>
                <a:lnTo>
                  <a:pt x="55" y="107"/>
                </a:lnTo>
                <a:lnTo>
                  <a:pt x="57" y="103"/>
                </a:lnTo>
                <a:lnTo>
                  <a:pt x="64" y="96"/>
                </a:lnTo>
                <a:lnTo>
                  <a:pt x="62" y="90"/>
                </a:lnTo>
                <a:lnTo>
                  <a:pt x="68" y="90"/>
                </a:lnTo>
                <a:lnTo>
                  <a:pt x="72" y="88"/>
                </a:lnTo>
                <a:lnTo>
                  <a:pt x="79" y="79"/>
                </a:lnTo>
                <a:lnTo>
                  <a:pt x="77" y="75"/>
                </a:lnTo>
                <a:lnTo>
                  <a:pt x="81" y="64"/>
                </a:lnTo>
                <a:lnTo>
                  <a:pt x="77" y="62"/>
                </a:lnTo>
                <a:lnTo>
                  <a:pt x="77" y="49"/>
                </a:lnTo>
                <a:lnTo>
                  <a:pt x="79" y="58"/>
                </a:lnTo>
                <a:lnTo>
                  <a:pt x="87" y="54"/>
                </a:lnTo>
                <a:lnTo>
                  <a:pt x="79" y="49"/>
                </a:lnTo>
                <a:lnTo>
                  <a:pt x="79" y="39"/>
                </a:lnTo>
                <a:lnTo>
                  <a:pt x="81" y="47"/>
                </a:lnTo>
                <a:lnTo>
                  <a:pt x="87" y="47"/>
                </a:lnTo>
                <a:lnTo>
                  <a:pt x="85" y="30"/>
                </a:lnTo>
                <a:lnTo>
                  <a:pt x="89" y="34"/>
                </a:lnTo>
                <a:lnTo>
                  <a:pt x="96" y="32"/>
                </a:lnTo>
                <a:lnTo>
                  <a:pt x="102" y="26"/>
                </a:lnTo>
                <a:lnTo>
                  <a:pt x="102" y="17"/>
                </a:lnTo>
                <a:lnTo>
                  <a:pt x="98" y="15"/>
                </a:lnTo>
                <a:lnTo>
                  <a:pt x="224" y="7"/>
                </a:lnTo>
                <a:lnTo>
                  <a:pt x="292" y="0"/>
                </a:lnTo>
                <a:lnTo>
                  <a:pt x="292" y="0"/>
                </a:lnTo>
                <a:lnTo>
                  <a:pt x="296" y="5"/>
                </a:lnTo>
                <a:lnTo>
                  <a:pt x="302" y="9"/>
                </a:lnTo>
                <a:lnTo>
                  <a:pt x="296" y="350"/>
                </a:lnTo>
                <a:lnTo>
                  <a:pt x="319" y="518"/>
                </a:lnTo>
                <a:lnTo>
                  <a:pt x="319" y="520"/>
                </a:lnTo>
                <a:lnTo>
                  <a:pt x="315" y="528"/>
                </a:lnTo>
                <a:lnTo>
                  <a:pt x="300" y="522"/>
                </a:lnTo>
                <a:lnTo>
                  <a:pt x="298" y="526"/>
                </a:lnTo>
                <a:lnTo>
                  <a:pt x="292" y="528"/>
                </a:lnTo>
                <a:lnTo>
                  <a:pt x="285" y="526"/>
                </a:lnTo>
                <a:lnTo>
                  <a:pt x="277" y="520"/>
                </a:lnTo>
                <a:lnTo>
                  <a:pt x="266" y="522"/>
                </a:lnTo>
                <a:lnTo>
                  <a:pt x="275" y="522"/>
                </a:lnTo>
                <a:lnTo>
                  <a:pt x="273" y="524"/>
                </a:lnTo>
                <a:lnTo>
                  <a:pt x="258" y="526"/>
                </a:lnTo>
                <a:lnTo>
                  <a:pt x="243" y="533"/>
                </a:lnTo>
                <a:lnTo>
                  <a:pt x="236" y="535"/>
                </a:lnTo>
                <a:lnTo>
                  <a:pt x="238" y="533"/>
                </a:lnTo>
                <a:lnTo>
                  <a:pt x="232" y="535"/>
                </a:lnTo>
                <a:lnTo>
                  <a:pt x="232" y="535"/>
                </a:lnTo>
                <a:lnTo>
                  <a:pt x="230" y="539"/>
                </a:lnTo>
                <a:lnTo>
                  <a:pt x="224" y="546"/>
                </a:lnTo>
                <a:lnTo>
                  <a:pt x="219" y="552"/>
                </a:lnTo>
                <a:lnTo>
                  <a:pt x="213" y="552"/>
                </a:lnTo>
                <a:lnTo>
                  <a:pt x="211" y="550"/>
                </a:lnTo>
                <a:lnTo>
                  <a:pt x="204" y="548"/>
                </a:lnTo>
                <a:lnTo>
                  <a:pt x="200" y="539"/>
                </a:lnTo>
                <a:lnTo>
                  <a:pt x="202" y="537"/>
                </a:lnTo>
                <a:lnTo>
                  <a:pt x="198" y="528"/>
                </a:lnTo>
                <a:lnTo>
                  <a:pt x="196" y="522"/>
                </a:lnTo>
                <a:lnTo>
                  <a:pt x="185" y="514"/>
                </a:lnTo>
                <a:lnTo>
                  <a:pt x="181" y="505"/>
                </a:lnTo>
                <a:lnTo>
                  <a:pt x="179" y="499"/>
                </a:lnTo>
                <a:lnTo>
                  <a:pt x="181" y="486"/>
                </a:lnTo>
                <a:lnTo>
                  <a:pt x="185" y="471"/>
                </a:lnTo>
                <a:lnTo>
                  <a:pt x="187" y="465"/>
                </a:lnTo>
                <a:lnTo>
                  <a:pt x="185" y="462"/>
                </a:lnTo>
                <a:lnTo>
                  <a:pt x="96" y="469"/>
                </a:lnTo>
                <a:lnTo>
                  <a:pt x="2" y="475"/>
                </a:lnTo>
                <a:lnTo>
                  <a:pt x="9" y="467"/>
                </a:lnTo>
                <a:lnTo>
                  <a:pt x="4" y="460"/>
                </a:lnTo>
                <a:lnTo>
                  <a:pt x="4" y="452"/>
                </a:lnTo>
                <a:lnTo>
                  <a:pt x="0" y="445"/>
                </a:lnTo>
                <a:lnTo>
                  <a:pt x="11" y="443"/>
                </a:lnTo>
                <a:lnTo>
                  <a:pt x="13" y="437"/>
                </a:lnTo>
                <a:lnTo>
                  <a:pt x="6" y="431"/>
                </a:lnTo>
                <a:lnTo>
                  <a:pt x="15" y="431"/>
                </a:lnTo>
                <a:lnTo>
                  <a:pt x="11" y="416"/>
                </a:lnTo>
                <a:lnTo>
                  <a:pt x="19" y="409"/>
                </a:lnTo>
                <a:lnTo>
                  <a:pt x="19" y="407"/>
                </a:lnTo>
                <a:lnTo>
                  <a:pt x="13" y="407"/>
                </a:lnTo>
                <a:lnTo>
                  <a:pt x="21" y="401"/>
                </a:lnTo>
                <a:lnTo>
                  <a:pt x="21" y="394"/>
                </a:lnTo>
                <a:lnTo>
                  <a:pt x="30" y="388"/>
                </a:lnTo>
                <a:lnTo>
                  <a:pt x="23" y="384"/>
                </a:lnTo>
                <a:lnTo>
                  <a:pt x="28" y="377"/>
                </a:lnTo>
                <a:lnTo>
                  <a:pt x="34" y="375"/>
                </a:lnTo>
                <a:lnTo>
                  <a:pt x="49" y="356"/>
                </a:lnTo>
                <a:lnTo>
                  <a:pt x="49" y="354"/>
                </a:lnTo>
                <a:lnTo>
                  <a:pt x="43" y="352"/>
                </a:lnTo>
                <a:lnTo>
                  <a:pt x="49" y="352"/>
                </a:lnTo>
                <a:lnTo>
                  <a:pt x="49" y="347"/>
                </a:lnTo>
                <a:lnTo>
                  <a:pt x="55" y="341"/>
                </a:lnTo>
                <a:lnTo>
                  <a:pt x="47" y="341"/>
                </a:lnTo>
                <a:lnTo>
                  <a:pt x="40" y="341"/>
                </a:lnTo>
                <a:lnTo>
                  <a:pt x="45" y="333"/>
                </a:lnTo>
                <a:lnTo>
                  <a:pt x="53" y="330"/>
                </a:lnTo>
                <a:lnTo>
                  <a:pt x="57" y="324"/>
                </a:lnTo>
                <a:lnTo>
                  <a:pt x="64" y="324"/>
                </a:lnTo>
                <a:lnTo>
                  <a:pt x="64" y="322"/>
                </a:lnTo>
                <a:lnTo>
                  <a:pt x="64" y="320"/>
                </a:lnTo>
                <a:lnTo>
                  <a:pt x="55" y="318"/>
                </a:lnTo>
                <a:lnTo>
                  <a:pt x="53" y="313"/>
                </a:lnTo>
                <a:lnTo>
                  <a:pt x="47" y="309"/>
                </a:lnTo>
                <a:lnTo>
                  <a:pt x="43" y="303"/>
                </a:lnTo>
                <a:lnTo>
                  <a:pt x="45" y="301"/>
                </a:lnTo>
                <a:lnTo>
                  <a:pt x="51" y="303"/>
                </a:lnTo>
                <a:lnTo>
                  <a:pt x="47" y="296"/>
                </a:lnTo>
                <a:lnTo>
                  <a:pt x="51" y="288"/>
                </a:lnTo>
                <a:lnTo>
                  <a:pt x="38" y="290"/>
                </a:lnTo>
                <a:lnTo>
                  <a:pt x="36" y="286"/>
                </a:lnTo>
                <a:lnTo>
                  <a:pt x="45" y="277"/>
                </a:lnTo>
                <a:lnTo>
                  <a:pt x="36" y="273"/>
                </a:lnTo>
                <a:lnTo>
                  <a:pt x="36" y="264"/>
                </a:lnTo>
                <a:lnTo>
                  <a:pt x="43" y="258"/>
                </a:lnTo>
                <a:lnTo>
                  <a:pt x="43" y="252"/>
                </a:lnTo>
                <a:lnTo>
                  <a:pt x="36" y="252"/>
                </a:lnTo>
                <a:lnTo>
                  <a:pt x="30" y="256"/>
                </a:lnTo>
                <a:lnTo>
                  <a:pt x="32" y="249"/>
                </a:lnTo>
                <a:lnTo>
                  <a:pt x="34" y="245"/>
                </a:lnTo>
                <a:close/>
              </a:path>
            </a:pathLst>
          </a:custGeom>
          <a:solidFill>
            <a:srgbClr val="FF6969"/>
          </a:solidFill>
          <a:ln>
            <a:noFill/>
          </a:ln>
        </p:spPr>
        <p:txBody>
          <a:bodyPr vert="horz" wrap="square" lIns="91440" tIns="45720" rIns="91440" bIns="45720" numCol="1" anchor="t" anchorCtr="0" compatLnSpc="1">
            <a:prstTxWarp prst="textNoShape">
              <a:avLst/>
            </a:prstTxWarp>
          </a:bodyPr>
          <a:lstStyle/>
          <a:p>
            <a:endParaRPr lang="en-US"/>
          </a:p>
        </p:txBody>
      </p:sp>
      <p:sp>
        <p:nvSpPr>
          <p:cNvPr id="1067" name="Freeform 874"/>
          <p:cNvSpPr>
            <a:spLocks/>
          </p:cNvSpPr>
          <p:nvPr/>
        </p:nvSpPr>
        <p:spPr bwMode="auto">
          <a:xfrm>
            <a:off x="5060950" y="4180009"/>
            <a:ext cx="506413" cy="876300"/>
          </a:xfrm>
          <a:custGeom>
            <a:avLst/>
            <a:gdLst>
              <a:gd name="T0" fmla="*/ 34 w 319"/>
              <a:gd name="T1" fmla="*/ 228 h 552"/>
              <a:gd name="T2" fmla="*/ 38 w 319"/>
              <a:gd name="T3" fmla="*/ 215 h 552"/>
              <a:gd name="T4" fmla="*/ 36 w 319"/>
              <a:gd name="T5" fmla="*/ 200 h 552"/>
              <a:gd name="T6" fmla="*/ 34 w 319"/>
              <a:gd name="T7" fmla="*/ 194 h 552"/>
              <a:gd name="T8" fmla="*/ 28 w 319"/>
              <a:gd name="T9" fmla="*/ 188 h 552"/>
              <a:gd name="T10" fmla="*/ 26 w 319"/>
              <a:gd name="T11" fmla="*/ 169 h 552"/>
              <a:gd name="T12" fmla="*/ 38 w 319"/>
              <a:gd name="T13" fmla="*/ 164 h 552"/>
              <a:gd name="T14" fmla="*/ 38 w 319"/>
              <a:gd name="T15" fmla="*/ 156 h 552"/>
              <a:gd name="T16" fmla="*/ 40 w 319"/>
              <a:gd name="T17" fmla="*/ 139 h 552"/>
              <a:gd name="T18" fmla="*/ 49 w 319"/>
              <a:gd name="T19" fmla="*/ 120 h 552"/>
              <a:gd name="T20" fmla="*/ 47 w 319"/>
              <a:gd name="T21" fmla="*/ 105 h 552"/>
              <a:gd name="T22" fmla="*/ 64 w 319"/>
              <a:gd name="T23" fmla="*/ 96 h 552"/>
              <a:gd name="T24" fmla="*/ 72 w 319"/>
              <a:gd name="T25" fmla="*/ 88 h 552"/>
              <a:gd name="T26" fmla="*/ 81 w 319"/>
              <a:gd name="T27" fmla="*/ 64 h 552"/>
              <a:gd name="T28" fmla="*/ 79 w 319"/>
              <a:gd name="T29" fmla="*/ 58 h 552"/>
              <a:gd name="T30" fmla="*/ 79 w 319"/>
              <a:gd name="T31" fmla="*/ 39 h 552"/>
              <a:gd name="T32" fmla="*/ 85 w 319"/>
              <a:gd name="T33" fmla="*/ 30 h 552"/>
              <a:gd name="T34" fmla="*/ 102 w 319"/>
              <a:gd name="T35" fmla="*/ 26 h 552"/>
              <a:gd name="T36" fmla="*/ 224 w 319"/>
              <a:gd name="T37" fmla="*/ 7 h 552"/>
              <a:gd name="T38" fmla="*/ 296 w 319"/>
              <a:gd name="T39" fmla="*/ 5 h 552"/>
              <a:gd name="T40" fmla="*/ 319 w 319"/>
              <a:gd name="T41" fmla="*/ 518 h 552"/>
              <a:gd name="T42" fmla="*/ 300 w 319"/>
              <a:gd name="T43" fmla="*/ 522 h 552"/>
              <a:gd name="T44" fmla="*/ 285 w 319"/>
              <a:gd name="T45" fmla="*/ 526 h 552"/>
              <a:gd name="T46" fmla="*/ 275 w 319"/>
              <a:gd name="T47" fmla="*/ 522 h 552"/>
              <a:gd name="T48" fmla="*/ 243 w 319"/>
              <a:gd name="T49" fmla="*/ 533 h 552"/>
              <a:gd name="T50" fmla="*/ 232 w 319"/>
              <a:gd name="T51" fmla="*/ 535 h 552"/>
              <a:gd name="T52" fmla="*/ 224 w 319"/>
              <a:gd name="T53" fmla="*/ 546 h 552"/>
              <a:gd name="T54" fmla="*/ 211 w 319"/>
              <a:gd name="T55" fmla="*/ 550 h 552"/>
              <a:gd name="T56" fmla="*/ 202 w 319"/>
              <a:gd name="T57" fmla="*/ 537 h 552"/>
              <a:gd name="T58" fmla="*/ 185 w 319"/>
              <a:gd name="T59" fmla="*/ 514 h 552"/>
              <a:gd name="T60" fmla="*/ 181 w 319"/>
              <a:gd name="T61" fmla="*/ 486 h 552"/>
              <a:gd name="T62" fmla="*/ 185 w 319"/>
              <a:gd name="T63" fmla="*/ 462 h 552"/>
              <a:gd name="T64" fmla="*/ 9 w 319"/>
              <a:gd name="T65" fmla="*/ 467 h 552"/>
              <a:gd name="T66" fmla="*/ 0 w 319"/>
              <a:gd name="T67" fmla="*/ 445 h 552"/>
              <a:gd name="T68" fmla="*/ 6 w 319"/>
              <a:gd name="T69" fmla="*/ 431 h 552"/>
              <a:gd name="T70" fmla="*/ 19 w 319"/>
              <a:gd name="T71" fmla="*/ 409 h 552"/>
              <a:gd name="T72" fmla="*/ 21 w 319"/>
              <a:gd name="T73" fmla="*/ 401 h 552"/>
              <a:gd name="T74" fmla="*/ 23 w 319"/>
              <a:gd name="T75" fmla="*/ 384 h 552"/>
              <a:gd name="T76" fmla="*/ 49 w 319"/>
              <a:gd name="T77" fmla="*/ 356 h 552"/>
              <a:gd name="T78" fmla="*/ 49 w 319"/>
              <a:gd name="T79" fmla="*/ 352 h 552"/>
              <a:gd name="T80" fmla="*/ 47 w 319"/>
              <a:gd name="T81" fmla="*/ 341 h 552"/>
              <a:gd name="T82" fmla="*/ 53 w 319"/>
              <a:gd name="T83" fmla="*/ 330 h 552"/>
              <a:gd name="T84" fmla="*/ 64 w 319"/>
              <a:gd name="T85" fmla="*/ 322 h 552"/>
              <a:gd name="T86" fmla="*/ 53 w 319"/>
              <a:gd name="T87" fmla="*/ 313 h 552"/>
              <a:gd name="T88" fmla="*/ 45 w 319"/>
              <a:gd name="T89" fmla="*/ 301 h 552"/>
              <a:gd name="T90" fmla="*/ 51 w 319"/>
              <a:gd name="T91" fmla="*/ 288 h 552"/>
              <a:gd name="T92" fmla="*/ 45 w 319"/>
              <a:gd name="T93" fmla="*/ 277 h 552"/>
              <a:gd name="T94" fmla="*/ 43 w 319"/>
              <a:gd name="T95" fmla="*/ 258 h 552"/>
              <a:gd name="T96" fmla="*/ 30 w 319"/>
              <a:gd name="T97" fmla="*/ 256 h 5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19" h="552">
                <a:moveTo>
                  <a:pt x="34" y="245"/>
                </a:moveTo>
                <a:lnTo>
                  <a:pt x="34" y="235"/>
                </a:lnTo>
                <a:lnTo>
                  <a:pt x="34" y="228"/>
                </a:lnTo>
                <a:lnTo>
                  <a:pt x="40" y="228"/>
                </a:lnTo>
                <a:lnTo>
                  <a:pt x="40" y="228"/>
                </a:lnTo>
                <a:lnTo>
                  <a:pt x="38" y="215"/>
                </a:lnTo>
                <a:lnTo>
                  <a:pt x="36" y="215"/>
                </a:lnTo>
                <a:lnTo>
                  <a:pt x="34" y="207"/>
                </a:lnTo>
                <a:lnTo>
                  <a:pt x="36" y="200"/>
                </a:lnTo>
                <a:lnTo>
                  <a:pt x="34" y="200"/>
                </a:lnTo>
                <a:lnTo>
                  <a:pt x="28" y="198"/>
                </a:lnTo>
                <a:lnTo>
                  <a:pt x="34" y="194"/>
                </a:lnTo>
                <a:lnTo>
                  <a:pt x="32" y="190"/>
                </a:lnTo>
                <a:lnTo>
                  <a:pt x="23" y="196"/>
                </a:lnTo>
                <a:lnTo>
                  <a:pt x="28" y="188"/>
                </a:lnTo>
                <a:lnTo>
                  <a:pt x="23" y="181"/>
                </a:lnTo>
                <a:lnTo>
                  <a:pt x="30" y="175"/>
                </a:lnTo>
                <a:lnTo>
                  <a:pt x="26" y="169"/>
                </a:lnTo>
                <a:lnTo>
                  <a:pt x="30" y="166"/>
                </a:lnTo>
                <a:lnTo>
                  <a:pt x="32" y="169"/>
                </a:lnTo>
                <a:lnTo>
                  <a:pt x="38" y="164"/>
                </a:lnTo>
                <a:lnTo>
                  <a:pt x="32" y="162"/>
                </a:lnTo>
                <a:lnTo>
                  <a:pt x="32" y="156"/>
                </a:lnTo>
                <a:lnTo>
                  <a:pt x="38" y="156"/>
                </a:lnTo>
                <a:lnTo>
                  <a:pt x="40" y="152"/>
                </a:lnTo>
                <a:lnTo>
                  <a:pt x="38" y="145"/>
                </a:lnTo>
                <a:lnTo>
                  <a:pt x="40" y="139"/>
                </a:lnTo>
                <a:lnTo>
                  <a:pt x="34" y="134"/>
                </a:lnTo>
                <a:lnTo>
                  <a:pt x="53" y="126"/>
                </a:lnTo>
                <a:lnTo>
                  <a:pt x="49" y="120"/>
                </a:lnTo>
                <a:lnTo>
                  <a:pt x="49" y="113"/>
                </a:lnTo>
                <a:lnTo>
                  <a:pt x="53" y="111"/>
                </a:lnTo>
                <a:lnTo>
                  <a:pt x="47" y="105"/>
                </a:lnTo>
                <a:lnTo>
                  <a:pt x="55" y="107"/>
                </a:lnTo>
                <a:lnTo>
                  <a:pt x="57" y="103"/>
                </a:lnTo>
                <a:lnTo>
                  <a:pt x="64" y="96"/>
                </a:lnTo>
                <a:lnTo>
                  <a:pt x="62" y="90"/>
                </a:lnTo>
                <a:lnTo>
                  <a:pt x="68" y="90"/>
                </a:lnTo>
                <a:lnTo>
                  <a:pt x="72" y="88"/>
                </a:lnTo>
                <a:lnTo>
                  <a:pt x="79" y="79"/>
                </a:lnTo>
                <a:lnTo>
                  <a:pt x="77" y="75"/>
                </a:lnTo>
                <a:lnTo>
                  <a:pt x="81" y="64"/>
                </a:lnTo>
                <a:lnTo>
                  <a:pt x="77" y="62"/>
                </a:lnTo>
                <a:lnTo>
                  <a:pt x="77" y="49"/>
                </a:lnTo>
                <a:lnTo>
                  <a:pt x="79" y="58"/>
                </a:lnTo>
                <a:lnTo>
                  <a:pt x="87" y="54"/>
                </a:lnTo>
                <a:lnTo>
                  <a:pt x="79" y="49"/>
                </a:lnTo>
                <a:lnTo>
                  <a:pt x="79" y="39"/>
                </a:lnTo>
                <a:lnTo>
                  <a:pt x="81" y="47"/>
                </a:lnTo>
                <a:lnTo>
                  <a:pt x="87" y="47"/>
                </a:lnTo>
                <a:lnTo>
                  <a:pt x="85" y="30"/>
                </a:lnTo>
                <a:lnTo>
                  <a:pt x="89" y="34"/>
                </a:lnTo>
                <a:lnTo>
                  <a:pt x="96" y="32"/>
                </a:lnTo>
                <a:lnTo>
                  <a:pt x="102" y="26"/>
                </a:lnTo>
                <a:lnTo>
                  <a:pt x="102" y="17"/>
                </a:lnTo>
                <a:lnTo>
                  <a:pt x="98" y="15"/>
                </a:lnTo>
                <a:lnTo>
                  <a:pt x="224" y="7"/>
                </a:lnTo>
                <a:lnTo>
                  <a:pt x="292" y="0"/>
                </a:lnTo>
                <a:lnTo>
                  <a:pt x="292" y="0"/>
                </a:lnTo>
                <a:lnTo>
                  <a:pt x="296" y="5"/>
                </a:lnTo>
                <a:lnTo>
                  <a:pt x="302" y="9"/>
                </a:lnTo>
                <a:lnTo>
                  <a:pt x="296" y="350"/>
                </a:lnTo>
                <a:lnTo>
                  <a:pt x="319" y="518"/>
                </a:lnTo>
                <a:lnTo>
                  <a:pt x="319" y="520"/>
                </a:lnTo>
                <a:lnTo>
                  <a:pt x="315" y="528"/>
                </a:lnTo>
                <a:lnTo>
                  <a:pt x="300" y="522"/>
                </a:lnTo>
                <a:lnTo>
                  <a:pt x="298" y="526"/>
                </a:lnTo>
                <a:lnTo>
                  <a:pt x="292" y="528"/>
                </a:lnTo>
                <a:lnTo>
                  <a:pt x="285" y="526"/>
                </a:lnTo>
                <a:lnTo>
                  <a:pt x="277" y="520"/>
                </a:lnTo>
                <a:lnTo>
                  <a:pt x="266" y="522"/>
                </a:lnTo>
                <a:lnTo>
                  <a:pt x="275" y="522"/>
                </a:lnTo>
                <a:lnTo>
                  <a:pt x="273" y="524"/>
                </a:lnTo>
                <a:lnTo>
                  <a:pt x="258" y="526"/>
                </a:lnTo>
                <a:lnTo>
                  <a:pt x="243" y="533"/>
                </a:lnTo>
                <a:lnTo>
                  <a:pt x="236" y="535"/>
                </a:lnTo>
                <a:lnTo>
                  <a:pt x="238" y="533"/>
                </a:lnTo>
                <a:lnTo>
                  <a:pt x="232" y="535"/>
                </a:lnTo>
                <a:lnTo>
                  <a:pt x="232" y="535"/>
                </a:lnTo>
                <a:lnTo>
                  <a:pt x="230" y="539"/>
                </a:lnTo>
                <a:lnTo>
                  <a:pt x="224" y="546"/>
                </a:lnTo>
                <a:lnTo>
                  <a:pt x="219" y="552"/>
                </a:lnTo>
                <a:lnTo>
                  <a:pt x="213" y="552"/>
                </a:lnTo>
                <a:lnTo>
                  <a:pt x="211" y="550"/>
                </a:lnTo>
                <a:lnTo>
                  <a:pt x="204" y="548"/>
                </a:lnTo>
                <a:lnTo>
                  <a:pt x="200" y="539"/>
                </a:lnTo>
                <a:lnTo>
                  <a:pt x="202" y="537"/>
                </a:lnTo>
                <a:lnTo>
                  <a:pt x="198" y="528"/>
                </a:lnTo>
                <a:lnTo>
                  <a:pt x="196" y="522"/>
                </a:lnTo>
                <a:lnTo>
                  <a:pt x="185" y="514"/>
                </a:lnTo>
                <a:lnTo>
                  <a:pt x="181" y="505"/>
                </a:lnTo>
                <a:lnTo>
                  <a:pt x="179" y="499"/>
                </a:lnTo>
                <a:lnTo>
                  <a:pt x="181" y="486"/>
                </a:lnTo>
                <a:lnTo>
                  <a:pt x="185" y="471"/>
                </a:lnTo>
                <a:lnTo>
                  <a:pt x="187" y="465"/>
                </a:lnTo>
                <a:lnTo>
                  <a:pt x="185" y="462"/>
                </a:lnTo>
                <a:lnTo>
                  <a:pt x="96" y="469"/>
                </a:lnTo>
                <a:lnTo>
                  <a:pt x="2" y="475"/>
                </a:lnTo>
                <a:lnTo>
                  <a:pt x="9" y="467"/>
                </a:lnTo>
                <a:lnTo>
                  <a:pt x="4" y="460"/>
                </a:lnTo>
                <a:lnTo>
                  <a:pt x="4" y="452"/>
                </a:lnTo>
                <a:lnTo>
                  <a:pt x="0" y="445"/>
                </a:lnTo>
                <a:lnTo>
                  <a:pt x="11" y="443"/>
                </a:lnTo>
                <a:lnTo>
                  <a:pt x="13" y="437"/>
                </a:lnTo>
                <a:lnTo>
                  <a:pt x="6" y="431"/>
                </a:lnTo>
                <a:lnTo>
                  <a:pt x="15" y="431"/>
                </a:lnTo>
                <a:lnTo>
                  <a:pt x="11" y="416"/>
                </a:lnTo>
                <a:lnTo>
                  <a:pt x="19" y="409"/>
                </a:lnTo>
                <a:lnTo>
                  <a:pt x="19" y="407"/>
                </a:lnTo>
                <a:lnTo>
                  <a:pt x="13" y="407"/>
                </a:lnTo>
                <a:lnTo>
                  <a:pt x="21" y="401"/>
                </a:lnTo>
                <a:lnTo>
                  <a:pt x="21" y="394"/>
                </a:lnTo>
                <a:lnTo>
                  <a:pt x="30" y="388"/>
                </a:lnTo>
                <a:lnTo>
                  <a:pt x="23" y="384"/>
                </a:lnTo>
                <a:lnTo>
                  <a:pt x="28" y="377"/>
                </a:lnTo>
                <a:lnTo>
                  <a:pt x="34" y="375"/>
                </a:lnTo>
                <a:lnTo>
                  <a:pt x="49" y="356"/>
                </a:lnTo>
                <a:lnTo>
                  <a:pt x="49" y="354"/>
                </a:lnTo>
                <a:lnTo>
                  <a:pt x="43" y="352"/>
                </a:lnTo>
                <a:lnTo>
                  <a:pt x="49" y="352"/>
                </a:lnTo>
                <a:lnTo>
                  <a:pt x="49" y="347"/>
                </a:lnTo>
                <a:lnTo>
                  <a:pt x="55" y="341"/>
                </a:lnTo>
                <a:lnTo>
                  <a:pt x="47" y="341"/>
                </a:lnTo>
                <a:lnTo>
                  <a:pt x="40" y="341"/>
                </a:lnTo>
                <a:lnTo>
                  <a:pt x="45" y="333"/>
                </a:lnTo>
                <a:lnTo>
                  <a:pt x="53" y="330"/>
                </a:lnTo>
                <a:lnTo>
                  <a:pt x="57" y="324"/>
                </a:lnTo>
                <a:lnTo>
                  <a:pt x="64" y="324"/>
                </a:lnTo>
                <a:lnTo>
                  <a:pt x="64" y="322"/>
                </a:lnTo>
                <a:lnTo>
                  <a:pt x="64" y="320"/>
                </a:lnTo>
                <a:lnTo>
                  <a:pt x="55" y="318"/>
                </a:lnTo>
                <a:lnTo>
                  <a:pt x="53" y="313"/>
                </a:lnTo>
                <a:lnTo>
                  <a:pt x="47" y="309"/>
                </a:lnTo>
                <a:lnTo>
                  <a:pt x="43" y="303"/>
                </a:lnTo>
                <a:lnTo>
                  <a:pt x="45" y="301"/>
                </a:lnTo>
                <a:lnTo>
                  <a:pt x="51" y="303"/>
                </a:lnTo>
                <a:lnTo>
                  <a:pt x="47" y="296"/>
                </a:lnTo>
                <a:lnTo>
                  <a:pt x="51" y="288"/>
                </a:lnTo>
                <a:lnTo>
                  <a:pt x="38" y="290"/>
                </a:lnTo>
                <a:lnTo>
                  <a:pt x="36" y="286"/>
                </a:lnTo>
                <a:lnTo>
                  <a:pt x="45" y="277"/>
                </a:lnTo>
                <a:lnTo>
                  <a:pt x="36" y="273"/>
                </a:lnTo>
                <a:lnTo>
                  <a:pt x="36" y="264"/>
                </a:lnTo>
                <a:lnTo>
                  <a:pt x="43" y="258"/>
                </a:lnTo>
                <a:lnTo>
                  <a:pt x="43" y="252"/>
                </a:lnTo>
                <a:lnTo>
                  <a:pt x="36" y="252"/>
                </a:lnTo>
                <a:lnTo>
                  <a:pt x="30" y="256"/>
                </a:lnTo>
                <a:lnTo>
                  <a:pt x="32" y="249"/>
                </a:lnTo>
                <a:lnTo>
                  <a:pt x="34" y="24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69" name="Freeform 876"/>
          <p:cNvSpPr>
            <a:spLocks/>
          </p:cNvSpPr>
          <p:nvPr/>
        </p:nvSpPr>
        <p:spPr bwMode="auto">
          <a:xfrm>
            <a:off x="5060950" y="2003546"/>
            <a:ext cx="814388" cy="361950"/>
          </a:xfrm>
          <a:custGeom>
            <a:avLst/>
            <a:gdLst>
              <a:gd name="T0" fmla="*/ 30 w 513"/>
              <a:gd name="T1" fmla="*/ 66 h 228"/>
              <a:gd name="T2" fmla="*/ 57 w 513"/>
              <a:gd name="T3" fmla="*/ 47 h 228"/>
              <a:gd name="T4" fmla="*/ 79 w 513"/>
              <a:gd name="T5" fmla="*/ 42 h 228"/>
              <a:gd name="T6" fmla="*/ 109 w 513"/>
              <a:gd name="T7" fmla="*/ 23 h 228"/>
              <a:gd name="T8" fmla="*/ 132 w 513"/>
              <a:gd name="T9" fmla="*/ 6 h 228"/>
              <a:gd name="T10" fmla="*/ 147 w 513"/>
              <a:gd name="T11" fmla="*/ 38 h 228"/>
              <a:gd name="T12" fmla="*/ 153 w 513"/>
              <a:gd name="T13" fmla="*/ 36 h 228"/>
              <a:gd name="T14" fmla="*/ 162 w 513"/>
              <a:gd name="T15" fmla="*/ 38 h 228"/>
              <a:gd name="T16" fmla="*/ 177 w 513"/>
              <a:gd name="T17" fmla="*/ 27 h 228"/>
              <a:gd name="T18" fmla="*/ 207 w 513"/>
              <a:gd name="T19" fmla="*/ 34 h 228"/>
              <a:gd name="T20" fmla="*/ 230 w 513"/>
              <a:gd name="T21" fmla="*/ 57 h 228"/>
              <a:gd name="T22" fmla="*/ 249 w 513"/>
              <a:gd name="T23" fmla="*/ 68 h 228"/>
              <a:gd name="T24" fmla="*/ 281 w 513"/>
              <a:gd name="T25" fmla="*/ 70 h 228"/>
              <a:gd name="T26" fmla="*/ 305 w 513"/>
              <a:gd name="T27" fmla="*/ 57 h 228"/>
              <a:gd name="T28" fmla="*/ 339 w 513"/>
              <a:gd name="T29" fmla="*/ 38 h 228"/>
              <a:gd name="T30" fmla="*/ 381 w 513"/>
              <a:gd name="T31" fmla="*/ 32 h 228"/>
              <a:gd name="T32" fmla="*/ 417 w 513"/>
              <a:gd name="T33" fmla="*/ 17 h 228"/>
              <a:gd name="T34" fmla="*/ 434 w 513"/>
              <a:gd name="T35" fmla="*/ 51 h 228"/>
              <a:gd name="T36" fmla="*/ 460 w 513"/>
              <a:gd name="T37" fmla="*/ 49 h 228"/>
              <a:gd name="T38" fmla="*/ 471 w 513"/>
              <a:gd name="T39" fmla="*/ 42 h 228"/>
              <a:gd name="T40" fmla="*/ 483 w 513"/>
              <a:gd name="T41" fmla="*/ 64 h 228"/>
              <a:gd name="T42" fmla="*/ 494 w 513"/>
              <a:gd name="T43" fmla="*/ 76 h 228"/>
              <a:gd name="T44" fmla="*/ 509 w 513"/>
              <a:gd name="T45" fmla="*/ 89 h 228"/>
              <a:gd name="T46" fmla="*/ 473 w 513"/>
              <a:gd name="T47" fmla="*/ 98 h 228"/>
              <a:gd name="T48" fmla="*/ 451 w 513"/>
              <a:gd name="T49" fmla="*/ 98 h 228"/>
              <a:gd name="T50" fmla="*/ 443 w 513"/>
              <a:gd name="T51" fmla="*/ 115 h 228"/>
              <a:gd name="T52" fmla="*/ 405 w 513"/>
              <a:gd name="T53" fmla="*/ 100 h 228"/>
              <a:gd name="T54" fmla="*/ 377 w 513"/>
              <a:gd name="T55" fmla="*/ 110 h 228"/>
              <a:gd name="T56" fmla="*/ 349 w 513"/>
              <a:gd name="T57" fmla="*/ 119 h 228"/>
              <a:gd name="T58" fmla="*/ 330 w 513"/>
              <a:gd name="T59" fmla="*/ 123 h 228"/>
              <a:gd name="T60" fmla="*/ 317 w 513"/>
              <a:gd name="T61" fmla="*/ 142 h 228"/>
              <a:gd name="T62" fmla="*/ 298 w 513"/>
              <a:gd name="T63" fmla="*/ 157 h 228"/>
              <a:gd name="T64" fmla="*/ 309 w 513"/>
              <a:gd name="T65" fmla="*/ 136 h 228"/>
              <a:gd name="T66" fmla="*/ 287 w 513"/>
              <a:gd name="T67" fmla="*/ 144 h 228"/>
              <a:gd name="T68" fmla="*/ 275 w 513"/>
              <a:gd name="T69" fmla="*/ 147 h 228"/>
              <a:gd name="T70" fmla="*/ 270 w 513"/>
              <a:gd name="T71" fmla="*/ 142 h 228"/>
              <a:gd name="T72" fmla="*/ 256 w 513"/>
              <a:gd name="T73" fmla="*/ 172 h 228"/>
              <a:gd name="T74" fmla="*/ 234 w 513"/>
              <a:gd name="T75" fmla="*/ 221 h 228"/>
              <a:gd name="T76" fmla="*/ 230 w 513"/>
              <a:gd name="T77" fmla="*/ 225 h 228"/>
              <a:gd name="T78" fmla="*/ 228 w 513"/>
              <a:gd name="T79" fmla="*/ 198 h 228"/>
              <a:gd name="T80" fmla="*/ 211 w 513"/>
              <a:gd name="T81" fmla="*/ 196 h 228"/>
              <a:gd name="T82" fmla="*/ 211 w 513"/>
              <a:gd name="T83" fmla="*/ 166 h 228"/>
              <a:gd name="T84" fmla="*/ 194 w 513"/>
              <a:gd name="T85" fmla="*/ 153 h 228"/>
              <a:gd name="T86" fmla="*/ 179 w 513"/>
              <a:gd name="T87" fmla="*/ 136 h 228"/>
              <a:gd name="T88" fmla="*/ 145 w 513"/>
              <a:gd name="T89" fmla="*/ 134 h 228"/>
              <a:gd name="T90" fmla="*/ 102 w 513"/>
              <a:gd name="T91" fmla="*/ 121 h 228"/>
              <a:gd name="T92" fmla="*/ 11 w 513"/>
              <a:gd name="T93" fmla="*/ 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3" h="228">
                <a:moveTo>
                  <a:pt x="0" y="81"/>
                </a:moveTo>
                <a:lnTo>
                  <a:pt x="6" y="76"/>
                </a:lnTo>
                <a:lnTo>
                  <a:pt x="30" y="66"/>
                </a:lnTo>
                <a:lnTo>
                  <a:pt x="43" y="51"/>
                </a:lnTo>
                <a:lnTo>
                  <a:pt x="49" y="47"/>
                </a:lnTo>
                <a:lnTo>
                  <a:pt x="57" y="47"/>
                </a:lnTo>
                <a:lnTo>
                  <a:pt x="64" y="47"/>
                </a:lnTo>
                <a:lnTo>
                  <a:pt x="72" y="44"/>
                </a:lnTo>
                <a:lnTo>
                  <a:pt x="79" y="42"/>
                </a:lnTo>
                <a:lnTo>
                  <a:pt x="85" y="38"/>
                </a:lnTo>
                <a:lnTo>
                  <a:pt x="94" y="29"/>
                </a:lnTo>
                <a:lnTo>
                  <a:pt x="109" y="23"/>
                </a:lnTo>
                <a:lnTo>
                  <a:pt x="113" y="17"/>
                </a:lnTo>
                <a:lnTo>
                  <a:pt x="128" y="0"/>
                </a:lnTo>
                <a:lnTo>
                  <a:pt x="132" y="6"/>
                </a:lnTo>
                <a:lnTo>
                  <a:pt x="136" y="8"/>
                </a:lnTo>
                <a:lnTo>
                  <a:pt x="149" y="23"/>
                </a:lnTo>
                <a:lnTo>
                  <a:pt x="147" y="38"/>
                </a:lnTo>
                <a:lnTo>
                  <a:pt x="149" y="44"/>
                </a:lnTo>
                <a:lnTo>
                  <a:pt x="153" y="42"/>
                </a:lnTo>
                <a:lnTo>
                  <a:pt x="153" y="36"/>
                </a:lnTo>
                <a:lnTo>
                  <a:pt x="162" y="32"/>
                </a:lnTo>
                <a:lnTo>
                  <a:pt x="168" y="23"/>
                </a:lnTo>
                <a:lnTo>
                  <a:pt x="162" y="38"/>
                </a:lnTo>
                <a:lnTo>
                  <a:pt x="166" y="36"/>
                </a:lnTo>
                <a:lnTo>
                  <a:pt x="170" y="29"/>
                </a:lnTo>
                <a:lnTo>
                  <a:pt x="177" y="27"/>
                </a:lnTo>
                <a:lnTo>
                  <a:pt x="192" y="27"/>
                </a:lnTo>
                <a:lnTo>
                  <a:pt x="200" y="27"/>
                </a:lnTo>
                <a:lnTo>
                  <a:pt x="207" y="34"/>
                </a:lnTo>
                <a:lnTo>
                  <a:pt x="213" y="36"/>
                </a:lnTo>
                <a:lnTo>
                  <a:pt x="217" y="44"/>
                </a:lnTo>
                <a:lnTo>
                  <a:pt x="230" y="57"/>
                </a:lnTo>
                <a:lnTo>
                  <a:pt x="234" y="66"/>
                </a:lnTo>
                <a:lnTo>
                  <a:pt x="243" y="68"/>
                </a:lnTo>
                <a:lnTo>
                  <a:pt x="249" y="68"/>
                </a:lnTo>
                <a:lnTo>
                  <a:pt x="266" y="61"/>
                </a:lnTo>
                <a:lnTo>
                  <a:pt x="273" y="68"/>
                </a:lnTo>
                <a:lnTo>
                  <a:pt x="281" y="70"/>
                </a:lnTo>
                <a:lnTo>
                  <a:pt x="287" y="68"/>
                </a:lnTo>
                <a:lnTo>
                  <a:pt x="294" y="72"/>
                </a:lnTo>
                <a:lnTo>
                  <a:pt x="305" y="57"/>
                </a:lnTo>
                <a:lnTo>
                  <a:pt x="319" y="47"/>
                </a:lnTo>
                <a:lnTo>
                  <a:pt x="326" y="40"/>
                </a:lnTo>
                <a:lnTo>
                  <a:pt x="339" y="38"/>
                </a:lnTo>
                <a:lnTo>
                  <a:pt x="345" y="36"/>
                </a:lnTo>
                <a:lnTo>
                  <a:pt x="375" y="34"/>
                </a:lnTo>
                <a:lnTo>
                  <a:pt x="381" y="32"/>
                </a:lnTo>
                <a:lnTo>
                  <a:pt x="396" y="23"/>
                </a:lnTo>
                <a:lnTo>
                  <a:pt x="402" y="19"/>
                </a:lnTo>
                <a:lnTo>
                  <a:pt x="417" y="17"/>
                </a:lnTo>
                <a:lnTo>
                  <a:pt x="417" y="44"/>
                </a:lnTo>
                <a:lnTo>
                  <a:pt x="422" y="49"/>
                </a:lnTo>
                <a:lnTo>
                  <a:pt x="434" y="51"/>
                </a:lnTo>
                <a:lnTo>
                  <a:pt x="449" y="47"/>
                </a:lnTo>
                <a:lnTo>
                  <a:pt x="454" y="53"/>
                </a:lnTo>
                <a:lnTo>
                  <a:pt x="460" y="49"/>
                </a:lnTo>
                <a:lnTo>
                  <a:pt x="464" y="44"/>
                </a:lnTo>
                <a:lnTo>
                  <a:pt x="466" y="42"/>
                </a:lnTo>
                <a:lnTo>
                  <a:pt x="471" y="42"/>
                </a:lnTo>
                <a:lnTo>
                  <a:pt x="477" y="49"/>
                </a:lnTo>
                <a:lnTo>
                  <a:pt x="481" y="55"/>
                </a:lnTo>
                <a:lnTo>
                  <a:pt x="483" y="64"/>
                </a:lnTo>
                <a:lnTo>
                  <a:pt x="483" y="70"/>
                </a:lnTo>
                <a:lnTo>
                  <a:pt x="492" y="76"/>
                </a:lnTo>
                <a:lnTo>
                  <a:pt x="494" y="76"/>
                </a:lnTo>
                <a:lnTo>
                  <a:pt x="500" y="78"/>
                </a:lnTo>
                <a:lnTo>
                  <a:pt x="500" y="85"/>
                </a:lnTo>
                <a:lnTo>
                  <a:pt x="509" y="89"/>
                </a:lnTo>
                <a:lnTo>
                  <a:pt x="513" y="95"/>
                </a:lnTo>
                <a:lnTo>
                  <a:pt x="507" y="98"/>
                </a:lnTo>
                <a:lnTo>
                  <a:pt x="473" y="98"/>
                </a:lnTo>
                <a:lnTo>
                  <a:pt x="464" y="100"/>
                </a:lnTo>
                <a:lnTo>
                  <a:pt x="458" y="95"/>
                </a:lnTo>
                <a:lnTo>
                  <a:pt x="451" y="98"/>
                </a:lnTo>
                <a:lnTo>
                  <a:pt x="449" y="106"/>
                </a:lnTo>
                <a:lnTo>
                  <a:pt x="449" y="119"/>
                </a:lnTo>
                <a:lnTo>
                  <a:pt x="443" y="115"/>
                </a:lnTo>
                <a:lnTo>
                  <a:pt x="426" y="104"/>
                </a:lnTo>
                <a:lnTo>
                  <a:pt x="413" y="98"/>
                </a:lnTo>
                <a:lnTo>
                  <a:pt x="405" y="100"/>
                </a:lnTo>
                <a:lnTo>
                  <a:pt x="398" y="98"/>
                </a:lnTo>
                <a:lnTo>
                  <a:pt x="383" y="100"/>
                </a:lnTo>
                <a:lnTo>
                  <a:pt x="377" y="110"/>
                </a:lnTo>
                <a:lnTo>
                  <a:pt x="371" y="115"/>
                </a:lnTo>
                <a:lnTo>
                  <a:pt x="362" y="115"/>
                </a:lnTo>
                <a:lnTo>
                  <a:pt x="349" y="119"/>
                </a:lnTo>
                <a:lnTo>
                  <a:pt x="343" y="117"/>
                </a:lnTo>
                <a:lnTo>
                  <a:pt x="334" y="119"/>
                </a:lnTo>
                <a:lnTo>
                  <a:pt x="330" y="123"/>
                </a:lnTo>
                <a:lnTo>
                  <a:pt x="326" y="130"/>
                </a:lnTo>
                <a:lnTo>
                  <a:pt x="324" y="138"/>
                </a:lnTo>
                <a:lnTo>
                  <a:pt x="317" y="142"/>
                </a:lnTo>
                <a:lnTo>
                  <a:pt x="309" y="151"/>
                </a:lnTo>
                <a:lnTo>
                  <a:pt x="305" y="157"/>
                </a:lnTo>
                <a:lnTo>
                  <a:pt x="298" y="157"/>
                </a:lnTo>
                <a:lnTo>
                  <a:pt x="302" y="149"/>
                </a:lnTo>
                <a:lnTo>
                  <a:pt x="309" y="142"/>
                </a:lnTo>
                <a:lnTo>
                  <a:pt x="309" y="136"/>
                </a:lnTo>
                <a:lnTo>
                  <a:pt x="302" y="134"/>
                </a:lnTo>
                <a:lnTo>
                  <a:pt x="296" y="136"/>
                </a:lnTo>
                <a:lnTo>
                  <a:pt x="287" y="144"/>
                </a:lnTo>
                <a:lnTo>
                  <a:pt x="287" y="149"/>
                </a:lnTo>
                <a:lnTo>
                  <a:pt x="279" y="155"/>
                </a:lnTo>
                <a:lnTo>
                  <a:pt x="275" y="147"/>
                </a:lnTo>
                <a:lnTo>
                  <a:pt x="273" y="140"/>
                </a:lnTo>
                <a:lnTo>
                  <a:pt x="275" y="134"/>
                </a:lnTo>
                <a:lnTo>
                  <a:pt x="270" y="142"/>
                </a:lnTo>
                <a:lnTo>
                  <a:pt x="266" y="157"/>
                </a:lnTo>
                <a:lnTo>
                  <a:pt x="260" y="166"/>
                </a:lnTo>
                <a:lnTo>
                  <a:pt x="256" y="172"/>
                </a:lnTo>
                <a:lnTo>
                  <a:pt x="251" y="187"/>
                </a:lnTo>
                <a:lnTo>
                  <a:pt x="243" y="208"/>
                </a:lnTo>
                <a:lnTo>
                  <a:pt x="234" y="221"/>
                </a:lnTo>
                <a:lnTo>
                  <a:pt x="234" y="228"/>
                </a:lnTo>
                <a:lnTo>
                  <a:pt x="232" y="225"/>
                </a:lnTo>
                <a:lnTo>
                  <a:pt x="230" y="225"/>
                </a:lnTo>
                <a:lnTo>
                  <a:pt x="224" y="219"/>
                </a:lnTo>
                <a:lnTo>
                  <a:pt x="224" y="213"/>
                </a:lnTo>
                <a:lnTo>
                  <a:pt x="228" y="198"/>
                </a:lnTo>
                <a:lnTo>
                  <a:pt x="219" y="198"/>
                </a:lnTo>
                <a:lnTo>
                  <a:pt x="213" y="200"/>
                </a:lnTo>
                <a:lnTo>
                  <a:pt x="211" y="196"/>
                </a:lnTo>
                <a:lnTo>
                  <a:pt x="213" y="187"/>
                </a:lnTo>
                <a:lnTo>
                  <a:pt x="213" y="172"/>
                </a:lnTo>
                <a:lnTo>
                  <a:pt x="211" y="166"/>
                </a:lnTo>
                <a:lnTo>
                  <a:pt x="213" y="164"/>
                </a:lnTo>
                <a:lnTo>
                  <a:pt x="204" y="157"/>
                </a:lnTo>
                <a:lnTo>
                  <a:pt x="194" y="153"/>
                </a:lnTo>
                <a:lnTo>
                  <a:pt x="187" y="153"/>
                </a:lnTo>
                <a:lnTo>
                  <a:pt x="185" y="140"/>
                </a:lnTo>
                <a:lnTo>
                  <a:pt x="179" y="136"/>
                </a:lnTo>
                <a:lnTo>
                  <a:pt x="160" y="134"/>
                </a:lnTo>
                <a:lnTo>
                  <a:pt x="153" y="132"/>
                </a:lnTo>
                <a:lnTo>
                  <a:pt x="145" y="134"/>
                </a:lnTo>
                <a:lnTo>
                  <a:pt x="130" y="132"/>
                </a:lnTo>
                <a:lnTo>
                  <a:pt x="128" y="132"/>
                </a:lnTo>
                <a:lnTo>
                  <a:pt x="102" y="121"/>
                </a:lnTo>
                <a:lnTo>
                  <a:pt x="28" y="106"/>
                </a:lnTo>
                <a:lnTo>
                  <a:pt x="19" y="91"/>
                </a:lnTo>
                <a:lnTo>
                  <a:pt x="11" y="87"/>
                </a:lnTo>
                <a:lnTo>
                  <a:pt x="4" y="83"/>
                </a:lnTo>
                <a:lnTo>
                  <a:pt x="0" y="8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0" name="Freeform 877"/>
          <p:cNvSpPr>
            <a:spLocks/>
          </p:cNvSpPr>
          <p:nvPr/>
        </p:nvSpPr>
        <p:spPr bwMode="auto">
          <a:xfrm>
            <a:off x="5672138" y="2219446"/>
            <a:ext cx="11113" cy="30163"/>
          </a:xfrm>
          <a:custGeom>
            <a:avLst/>
            <a:gdLst>
              <a:gd name="T0" fmla="*/ 7 w 7"/>
              <a:gd name="T1" fmla="*/ 2 h 19"/>
              <a:gd name="T2" fmla="*/ 7 w 7"/>
              <a:gd name="T3" fmla="*/ 0 h 19"/>
              <a:gd name="T4" fmla="*/ 3 w 7"/>
              <a:gd name="T5" fmla="*/ 4 h 19"/>
              <a:gd name="T6" fmla="*/ 0 w 7"/>
              <a:gd name="T7" fmla="*/ 11 h 19"/>
              <a:gd name="T8" fmla="*/ 0 w 7"/>
              <a:gd name="T9" fmla="*/ 19 h 19"/>
              <a:gd name="T10" fmla="*/ 7 w 7"/>
              <a:gd name="T11" fmla="*/ 17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0"/>
                </a:lnTo>
                <a:lnTo>
                  <a:pt x="3" y="4"/>
                </a:lnTo>
                <a:lnTo>
                  <a:pt x="0" y="11"/>
                </a:lnTo>
                <a:lnTo>
                  <a:pt x="0" y="19"/>
                </a:lnTo>
                <a:lnTo>
                  <a:pt x="7" y="17"/>
                </a:lnTo>
                <a:lnTo>
                  <a:pt x="7"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1" name="Freeform 878"/>
          <p:cNvSpPr>
            <a:spLocks/>
          </p:cNvSpPr>
          <p:nvPr/>
        </p:nvSpPr>
        <p:spPr bwMode="auto">
          <a:xfrm>
            <a:off x="5672138" y="2219446"/>
            <a:ext cx="11113" cy="30163"/>
          </a:xfrm>
          <a:custGeom>
            <a:avLst/>
            <a:gdLst>
              <a:gd name="T0" fmla="*/ 7 w 7"/>
              <a:gd name="T1" fmla="*/ 2 h 19"/>
              <a:gd name="T2" fmla="*/ 7 w 7"/>
              <a:gd name="T3" fmla="*/ 0 h 19"/>
              <a:gd name="T4" fmla="*/ 3 w 7"/>
              <a:gd name="T5" fmla="*/ 4 h 19"/>
              <a:gd name="T6" fmla="*/ 0 w 7"/>
              <a:gd name="T7" fmla="*/ 11 h 19"/>
              <a:gd name="T8" fmla="*/ 0 w 7"/>
              <a:gd name="T9" fmla="*/ 19 h 19"/>
              <a:gd name="T10" fmla="*/ 7 w 7"/>
              <a:gd name="T11" fmla="*/ 17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0"/>
                </a:lnTo>
                <a:lnTo>
                  <a:pt x="3" y="4"/>
                </a:lnTo>
                <a:lnTo>
                  <a:pt x="0" y="11"/>
                </a:lnTo>
                <a:lnTo>
                  <a:pt x="0" y="19"/>
                </a:lnTo>
                <a:lnTo>
                  <a:pt x="7" y="17"/>
                </a:lnTo>
                <a:lnTo>
                  <a:pt x="7"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2" name="Freeform 879"/>
          <p:cNvSpPr>
            <a:spLocks/>
          </p:cNvSpPr>
          <p:nvPr/>
        </p:nvSpPr>
        <p:spPr bwMode="auto">
          <a:xfrm>
            <a:off x="5875338" y="2127371"/>
            <a:ext cx="47625" cy="34925"/>
          </a:xfrm>
          <a:custGeom>
            <a:avLst/>
            <a:gdLst>
              <a:gd name="T0" fmla="*/ 19 w 30"/>
              <a:gd name="T1" fmla="*/ 0 h 22"/>
              <a:gd name="T2" fmla="*/ 13 w 30"/>
              <a:gd name="T3" fmla="*/ 0 h 22"/>
              <a:gd name="T4" fmla="*/ 15 w 30"/>
              <a:gd name="T5" fmla="*/ 9 h 22"/>
              <a:gd name="T6" fmla="*/ 9 w 30"/>
              <a:gd name="T7" fmla="*/ 13 h 22"/>
              <a:gd name="T8" fmla="*/ 0 w 30"/>
              <a:gd name="T9" fmla="*/ 15 h 22"/>
              <a:gd name="T10" fmla="*/ 9 w 30"/>
              <a:gd name="T11" fmla="*/ 20 h 22"/>
              <a:gd name="T12" fmla="*/ 9 w 30"/>
              <a:gd name="T13" fmla="*/ 22 h 22"/>
              <a:gd name="T14" fmla="*/ 24 w 30"/>
              <a:gd name="T15" fmla="*/ 20 h 22"/>
              <a:gd name="T16" fmla="*/ 30 w 30"/>
              <a:gd name="T17" fmla="*/ 15 h 22"/>
              <a:gd name="T18" fmla="*/ 28 w 30"/>
              <a:gd name="T19" fmla="*/ 7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13" y="0"/>
                </a:lnTo>
                <a:lnTo>
                  <a:pt x="15" y="9"/>
                </a:lnTo>
                <a:lnTo>
                  <a:pt x="9" y="13"/>
                </a:lnTo>
                <a:lnTo>
                  <a:pt x="0" y="15"/>
                </a:lnTo>
                <a:lnTo>
                  <a:pt x="9" y="20"/>
                </a:lnTo>
                <a:lnTo>
                  <a:pt x="9" y="22"/>
                </a:lnTo>
                <a:lnTo>
                  <a:pt x="24" y="20"/>
                </a:lnTo>
                <a:lnTo>
                  <a:pt x="30" y="15"/>
                </a:lnTo>
                <a:lnTo>
                  <a:pt x="28" y="7"/>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3" name="Freeform 880"/>
          <p:cNvSpPr>
            <a:spLocks/>
          </p:cNvSpPr>
          <p:nvPr/>
        </p:nvSpPr>
        <p:spPr bwMode="auto">
          <a:xfrm>
            <a:off x="5875338" y="2127371"/>
            <a:ext cx="47625" cy="34925"/>
          </a:xfrm>
          <a:custGeom>
            <a:avLst/>
            <a:gdLst>
              <a:gd name="T0" fmla="*/ 19 w 30"/>
              <a:gd name="T1" fmla="*/ 0 h 22"/>
              <a:gd name="T2" fmla="*/ 13 w 30"/>
              <a:gd name="T3" fmla="*/ 0 h 22"/>
              <a:gd name="T4" fmla="*/ 15 w 30"/>
              <a:gd name="T5" fmla="*/ 9 h 22"/>
              <a:gd name="T6" fmla="*/ 9 w 30"/>
              <a:gd name="T7" fmla="*/ 13 h 22"/>
              <a:gd name="T8" fmla="*/ 0 w 30"/>
              <a:gd name="T9" fmla="*/ 15 h 22"/>
              <a:gd name="T10" fmla="*/ 9 w 30"/>
              <a:gd name="T11" fmla="*/ 20 h 22"/>
              <a:gd name="T12" fmla="*/ 9 w 30"/>
              <a:gd name="T13" fmla="*/ 22 h 22"/>
              <a:gd name="T14" fmla="*/ 24 w 30"/>
              <a:gd name="T15" fmla="*/ 20 h 22"/>
              <a:gd name="T16" fmla="*/ 30 w 30"/>
              <a:gd name="T17" fmla="*/ 15 h 22"/>
              <a:gd name="T18" fmla="*/ 28 w 30"/>
              <a:gd name="T19" fmla="*/ 7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13" y="0"/>
                </a:lnTo>
                <a:lnTo>
                  <a:pt x="15" y="9"/>
                </a:lnTo>
                <a:lnTo>
                  <a:pt x="9" y="13"/>
                </a:lnTo>
                <a:lnTo>
                  <a:pt x="0" y="15"/>
                </a:lnTo>
                <a:lnTo>
                  <a:pt x="9" y="20"/>
                </a:lnTo>
                <a:lnTo>
                  <a:pt x="9" y="22"/>
                </a:lnTo>
                <a:lnTo>
                  <a:pt x="24" y="20"/>
                </a:lnTo>
                <a:lnTo>
                  <a:pt x="30" y="15"/>
                </a:lnTo>
                <a:lnTo>
                  <a:pt x="28" y="7"/>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7" name="Group 6"/>
          <p:cNvGrpSpPr/>
          <p:nvPr/>
        </p:nvGrpSpPr>
        <p:grpSpPr>
          <a:xfrm>
            <a:off x="5066506" y="2003874"/>
            <a:ext cx="1077913" cy="946151"/>
            <a:chOff x="5060950" y="2051050"/>
            <a:chExt cx="1077913" cy="946151"/>
          </a:xfrm>
          <a:solidFill>
            <a:srgbClr val="0070C0"/>
          </a:solidFill>
        </p:grpSpPr>
        <p:sp>
          <p:nvSpPr>
            <p:cNvPr id="1068" name="Freeform 875"/>
            <p:cNvSpPr>
              <a:spLocks/>
            </p:cNvSpPr>
            <p:nvPr/>
          </p:nvSpPr>
          <p:spPr bwMode="auto">
            <a:xfrm>
              <a:off x="5060950" y="2051050"/>
              <a:ext cx="814388" cy="361950"/>
            </a:xfrm>
            <a:custGeom>
              <a:avLst/>
              <a:gdLst>
                <a:gd name="T0" fmla="*/ 30 w 513"/>
                <a:gd name="T1" fmla="*/ 66 h 228"/>
                <a:gd name="T2" fmla="*/ 57 w 513"/>
                <a:gd name="T3" fmla="*/ 47 h 228"/>
                <a:gd name="T4" fmla="*/ 79 w 513"/>
                <a:gd name="T5" fmla="*/ 42 h 228"/>
                <a:gd name="T6" fmla="*/ 109 w 513"/>
                <a:gd name="T7" fmla="*/ 23 h 228"/>
                <a:gd name="T8" fmla="*/ 132 w 513"/>
                <a:gd name="T9" fmla="*/ 6 h 228"/>
                <a:gd name="T10" fmla="*/ 147 w 513"/>
                <a:gd name="T11" fmla="*/ 38 h 228"/>
                <a:gd name="T12" fmla="*/ 153 w 513"/>
                <a:gd name="T13" fmla="*/ 36 h 228"/>
                <a:gd name="T14" fmla="*/ 162 w 513"/>
                <a:gd name="T15" fmla="*/ 38 h 228"/>
                <a:gd name="T16" fmla="*/ 177 w 513"/>
                <a:gd name="T17" fmla="*/ 27 h 228"/>
                <a:gd name="T18" fmla="*/ 207 w 513"/>
                <a:gd name="T19" fmla="*/ 34 h 228"/>
                <a:gd name="T20" fmla="*/ 230 w 513"/>
                <a:gd name="T21" fmla="*/ 57 h 228"/>
                <a:gd name="T22" fmla="*/ 249 w 513"/>
                <a:gd name="T23" fmla="*/ 68 h 228"/>
                <a:gd name="T24" fmla="*/ 281 w 513"/>
                <a:gd name="T25" fmla="*/ 70 h 228"/>
                <a:gd name="T26" fmla="*/ 305 w 513"/>
                <a:gd name="T27" fmla="*/ 57 h 228"/>
                <a:gd name="T28" fmla="*/ 339 w 513"/>
                <a:gd name="T29" fmla="*/ 38 h 228"/>
                <a:gd name="T30" fmla="*/ 381 w 513"/>
                <a:gd name="T31" fmla="*/ 32 h 228"/>
                <a:gd name="T32" fmla="*/ 417 w 513"/>
                <a:gd name="T33" fmla="*/ 17 h 228"/>
                <a:gd name="T34" fmla="*/ 434 w 513"/>
                <a:gd name="T35" fmla="*/ 51 h 228"/>
                <a:gd name="T36" fmla="*/ 460 w 513"/>
                <a:gd name="T37" fmla="*/ 49 h 228"/>
                <a:gd name="T38" fmla="*/ 471 w 513"/>
                <a:gd name="T39" fmla="*/ 42 h 228"/>
                <a:gd name="T40" fmla="*/ 483 w 513"/>
                <a:gd name="T41" fmla="*/ 64 h 228"/>
                <a:gd name="T42" fmla="*/ 494 w 513"/>
                <a:gd name="T43" fmla="*/ 76 h 228"/>
                <a:gd name="T44" fmla="*/ 509 w 513"/>
                <a:gd name="T45" fmla="*/ 89 h 228"/>
                <a:gd name="T46" fmla="*/ 473 w 513"/>
                <a:gd name="T47" fmla="*/ 98 h 228"/>
                <a:gd name="T48" fmla="*/ 451 w 513"/>
                <a:gd name="T49" fmla="*/ 98 h 228"/>
                <a:gd name="T50" fmla="*/ 443 w 513"/>
                <a:gd name="T51" fmla="*/ 115 h 228"/>
                <a:gd name="T52" fmla="*/ 405 w 513"/>
                <a:gd name="T53" fmla="*/ 100 h 228"/>
                <a:gd name="T54" fmla="*/ 377 w 513"/>
                <a:gd name="T55" fmla="*/ 110 h 228"/>
                <a:gd name="T56" fmla="*/ 349 w 513"/>
                <a:gd name="T57" fmla="*/ 119 h 228"/>
                <a:gd name="T58" fmla="*/ 330 w 513"/>
                <a:gd name="T59" fmla="*/ 123 h 228"/>
                <a:gd name="T60" fmla="*/ 317 w 513"/>
                <a:gd name="T61" fmla="*/ 142 h 228"/>
                <a:gd name="T62" fmla="*/ 298 w 513"/>
                <a:gd name="T63" fmla="*/ 157 h 228"/>
                <a:gd name="T64" fmla="*/ 309 w 513"/>
                <a:gd name="T65" fmla="*/ 136 h 228"/>
                <a:gd name="T66" fmla="*/ 287 w 513"/>
                <a:gd name="T67" fmla="*/ 144 h 228"/>
                <a:gd name="T68" fmla="*/ 275 w 513"/>
                <a:gd name="T69" fmla="*/ 147 h 228"/>
                <a:gd name="T70" fmla="*/ 270 w 513"/>
                <a:gd name="T71" fmla="*/ 142 h 228"/>
                <a:gd name="T72" fmla="*/ 256 w 513"/>
                <a:gd name="T73" fmla="*/ 172 h 228"/>
                <a:gd name="T74" fmla="*/ 234 w 513"/>
                <a:gd name="T75" fmla="*/ 221 h 228"/>
                <a:gd name="T76" fmla="*/ 230 w 513"/>
                <a:gd name="T77" fmla="*/ 225 h 228"/>
                <a:gd name="T78" fmla="*/ 228 w 513"/>
                <a:gd name="T79" fmla="*/ 198 h 228"/>
                <a:gd name="T80" fmla="*/ 211 w 513"/>
                <a:gd name="T81" fmla="*/ 196 h 228"/>
                <a:gd name="T82" fmla="*/ 211 w 513"/>
                <a:gd name="T83" fmla="*/ 166 h 228"/>
                <a:gd name="T84" fmla="*/ 194 w 513"/>
                <a:gd name="T85" fmla="*/ 153 h 228"/>
                <a:gd name="T86" fmla="*/ 179 w 513"/>
                <a:gd name="T87" fmla="*/ 136 h 228"/>
                <a:gd name="T88" fmla="*/ 145 w 513"/>
                <a:gd name="T89" fmla="*/ 134 h 228"/>
                <a:gd name="T90" fmla="*/ 102 w 513"/>
                <a:gd name="T91" fmla="*/ 121 h 228"/>
                <a:gd name="T92" fmla="*/ 11 w 513"/>
                <a:gd name="T93" fmla="*/ 87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13" h="228">
                  <a:moveTo>
                    <a:pt x="0" y="81"/>
                  </a:moveTo>
                  <a:lnTo>
                    <a:pt x="6" y="76"/>
                  </a:lnTo>
                  <a:lnTo>
                    <a:pt x="30" y="66"/>
                  </a:lnTo>
                  <a:lnTo>
                    <a:pt x="43" y="51"/>
                  </a:lnTo>
                  <a:lnTo>
                    <a:pt x="49" y="47"/>
                  </a:lnTo>
                  <a:lnTo>
                    <a:pt x="57" y="47"/>
                  </a:lnTo>
                  <a:lnTo>
                    <a:pt x="64" y="47"/>
                  </a:lnTo>
                  <a:lnTo>
                    <a:pt x="72" y="44"/>
                  </a:lnTo>
                  <a:lnTo>
                    <a:pt x="79" y="42"/>
                  </a:lnTo>
                  <a:lnTo>
                    <a:pt x="85" y="38"/>
                  </a:lnTo>
                  <a:lnTo>
                    <a:pt x="94" y="29"/>
                  </a:lnTo>
                  <a:lnTo>
                    <a:pt x="109" y="23"/>
                  </a:lnTo>
                  <a:lnTo>
                    <a:pt x="113" y="17"/>
                  </a:lnTo>
                  <a:lnTo>
                    <a:pt x="128" y="0"/>
                  </a:lnTo>
                  <a:lnTo>
                    <a:pt x="132" y="6"/>
                  </a:lnTo>
                  <a:lnTo>
                    <a:pt x="136" y="8"/>
                  </a:lnTo>
                  <a:lnTo>
                    <a:pt x="149" y="23"/>
                  </a:lnTo>
                  <a:lnTo>
                    <a:pt x="147" y="38"/>
                  </a:lnTo>
                  <a:lnTo>
                    <a:pt x="149" y="44"/>
                  </a:lnTo>
                  <a:lnTo>
                    <a:pt x="153" y="42"/>
                  </a:lnTo>
                  <a:lnTo>
                    <a:pt x="153" y="36"/>
                  </a:lnTo>
                  <a:lnTo>
                    <a:pt x="162" y="32"/>
                  </a:lnTo>
                  <a:lnTo>
                    <a:pt x="168" y="23"/>
                  </a:lnTo>
                  <a:lnTo>
                    <a:pt x="162" y="38"/>
                  </a:lnTo>
                  <a:lnTo>
                    <a:pt x="166" y="36"/>
                  </a:lnTo>
                  <a:lnTo>
                    <a:pt x="170" y="29"/>
                  </a:lnTo>
                  <a:lnTo>
                    <a:pt x="177" y="27"/>
                  </a:lnTo>
                  <a:lnTo>
                    <a:pt x="192" y="27"/>
                  </a:lnTo>
                  <a:lnTo>
                    <a:pt x="200" y="27"/>
                  </a:lnTo>
                  <a:lnTo>
                    <a:pt x="207" y="34"/>
                  </a:lnTo>
                  <a:lnTo>
                    <a:pt x="213" y="36"/>
                  </a:lnTo>
                  <a:lnTo>
                    <a:pt x="217" y="44"/>
                  </a:lnTo>
                  <a:lnTo>
                    <a:pt x="230" y="57"/>
                  </a:lnTo>
                  <a:lnTo>
                    <a:pt x="234" y="66"/>
                  </a:lnTo>
                  <a:lnTo>
                    <a:pt x="243" y="68"/>
                  </a:lnTo>
                  <a:lnTo>
                    <a:pt x="249" y="68"/>
                  </a:lnTo>
                  <a:lnTo>
                    <a:pt x="266" y="61"/>
                  </a:lnTo>
                  <a:lnTo>
                    <a:pt x="273" y="68"/>
                  </a:lnTo>
                  <a:lnTo>
                    <a:pt x="281" y="70"/>
                  </a:lnTo>
                  <a:lnTo>
                    <a:pt x="287" y="68"/>
                  </a:lnTo>
                  <a:lnTo>
                    <a:pt x="294" y="72"/>
                  </a:lnTo>
                  <a:lnTo>
                    <a:pt x="305" y="57"/>
                  </a:lnTo>
                  <a:lnTo>
                    <a:pt x="319" y="47"/>
                  </a:lnTo>
                  <a:lnTo>
                    <a:pt x="326" y="40"/>
                  </a:lnTo>
                  <a:lnTo>
                    <a:pt x="339" y="38"/>
                  </a:lnTo>
                  <a:lnTo>
                    <a:pt x="345" y="36"/>
                  </a:lnTo>
                  <a:lnTo>
                    <a:pt x="375" y="34"/>
                  </a:lnTo>
                  <a:lnTo>
                    <a:pt x="381" y="32"/>
                  </a:lnTo>
                  <a:lnTo>
                    <a:pt x="396" y="23"/>
                  </a:lnTo>
                  <a:lnTo>
                    <a:pt x="402" y="19"/>
                  </a:lnTo>
                  <a:lnTo>
                    <a:pt x="417" y="17"/>
                  </a:lnTo>
                  <a:lnTo>
                    <a:pt x="417" y="44"/>
                  </a:lnTo>
                  <a:lnTo>
                    <a:pt x="422" y="49"/>
                  </a:lnTo>
                  <a:lnTo>
                    <a:pt x="434" y="51"/>
                  </a:lnTo>
                  <a:lnTo>
                    <a:pt x="449" y="47"/>
                  </a:lnTo>
                  <a:lnTo>
                    <a:pt x="454" y="53"/>
                  </a:lnTo>
                  <a:lnTo>
                    <a:pt x="460" y="49"/>
                  </a:lnTo>
                  <a:lnTo>
                    <a:pt x="464" y="44"/>
                  </a:lnTo>
                  <a:lnTo>
                    <a:pt x="466" y="42"/>
                  </a:lnTo>
                  <a:lnTo>
                    <a:pt x="471" y="42"/>
                  </a:lnTo>
                  <a:lnTo>
                    <a:pt x="477" y="49"/>
                  </a:lnTo>
                  <a:lnTo>
                    <a:pt x="481" y="55"/>
                  </a:lnTo>
                  <a:lnTo>
                    <a:pt x="483" y="64"/>
                  </a:lnTo>
                  <a:lnTo>
                    <a:pt x="483" y="70"/>
                  </a:lnTo>
                  <a:lnTo>
                    <a:pt x="492" y="76"/>
                  </a:lnTo>
                  <a:lnTo>
                    <a:pt x="494" y="76"/>
                  </a:lnTo>
                  <a:lnTo>
                    <a:pt x="500" y="78"/>
                  </a:lnTo>
                  <a:lnTo>
                    <a:pt x="500" y="85"/>
                  </a:lnTo>
                  <a:lnTo>
                    <a:pt x="509" y="89"/>
                  </a:lnTo>
                  <a:lnTo>
                    <a:pt x="513" y="95"/>
                  </a:lnTo>
                  <a:lnTo>
                    <a:pt x="507" y="98"/>
                  </a:lnTo>
                  <a:lnTo>
                    <a:pt x="473" y="98"/>
                  </a:lnTo>
                  <a:lnTo>
                    <a:pt x="464" y="100"/>
                  </a:lnTo>
                  <a:lnTo>
                    <a:pt x="458" y="95"/>
                  </a:lnTo>
                  <a:lnTo>
                    <a:pt x="451" y="98"/>
                  </a:lnTo>
                  <a:lnTo>
                    <a:pt x="449" y="106"/>
                  </a:lnTo>
                  <a:lnTo>
                    <a:pt x="449" y="119"/>
                  </a:lnTo>
                  <a:lnTo>
                    <a:pt x="443" y="115"/>
                  </a:lnTo>
                  <a:lnTo>
                    <a:pt x="426" y="104"/>
                  </a:lnTo>
                  <a:lnTo>
                    <a:pt x="413" y="98"/>
                  </a:lnTo>
                  <a:lnTo>
                    <a:pt x="405" y="100"/>
                  </a:lnTo>
                  <a:lnTo>
                    <a:pt x="398" y="98"/>
                  </a:lnTo>
                  <a:lnTo>
                    <a:pt x="383" y="100"/>
                  </a:lnTo>
                  <a:lnTo>
                    <a:pt x="377" y="110"/>
                  </a:lnTo>
                  <a:lnTo>
                    <a:pt x="371" y="115"/>
                  </a:lnTo>
                  <a:lnTo>
                    <a:pt x="362" y="115"/>
                  </a:lnTo>
                  <a:lnTo>
                    <a:pt x="349" y="119"/>
                  </a:lnTo>
                  <a:lnTo>
                    <a:pt x="343" y="117"/>
                  </a:lnTo>
                  <a:lnTo>
                    <a:pt x="334" y="119"/>
                  </a:lnTo>
                  <a:lnTo>
                    <a:pt x="330" y="123"/>
                  </a:lnTo>
                  <a:lnTo>
                    <a:pt x="326" y="130"/>
                  </a:lnTo>
                  <a:lnTo>
                    <a:pt x="324" y="138"/>
                  </a:lnTo>
                  <a:lnTo>
                    <a:pt x="317" y="142"/>
                  </a:lnTo>
                  <a:lnTo>
                    <a:pt x="309" y="151"/>
                  </a:lnTo>
                  <a:lnTo>
                    <a:pt x="305" y="157"/>
                  </a:lnTo>
                  <a:lnTo>
                    <a:pt x="298" y="157"/>
                  </a:lnTo>
                  <a:lnTo>
                    <a:pt x="302" y="149"/>
                  </a:lnTo>
                  <a:lnTo>
                    <a:pt x="309" y="142"/>
                  </a:lnTo>
                  <a:lnTo>
                    <a:pt x="309" y="136"/>
                  </a:lnTo>
                  <a:lnTo>
                    <a:pt x="302" y="134"/>
                  </a:lnTo>
                  <a:lnTo>
                    <a:pt x="296" y="136"/>
                  </a:lnTo>
                  <a:lnTo>
                    <a:pt x="287" y="144"/>
                  </a:lnTo>
                  <a:lnTo>
                    <a:pt x="287" y="149"/>
                  </a:lnTo>
                  <a:lnTo>
                    <a:pt x="279" y="155"/>
                  </a:lnTo>
                  <a:lnTo>
                    <a:pt x="275" y="147"/>
                  </a:lnTo>
                  <a:lnTo>
                    <a:pt x="273" y="140"/>
                  </a:lnTo>
                  <a:lnTo>
                    <a:pt x="275" y="134"/>
                  </a:lnTo>
                  <a:lnTo>
                    <a:pt x="270" y="142"/>
                  </a:lnTo>
                  <a:lnTo>
                    <a:pt x="266" y="157"/>
                  </a:lnTo>
                  <a:lnTo>
                    <a:pt x="260" y="166"/>
                  </a:lnTo>
                  <a:lnTo>
                    <a:pt x="256" y="172"/>
                  </a:lnTo>
                  <a:lnTo>
                    <a:pt x="251" y="187"/>
                  </a:lnTo>
                  <a:lnTo>
                    <a:pt x="243" y="208"/>
                  </a:lnTo>
                  <a:lnTo>
                    <a:pt x="234" y="221"/>
                  </a:lnTo>
                  <a:lnTo>
                    <a:pt x="234" y="228"/>
                  </a:lnTo>
                  <a:lnTo>
                    <a:pt x="232" y="225"/>
                  </a:lnTo>
                  <a:lnTo>
                    <a:pt x="230" y="225"/>
                  </a:lnTo>
                  <a:lnTo>
                    <a:pt x="224" y="219"/>
                  </a:lnTo>
                  <a:lnTo>
                    <a:pt x="224" y="213"/>
                  </a:lnTo>
                  <a:lnTo>
                    <a:pt x="228" y="198"/>
                  </a:lnTo>
                  <a:lnTo>
                    <a:pt x="219" y="198"/>
                  </a:lnTo>
                  <a:lnTo>
                    <a:pt x="213" y="200"/>
                  </a:lnTo>
                  <a:lnTo>
                    <a:pt x="211" y="196"/>
                  </a:lnTo>
                  <a:lnTo>
                    <a:pt x="213" y="187"/>
                  </a:lnTo>
                  <a:lnTo>
                    <a:pt x="213" y="172"/>
                  </a:lnTo>
                  <a:lnTo>
                    <a:pt x="211" y="166"/>
                  </a:lnTo>
                  <a:lnTo>
                    <a:pt x="213" y="164"/>
                  </a:lnTo>
                  <a:lnTo>
                    <a:pt x="204" y="157"/>
                  </a:lnTo>
                  <a:lnTo>
                    <a:pt x="194" y="153"/>
                  </a:lnTo>
                  <a:lnTo>
                    <a:pt x="187" y="153"/>
                  </a:lnTo>
                  <a:lnTo>
                    <a:pt x="185" y="140"/>
                  </a:lnTo>
                  <a:lnTo>
                    <a:pt x="179" y="136"/>
                  </a:lnTo>
                  <a:lnTo>
                    <a:pt x="160" y="134"/>
                  </a:lnTo>
                  <a:lnTo>
                    <a:pt x="153" y="132"/>
                  </a:lnTo>
                  <a:lnTo>
                    <a:pt x="145" y="134"/>
                  </a:lnTo>
                  <a:lnTo>
                    <a:pt x="130" y="132"/>
                  </a:lnTo>
                  <a:lnTo>
                    <a:pt x="128" y="132"/>
                  </a:lnTo>
                  <a:lnTo>
                    <a:pt x="102" y="121"/>
                  </a:lnTo>
                  <a:lnTo>
                    <a:pt x="28" y="106"/>
                  </a:lnTo>
                  <a:lnTo>
                    <a:pt x="19" y="91"/>
                  </a:lnTo>
                  <a:lnTo>
                    <a:pt x="11" y="87"/>
                  </a:lnTo>
                  <a:lnTo>
                    <a:pt x="4" y="83"/>
                  </a:lnTo>
                  <a:lnTo>
                    <a:pt x="0" y="81"/>
                  </a:lnTo>
                  <a:close/>
                </a:path>
              </a:pathLst>
            </a:custGeom>
            <a:solidFill>
              <a:srgbClr val="9BD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4" name="Freeform 881"/>
            <p:cNvSpPr>
              <a:spLocks/>
            </p:cNvSpPr>
            <p:nvPr/>
          </p:nvSpPr>
          <p:spPr bwMode="auto">
            <a:xfrm>
              <a:off x="5588000" y="2246313"/>
              <a:ext cx="550863" cy="750888"/>
            </a:xfrm>
            <a:custGeom>
              <a:avLst/>
              <a:gdLst>
                <a:gd name="T0" fmla="*/ 13 w 347"/>
                <a:gd name="T1" fmla="*/ 464 h 473"/>
                <a:gd name="T2" fmla="*/ 28 w 347"/>
                <a:gd name="T3" fmla="*/ 428 h 473"/>
                <a:gd name="T4" fmla="*/ 41 w 347"/>
                <a:gd name="T5" fmla="*/ 379 h 473"/>
                <a:gd name="T6" fmla="*/ 28 w 347"/>
                <a:gd name="T7" fmla="*/ 307 h 473"/>
                <a:gd name="T8" fmla="*/ 4 w 347"/>
                <a:gd name="T9" fmla="*/ 264 h 473"/>
                <a:gd name="T10" fmla="*/ 11 w 347"/>
                <a:gd name="T11" fmla="*/ 243 h 473"/>
                <a:gd name="T12" fmla="*/ 2 w 347"/>
                <a:gd name="T13" fmla="*/ 207 h 473"/>
                <a:gd name="T14" fmla="*/ 17 w 347"/>
                <a:gd name="T15" fmla="*/ 171 h 473"/>
                <a:gd name="T16" fmla="*/ 13 w 347"/>
                <a:gd name="T17" fmla="*/ 136 h 473"/>
                <a:gd name="T18" fmla="*/ 26 w 347"/>
                <a:gd name="T19" fmla="*/ 117 h 473"/>
                <a:gd name="T20" fmla="*/ 47 w 347"/>
                <a:gd name="T21" fmla="*/ 100 h 473"/>
                <a:gd name="T22" fmla="*/ 56 w 347"/>
                <a:gd name="T23" fmla="*/ 79 h 473"/>
                <a:gd name="T24" fmla="*/ 60 w 347"/>
                <a:gd name="T25" fmla="*/ 98 h 473"/>
                <a:gd name="T26" fmla="*/ 60 w 347"/>
                <a:gd name="T27" fmla="*/ 119 h 473"/>
                <a:gd name="T28" fmla="*/ 70 w 347"/>
                <a:gd name="T29" fmla="*/ 98 h 473"/>
                <a:gd name="T30" fmla="*/ 75 w 347"/>
                <a:gd name="T31" fmla="*/ 113 h 473"/>
                <a:gd name="T32" fmla="*/ 79 w 347"/>
                <a:gd name="T33" fmla="*/ 90 h 473"/>
                <a:gd name="T34" fmla="*/ 87 w 347"/>
                <a:gd name="T35" fmla="*/ 56 h 473"/>
                <a:gd name="T36" fmla="*/ 102 w 347"/>
                <a:gd name="T37" fmla="*/ 45 h 473"/>
                <a:gd name="T38" fmla="*/ 92 w 347"/>
                <a:gd name="T39" fmla="*/ 26 h 473"/>
                <a:gd name="T40" fmla="*/ 111 w 347"/>
                <a:gd name="T41" fmla="*/ 7 h 473"/>
                <a:gd name="T42" fmla="*/ 132 w 347"/>
                <a:gd name="T43" fmla="*/ 7 h 473"/>
                <a:gd name="T44" fmla="*/ 151 w 347"/>
                <a:gd name="T45" fmla="*/ 11 h 473"/>
                <a:gd name="T46" fmla="*/ 171 w 347"/>
                <a:gd name="T47" fmla="*/ 24 h 473"/>
                <a:gd name="T48" fmla="*/ 192 w 347"/>
                <a:gd name="T49" fmla="*/ 30 h 473"/>
                <a:gd name="T50" fmla="*/ 222 w 347"/>
                <a:gd name="T51" fmla="*/ 39 h 473"/>
                <a:gd name="T52" fmla="*/ 237 w 347"/>
                <a:gd name="T53" fmla="*/ 56 h 473"/>
                <a:gd name="T54" fmla="*/ 234 w 347"/>
                <a:gd name="T55" fmla="*/ 68 h 473"/>
                <a:gd name="T56" fmla="*/ 243 w 347"/>
                <a:gd name="T57" fmla="*/ 88 h 473"/>
                <a:gd name="T58" fmla="*/ 249 w 347"/>
                <a:gd name="T59" fmla="*/ 124 h 473"/>
                <a:gd name="T60" fmla="*/ 239 w 347"/>
                <a:gd name="T61" fmla="*/ 158 h 473"/>
                <a:gd name="T62" fmla="*/ 228 w 347"/>
                <a:gd name="T63" fmla="*/ 192 h 473"/>
                <a:gd name="T64" fmla="*/ 211 w 347"/>
                <a:gd name="T65" fmla="*/ 213 h 473"/>
                <a:gd name="T66" fmla="*/ 228 w 347"/>
                <a:gd name="T67" fmla="*/ 232 h 473"/>
                <a:gd name="T68" fmla="*/ 245 w 347"/>
                <a:gd name="T69" fmla="*/ 222 h 473"/>
                <a:gd name="T70" fmla="*/ 254 w 347"/>
                <a:gd name="T71" fmla="*/ 196 h 473"/>
                <a:gd name="T72" fmla="*/ 275 w 347"/>
                <a:gd name="T73" fmla="*/ 183 h 473"/>
                <a:gd name="T74" fmla="*/ 300 w 347"/>
                <a:gd name="T75" fmla="*/ 179 h 473"/>
                <a:gd name="T76" fmla="*/ 324 w 347"/>
                <a:gd name="T77" fmla="*/ 228 h 473"/>
                <a:gd name="T78" fmla="*/ 337 w 347"/>
                <a:gd name="T79" fmla="*/ 266 h 473"/>
                <a:gd name="T80" fmla="*/ 347 w 347"/>
                <a:gd name="T81" fmla="*/ 286 h 473"/>
                <a:gd name="T82" fmla="*/ 345 w 347"/>
                <a:gd name="T83" fmla="*/ 309 h 473"/>
                <a:gd name="T84" fmla="*/ 341 w 347"/>
                <a:gd name="T85" fmla="*/ 339 h 473"/>
                <a:gd name="T86" fmla="*/ 334 w 347"/>
                <a:gd name="T87" fmla="*/ 330 h 473"/>
                <a:gd name="T88" fmla="*/ 324 w 347"/>
                <a:gd name="T89" fmla="*/ 337 h 473"/>
                <a:gd name="T90" fmla="*/ 313 w 347"/>
                <a:gd name="T91" fmla="*/ 367 h 473"/>
                <a:gd name="T92" fmla="*/ 303 w 347"/>
                <a:gd name="T93" fmla="*/ 377 h 473"/>
                <a:gd name="T94" fmla="*/ 288 w 347"/>
                <a:gd name="T95" fmla="*/ 426 h 473"/>
                <a:gd name="T96" fmla="*/ 173 w 347"/>
                <a:gd name="T97" fmla="*/ 460 h 473"/>
                <a:gd name="T98" fmla="*/ 7 w 347"/>
                <a:gd name="T99"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7" h="473">
                  <a:moveTo>
                    <a:pt x="2" y="473"/>
                  </a:moveTo>
                  <a:lnTo>
                    <a:pt x="4" y="471"/>
                  </a:lnTo>
                  <a:lnTo>
                    <a:pt x="13" y="464"/>
                  </a:lnTo>
                  <a:lnTo>
                    <a:pt x="17" y="456"/>
                  </a:lnTo>
                  <a:lnTo>
                    <a:pt x="21" y="450"/>
                  </a:lnTo>
                  <a:lnTo>
                    <a:pt x="28" y="428"/>
                  </a:lnTo>
                  <a:lnTo>
                    <a:pt x="34" y="413"/>
                  </a:lnTo>
                  <a:lnTo>
                    <a:pt x="36" y="405"/>
                  </a:lnTo>
                  <a:lnTo>
                    <a:pt x="41" y="379"/>
                  </a:lnTo>
                  <a:lnTo>
                    <a:pt x="41" y="358"/>
                  </a:lnTo>
                  <a:lnTo>
                    <a:pt x="36" y="328"/>
                  </a:lnTo>
                  <a:lnTo>
                    <a:pt x="28" y="307"/>
                  </a:lnTo>
                  <a:lnTo>
                    <a:pt x="32" y="300"/>
                  </a:lnTo>
                  <a:lnTo>
                    <a:pt x="26" y="303"/>
                  </a:lnTo>
                  <a:lnTo>
                    <a:pt x="4" y="264"/>
                  </a:lnTo>
                  <a:lnTo>
                    <a:pt x="2" y="258"/>
                  </a:lnTo>
                  <a:lnTo>
                    <a:pt x="7" y="252"/>
                  </a:lnTo>
                  <a:lnTo>
                    <a:pt x="11" y="243"/>
                  </a:lnTo>
                  <a:lnTo>
                    <a:pt x="4" y="222"/>
                  </a:lnTo>
                  <a:lnTo>
                    <a:pt x="0" y="215"/>
                  </a:lnTo>
                  <a:lnTo>
                    <a:pt x="2" y="207"/>
                  </a:lnTo>
                  <a:lnTo>
                    <a:pt x="9" y="200"/>
                  </a:lnTo>
                  <a:lnTo>
                    <a:pt x="17" y="179"/>
                  </a:lnTo>
                  <a:lnTo>
                    <a:pt x="17" y="171"/>
                  </a:lnTo>
                  <a:lnTo>
                    <a:pt x="15" y="164"/>
                  </a:lnTo>
                  <a:lnTo>
                    <a:pt x="17" y="151"/>
                  </a:lnTo>
                  <a:lnTo>
                    <a:pt x="13" y="136"/>
                  </a:lnTo>
                  <a:lnTo>
                    <a:pt x="19" y="132"/>
                  </a:lnTo>
                  <a:lnTo>
                    <a:pt x="26" y="126"/>
                  </a:lnTo>
                  <a:lnTo>
                    <a:pt x="26" y="117"/>
                  </a:lnTo>
                  <a:lnTo>
                    <a:pt x="34" y="105"/>
                  </a:lnTo>
                  <a:lnTo>
                    <a:pt x="41" y="107"/>
                  </a:lnTo>
                  <a:lnTo>
                    <a:pt x="47" y="100"/>
                  </a:lnTo>
                  <a:lnTo>
                    <a:pt x="49" y="94"/>
                  </a:lnTo>
                  <a:lnTo>
                    <a:pt x="53" y="85"/>
                  </a:lnTo>
                  <a:lnTo>
                    <a:pt x="56" y="79"/>
                  </a:lnTo>
                  <a:lnTo>
                    <a:pt x="62" y="73"/>
                  </a:lnTo>
                  <a:lnTo>
                    <a:pt x="60" y="94"/>
                  </a:lnTo>
                  <a:lnTo>
                    <a:pt x="60" y="98"/>
                  </a:lnTo>
                  <a:lnTo>
                    <a:pt x="62" y="107"/>
                  </a:lnTo>
                  <a:lnTo>
                    <a:pt x="60" y="113"/>
                  </a:lnTo>
                  <a:lnTo>
                    <a:pt x="60" y="119"/>
                  </a:lnTo>
                  <a:lnTo>
                    <a:pt x="66" y="113"/>
                  </a:lnTo>
                  <a:lnTo>
                    <a:pt x="68" y="98"/>
                  </a:lnTo>
                  <a:lnTo>
                    <a:pt x="70" y="98"/>
                  </a:lnTo>
                  <a:lnTo>
                    <a:pt x="70" y="113"/>
                  </a:lnTo>
                  <a:lnTo>
                    <a:pt x="68" y="119"/>
                  </a:lnTo>
                  <a:lnTo>
                    <a:pt x="75" y="113"/>
                  </a:lnTo>
                  <a:lnTo>
                    <a:pt x="77" y="105"/>
                  </a:lnTo>
                  <a:lnTo>
                    <a:pt x="79" y="98"/>
                  </a:lnTo>
                  <a:lnTo>
                    <a:pt x="79" y="90"/>
                  </a:lnTo>
                  <a:lnTo>
                    <a:pt x="75" y="68"/>
                  </a:lnTo>
                  <a:lnTo>
                    <a:pt x="79" y="60"/>
                  </a:lnTo>
                  <a:lnTo>
                    <a:pt x="87" y="56"/>
                  </a:lnTo>
                  <a:lnTo>
                    <a:pt x="94" y="51"/>
                  </a:lnTo>
                  <a:lnTo>
                    <a:pt x="105" y="51"/>
                  </a:lnTo>
                  <a:lnTo>
                    <a:pt x="102" y="45"/>
                  </a:lnTo>
                  <a:lnTo>
                    <a:pt x="96" y="41"/>
                  </a:lnTo>
                  <a:lnTo>
                    <a:pt x="92" y="32"/>
                  </a:lnTo>
                  <a:lnTo>
                    <a:pt x="92" y="26"/>
                  </a:lnTo>
                  <a:lnTo>
                    <a:pt x="100" y="17"/>
                  </a:lnTo>
                  <a:lnTo>
                    <a:pt x="105" y="11"/>
                  </a:lnTo>
                  <a:lnTo>
                    <a:pt x="111" y="7"/>
                  </a:lnTo>
                  <a:lnTo>
                    <a:pt x="117" y="0"/>
                  </a:lnTo>
                  <a:lnTo>
                    <a:pt x="124" y="4"/>
                  </a:lnTo>
                  <a:lnTo>
                    <a:pt x="132" y="7"/>
                  </a:lnTo>
                  <a:lnTo>
                    <a:pt x="139" y="13"/>
                  </a:lnTo>
                  <a:lnTo>
                    <a:pt x="145" y="13"/>
                  </a:lnTo>
                  <a:lnTo>
                    <a:pt x="151" y="11"/>
                  </a:lnTo>
                  <a:lnTo>
                    <a:pt x="158" y="13"/>
                  </a:lnTo>
                  <a:lnTo>
                    <a:pt x="166" y="17"/>
                  </a:lnTo>
                  <a:lnTo>
                    <a:pt x="171" y="24"/>
                  </a:lnTo>
                  <a:lnTo>
                    <a:pt x="177" y="26"/>
                  </a:lnTo>
                  <a:lnTo>
                    <a:pt x="183" y="26"/>
                  </a:lnTo>
                  <a:lnTo>
                    <a:pt x="192" y="30"/>
                  </a:lnTo>
                  <a:lnTo>
                    <a:pt x="207" y="34"/>
                  </a:lnTo>
                  <a:lnTo>
                    <a:pt x="213" y="39"/>
                  </a:lnTo>
                  <a:lnTo>
                    <a:pt x="222" y="39"/>
                  </a:lnTo>
                  <a:lnTo>
                    <a:pt x="228" y="43"/>
                  </a:lnTo>
                  <a:lnTo>
                    <a:pt x="230" y="49"/>
                  </a:lnTo>
                  <a:lnTo>
                    <a:pt x="237" y="56"/>
                  </a:lnTo>
                  <a:lnTo>
                    <a:pt x="241" y="60"/>
                  </a:lnTo>
                  <a:lnTo>
                    <a:pt x="241" y="66"/>
                  </a:lnTo>
                  <a:lnTo>
                    <a:pt x="234" y="68"/>
                  </a:lnTo>
                  <a:lnTo>
                    <a:pt x="230" y="77"/>
                  </a:lnTo>
                  <a:lnTo>
                    <a:pt x="234" y="83"/>
                  </a:lnTo>
                  <a:lnTo>
                    <a:pt x="243" y="88"/>
                  </a:lnTo>
                  <a:lnTo>
                    <a:pt x="245" y="96"/>
                  </a:lnTo>
                  <a:lnTo>
                    <a:pt x="249" y="109"/>
                  </a:lnTo>
                  <a:lnTo>
                    <a:pt x="249" y="124"/>
                  </a:lnTo>
                  <a:lnTo>
                    <a:pt x="251" y="147"/>
                  </a:lnTo>
                  <a:lnTo>
                    <a:pt x="245" y="154"/>
                  </a:lnTo>
                  <a:lnTo>
                    <a:pt x="239" y="158"/>
                  </a:lnTo>
                  <a:lnTo>
                    <a:pt x="237" y="164"/>
                  </a:lnTo>
                  <a:lnTo>
                    <a:pt x="234" y="179"/>
                  </a:lnTo>
                  <a:lnTo>
                    <a:pt x="228" y="192"/>
                  </a:lnTo>
                  <a:lnTo>
                    <a:pt x="220" y="192"/>
                  </a:lnTo>
                  <a:lnTo>
                    <a:pt x="213" y="198"/>
                  </a:lnTo>
                  <a:lnTo>
                    <a:pt x="211" y="213"/>
                  </a:lnTo>
                  <a:lnTo>
                    <a:pt x="211" y="224"/>
                  </a:lnTo>
                  <a:lnTo>
                    <a:pt x="222" y="232"/>
                  </a:lnTo>
                  <a:lnTo>
                    <a:pt x="228" y="232"/>
                  </a:lnTo>
                  <a:lnTo>
                    <a:pt x="237" y="234"/>
                  </a:lnTo>
                  <a:lnTo>
                    <a:pt x="241" y="228"/>
                  </a:lnTo>
                  <a:lnTo>
                    <a:pt x="245" y="222"/>
                  </a:lnTo>
                  <a:lnTo>
                    <a:pt x="251" y="215"/>
                  </a:lnTo>
                  <a:lnTo>
                    <a:pt x="256" y="203"/>
                  </a:lnTo>
                  <a:lnTo>
                    <a:pt x="254" y="196"/>
                  </a:lnTo>
                  <a:lnTo>
                    <a:pt x="260" y="192"/>
                  </a:lnTo>
                  <a:lnTo>
                    <a:pt x="268" y="185"/>
                  </a:lnTo>
                  <a:lnTo>
                    <a:pt x="275" y="183"/>
                  </a:lnTo>
                  <a:lnTo>
                    <a:pt x="286" y="175"/>
                  </a:lnTo>
                  <a:lnTo>
                    <a:pt x="294" y="177"/>
                  </a:lnTo>
                  <a:lnTo>
                    <a:pt x="300" y="179"/>
                  </a:lnTo>
                  <a:lnTo>
                    <a:pt x="307" y="185"/>
                  </a:lnTo>
                  <a:lnTo>
                    <a:pt x="315" y="200"/>
                  </a:lnTo>
                  <a:lnTo>
                    <a:pt x="324" y="228"/>
                  </a:lnTo>
                  <a:lnTo>
                    <a:pt x="328" y="237"/>
                  </a:lnTo>
                  <a:lnTo>
                    <a:pt x="332" y="252"/>
                  </a:lnTo>
                  <a:lnTo>
                    <a:pt x="337" y="266"/>
                  </a:lnTo>
                  <a:lnTo>
                    <a:pt x="339" y="275"/>
                  </a:lnTo>
                  <a:lnTo>
                    <a:pt x="347" y="286"/>
                  </a:lnTo>
                  <a:lnTo>
                    <a:pt x="347" y="286"/>
                  </a:lnTo>
                  <a:lnTo>
                    <a:pt x="347" y="292"/>
                  </a:lnTo>
                  <a:lnTo>
                    <a:pt x="345" y="294"/>
                  </a:lnTo>
                  <a:lnTo>
                    <a:pt x="345" y="309"/>
                  </a:lnTo>
                  <a:lnTo>
                    <a:pt x="347" y="315"/>
                  </a:lnTo>
                  <a:lnTo>
                    <a:pt x="345" y="330"/>
                  </a:lnTo>
                  <a:lnTo>
                    <a:pt x="341" y="339"/>
                  </a:lnTo>
                  <a:lnTo>
                    <a:pt x="337" y="341"/>
                  </a:lnTo>
                  <a:lnTo>
                    <a:pt x="337" y="339"/>
                  </a:lnTo>
                  <a:lnTo>
                    <a:pt x="334" y="330"/>
                  </a:lnTo>
                  <a:lnTo>
                    <a:pt x="332" y="326"/>
                  </a:lnTo>
                  <a:lnTo>
                    <a:pt x="324" y="330"/>
                  </a:lnTo>
                  <a:lnTo>
                    <a:pt x="324" y="337"/>
                  </a:lnTo>
                  <a:lnTo>
                    <a:pt x="317" y="343"/>
                  </a:lnTo>
                  <a:lnTo>
                    <a:pt x="320" y="358"/>
                  </a:lnTo>
                  <a:lnTo>
                    <a:pt x="313" y="367"/>
                  </a:lnTo>
                  <a:lnTo>
                    <a:pt x="305" y="371"/>
                  </a:lnTo>
                  <a:lnTo>
                    <a:pt x="305" y="373"/>
                  </a:lnTo>
                  <a:lnTo>
                    <a:pt x="303" y="377"/>
                  </a:lnTo>
                  <a:lnTo>
                    <a:pt x="300" y="384"/>
                  </a:lnTo>
                  <a:lnTo>
                    <a:pt x="298" y="405"/>
                  </a:lnTo>
                  <a:lnTo>
                    <a:pt x="288" y="426"/>
                  </a:lnTo>
                  <a:lnTo>
                    <a:pt x="281" y="441"/>
                  </a:lnTo>
                  <a:lnTo>
                    <a:pt x="247" y="447"/>
                  </a:lnTo>
                  <a:lnTo>
                    <a:pt x="173" y="460"/>
                  </a:lnTo>
                  <a:lnTo>
                    <a:pt x="164" y="454"/>
                  </a:lnTo>
                  <a:lnTo>
                    <a:pt x="47" y="469"/>
                  </a:lnTo>
                  <a:lnTo>
                    <a:pt x="7" y="473"/>
                  </a:lnTo>
                  <a:lnTo>
                    <a:pt x="2" y="473"/>
                  </a:lnTo>
                  <a:close/>
                </a:path>
              </a:pathLst>
            </a:custGeom>
            <a:solidFill>
              <a:srgbClr val="9BD4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075" name="Freeform 882"/>
          <p:cNvSpPr>
            <a:spLocks/>
          </p:cNvSpPr>
          <p:nvPr/>
        </p:nvSpPr>
        <p:spPr bwMode="auto">
          <a:xfrm>
            <a:off x="5588000" y="2198809"/>
            <a:ext cx="550863" cy="750888"/>
          </a:xfrm>
          <a:custGeom>
            <a:avLst/>
            <a:gdLst>
              <a:gd name="T0" fmla="*/ 13 w 347"/>
              <a:gd name="T1" fmla="*/ 464 h 473"/>
              <a:gd name="T2" fmla="*/ 28 w 347"/>
              <a:gd name="T3" fmla="*/ 428 h 473"/>
              <a:gd name="T4" fmla="*/ 41 w 347"/>
              <a:gd name="T5" fmla="*/ 379 h 473"/>
              <a:gd name="T6" fmla="*/ 28 w 347"/>
              <a:gd name="T7" fmla="*/ 307 h 473"/>
              <a:gd name="T8" fmla="*/ 4 w 347"/>
              <a:gd name="T9" fmla="*/ 264 h 473"/>
              <a:gd name="T10" fmla="*/ 11 w 347"/>
              <a:gd name="T11" fmla="*/ 243 h 473"/>
              <a:gd name="T12" fmla="*/ 2 w 347"/>
              <a:gd name="T13" fmla="*/ 207 h 473"/>
              <a:gd name="T14" fmla="*/ 17 w 347"/>
              <a:gd name="T15" fmla="*/ 171 h 473"/>
              <a:gd name="T16" fmla="*/ 13 w 347"/>
              <a:gd name="T17" fmla="*/ 136 h 473"/>
              <a:gd name="T18" fmla="*/ 26 w 347"/>
              <a:gd name="T19" fmla="*/ 117 h 473"/>
              <a:gd name="T20" fmla="*/ 47 w 347"/>
              <a:gd name="T21" fmla="*/ 100 h 473"/>
              <a:gd name="T22" fmla="*/ 56 w 347"/>
              <a:gd name="T23" fmla="*/ 79 h 473"/>
              <a:gd name="T24" fmla="*/ 60 w 347"/>
              <a:gd name="T25" fmla="*/ 98 h 473"/>
              <a:gd name="T26" fmla="*/ 60 w 347"/>
              <a:gd name="T27" fmla="*/ 119 h 473"/>
              <a:gd name="T28" fmla="*/ 70 w 347"/>
              <a:gd name="T29" fmla="*/ 98 h 473"/>
              <a:gd name="T30" fmla="*/ 75 w 347"/>
              <a:gd name="T31" fmla="*/ 113 h 473"/>
              <a:gd name="T32" fmla="*/ 79 w 347"/>
              <a:gd name="T33" fmla="*/ 90 h 473"/>
              <a:gd name="T34" fmla="*/ 87 w 347"/>
              <a:gd name="T35" fmla="*/ 56 h 473"/>
              <a:gd name="T36" fmla="*/ 102 w 347"/>
              <a:gd name="T37" fmla="*/ 45 h 473"/>
              <a:gd name="T38" fmla="*/ 92 w 347"/>
              <a:gd name="T39" fmla="*/ 26 h 473"/>
              <a:gd name="T40" fmla="*/ 111 w 347"/>
              <a:gd name="T41" fmla="*/ 7 h 473"/>
              <a:gd name="T42" fmla="*/ 132 w 347"/>
              <a:gd name="T43" fmla="*/ 7 h 473"/>
              <a:gd name="T44" fmla="*/ 151 w 347"/>
              <a:gd name="T45" fmla="*/ 11 h 473"/>
              <a:gd name="T46" fmla="*/ 171 w 347"/>
              <a:gd name="T47" fmla="*/ 24 h 473"/>
              <a:gd name="T48" fmla="*/ 192 w 347"/>
              <a:gd name="T49" fmla="*/ 30 h 473"/>
              <a:gd name="T50" fmla="*/ 222 w 347"/>
              <a:gd name="T51" fmla="*/ 39 h 473"/>
              <a:gd name="T52" fmla="*/ 237 w 347"/>
              <a:gd name="T53" fmla="*/ 56 h 473"/>
              <a:gd name="T54" fmla="*/ 234 w 347"/>
              <a:gd name="T55" fmla="*/ 68 h 473"/>
              <a:gd name="T56" fmla="*/ 243 w 347"/>
              <a:gd name="T57" fmla="*/ 88 h 473"/>
              <a:gd name="T58" fmla="*/ 249 w 347"/>
              <a:gd name="T59" fmla="*/ 124 h 473"/>
              <a:gd name="T60" fmla="*/ 239 w 347"/>
              <a:gd name="T61" fmla="*/ 158 h 473"/>
              <a:gd name="T62" fmla="*/ 228 w 347"/>
              <a:gd name="T63" fmla="*/ 192 h 473"/>
              <a:gd name="T64" fmla="*/ 211 w 347"/>
              <a:gd name="T65" fmla="*/ 213 h 473"/>
              <a:gd name="T66" fmla="*/ 228 w 347"/>
              <a:gd name="T67" fmla="*/ 232 h 473"/>
              <a:gd name="T68" fmla="*/ 245 w 347"/>
              <a:gd name="T69" fmla="*/ 222 h 473"/>
              <a:gd name="T70" fmla="*/ 254 w 347"/>
              <a:gd name="T71" fmla="*/ 196 h 473"/>
              <a:gd name="T72" fmla="*/ 275 w 347"/>
              <a:gd name="T73" fmla="*/ 183 h 473"/>
              <a:gd name="T74" fmla="*/ 300 w 347"/>
              <a:gd name="T75" fmla="*/ 179 h 473"/>
              <a:gd name="T76" fmla="*/ 324 w 347"/>
              <a:gd name="T77" fmla="*/ 228 h 473"/>
              <a:gd name="T78" fmla="*/ 337 w 347"/>
              <a:gd name="T79" fmla="*/ 266 h 473"/>
              <a:gd name="T80" fmla="*/ 347 w 347"/>
              <a:gd name="T81" fmla="*/ 286 h 473"/>
              <a:gd name="T82" fmla="*/ 345 w 347"/>
              <a:gd name="T83" fmla="*/ 309 h 473"/>
              <a:gd name="T84" fmla="*/ 341 w 347"/>
              <a:gd name="T85" fmla="*/ 339 h 473"/>
              <a:gd name="T86" fmla="*/ 334 w 347"/>
              <a:gd name="T87" fmla="*/ 330 h 473"/>
              <a:gd name="T88" fmla="*/ 324 w 347"/>
              <a:gd name="T89" fmla="*/ 337 h 473"/>
              <a:gd name="T90" fmla="*/ 313 w 347"/>
              <a:gd name="T91" fmla="*/ 367 h 473"/>
              <a:gd name="T92" fmla="*/ 303 w 347"/>
              <a:gd name="T93" fmla="*/ 377 h 473"/>
              <a:gd name="T94" fmla="*/ 288 w 347"/>
              <a:gd name="T95" fmla="*/ 426 h 473"/>
              <a:gd name="T96" fmla="*/ 173 w 347"/>
              <a:gd name="T97" fmla="*/ 460 h 473"/>
              <a:gd name="T98" fmla="*/ 7 w 347"/>
              <a:gd name="T99" fmla="*/ 473 h 4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47" h="473">
                <a:moveTo>
                  <a:pt x="2" y="473"/>
                </a:moveTo>
                <a:lnTo>
                  <a:pt x="4" y="471"/>
                </a:lnTo>
                <a:lnTo>
                  <a:pt x="13" y="464"/>
                </a:lnTo>
                <a:lnTo>
                  <a:pt x="17" y="456"/>
                </a:lnTo>
                <a:lnTo>
                  <a:pt x="21" y="450"/>
                </a:lnTo>
                <a:lnTo>
                  <a:pt x="28" y="428"/>
                </a:lnTo>
                <a:lnTo>
                  <a:pt x="34" y="413"/>
                </a:lnTo>
                <a:lnTo>
                  <a:pt x="36" y="405"/>
                </a:lnTo>
                <a:lnTo>
                  <a:pt x="41" y="379"/>
                </a:lnTo>
                <a:lnTo>
                  <a:pt x="41" y="358"/>
                </a:lnTo>
                <a:lnTo>
                  <a:pt x="36" y="328"/>
                </a:lnTo>
                <a:lnTo>
                  <a:pt x="28" y="307"/>
                </a:lnTo>
                <a:lnTo>
                  <a:pt x="32" y="300"/>
                </a:lnTo>
                <a:lnTo>
                  <a:pt x="26" y="303"/>
                </a:lnTo>
                <a:lnTo>
                  <a:pt x="4" y="264"/>
                </a:lnTo>
                <a:lnTo>
                  <a:pt x="2" y="258"/>
                </a:lnTo>
                <a:lnTo>
                  <a:pt x="7" y="252"/>
                </a:lnTo>
                <a:lnTo>
                  <a:pt x="11" y="243"/>
                </a:lnTo>
                <a:lnTo>
                  <a:pt x="4" y="222"/>
                </a:lnTo>
                <a:lnTo>
                  <a:pt x="0" y="215"/>
                </a:lnTo>
                <a:lnTo>
                  <a:pt x="2" y="207"/>
                </a:lnTo>
                <a:lnTo>
                  <a:pt x="9" y="200"/>
                </a:lnTo>
                <a:lnTo>
                  <a:pt x="17" y="179"/>
                </a:lnTo>
                <a:lnTo>
                  <a:pt x="17" y="171"/>
                </a:lnTo>
                <a:lnTo>
                  <a:pt x="15" y="164"/>
                </a:lnTo>
                <a:lnTo>
                  <a:pt x="17" y="151"/>
                </a:lnTo>
                <a:lnTo>
                  <a:pt x="13" y="136"/>
                </a:lnTo>
                <a:lnTo>
                  <a:pt x="19" y="132"/>
                </a:lnTo>
                <a:lnTo>
                  <a:pt x="26" y="126"/>
                </a:lnTo>
                <a:lnTo>
                  <a:pt x="26" y="117"/>
                </a:lnTo>
                <a:lnTo>
                  <a:pt x="34" y="105"/>
                </a:lnTo>
                <a:lnTo>
                  <a:pt x="41" y="107"/>
                </a:lnTo>
                <a:lnTo>
                  <a:pt x="47" y="100"/>
                </a:lnTo>
                <a:lnTo>
                  <a:pt x="49" y="94"/>
                </a:lnTo>
                <a:lnTo>
                  <a:pt x="53" y="85"/>
                </a:lnTo>
                <a:lnTo>
                  <a:pt x="56" y="79"/>
                </a:lnTo>
                <a:lnTo>
                  <a:pt x="62" y="73"/>
                </a:lnTo>
                <a:lnTo>
                  <a:pt x="60" y="94"/>
                </a:lnTo>
                <a:lnTo>
                  <a:pt x="60" y="98"/>
                </a:lnTo>
                <a:lnTo>
                  <a:pt x="62" y="107"/>
                </a:lnTo>
                <a:lnTo>
                  <a:pt x="60" y="113"/>
                </a:lnTo>
                <a:lnTo>
                  <a:pt x="60" y="119"/>
                </a:lnTo>
                <a:lnTo>
                  <a:pt x="66" y="113"/>
                </a:lnTo>
                <a:lnTo>
                  <a:pt x="68" y="98"/>
                </a:lnTo>
                <a:lnTo>
                  <a:pt x="70" y="98"/>
                </a:lnTo>
                <a:lnTo>
                  <a:pt x="70" y="113"/>
                </a:lnTo>
                <a:lnTo>
                  <a:pt x="68" y="119"/>
                </a:lnTo>
                <a:lnTo>
                  <a:pt x="75" y="113"/>
                </a:lnTo>
                <a:lnTo>
                  <a:pt x="77" y="105"/>
                </a:lnTo>
                <a:lnTo>
                  <a:pt x="79" y="98"/>
                </a:lnTo>
                <a:lnTo>
                  <a:pt x="79" y="90"/>
                </a:lnTo>
                <a:lnTo>
                  <a:pt x="75" y="68"/>
                </a:lnTo>
                <a:lnTo>
                  <a:pt x="79" y="60"/>
                </a:lnTo>
                <a:lnTo>
                  <a:pt x="87" y="56"/>
                </a:lnTo>
                <a:lnTo>
                  <a:pt x="94" y="51"/>
                </a:lnTo>
                <a:lnTo>
                  <a:pt x="105" y="51"/>
                </a:lnTo>
                <a:lnTo>
                  <a:pt x="102" y="45"/>
                </a:lnTo>
                <a:lnTo>
                  <a:pt x="96" y="41"/>
                </a:lnTo>
                <a:lnTo>
                  <a:pt x="92" y="32"/>
                </a:lnTo>
                <a:lnTo>
                  <a:pt x="92" y="26"/>
                </a:lnTo>
                <a:lnTo>
                  <a:pt x="100" y="17"/>
                </a:lnTo>
                <a:lnTo>
                  <a:pt x="105" y="11"/>
                </a:lnTo>
                <a:lnTo>
                  <a:pt x="111" y="7"/>
                </a:lnTo>
                <a:lnTo>
                  <a:pt x="117" y="0"/>
                </a:lnTo>
                <a:lnTo>
                  <a:pt x="124" y="4"/>
                </a:lnTo>
                <a:lnTo>
                  <a:pt x="132" y="7"/>
                </a:lnTo>
                <a:lnTo>
                  <a:pt x="139" y="13"/>
                </a:lnTo>
                <a:lnTo>
                  <a:pt x="145" y="13"/>
                </a:lnTo>
                <a:lnTo>
                  <a:pt x="151" y="11"/>
                </a:lnTo>
                <a:lnTo>
                  <a:pt x="158" y="13"/>
                </a:lnTo>
                <a:lnTo>
                  <a:pt x="166" y="17"/>
                </a:lnTo>
                <a:lnTo>
                  <a:pt x="171" y="24"/>
                </a:lnTo>
                <a:lnTo>
                  <a:pt x="177" y="26"/>
                </a:lnTo>
                <a:lnTo>
                  <a:pt x="183" y="26"/>
                </a:lnTo>
                <a:lnTo>
                  <a:pt x="192" y="30"/>
                </a:lnTo>
                <a:lnTo>
                  <a:pt x="207" y="34"/>
                </a:lnTo>
                <a:lnTo>
                  <a:pt x="213" y="39"/>
                </a:lnTo>
                <a:lnTo>
                  <a:pt x="222" y="39"/>
                </a:lnTo>
                <a:lnTo>
                  <a:pt x="228" y="43"/>
                </a:lnTo>
                <a:lnTo>
                  <a:pt x="230" y="49"/>
                </a:lnTo>
                <a:lnTo>
                  <a:pt x="237" y="56"/>
                </a:lnTo>
                <a:lnTo>
                  <a:pt x="241" y="60"/>
                </a:lnTo>
                <a:lnTo>
                  <a:pt x="241" y="66"/>
                </a:lnTo>
                <a:lnTo>
                  <a:pt x="234" y="68"/>
                </a:lnTo>
                <a:lnTo>
                  <a:pt x="230" y="77"/>
                </a:lnTo>
                <a:lnTo>
                  <a:pt x="234" y="83"/>
                </a:lnTo>
                <a:lnTo>
                  <a:pt x="243" y="88"/>
                </a:lnTo>
                <a:lnTo>
                  <a:pt x="245" y="96"/>
                </a:lnTo>
                <a:lnTo>
                  <a:pt x="249" y="109"/>
                </a:lnTo>
                <a:lnTo>
                  <a:pt x="249" y="124"/>
                </a:lnTo>
                <a:lnTo>
                  <a:pt x="251" y="147"/>
                </a:lnTo>
                <a:lnTo>
                  <a:pt x="245" y="154"/>
                </a:lnTo>
                <a:lnTo>
                  <a:pt x="239" y="158"/>
                </a:lnTo>
                <a:lnTo>
                  <a:pt x="237" y="164"/>
                </a:lnTo>
                <a:lnTo>
                  <a:pt x="234" y="179"/>
                </a:lnTo>
                <a:lnTo>
                  <a:pt x="228" y="192"/>
                </a:lnTo>
                <a:lnTo>
                  <a:pt x="220" y="192"/>
                </a:lnTo>
                <a:lnTo>
                  <a:pt x="213" y="198"/>
                </a:lnTo>
                <a:lnTo>
                  <a:pt x="211" y="213"/>
                </a:lnTo>
                <a:lnTo>
                  <a:pt x="211" y="224"/>
                </a:lnTo>
                <a:lnTo>
                  <a:pt x="222" y="232"/>
                </a:lnTo>
                <a:lnTo>
                  <a:pt x="228" y="232"/>
                </a:lnTo>
                <a:lnTo>
                  <a:pt x="237" y="234"/>
                </a:lnTo>
                <a:lnTo>
                  <a:pt x="241" y="228"/>
                </a:lnTo>
                <a:lnTo>
                  <a:pt x="245" y="222"/>
                </a:lnTo>
                <a:lnTo>
                  <a:pt x="251" y="215"/>
                </a:lnTo>
                <a:lnTo>
                  <a:pt x="256" y="203"/>
                </a:lnTo>
                <a:lnTo>
                  <a:pt x="254" y="196"/>
                </a:lnTo>
                <a:lnTo>
                  <a:pt x="260" y="192"/>
                </a:lnTo>
                <a:lnTo>
                  <a:pt x="268" y="185"/>
                </a:lnTo>
                <a:lnTo>
                  <a:pt x="275" y="183"/>
                </a:lnTo>
                <a:lnTo>
                  <a:pt x="286" y="175"/>
                </a:lnTo>
                <a:lnTo>
                  <a:pt x="294" y="177"/>
                </a:lnTo>
                <a:lnTo>
                  <a:pt x="300" y="179"/>
                </a:lnTo>
                <a:lnTo>
                  <a:pt x="307" y="185"/>
                </a:lnTo>
                <a:lnTo>
                  <a:pt x="315" y="200"/>
                </a:lnTo>
                <a:lnTo>
                  <a:pt x="324" y="228"/>
                </a:lnTo>
                <a:lnTo>
                  <a:pt x="328" y="237"/>
                </a:lnTo>
                <a:lnTo>
                  <a:pt x="332" y="252"/>
                </a:lnTo>
                <a:lnTo>
                  <a:pt x="337" y="266"/>
                </a:lnTo>
                <a:lnTo>
                  <a:pt x="339" y="275"/>
                </a:lnTo>
                <a:lnTo>
                  <a:pt x="347" y="286"/>
                </a:lnTo>
                <a:lnTo>
                  <a:pt x="347" y="286"/>
                </a:lnTo>
                <a:lnTo>
                  <a:pt x="347" y="292"/>
                </a:lnTo>
                <a:lnTo>
                  <a:pt x="345" y="294"/>
                </a:lnTo>
                <a:lnTo>
                  <a:pt x="345" y="309"/>
                </a:lnTo>
                <a:lnTo>
                  <a:pt x="347" y="315"/>
                </a:lnTo>
                <a:lnTo>
                  <a:pt x="345" y="330"/>
                </a:lnTo>
                <a:lnTo>
                  <a:pt x="341" y="339"/>
                </a:lnTo>
                <a:lnTo>
                  <a:pt x="337" y="341"/>
                </a:lnTo>
                <a:lnTo>
                  <a:pt x="337" y="339"/>
                </a:lnTo>
                <a:lnTo>
                  <a:pt x="334" y="330"/>
                </a:lnTo>
                <a:lnTo>
                  <a:pt x="332" y="326"/>
                </a:lnTo>
                <a:lnTo>
                  <a:pt x="324" y="330"/>
                </a:lnTo>
                <a:lnTo>
                  <a:pt x="324" y="337"/>
                </a:lnTo>
                <a:lnTo>
                  <a:pt x="317" y="343"/>
                </a:lnTo>
                <a:lnTo>
                  <a:pt x="320" y="358"/>
                </a:lnTo>
                <a:lnTo>
                  <a:pt x="313" y="367"/>
                </a:lnTo>
                <a:lnTo>
                  <a:pt x="305" y="371"/>
                </a:lnTo>
                <a:lnTo>
                  <a:pt x="305" y="373"/>
                </a:lnTo>
                <a:lnTo>
                  <a:pt x="303" y="377"/>
                </a:lnTo>
                <a:lnTo>
                  <a:pt x="300" y="384"/>
                </a:lnTo>
                <a:lnTo>
                  <a:pt x="298" y="405"/>
                </a:lnTo>
                <a:lnTo>
                  <a:pt x="288" y="426"/>
                </a:lnTo>
                <a:lnTo>
                  <a:pt x="281" y="441"/>
                </a:lnTo>
                <a:lnTo>
                  <a:pt x="247" y="447"/>
                </a:lnTo>
                <a:lnTo>
                  <a:pt x="173" y="460"/>
                </a:lnTo>
                <a:lnTo>
                  <a:pt x="164" y="454"/>
                </a:lnTo>
                <a:lnTo>
                  <a:pt x="47" y="469"/>
                </a:lnTo>
                <a:lnTo>
                  <a:pt x="7" y="473"/>
                </a:lnTo>
                <a:lnTo>
                  <a:pt x="2" y="47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6" name="Freeform 883"/>
          <p:cNvSpPr>
            <a:spLocks/>
          </p:cNvSpPr>
          <p:nvPr/>
        </p:nvSpPr>
        <p:spPr bwMode="auto">
          <a:xfrm>
            <a:off x="5800725" y="2070221"/>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7" name="Freeform 884"/>
          <p:cNvSpPr>
            <a:spLocks/>
          </p:cNvSpPr>
          <p:nvPr/>
        </p:nvSpPr>
        <p:spPr bwMode="auto">
          <a:xfrm>
            <a:off x="5800725" y="2070221"/>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78" name="Freeform 885"/>
          <p:cNvSpPr>
            <a:spLocks/>
          </p:cNvSpPr>
          <p:nvPr/>
        </p:nvSpPr>
        <p:spPr bwMode="auto">
          <a:xfrm>
            <a:off x="5800725" y="2070221"/>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79" name="Freeform 886"/>
          <p:cNvSpPr>
            <a:spLocks/>
          </p:cNvSpPr>
          <p:nvPr/>
        </p:nvSpPr>
        <p:spPr bwMode="auto">
          <a:xfrm>
            <a:off x="5800725" y="2070221"/>
            <a:ext cx="7938" cy="0"/>
          </a:xfrm>
          <a:custGeom>
            <a:avLst/>
            <a:gdLst>
              <a:gd name="T0" fmla="*/ 0 w 5"/>
              <a:gd name="T1" fmla="*/ 2 w 5"/>
              <a:gd name="T2" fmla="*/ 5 w 5"/>
              <a:gd name="T3" fmla="*/ 0 w 5"/>
            </a:gdLst>
            <a:ahLst/>
            <a:cxnLst>
              <a:cxn ang="0">
                <a:pos x="T0" y="0"/>
              </a:cxn>
              <a:cxn ang="0">
                <a:pos x="T1" y="0"/>
              </a:cxn>
              <a:cxn ang="0">
                <a:pos x="T2" y="0"/>
              </a:cxn>
              <a:cxn ang="0">
                <a:pos x="T3" y="0"/>
              </a:cxn>
            </a:cxnLst>
            <a:rect l="0" t="0" r="r" b="b"/>
            <a:pathLst>
              <a:path w="5">
                <a:moveTo>
                  <a:pt x="0" y="0"/>
                </a:moveTo>
                <a:lnTo>
                  <a:pt x="2" y="0"/>
                </a:lnTo>
                <a:lnTo>
                  <a:pt x="5" y="0"/>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0" name="Freeform 887"/>
          <p:cNvSpPr>
            <a:spLocks/>
          </p:cNvSpPr>
          <p:nvPr/>
        </p:nvSpPr>
        <p:spPr bwMode="auto">
          <a:xfrm>
            <a:off x="5672138" y="2219446"/>
            <a:ext cx="11113" cy="30163"/>
          </a:xfrm>
          <a:custGeom>
            <a:avLst/>
            <a:gdLst>
              <a:gd name="T0" fmla="*/ 7 w 7"/>
              <a:gd name="T1" fmla="*/ 2 h 19"/>
              <a:gd name="T2" fmla="*/ 7 w 7"/>
              <a:gd name="T3" fmla="*/ 17 h 19"/>
              <a:gd name="T4" fmla="*/ 0 w 7"/>
              <a:gd name="T5" fmla="*/ 19 h 19"/>
              <a:gd name="T6" fmla="*/ 0 w 7"/>
              <a:gd name="T7" fmla="*/ 11 h 19"/>
              <a:gd name="T8" fmla="*/ 3 w 7"/>
              <a:gd name="T9" fmla="*/ 4 h 19"/>
              <a:gd name="T10" fmla="*/ 7 w 7"/>
              <a:gd name="T11" fmla="*/ 0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17"/>
                </a:lnTo>
                <a:lnTo>
                  <a:pt x="0" y="19"/>
                </a:lnTo>
                <a:lnTo>
                  <a:pt x="0" y="11"/>
                </a:lnTo>
                <a:lnTo>
                  <a:pt x="3" y="4"/>
                </a:lnTo>
                <a:lnTo>
                  <a:pt x="7" y="0"/>
                </a:lnTo>
                <a:lnTo>
                  <a:pt x="7"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1" name="Freeform 888"/>
          <p:cNvSpPr>
            <a:spLocks/>
          </p:cNvSpPr>
          <p:nvPr/>
        </p:nvSpPr>
        <p:spPr bwMode="auto">
          <a:xfrm>
            <a:off x="5672138" y="2219446"/>
            <a:ext cx="11113" cy="30163"/>
          </a:xfrm>
          <a:custGeom>
            <a:avLst/>
            <a:gdLst>
              <a:gd name="T0" fmla="*/ 7 w 7"/>
              <a:gd name="T1" fmla="*/ 2 h 19"/>
              <a:gd name="T2" fmla="*/ 7 w 7"/>
              <a:gd name="T3" fmla="*/ 17 h 19"/>
              <a:gd name="T4" fmla="*/ 0 w 7"/>
              <a:gd name="T5" fmla="*/ 19 h 19"/>
              <a:gd name="T6" fmla="*/ 0 w 7"/>
              <a:gd name="T7" fmla="*/ 11 h 19"/>
              <a:gd name="T8" fmla="*/ 3 w 7"/>
              <a:gd name="T9" fmla="*/ 4 h 19"/>
              <a:gd name="T10" fmla="*/ 7 w 7"/>
              <a:gd name="T11" fmla="*/ 0 h 19"/>
              <a:gd name="T12" fmla="*/ 7 w 7"/>
              <a:gd name="T13" fmla="*/ 2 h 19"/>
            </a:gdLst>
            <a:ahLst/>
            <a:cxnLst>
              <a:cxn ang="0">
                <a:pos x="T0" y="T1"/>
              </a:cxn>
              <a:cxn ang="0">
                <a:pos x="T2" y="T3"/>
              </a:cxn>
              <a:cxn ang="0">
                <a:pos x="T4" y="T5"/>
              </a:cxn>
              <a:cxn ang="0">
                <a:pos x="T6" y="T7"/>
              </a:cxn>
              <a:cxn ang="0">
                <a:pos x="T8" y="T9"/>
              </a:cxn>
              <a:cxn ang="0">
                <a:pos x="T10" y="T11"/>
              </a:cxn>
              <a:cxn ang="0">
                <a:pos x="T12" y="T13"/>
              </a:cxn>
            </a:cxnLst>
            <a:rect l="0" t="0" r="r" b="b"/>
            <a:pathLst>
              <a:path w="7" h="19">
                <a:moveTo>
                  <a:pt x="7" y="2"/>
                </a:moveTo>
                <a:lnTo>
                  <a:pt x="7" y="17"/>
                </a:lnTo>
                <a:lnTo>
                  <a:pt x="0" y="19"/>
                </a:lnTo>
                <a:lnTo>
                  <a:pt x="0" y="11"/>
                </a:lnTo>
                <a:lnTo>
                  <a:pt x="3" y="4"/>
                </a:lnTo>
                <a:lnTo>
                  <a:pt x="7" y="0"/>
                </a:lnTo>
                <a:lnTo>
                  <a:pt x="7"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2" name="Freeform 889"/>
          <p:cNvSpPr>
            <a:spLocks/>
          </p:cNvSpPr>
          <p:nvPr/>
        </p:nvSpPr>
        <p:spPr bwMode="auto">
          <a:xfrm>
            <a:off x="5875338" y="2127371"/>
            <a:ext cx="47625" cy="34925"/>
          </a:xfrm>
          <a:custGeom>
            <a:avLst/>
            <a:gdLst>
              <a:gd name="T0" fmla="*/ 19 w 30"/>
              <a:gd name="T1" fmla="*/ 0 h 22"/>
              <a:gd name="T2" fmla="*/ 28 w 30"/>
              <a:gd name="T3" fmla="*/ 7 h 22"/>
              <a:gd name="T4" fmla="*/ 30 w 30"/>
              <a:gd name="T5" fmla="*/ 15 h 22"/>
              <a:gd name="T6" fmla="*/ 24 w 30"/>
              <a:gd name="T7" fmla="*/ 20 h 22"/>
              <a:gd name="T8" fmla="*/ 9 w 30"/>
              <a:gd name="T9" fmla="*/ 22 h 22"/>
              <a:gd name="T10" fmla="*/ 9 w 30"/>
              <a:gd name="T11" fmla="*/ 20 h 22"/>
              <a:gd name="T12" fmla="*/ 0 w 30"/>
              <a:gd name="T13" fmla="*/ 15 h 22"/>
              <a:gd name="T14" fmla="*/ 9 w 30"/>
              <a:gd name="T15" fmla="*/ 13 h 22"/>
              <a:gd name="T16" fmla="*/ 15 w 30"/>
              <a:gd name="T17" fmla="*/ 9 h 22"/>
              <a:gd name="T18" fmla="*/ 13 w 30"/>
              <a:gd name="T19" fmla="*/ 0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28" y="7"/>
                </a:lnTo>
                <a:lnTo>
                  <a:pt x="30" y="15"/>
                </a:lnTo>
                <a:lnTo>
                  <a:pt x="24" y="20"/>
                </a:lnTo>
                <a:lnTo>
                  <a:pt x="9" y="22"/>
                </a:lnTo>
                <a:lnTo>
                  <a:pt x="9" y="20"/>
                </a:lnTo>
                <a:lnTo>
                  <a:pt x="0" y="15"/>
                </a:lnTo>
                <a:lnTo>
                  <a:pt x="9" y="13"/>
                </a:lnTo>
                <a:lnTo>
                  <a:pt x="15" y="9"/>
                </a:lnTo>
                <a:lnTo>
                  <a:pt x="13" y="0"/>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3" name="Freeform 890"/>
          <p:cNvSpPr>
            <a:spLocks/>
          </p:cNvSpPr>
          <p:nvPr/>
        </p:nvSpPr>
        <p:spPr bwMode="auto">
          <a:xfrm>
            <a:off x="5875338" y="2127371"/>
            <a:ext cx="47625" cy="34925"/>
          </a:xfrm>
          <a:custGeom>
            <a:avLst/>
            <a:gdLst>
              <a:gd name="T0" fmla="*/ 19 w 30"/>
              <a:gd name="T1" fmla="*/ 0 h 22"/>
              <a:gd name="T2" fmla="*/ 28 w 30"/>
              <a:gd name="T3" fmla="*/ 7 h 22"/>
              <a:gd name="T4" fmla="*/ 30 w 30"/>
              <a:gd name="T5" fmla="*/ 15 h 22"/>
              <a:gd name="T6" fmla="*/ 24 w 30"/>
              <a:gd name="T7" fmla="*/ 20 h 22"/>
              <a:gd name="T8" fmla="*/ 9 w 30"/>
              <a:gd name="T9" fmla="*/ 22 h 22"/>
              <a:gd name="T10" fmla="*/ 9 w 30"/>
              <a:gd name="T11" fmla="*/ 20 h 22"/>
              <a:gd name="T12" fmla="*/ 0 w 30"/>
              <a:gd name="T13" fmla="*/ 15 h 22"/>
              <a:gd name="T14" fmla="*/ 9 w 30"/>
              <a:gd name="T15" fmla="*/ 13 h 22"/>
              <a:gd name="T16" fmla="*/ 15 w 30"/>
              <a:gd name="T17" fmla="*/ 9 h 22"/>
              <a:gd name="T18" fmla="*/ 13 w 30"/>
              <a:gd name="T19" fmla="*/ 0 h 22"/>
              <a:gd name="T20" fmla="*/ 19 w 30"/>
              <a:gd name="T21"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22">
                <a:moveTo>
                  <a:pt x="19" y="0"/>
                </a:moveTo>
                <a:lnTo>
                  <a:pt x="28" y="7"/>
                </a:lnTo>
                <a:lnTo>
                  <a:pt x="30" y="15"/>
                </a:lnTo>
                <a:lnTo>
                  <a:pt x="24" y="20"/>
                </a:lnTo>
                <a:lnTo>
                  <a:pt x="9" y="22"/>
                </a:lnTo>
                <a:lnTo>
                  <a:pt x="9" y="20"/>
                </a:lnTo>
                <a:lnTo>
                  <a:pt x="0" y="15"/>
                </a:lnTo>
                <a:lnTo>
                  <a:pt x="9" y="13"/>
                </a:lnTo>
                <a:lnTo>
                  <a:pt x="15" y="9"/>
                </a:lnTo>
                <a:lnTo>
                  <a:pt x="13" y="0"/>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4" name="Freeform 891"/>
          <p:cNvSpPr>
            <a:spLocks/>
          </p:cNvSpPr>
          <p:nvPr/>
        </p:nvSpPr>
        <p:spPr bwMode="auto">
          <a:xfrm>
            <a:off x="6091238" y="5056309"/>
            <a:ext cx="58738" cy="36513"/>
          </a:xfrm>
          <a:custGeom>
            <a:avLst/>
            <a:gdLst>
              <a:gd name="T0" fmla="*/ 0 w 37"/>
              <a:gd name="T1" fmla="*/ 19 h 23"/>
              <a:gd name="T2" fmla="*/ 7 w 37"/>
              <a:gd name="T3" fmla="*/ 21 h 23"/>
              <a:gd name="T4" fmla="*/ 13 w 37"/>
              <a:gd name="T5" fmla="*/ 17 h 23"/>
              <a:gd name="T6" fmla="*/ 22 w 37"/>
              <a:gd name="T7" fmla="*/ 11 h 23"/>
              <a:gd name="T8" fmla="*/ 28 w 37"/>
              <a:gd name="T9" fmla="*/ 8 h 23"/>
              <a:gd name="T10" fmla="*/ 28 w 37"/>
              <a:gd name="T11" fmla="*/ 6 h 23"/>
              <a:gd name="T12" fmla="*/ 37 w 37"/>
              <a:gd name="T13" fmla="*/ 0 h 23"/>
              <a:gd name="T14" fmla="*/ 30 w 37"/>
              <a:gd name="T15" fmla="*/ 6 h 23"/>
              <a:gd name="T16" fmla="*/ 15 w 37"/>
              <a:gd name="T17" fmla="*/ 17 h 23"/>
              <a:gd name="T18" fmla="*/ 13 w 37"/>
              <a:gd name="T19" fmla="*/ 19 h 23"/>
              <a:gd name="T20" fmla="*/ 5 w 37"/>
              <a:gd name="T21" fmla="*/ 23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7" y="21"/>
                </a:lnTo>
                <a:lnTo>
                  <a:pt x="13" y="17"/>
                </a:lnTo>
                <a:lnTo>
                  <a:pt x="22" y="11"/>
                </a:lnTo>
                <a:lnTo>
                  <a:pt x="28" y="8"/>
                </a:lnTo>
                <a:lnTo>
                  <a:pt x="28" y="6"/>
                </a:lnTo>
                <a:lnTo>
                  <a:pt x="37" y="0"/>
                </a:lnTo>
                <a:lnTo>
                  <a:pt x="30" y="6"/>
                </a:lnTo>
                <a:lnTo>
                  <a:pt x="15" y="17"/>
                </a:lnTo>
                <a:lnTo>
                  <a:pt x="13" y="19"/>
                </a:lnTo>
                <a:lnTo>
                  <a:pt x="5" y="23"/>
                </a:lnTo>
                <a:lnTo>
                  <a:pt x="0" y="19"/>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5" name="Freeform 892"/>
          <p:cNvSpPr>
            <a:spLocks/>
          </p:cNvSpPr>
          <p:nvPr/>
        </p:nvSpPr>
        <p:spPr bwMode="auto">
          <a:xfrm>
            <a:off x="6091238" y="5056309"/>
            <a:ext cx="58738" cy="36513"/>
          </a:xfrm>
          <a:custGeom>
            <a:avLst/>
            <a:gdLst>
              <a:gd name="T0" fmla="*/ 0 w 37"/>
              <a:gd name="T1" fmla="*/ 19 h 23"/>
              <a:gd name="T2" fmla="*/ 7 w 37"/>
              <a:gd name="T3" fmla="*/ 21 h 23"/>
              <a:gd name="T4" fmla="*/ 13 w 37"/>
              <a:gd name="T5" fmla="*/ 17 h 23"/>
              <a:gd name="T6" fmla="*/ 22 w 37"/>
              <a:gd name="T7" fmla="*/ 11 h 23"/>
              <a:gd name="T8" fmla="*/ 28 w 37"/>
              <a:gd name="T9" fmla="*/ 8 h 23"/>
              <a:gd name="T10" fmla="*/ 28 w 37"/>
              <a:gd name="T11" fmla="*/ 6 h 23"/>
              <a:gd name="T12" fmla="*/ 37 w 37"/>
              <a:gd name="T13" fmla="*/ 0 h 23"/>
              <a:gd name="T14" fmla="*/ 30 w 37"/>
              <a:gd name="T15" fmla="*/ 6 h 23"/>
              <a:gd name="T16" fmla="*/ 15 w 37"/>
              <a:gd name="T17" fmla="*/ 17 h 23"/>
              <a:gd name="T18" fmla="*/ 13 w 37"/>
              <a:gd name="T19" fmla="*/ 19 h 23"/>
              <a:gd name="T20" fmla="*/ 5 w 37"/>
              <a:gd name="T21" fmla="*/ 23 h 23"/>
              <a:gd name="T22" fmla="*/ 0 w 37"/>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3">
                <a:moveTo>
                  <a:pt x="0" y="19"/>
                </a:moveTo>
                <a:lnTo>
                  <a:pt x="7" y="21"/>
                </a:lnTo>
                <a:lnTo>
                  <a:pt x="13" y="17"/>
                </a:lnTo>
                <a:lnTo>
                  <a:pt x="22" y="11"/>
                </a:lnTo>
                <a:lnTo>
                  <a:pt x="28" y="8"/>
                </a:lnTo>
                <a:lnTo>
                  <a:pt x="28" y="6"/>
                </a:lnTo>
                <a:lnTo>
                  <a:pt x="37" y="0"/>
                </a:lnTo>
                <a:lnTo>
                  <a:pt x="30" y="6"/>
                </a:lnTo>
                <a:lnTo>
                  <a:pt x="15" y="17"/>
                </a:lnTo>
                <a:lnTo>
                  <a:pt x="13" y="19"/>
                </a:lnTo>
                <a:lnTo>
                  <a:pt x="5" y="23"/>
                </a:lnTo>
                <a:lnTo>
                  <a:pt x="0" y="19"/>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6" name="Freeform 893"/>
          <p:cNvSpPr>
            <a:spLocks/>
          </p:cNvSpPr>
          <p:nvPr/>
        </p:nvSpPr>
        <p:spPr bwMode="auto">
          <a:xfrm>
            <a:off x="7326313" y="3021134"/>
            <a:ext cx="9525" cy="33338"/>
          </a:xfrm>
          <a:custGeom>
            <a:avLst/>
            <a:gdLst>
              <a:gd name="T0" fmla="*/ 0 w 6"/>
              <a:gd name="T1" fmla="*/ 21 h 21"/>
              <a:gd name="T2" fmla="*/ 6 w 6"/>
              <a:gd name="T3" fmla="*/ 0 h 21"/>
              <a:gd name="T4" fmla="*/ 6 w 6"/>
              <a:gd name="T5" fmla="*/ 6 h 21"/>
              <a:gd name="T6" fmla="*/ 0 w 6"/>
              <a:gd name="T7" fmla="*/ 21 h 21"/>
            </a:gdLst>
            <a:ahLst/>
            <a:cxnLst>
              <a:cxn ang="0">
                <a:pos x="T0" y="T1"/>
              </a:cxn>
              <a:cxn ang="0">
                <a:pos x="T2" y="T3"/>
              </a:cxn>
              <a:cxn ang="0">
                <a:pos x="T4" y="T5"/>
              </a:cxn>
              <a:cxn ang="0">
                <a:pos x="T6" y="T7"/>
              </a:cxn>
            </a:cxnLst>
            <a:rect l="0" t="0" r="r" b="b"/>
            <a:pathLst>
              <a:path w="6" h="21">
                <a:moveTo>
                  <a:pt x="0" y="21"/>
                </a:moveTo>
                <a:lnTo>
                  <a:pt x="6" y="0"/>
                </a:lnTo>
                <a:lnTo>
                  <a:pt x="6" y="6"/>
                </a:lnTo>
                <a:lnTo>
                  <a:pt x="0" y="21"/>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7" name="Freeform 894"/>
          <p:cNvSpPr>
            <a:spLocks/>
          </p:cNvSpPr>
          <p:nvPr/>
        </p:nvSpPr>
        <p:spPr bwMode="auto">
          <a:xfrm>
            <a:off x="7326313" y="3021134"/>
            <a:ext cx="9525" cy="33338"/>
          </a:xfrm>
          <a:custGeom>
            <a:avLst/>
            <a:gdLst>
              <a:gd name="T0" fmla="*/ 0 w 6"/>
              <a:gd name="T1" fmla="*/ 21 h 21"/>
              <a:gd name="T2" fmla="*/ 6 w 6"/>
              <a:gd name="T3" fmla="*/ 0 h 21"/>
              <a:gd name="T4" fmla="*/ 6 w 6"/>
              <a:gd name="T5" fmla="*/ 6 h 21"/>
              <a:gd name="T6" fmla="*/ 0 w 6"/>
              <a:gd name="T7" fmla="*/ 21 h 21"/>
            </a:gdLst>
            <a:ahLst/>
            <a:cxnLst>
              <a:cxn ang="0">
                <a:pos x="T0" y="T1"/>
              </a:cxn>
              <a:cxn ang="0">
                <a:pos x="T2" y="T3"/>
              </a:cxn>
              <a:cxn ang="0">
                <a:pos x="T4" y="T5"/>
              </a:cxn>
              <a:cxn ang="0">
                <a:pos x="T6" y="T7"/>
              </a:cxn>
            </a:cxnLst>
            <a:rect l="0" t="0" r="r" b="b"/>
            <a:pathLst>
              <a:path w="6" h="21">
                <a:moveTo>
                  <a:pt x="0" y="21"/>
                </a:moveTo>
                <a:lnTo>
                  <a:pt x="6" y="0"/>
                </a:lnTo>
                <a:lnTo>
                  <a:pt x="6" y="6"/>
                </a:lnTo>
                <a:lnTo>
                  <a:pt x="0" y="21"/>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88" name="Freeform 895"/>
          <p:cNvSpPr>
            <a:spLocks/>
          </p:cNvSpPr>
          <p:nvPr/>
        </p:nvSpPr>
        <p:spPr bwMode="auto">
          <a:xfrm>
            <a:off x="7065963" y="4035546"/>
            <a:ext cx="30163" cy="30163"/>
          </a:xfrm>
          <a:custGeom>
            <a:avLst/>
            <a:gdLst>
              <a:gd name="T0" fmla="*/ 19 w 19"/>
              <a:gd name="T1" fmla="*/ 0 h 19"/>
              <a:gd name="T2" fmla="*/ 17 w 19"/>
              <a:gd name="T3" fmla="*/ 0 h 19"/>
              <a:gd name="T4" fmla="*/ 10 w 19"/>
              <a:gd name="T5" fmla="*/ 4 h 19"/>
              <a:gd name="T6" fmla="*/ 2 w 19"/>
              <a:gd name="T7" fmla="*/ 12 h 19"/>
              <a:gd name="T8" fmla="*/ 0 w 19"/>
              <a:gd name="T9" fmla="*/ 19 h 19"/>
              <a:gd name="T10" fmla="*/ 4 w 19"/>
              <a:gd name="T11" fmla="*/ 12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17" y="0"/>
                </a:lnTo>
                <a:lnTo>
                  <a:pt x="10" y="4"/>
                </a:lnTo>
                <a:lnTo>
                  <a:pt x="2" y="12"/>
                </a:lnTo>
                <a:lnTo>
                  <a:pt x="0" y="19"/>
                </a:lnTo>
                <a:lnTo>
                  <a:pt x="4" y="12"/>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89" name="Freeform 896"/>
          <p:cNvSpPr>
            <a:spLocks/>
          </p:cNvSpPr>
          <p:nvPr/>
        </p:nvSpPr>
        <p:spPr bwMode="auto">
          <a:xfrm>
            <a:off x="7065963" y="4035546"/>
            <a:ext cx="30163" cy="30163"/>
          </a:xfrm>
          <a:custGeom>
            <a:avLst/>
            <a:gdLst>
              <a:gd name="T0" fmla="*/ 19 w 19"/>
              <a:gd name="T1" fmla="*/ 0 h 19"/>
              <a:gd name="T2" fmla="*/ 17 w 19"/>
              <a:gd name="T3" fmla="*/ 0 h 19"/>
              <a:gd name="T4" fmla="*/ 10 w 19"/>
              <a:gd name="T5" fmla="*/ 4 h 19"/>
              <a:gd name="T6" fmla="*/ 2 w 19"/>
              <a:gd name="T7" fmla="*/ 12 h 19"/>
              <a:gd name="T8" fmla="*/ 0 w 19"/>
              <a:gd name="T9" fmla="*/ 19 h 19"/>
              <a:gd name="T10" fmla="*/ 4 w 19"/>
              <a:gd name="T11" fmla="*/ 12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17" y="0"/>
                </a:lnTo>
                <a:lnTo>
                  <a:pt x="10" y="4"/>
                </a:lnTo>
                <a:lnTo>
                  <a:pt x="2" y="12"/>
                </a:lnTo>
                <a:lnTo>
                  <a:pt x="0" y="19"/>
                </a:lnTo>
                <a:lnTo>
                  <a:pt x="4" y="12"/>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0" name="Freeform 897"/>
          <p:cNvSpPr>
            <a:spLocks/>
          </p:cNvSpPr>
          <p:nvPr/>
        </p:nvSpPr>
        <p:spPr bwMode="auto">
          <a:xfrm>
            <a:off x="7065963" y="4035546"/>
            <a:ext cx="30163" cy="30163"/>
          </a:xfrm>
          <a:custGeom>
            <a:avLst/>
            <a:gdLst>
              <a:gd name="T0" fmla="*/ 19 w 19"/>
              <a:gd name="T1" fmla="*/ 0 h 19"/>
              <a:gd name="T2" fmla="*/ 4 w 19"/>
              <a:gd name="T3" fmla="*/ 12 h 19"/>
              <a:gd name="T4" fmla="*/ 0 w 19"/>
              <a:gd name="T5" fmla="*/ 19 h 19"/>
              <a:gd name="T6" fmla="*/ 2 w 19"/>
              <a:gd name="T7" fmla="*/ 12 h 19"/>
              <a:gd name="T8" fmla="*/ 10 w 19"/>
              <a:gd name="T9" fmla="*/ 4 h 19"/>
              <a:gd name="T10" fmla="*/ 17 w 19"/>
              <a:gd name="T11" fmla="*/ 0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4" y="12"/>
                </a:lnTo>
                <a:lnTo>
                  <a:pt x="0" y="19"/>
                </a:lnTo>
                <a:lnTo>
                  <a:pt x="2" y="12"/>
                </a:lnTo>
                <a:lnTo>
                  <a:pt x="10" y="4"/>
                </a:lnTo>
                <a:lnTo>
                  <a:pt x="17" y="0"/>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1" name="Freeform 898"/>
          <p:cNvSpPr>
            <a:spLocks/>
          </p:cNvSpPr>
          <p:nvPr/>
        </p:nvSpPr>
        <p:spPr bwMode="auto">
          <a:xfrm>
            <a:off x="7065963" y="4035546"/>
            <a:ext cx="30163" cy="30163"/>
          </a:xfrm>
          <a:custGeom>
            <a:avLst/>
            <a:gdLst>
              <a:gd name="T0" fmla="*/ 19 w 19"/>
              <a:gd name="T1" fmla="*/ 0 h 19"/>
              <a:gd name="T2" fmla="*/ 4 w 19"/>
              <a:gd name="T3" fmla="*/ 12 h 19"/>
              <a:gd name="T4" fmla="*/ 0 w 19"/>
              <a:gd name="T5" fmla="*/ 19 h 19"/>
              <a:gd name="T6" fmla="*/ 2 w 19"/>
              <a:gd name="T7" fmla="*/ 12 h 19"/>
              <a:gd name="T8" fmla="*/ 10 w 19"/>
              <a:gd name="T9" fmla="*/ 4 h 19"/>
              <a:gd name="T10" fmla="*/ 17 w 19"/>
              <a:gd name="T11" fmla="*/ 0 h 19"/>
              <a:gd name="T12" fmla="*/ 19 w 19"/>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9" h="19">
                <a:moveTo>
                  <a:pt x="19" y="0"/>
                </a:moveTo>
                <a:lnTo>
                  <a:pt x="4" y="12"/>
                </a:lnTo>
                <a:lnTo>
                  <a:pt x="0" y="19"/>
                </a:lnTo>
                <a:lnTo>
                  <a:pt x="2" y="12"/>
                </a:lnTo>
                <a:lnTo>
                  <a:pt x="10" y="4"/>
                </a:lnTo>
                <a:lnTo>
                  <a:pt x="17" y="0"/>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2" name="Freeform 899"/>
          <p:cNvSpPr>
            <a:spLocks/>
          </p:cNvSpPr>
          <p:nvPr/>
        </p:nvSpPr>
        <p:spPr bwMode="auto">
          <a:xfrm>
            <a:off x="7135813" y="3981571"/>
            <a:ext cx="47625" cy="15875"/>
          </a:xfrm>
          <a:custGeom>
            <a:avLst/>
            <a:gdLst>
              <a:gd name="T0" fmla="*/ 30 w 30"/>
              <a:gd name="T1" fmla="*/ 0 h 10"/>
              <a:gd name="T2" fmla="*/ 28 w 30"/>
              <a:gd name="T3" fmla="*/ 0 h 10"/>
              <a:gd name="T4" fmla="*/ 20 w 30"/>
              <a:gd name="T5" fmla="*/ 2 h 10"/>
              <a:gd name="T6" fmla="*/ 7 w 30"/>
              <a:gd name="T7" fmla="*/ 6 h 10"/>
              <a:gd name="T8" fmla="*/ 0 w 30"/>
              <a:gd name="T9" fmla="*/ 10 h 10"/>
              <a:gd name="T10" fmla="*/ 15 w 30"/>
              <a:gd name="T11" fmla="*/ 4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28" y="0"/>
                </a:lnTo>
                <a:lnTo>
                  <a:pt x="20" y="2"/>
                </a:lnTo>
                <a:lnTo>
                  <a:pt x="7" y="6"/>
                </a:lnTo>
                <a:lnTo>
                  <a:pt x="0" y="10"/>
                </a:lnTo>
                <a:lnTo>
                  <a:pt x="15" y="4"/>
                </a:lnTo>
                <a:lnTo>
                  <a:pt x="3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3" name="Freeform 900"/>
          <p:cNvSpPr>
            <a:spLocks/>
          </p:cNvSpPr>
          <p:nvPr/>
        </p:nvSpPr>
        <p:spPr bwMode="auto">
          <a:xfrm>
            <a:off x="7135813" y="3981571"/>
            <a:ext cx="47625" cy="15875"/>
          </a:xfrm>
          <a:custGeom>
            <a:avLst/>
            <a:gdLst>
              <a:gd name="T0" fmla="*/ 30 w 30"/>
              <a:gd name="T1" fmla="*/ 0 h 10"/>
              <a:gd name="T2" fmla="*/ 28 w 30"/>
              <a:gd name="T3" fmla="*/ 0 h 10"/>
              <a:gd name="T4" fmla="*/ 20 w 30"/>
              <a:gd name="T5" fmla="*/ 2 h 10"/>
              <a:gd name="T6" fmla="*/ 7 w 30"/>
              <a:gd name="T7" fmla="*/ 6 h 10"/>
              <a:gd name="T8" fmla="*/ 0 w 30"/>
              <a:gd name="T9" fmla="*/ 10 h 10"/>
              <a:gd name="T10" fmla="*/ 15 w 30"/>
              <a:gd name="T11" fmla="*/ 4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28" y="0"/>
                </a:lnTo>
                <a:lnTo>
                  <a:pt x="20" y="2"/>
                </a:lnTo>
                <a:lnTo>
                  <a:pt x="7" y="6"/>
                </a:lnTo>
                <a:lnTo>
                  <a:pt x="0" y="10"/>
                </a:lnTo>
                <a:lnTo>
                  <a:pt x="15" y="4"/>
                </a:lnTo>
                <a:lnTo>
                  <a:pt x="3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4" name="Freeform 901"/>
          <p:cNvSpPr>
            <a:spLocks/>
          </p:cNvSpPr>
          <p:nvPr/>
        </p:nvSpPr>
        <p:spPr bwMode="auto">
          <a:xfrm>
            <a:off x="7210425" y="3930771"/>
            <a:ext cx="30163" cy="60325"/>
          </a:xfrm>
          <a:custGeom>
            <a:avLst/>
            <a:gdLst>
              <a:gd name="T0" fmla="*/ 19 w 19"/>
              <a:gd name="T1" fmla="*/ 0 h 38"/>
              <a:gd name="T2" fmla="*/ 13 w 19"/>
              <a:gd name="T3" fmla="*/ 6 h 38"/>
              <a:gd name="T4" fmla="*/ 9 w 19"/>
              <a:gd name="T5" fmla="*/ 15 h 38"/>
              <a:gd name="T6" fmla="*/ 5 w 19"/>
              <a:gd name="T7" fmla="*/ 21 h 38"/>
              <a:gd name="T8" fmla="*/ 0 w 19"/>
              <a:gd name="T9" fmla="*/ 38 h 38"/>
              <a:gd name="T10" fmla="*/ 9 w 19"/>
              <a:gd name="T11" fmla="*/ 17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13" y="6"/>
                </a:lnTo>
                <a:lnTo>
                  <a:pt x="9" y="15"/>
                </a:lnTo>
                <a:lnTo>
                  <a:pt x="5" y="21"/>
                </a:lnTo>
                <a:lnTo>
                  <a:pt x="0" y="38"/>
                </a:lnTo>
                <a:lnTo>
                  <a:pt x="9" y="17"/>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5" name="Freeform 902"/>
          <p:cNvSpPr>
            <a:spLocks/>
          </p:cNvSpPr>
          <p:nvPr/>
        </p:nvSpPr>
        <p:spPr bwMode="auto">
          <a:xfrm>
            <a:off x="7210425" y="3930771"/>
            <a:ext cx="30163" cy="60325"/>
          </a:xfrm>
          <a:custGeom>
            <a:avLst/>
            <a:gdLst>
              <a:gd name="T0" fmla="*/ 19 w 19"/>
              <a:gd name="T1" fmla="*/ 0 h 38"/>
              <a:gd name="T2" fmla="*/ 13 w 19"/>
              <a:gd name="T3" fmla="*/ 6 h 38"/>
              <a:gd name="T4" fmla="*/ 9 w 19"/>
              <a:gd name="T5" fmla="*/ 15 h 38"/>
              <a:gd name="T6" fmla="*/ 5 w 19"/>
              <a:gd name="T7" fmla="*/ 21 h 38"/>
              <a:gd name="T8" fmla="*/ 0 w 19"/>
              <a:gd name="T9" fmla="*/ 38 h 38"/>
              <a:gd name="T10" fmla="*/ 9 w 19"/>
              <a:gd name="T11" fmla="*/ 17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13" y="6"/>
                </a:lnTo>
                <a:lnTo>
                  <a:pt x="9" y="15"/>
                </a:lnTo>
                <a:lnTo>
                  <a:pt x="5" y="21"/>
                </a:lnTo>
                <a:lnTo>
                  <a:pt x="0" y="38"/>
                </a:lnTo>
                <a:lnTo>
                  <a:pt x="9" y="17"/>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6" name="Freeform 903"/>
          <p:cNvSpPr>
            <a:spLocks/>
          </p:cNvSpPr>
          <p:nvPr/>
        </p:nvSpPr>
        <p:spPr bwMode="auto">
          <a:xfrm>
            <a:off x="7251700" y="3900609"/>
            <a:ext cx="9525" cy="9525"/>
          </a:xfrm>
          <a:custGeom>
            <a:avLst/>
            <a:gdLst>
              <a:gd name="T0" fmla="*/ 0 w 6"/>
              <a:gd name="T1" fmla="*/ 6 h 6"/>
              <a:gd name="T2" fmla="*/ 6 w 6"/>
              <a:gd name="T3" fmla="*/ 0 h 6"/>
              <a:gd name="T4" fmla="*/ 2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2" y="0"/>
                </a:lnTo>
                <a:lnTo>
                  <a:pt x="0" y="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7" name="Freeform 904"/>
          <p:cNvSpPr>
            <a:spLocks/>
          </p:cNvSpPr>
          <p:nvPr/>
        </p:nvSpPr>
        <p:spPr bwMode="auto">
          <a:xfrm>
            <a:off x="7251700" y="3900609"/>
            <a:ext cx="9525" cy="9525"/>
          </a:xfrm>
          <a:custGeom>
            <a:avLst/>
            <a:gdLst>
              <a:gd name="T0" fmla="*/ 0 w 6"/>
              <a:gd name="T1" fmla="*/ 6 h 6"/>
              <a:gd name="T2" fmla="*/ 6 w 6"/>
              <a:gd name="T3" fmla="*/ 0 h 6"/>
              <a:gd name="T4" fmla="*/ 2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6" y="0"/>
                </a:lnTo>
                <a:lnTo>
                  <a:pt x="2" y="0"/>
                </a:lnTo>
                <a:lnTo>
                  <a:pt x="0" y="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098" name="Freeform 905"/>
          <p:cNvSpPr>
            <a:spLocks/>
          </p:cNvSpPr>
          <p:nvPr/>
        </p:nvSpPr>
        <p:spPr bwMode="auto">
          <a:xfrm>
            <a:off x="7272338" y="3868859"/>
            <a:ext cx="19050" cy="20638"/>
          </a:xfrm>
          <a:custGeom>
            <a:avLst/>
            <a:gdLst>
              <a:gd name="T0" fmla="*/ 12 w 12"/>
              <a:gd name="T1" fmla="*/ 0 h 13"/>
              <a:gd name="T2" fmla="*/ 12 w 12"/>
              <a:gd name="T3" fmla="*/ 0 h 13"/>
              <a:gd name="T4" fmla="*/ 12 w 12"/>
              <a:gd name="T5" fmla="*/ 0 h 13"/>
              <a:gd name="T6" fmla="*/ 4 w 12"/>
              <a:gd name="T7" fmla="*/ 7 h 13"/>
              <a:gd name="T8" fmla="*/ 0 w 12"/>
              <a:gd name="T9" fmla="*/ 13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12" y="0"/>
                </a:lnTo>
                <a:lnTo>
                  <a:pt x="12" y="0"/>
                </a:lnTo>
                <a:lnTo>
                  <a:pt x="4" y="7"/>
                </a:lnTo>
                <a:lnTo>
                  <a:pt x="0" y="13"/>
                </a:lnTo>
                <a:lnTo>
                  <a:pt x="1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99" name="Freeform 906"/>
          <p:cNvSpPr>
            <a:spLocks/>
          </p:cNvSpPr>
          <p:nvPr/>
        </p:nvSpPr>
        <p:spPr bwMode="auto">
          <a:xfrm>
            <a:off x="7272338" y="3868859"/>
            <a:ext cx="19050" cy="20638"/>
          </a:xfrm>
          <a:custGeom>
            <a:avLst/>
            <a:gdLst>
              <a:gd name="T0" fmla="*/ 12 w 12"/>
              <a:gd name="T1" fmla="*/ 0 h 13"/>
              <a:gd name="T2" fmla="*/ 12 w 12"/>
              <a:gd name="T3" fmla="*/ 0 h 13"/>
              <a:gd name="T4" fmla="*/ 12 w 12"/>
              <a:gd name="T5" fmla="*/ 0 h 13"/>
              <a:gd name="T6" fmla="*/ 4 w 12"/>
              <a:gd name="T7" fmla="*/ 7 h 13"/>
              <a:gd name="T8" fmla="*/ 0 w 12"/>
              <a:gd name="T9" fmla="*/ 13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12" y="0"/>
                </a:lnTo>
                <a:lnTo>
                  <a:pt x="12" y="0"/>
                </a:lnTo>
                <a:lnTo>
                  <a:pt x="4" y="7"/>
                </a:lnTo>
                <a:lnTo>
                  <a:pt x="0" y="13"/>
                </a:lnTo>
                <a:lnTo>
                  <a:pt x="1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0" name="Freeform 907"/>
          <p:cNvSpPr>
            <a:spLocks/>
          </p:cNvSpPr>
          <p:nvPr/>
        </p:nvSpPr>
        <p:spPr bwMode="auto">
          <a:xfrm>
            <a:off x="7308850" y="3757734"/>
            <a:ext cx="20638" cy="101600"/>
          </a:xfrm>
          <a:custGeom>
            <a:avLst/>
            <a:gdLst>
              <a:gd name="T0" fmla="*/ 13 w 13"/>
              <a:gd name="T1" fmla="*/ 60 h 64"/>
              <a:gd name="T2" fmla="*/ 13 w 13"/>
              <a:gd name="T3" fmla="*/ 45 h 64"/>
              <a:gd name="T4" fmla="*/ 11 w 13"/>
              <a:gd name="T5" fmla="*/ 23 h 64"/>
              <a:gd name="T6" fmla="*/ 9 w 13"/>
              <a:gd name="T7" fmla="*/ 15 h 64"/>
              <a:gd name="T8" fmla="*/ 2 w 13"/>
              <a:gd name="T9" fmla="*/ 0 h 64"/>
              <a:gd name="T10" fmla="*/ 4 w 13"/>
              <a:gd name="T11" fmla="*/ 9 h 64"/>
              <a:gd name="T12" fmla="*/ 9 w 13"/>
              <a:gd name="T13" fmla="*/ 15 h 64"/>
              <a:gd name="T14" fmla="*/ 9 w 13"/>
              <a:gd name="T15" fmla="*/ 21 h 64"/>
              <a:gd name="T16" fmla="*/ 11 w 13"/>
              <a:gd name="T17" fmla="*/ 49 h 64"/>
              <a:gd name="T18" fmla="*/ 9 w 13"/>
              <a:gd name="T19" fmla="*/ 55 h 64"/>
              <a:gd name="T20" fmla="*/ 0 w 13"/>
              <a:gd name="T21" fmla="*/ 62 h 64"/>
              <a:gd name="T22" fmla="*/ 2 w 13"/>
              <a:gd name="T23" fmla="*/ 64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13" y="45"/>
                </a:lnTo>
                <a:lnTo>
                  <a:pt x="11" y="23"/>
                </a:lnTo>
                <a:lnTo>
                  <a:pt x="9" y="15"/>
                </a:lnTo>
                <a:lnTo>
                  <a:pt x="2" y="0"/>
                </a:lnTo>
                <a:lnTo>
                  <a:pt x="4" y="9"/>
                </a:lnTo>
                <a:lnTo>
                  <a:pt x="9" y="15"/>
                </a:lnTo>
                <a:lnTo>
                  <a:pt x="9" y="21"/>
                </a:lnTo>
                <a:lnTo>
                  <a:pt x="11" y="49"/>
                </a:lnTo>
                <a:lnTo>
                  <a:pt x="9" y="55"/>
                </a:lnTo>
                <a:lnTo>
                  <a:pt x="0" y="62"/>
                </a:lnTo>
                <a:lnTo>
                  <a:pt x="2" y="64"/>
                </a:lnTo>
                <a:lnTo>
                  <a:pt x="13" y="6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1" name="Freeform 908"/>
          <p:cNvSpPr>
            <a:spLocks/>
          </p:cNvSpPr>
          <p:nvPr/>
        </p:nvSpPr>
        <p:spPr bwMode="auto">
          <a:xfrm>
            <a:off x="7308850" y="3757734"/>
            <a:ext cx="20638" cy="101600"/>
          </a:xfrm>
          <a:custGeom>
            <a:avLst/>
            <a:gdLst>
              <a:gd name="T0" fmla="*/ 13 w 13"/>
              <a:gd name="T1" fmla="*/ 60 h 64"/>
              <a:gd name="T2" fmla="*/ 13 w 13"/>
              <a:gd name="T3" fmla="*/ 45 h 64"/>
              <a:gd name="T4" fmla="*/ 11 w 13"/>
              <a:gd name="T5" fmla="*/ 23 h 64"/>
              <a:gd name="T6" fmla="*/ 9 w 13"/>
              <a:gd name="T7" fmla="*/ 15 h 64"/>
              <a:gd name="T8" fmla="*/ 2 w 13"/>
              <a:gd name="T9" fmla="*/ 0 h 64"/>
              <a:gd name="T10" fmla="*/ 4 w 13"/>
              <a:gd name="T11" fmla="*/ 9 h 64"/>
              <a:gd name="T12" fmla="*/ 9 w 13"/>
              <a:gd name="T13" fmla="*/ 15 h 64"/>
              <a:gd name="T14" fmla="*/ 9 w 13"/>
              <a:gd name="T15" fmla="*/ 21 h 64"/>
              <a:gd name="T16" fmla="*/ 11 w 13"/>
              <a:gd name="T17" fmla="*/ 49 h 64"/>
              <a:gd name="T18" fmla="*/ 9 w 13"/>
              <a:gd name="T19" fmla="*/ 55 h 64"/>
              <a:gd name="T20" fmla="*/ 0 w 13"/>
              <a:gd name="T21" fmla="*/ 62 h 64"/>
              <a:gd name="T22" fmla="*/ 2 w 13"/>
              <a:gd name="T23" fmla="*/ 64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13" y="45"/>
                </a:lnTo>
                <a:lnTo>
                  <a:pt x="11" y="23"/>
                </a:lnTo>
                <a:lnTo>
                  <a:pt x="9" y="15"/>
                </a:lnTo>
                <a:lnTo>
                  <a:pt x="2" y="0"/>
                </a:lnTo>
                <a:lnTo>
                  <a:pt x="4" y="9"/>
                </a:lnTo>
                <a:lnTo>
                  <a:pt x="9" y="15"/>
                </a:lnTo>
                <a:lnTo>
                  <a:pt x="9" y="21"/>
                </a:lnTo>
                <a:lnTo>
                  <a:pt x="11" y="49"/>
                </a:lnTo>
                <a:lnTo>
                  <a:pt x="9" y="55"/>
                </a:lnTo>
                <a:lnTo>
                  <a:pt x="0" y="62"/>
                </a:lnTo>
                <a:lnTo>
                  <a:pt x="2" y="64"/>
                </a:lnTo>
                <a:lnTo>
                  <a:pt x="13" y="6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2" name="Freeform 909"/>
          <p:cNvSpPr>
            <a:spLocks/>
          </p:cNvSpPr>
          <p:nvPr/>
        </p:nvSpPr>
        <p:spPr bwMode="auto">
          <a:xfrm>
            <a:off x="6072188" y="3623429"/>
            <a:ext cx="1200150" cy="544513"/>
          </a:xfrm>
          <a:custGeom>
            <a:avLst/>
            <a:gdLst>
              <a:gd name="T0" fmla="*/ 21 w 756"/>
              <a:gd name="T1" fmla="*/ 264 h 343"/>
              <a:gd name="T2" fmla="*/ 47 w 756"/>
              <a:gd name="T3" fmla="*/ 233 h 343"/>
              <a:gd name="T4" fmla="*/ 100 w 756"/>
              <a:gd name="T5" fmla="*/ 198 h 343"/>
              <a:gd name="T6" fmla="*/ 121 w 756"/>
              <a:gd name="T7" fmla="*/ 179 h 343"/>
              <a:gd name="T8" fmla="*/ 141 w 756"/>
              <a:gd name="T9" fmla="*/ 173 h 343"/>
              <a:gd name="T10" fmla="*/ 162 w 756"/>
              <a:gd name="T11" fmla="*/ 152 h 343"/>
              <a:gd name="T12" fmla="*/ 194 w 756"/>
              <a:gd name="T13" fmla="*/ 128 h 343"/>
              <a:gd name="T14" fmla="*/ 209 w 756"/>
              <a:gd name="T15" fmla="*/ 98 h 343"/>
              <a:gd name="T16" fmla="*/ 326 w 756"/>
              <a:gd name="T17" fmla="*/ 75 h 343"/>
              <a:gd name="T18" fmla="*/ 709 w 756"/>
              <a:gd name="T19" fmla="*/ 7 h 343"/>
              <a:gd name="T20" fmla="*/ 737 w 756"/>
              <a:gd name="T21" fmla="*/ 39 h 343"/>
              <a:gd name="T22" fmla="*/ 722 w 756"/>
              <a:gd name="T23" fmla="*/ 34 h 343"/>
              <a:gd name="T24" fmla="*/ 698 w 756"/>
              <a:gd name="T25" fmla="*/ 32 h 343"/>
              <a:gd name="T26" fmla="*/ 705 w 756"/>
              <a:gd name="T27" fmla="*/ 49 h 343"/>
              <a:gd name="T28" fmla="*/ 686 w 756"/>
              <a:gd name="T29" fmla="*/ 51 h 343"/>
              <a:gd name="T30" fmla="*/ 662 w 756"/>
              <a:gd name="T31" fmla="*/ 69 h 343"/>
              <a:gd name="T32" fmla="*/ 656 w 756"/>
              <a:gd name="T33" fmla="*/ 43 h 343"/>
              <a:gd name="T34" fmla="*/ 654 w 756"/>
              <a:gd name="T35" fmla="*/ 58 h 343"/>
              <a:gd name="T36" fmla="*/ 673 w 756"/>
              <a:gd name="T37" fmla="*/ 79 h 343"/>
              <a:gd name="T38" fmla="*/ 703 w 756"/>
              <a:gd name="T39" fmla="*/ 69 h 343"/>
              <a:gd name="T40" fmla="*/ 724 w 756"/>
              <a:gd name="T41" fmla="*/ 79 h 343"/>
              <a:gd name="T42" fmla="*/ 724 w 756"/>
              <a:gd name="T43" fmla="*/ 100 h 343"/>
              <a:gd name="T44" fmla="*/ 739 w 756"/>
              <a:gd name="T45" fmla="*/ 71 h 343"/>
              <a:gd name="T46" fmla="*/ 754 w 756"/>
              <a:gd name="T47" fmla="*/ 75 h 343"/>
              <a:gd name="T48" fmla="*/ 743 w 756"/>
              <a:gd name="T49" fmla="*/ 100 h 343"/>
              <a:gd name="T50" fmla="*/ 711 w 756"/>
              <a:gd name="T51" fmla="*/ 137 h 343"/>
              <a:gd name="T52" fmla="*/ 692 w 756"/>
              <a:gd name="T53" fmla="*/ 132 h 343"/>
              <a:gd name="T54" fmla="*/ 684 w 756"/>
              <a:gd name="T55" fmla="*/ 130 h 343"/>
              <a:gd name="T56" fmla="*/ 660 w 756"/>
              <a:gd name="T57" fmla="*/ 137 h 343"/>
              <a:gd name="T58" fmla="*/ 677 w 756"/>
              <a:gd name="T59" fmla="*/ 145 h 343"/>
              <a:gd name="T60" fmla="*/ 690 w 756"/>
              <a:gd name="T61" fmla="*/ 160 h 343"/>
              <a:gd name="T62" fmla="*/ 684 w 756"/>
              <a:gd name="T63" fmla="*/ 186 h 343"/>
              <a:gd name="T64" fmla="*/ 656 w 756"/>
              <a:gd name="T65" fmla="*/ 179 h 343"/>
              <a:gd name="T66" fmla="*/ 681 w 756"/>
              <a:gd name="T67" fmla="*/ 194 h 343"/>
              <a:gd name="T68" fmla="*/ 705 w 756"/>
              <a:gd name="T69" fmla="*/ 181 h 343"/>
              <a:gd name="T70" fmla="*/ 709 w 756"/>
              <a:gd name="T71" fmla="*/ 186 h 343"/>
              <a:gd name="T72" fmla="*/ 724 w 756"/>
              <a:gd name="T73" fmla="*/ 184 h 343"/>
              <a:gd name="T74" fmla="*/ 707 w 756"/>
              <a:gd name="T75" fmla="*/ 211 h 343"/>
              <a:gd name="T76" fmla="*/ 688 w 756"/>
              <a:gd name="T77" fmla="*/ 213 h 343"/>
              <a:gd name="T78" fmla="*/ 654 w 756"/>
              <a:gd name="T79" fmla="*/ 224 h 343"/>
              <a:gd name="T80" fmla="*/ 632 w 756"/>
              <a:gd name="T81" fmla="*/ 243 h 343"/>
              <a:gd name="T82" fmla="*/ 630 w 756"/>
              <a:gd name="T83" fmla="*/ 245 h 343"/>
              <a:gd name="T84" fmla="*/ 603 w 756"/>
              <a:gd name="T85" fmla="*/ 294 h 343"/>
              <a:gd name="T86" fmla="*/ 592 w 756"/>
              <a:gd name="T87" fmla="*/ 299 h 343"/>
              <a:gd name="T88" fmla="*/ 588 w 756"/>
              <a:gd name="T89" fmla="*/ 333 h 343"/>
              <a:gd name="T90" fmla="*/ 543 w 756"/>
              <a:gd name="T91" fmla="*/ 343 h 343"/>
              <a:gd name="T92" fmla="*/ 322 w 756"/>
              <a:gd name="T93" fmla="*/ 273 h 343"/>
              <a:gd name="T94" fmla="*/ 300 w 756"/>
              <a:gd name="T95" fmla="*/ 250 h 343"/>
              <a:gd name="T96" fmla="*/ 175 w 756"/>
              <a:gd name="T97" fmla="*/ 256 h 343"/>
              <a:gd name="T98" fmla="*/ 134 w 756"/>
              <a:gd name="T99" fmla="*/ 27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343">
                <a:moveTo>
                  <a:pt x="0" y="305"/>
                </a:moveTo>
                <a:lnTo>
                  <a:pt x="0" y="275"/>
                </a:lnTo>
                <a:lnTo>
                  <a:pt x="15" y="273"/>
                </a:lnTo>
                <a:lnTo>
                  <a:pt x="21" y="264"/>
                </a:lnTo>
                <a:lnTo>
                  <a:pt x="21" y="256"/>
                </a:lnTo>
                <a:lnTo>
                  <a:pt x="26" y="247"/>
                </a:lnTo>
                <a:lnTo>
                  <a:pt x="32" y="241"/>
                </a:lnTo>
                <a:lnTo>
                  <a:pt x="47" y="233"/>
                </a:lnTo>
                <a:lnTo>
                  <a:pt x="60" y="233"/>
                </a:lnTo>
                <a:lnTo>
                  <a:pt x="66" y="228"/>
                </a:lnTo>
                <a:lnTo>
                  <a:pt x="87" y="209"/>
                </a:lnTo>
                <a:lnTo>
                  <a:pt x="100" y="198"/>
                </a:lnTo>
                <a:lnTo>
                  <a:pt x="107" y="198"/>
                </a:lnTo>
                <a:lnTo>
                  <a:pt x="111" y="192"/>
                </a:lnTo>
                <a:lnTo>
                  <a:pt x="115" y="177"/>
                </a:lnTo>
                <a:lnTo>
                  <a:pt x="121" y="179"/>
                </a:lnTo>
                <a:lnTo>
                  <a:pt x="124" y="173"/>
                </a:lnTo>
                <a:lnTo>
                  <a:pt x="126" y="169"/>
                </a:lnTo>
                <a:lnTo>
                  <a:pt x="134" y="164"/>
                </a:lnTo>
                <a:lnTo>
                  <a:pt x="141" y="173"/>
                </a:lnTo>
                <a:lnTo>
                  <a:pt x="145" y="173"/>
                </a:lnTo>
                <a:lnTo>
                  <a:pt x="151" y="164"/>
                </a:lnTo>
                <a:lnTo>
                  <a:pt x="156" y="158"/>
                </a:lnTo>
                <a:lnTo>
                  <a:pt x="162" y="152"/>
                </a:lnTo>
                <a:lnTo>
                  <a:pt x="175" y="147"/>
                </a:lnTo>
                <a:lnTo>
                  <a:pt x="181" y="152"/>
                </a:lnTo>
                <a:lnTo>
                  <a:pt x="190" y="143"/>
                </a:lnTo>
                <a:lnTo>
                  <a:pt x="194" y="128"/>
                </a:lnTo>
                <a:lnTo>
                  <a:pt x="200" y="122"/>
                </a:lnTo>
                <a:lnTo>
                  <a:pt x="207" y="120"/>
                </a:lnTo>
                <a:lnTo>
                  <a:pt x="209" y="105"/>
                </a:lnTo>
                <a:lnTo>
                  <a:pt x="209" y="98"/>
                </a:lnTo>
                <a:lnTo>
                  <a:pt x="213" y="88"/>
                </a:lnTo>
                <a:lnTo>
                  <a:pt x="226" y="90"/>
                </a:lnTo>
                <a:lnTo>
                  <a:pt x="256" y="86"/>
                </a:lnTo>
                <a:lnTo>
                  <a:pt x="326" y="75"/>
                </a:lnTo>
                <a:lnTo>
                  <a:pt x="522" y="39"/>
                </a:lnTo>
                <a:lnTo>
                  <a:pt x="620" y="20"/>
                </a:lnTo>
                <a:lnTo>
                  <a:pt x="707" y="0"/>
                </a:lnTo>
                <a:lnTo>
                  <a:pt x="709" y="7"/>
                </a:lnTo>
                <a:lnTo>
                  <a:pt x="716" y="13"/>
                </a:lnTo>
                <a:lnTo>
                  <a:pt x="722" y="15"/>
                </a:lnTo>
                <a:lnTo>
                  <a:pt x="722" y="20"/>
                </a:lnTo>
                <a:lnTo>
                  <a:pt x="737" y="39"/>
                </a:lnTo>
                <a:lnTo>
                  <a:pt x="737" y="47"/>
                </a:lnTo>
                <a:lnTo>
                  <a:pt x="733" y="37"/>
                </a:lnTo>
                <a:lnTo>
                  <a:pt x="718" y="26"/>
                </a:lnTo>
                <a:lnTo>
                  <a:pt x="722" y="34"/>
                </a:lnTo>
                <a:lnTo>
                  <a:pt x="728" y="41"/>
                </a:lnTo>
                <a:lnTo>
                  <a:pt x="720" y="41"/>
                </a:lnTo>
                <a:lnTo>
                  <a:pt x="705" y="32"/>
                </a:lnTo>
                <a:lnTo>
                  <a:pt x="698" y="32"/>
                </a:lnTo>
                <a:lnTo>
                  <a:pt x="705" y="34"/>
                </a:lnTo>
                <a:lnTo>
                  <a:pt x="711" y="41"/>
                </a:lnTo>
                <a:lnTo>
                  <a:pt x="711" y="47"/>
                </a:lnTo>
                <a:lnTo>
                  <a:pt x="705" y="49"/>
                </a:lnTo>
                <a:lnTo>
                  <a:pt x="698" y="47"/>
                </a:lnTo>
                <a:lnTo>
                  <a:pt x="703" y="54"/>
                </a:lnTo>
                <a:lnTo>
                  <a:pt x="692" y="51"/>
                </a:lnTo>
                <a:lnTo>
                  <a:pt x="686" y="51"/>
                </a:lnTo>
                <a:lnTo>
                  <a:pt x="694" y="58"/>
                </a:lnTo>
                <a:lnTo>
                  <a:pt x="677" y="71"/>
                </a:lnTo>
                <a:lnTo>
                  <a:pt x="671" y="66"/>
                </a:lnTo>
                <a:lnTo>
                  <a:pt x="662" y="69"/>
                </a:lnTo>
                <a:lnTo>
                  <a:pt x="656" y="54"/>
                </a:lnTo>
                <a:lnTo>
                  <a:pt x="656" y="47"/>
                </a:lnTo>
                <a:lnTo>
                  <a:pt x="656" y="45"/>
                </a:lnTo>
                <a:lnTo>
                  <a:pt x="656" y="43"/>
                </a:lnTo>
                <a:lnTo>
                  <a:pt x="652" y="39"/>
                </a:lnTo>
                <a:lnTo>
                  <a:pt x="656" y="45"/>
                </a:lnTo>
                <a:lnTo>
                  <a:pt x="652" y="51"/>
                </a:lnTo>
                <a:lnTo>
                  <a:pt x="654" y="58"/>
                </a:lnTo>
                <a:lnTo>
                  <a:pt x="658" y="66"/>
                </a:lnTo>
                <a:lnTo>
                  <a:pt x="664" y="73"/>
                </a:lnTo>
                <a:lnTo>
                  <a:pt x="664" y="81"/>
                </a:lnTo>
                <a:lnTo>
                  <a:pt x="673" y="79"/>
                </a:lnTo>
                <a:lnTo>
                  <a:pt x="679" y="77"/>
                </a:lnTo>
                <a:lnTo>
                  <a:pt x="688" y="71"/>
                </a:lnTo>
                <a:lnTo>
                  <a:pt x="703" y="75"/>
                </a:lnTo>
                <a:lnTo>
                  <a:pt x="703" y="69"/>
                </a:lnTo>
                <a:lnTo>
                  <a:pt x="713" y="64"/>
                </a:lnTo>
                <a:lnTo>
                  <a:pt x="722" y="64"/>
                </a:lnTo>
                <a:lnTo>
                  <a:pt x="724" y="71"/>
                </a:lnTo>
                <a:lnTo>
                  <a:pt x="724" y="79"/>
                </a:lnTo>
                <a:lnTo>
                  <a:pt x="720" y="88"/>
                </a:lnTo>
                <a:lnTo>
                  <a:pt x="726" y="90"/>
                </a:lnTo>
                <a:lnTo>
                  <a:pt x="722" y="96"/>
                </a:lnTo>
                <a:lnTo>
                  <a:pt x="724" y="100"/>
                </a:lnTo>
                <a:lnTo>
                  <a:pt x="733" y="94"/>
                </a:lnTo>
                <a:lnTo>
                  <a:pt x="730" y="79"/>
                </a:lnTo>
                <a:lnTo>
                  <a:pt x="730" y="71"/>
                </a:lnTo>
                <a:lnTo>
                  <a:pt x="739" y="71"/>
                </a:lnTo>
                <a:lnTo>
                  <a:pt x="741" y="64"/>
                </a:lnTo>
                <a:lnTo>
                  <a:pt x="741" y="62"/>
                </a:lnTo>
                <a:lnTo>
                  <a:pt x="747" y="69"/>
                </a:lnTo>
                <a:lnTo>
                  <a:pt x="754" y="75"/>
                </a:lnTo>
                <a:lnTo>
                  <a:pt x="754" y="90"/>
                </a:lnTo>
                <a:lnTo>
                  <a:pt x="756" y="96"/>
                </a:lnTo>
                <a:lnTo>
                  <a:pt x="750" y="103"/>
                </a:lnTo>
                <a:lnTo>
                  <a:pt x="743" y="100"/>
                </a:lnTo>
                <a:lnTo>
                  <a:pt x="743" y="107"/>
                </a:lnTo>
                <a:lnTo>
                  <a:pt x="733" y="130"/>
                </a:lnTo>
                <a:lnTo>
                  <a:pt x="728" y="137"/>
                </a:lnTo>
                <a:lnTo>
                  <a:pt x="711" y="137"/>
                </a:lnTo>
                <a:lnTo>
                  <a:pt x="705" y="135"/>
                </a:lnTo>
                <a:lnTo>
                  <a:pt x="701" y="128"/>
                </a:lnTo>
                <a:lnTo>
                  <a:pt x="701" y="135"/>
                </a:lnTo>
                <a:lnTo>
                  <a:pt x="692" y="132"/>
                </a:lnTo>
                <a:lnTo>
                  <a:pt x="686" y="126"/>
                </a:lnTo>
                <a:lnTo>
                  <a:pt x="690" y="122"/>
                </a:lnTo>
                <a:lnTo>
                  <a:pt x="681" y="124"/>
                </a:lnTo>
                <a:lnTo>
                  <a:pt x="684" y="130"/>
                </a:lnTo>
                <a:lnTo>
                  <a:pt x="686" y="137"/>
                </a:lnTo>
                <a:lnTo>
                  <a:pt x="681" y="135"/>
                </a:lnTo>
                <a:lnTo>
                  <a:pt x="673" y="139"/>
                </a:lnTo>
                <a:lnTo>
                  <a:pt x="660" y="137"/>
                </a:lnTo>
                <a:lnTo>
                  <a:pt x="645" y="132"/>
                </a:lnTo>
                <a:lnTo>
                  <a:pt x="643" y="135"/>
                </a:lnTo>
                <a:lnTo>
                  <a:pt x="645" y="137"/>
                </a:lnTo>
                <a:lnTo>
                  <a:pt x="677" y="145"/>
                </a:lnTo>
                <a:lnTo>
                  <a:pt x="686" y="145"/>
                </a:lnTo>
                <a:lnTo>
                  <a:pt x="701" y="152"/>
                </a:lnTo>
                <a:lnTo>
                  <a:pt x="698" y="158"/>
                </a:lnTo>
                <a:lnTo>
                  <a:pt x="690" y="160"/>
                </a:lnTo>
                <a:lnTo>
                  <a:pt x="688" y="167"/>
                </a:lnTo>
                <a:lnTo>
                  <a:pt x="694" y="164"/>
                </a:lnTo>
                <a:lnTo>
                  <a:pt x="694" y="171"/>
                </a:lnTo>
                <a:lnTo>
                  <a:pt x="684" y="186"/>
                </a:lnTo>
                <a:lnTo>
                  <a:pt x="679" y="188"/>
                </a:lnTo>
                <a:lnTo>
                  <a:pt x="671" y="188"/>
                </a:lnTo>
                <a:lnTo>
                  <a:pt x="662" y="181"/>
                </a:lnTo>
                <a:lnTo>
                  <a:pt x="656" y="179"/>
                </a:lnTo>
                <a:lnTo>
                  <a:pt x="650" y="175"/>
                </a:lnTo>
                <a:lnTo>
                  <a:pt x="654" y="181"/>
                </a:lnTo>
                <a:lnTo>
                  <a:pt x="667" y="192"/>
                </a:lnTo>
                <a:lnTo>
                  <a:pt x="681" y="194"/>
                </a:lnTo>
                <a:lnTo>
                  <a:pt x="696" y="186"/>
                </a:lnTo>
                <a:lnTo>
                  <a:pt x="703" y="188"/>
                </a:lnTo>
                <a:lnTo>
                  <a:pt x="701" y="181"/>
                </a:lnTo>
                <a:lnTo>
                  <a:pt x="705" y="181"/>
                </a:lnTo>
                <a:lnTo>
                  <a:pt x="705" y="179"/>
                </a:lnTo>
                <a:lnTo>
                  <a:pt x="707" y="173"/>
                </a:lnTo>
                <a:lnTo>
                  <a:pt x="711" y="179"/>
                </a:lnTo>
                <a:lnTo>
                  <a:pt x="709" y="186"/>
                </a:lnTo>
                <a:lnTo>
                  <a:pt x="716" y="186"/>
                </a:lnTo>
                <a:lnTo>
                  <a:pt x="720" y="177"/>
                </a:lnTo>
                <a:lnTo>
                  <a:pt x="722" y="177"/>
                </a:lnTo>
                <a:lnTo>
                  <a:pt x="724" y="184"/>
                </a:lnTo>
                <a:lnTo>
                  <a:pt x="722" y="190"/>
                </a:lnTo>
                <a:lnTo>
                  <a:pt x="716" y="196"/>
                </a:lnTo>
                <a:lnTo>
                  <a:pt x="709" y="211"/>
                </a:lnTo>
                <a:lnTo>
                  <a:pt x="707" y="211"/>
                </a:lnTo>
                <a:lnTo>
                  <a:pt x="698" y="207"/>
                </a:lnTo>
                <a:lnTo>
                  <a:pt x="696" y="213"/>
                </a:lnTo>
                <a:lnTo>
                  <a:pt x="692" y="207"/>
                </a:lnTo>
                <a:lnTo>
                  <a:pt x="688" y="213"/>
                </a:lnTo>
                <a:lnTo>
                  <a:pt x="686" y="218"/>
                </a:lnTo>
                <a:lnTo>
                  <a:pt x="679" y="218"/>
                </a:lnTo>
                <a:lnTo>
                  <a:pt x="662" y="226"/>
                </a:lnTo>
                <a:lnTo>
                  <a:pt x="654" y="224"/>
                </a:lnTo>
                <a:lnTo>
                  <a:pt x="647" y="237"/>
                </a:lnTo>
                <a:lnTo>
                  <a:pt x="643" y="243"/>
                </a:lnTo>
                <a:lnTo>
                  <a:pt x="641" y="245"/>
                </a:lnTo>
                <a:lnTo>
                  <a:pt x="632" y="243"/>
                </a:lnTo>
                <a:lnTo>
                  <a:pt x="639" y="237"/>
                </a:lnTo>
                <a:lnTo>
                  <a:pt x="630" y="233"/>
                </a:lnTo>
                <a:lnTo>
                  <a:pt x="635" y="239"/>
                </a:lnTo>
                <a:lnTo>
                  <a:pt x="630" y="245"/>
                </a:lnTo>
                <a:lnTo>
                  <a:pt x="635" y="252"/>
                </a:lnTo>
                <a:lnTo>
                  <a:pt x="620" y="264"/>
                </a:lnTo>
                <a:lnTo>
                  <a:pt x="609" y="279"/>
                </a:lnTo>
                <a:lnTo>
                  <a:pt x="603" y="294"/>
                </a:lnTo>
                <a:lnTo>
                  <a:pt x="601" y="303"/>
                </a:lnTo>
                <a:lnTo>
                  <a:pt x="601" y="324"/>
                </a:lnTo>
                <a:lnTo>
                  <a:pt x="596" y="305"/>
                </a:lnTo>
                <a:lnTo>
                  <a:pt x="592" y="299"/>
                </a:lnTo>
                <a:lnTo>
                  <a:pt x="592" y="299"/>
                </a:lnTo>
                <a:lnTo>
                  <a:pt x="596" y="313"/>
                </a:lnTo>
                <a:lnTo>
                  <a:pt x="594" y="328"/>
                </a:lnTo>
                <a:lnTo>
                  <a:pt x="588" y="333"/>
                </a:lnTo>
                <a:lnTo>
                  <a:pt x="575" y="333"/>
                </a:lnTo>
                <a:lnTo>
                  <a:pt x="562" y="337"/>
                </a:lnTo>
                <a:lnTo>
                  <a:pt x="547" y="343"/>
                </a:lnTo>
                <a:lnTo>
                  <a:pt x="543" y="343"/>
                </a:lnTo>
                <a:lnTo>
                  <a:pt x="539" y="341"/>
                </a:lnTo>
                <a:lnTo>
                  <a:pt x="424" y="258"/>
                </a:lnTo>
                <a:lnTo>
                  <a:pt x="324" y="275"/>
                </a:lnTo>
                <a:lnTo>
                  <a:pt x="322" y="273"/>
                </a:lnTo>
                <a:lnTo>
                  <a:pt x="322" y="267"/>
                </a:lnTo>
                <a:lnTo>
                  <a:pt x="317" y="258"/>
                </a:lnTo>
                <a:lnTo>
                  <a:pt x="307" y="247"/>
                </a:lnTo>
                <a:lnTo>
                  <a:pt x="300" y="250"/>
                </a:lnTo>
                <a:lnTo>
                  <a:pt x="292" y="243"/>
                </a:lnTo>
                <a:lnTo>
                  <a:pt x="262" y="245"/>
                </a:lnTo>
                <a:lnTo>
                  <a:pt x="181" y="254"/>
                </a:lnTo>
                <a:lnTo>
                  <a:pt x="175" y="256"/>
                </a:lnTo>
                <a:lnTo>
                  <a:pt x="166" y="260"/>
                </a:lnTo>
                <a:lnTo>
                  <a:pt x="153" y="264"/>
                </a:lnTo>
                <a:lnTo>
                  <a:pt x="141" y="275"/>
                </a:lnTo>
                <a:lnTo>
                  <a:pt x="134" y="275"/>
                </a:lnTo>
                <a:lnTo>
                  <a:pt x="111" y="288"/>
                </a:lnTo>
                <a:lnTo>
                  <a:pt x="0" y="305"/>
                </a:lnTo>
                <a:close/>
              </a:path>
            </a:pathLst>
          </a:cu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1103" name="Freeform 910"/>
          <p:cNvSpPr>
            <a:spLocks/>
          </p:cNvSpPr>
          <p:nvPr/>
        </p:nvSpPr>
        <p:spPr bwMode="auto">
          <a:xfrm>
            <a:off x="6081713" y="3635496"/>
            <a:ext cx="1200150" cy="544513"/>
          </a:xfrm>
          <a:custGeom>
            <a:avLst/>
            <a:gdLst>
              <a:gd name="T0" fmla="*/ 21 w 756"/>
              <a:gd name="T1" fmla="*/ 264 h 343"/>
              <a:gd name="T2" fmla="*/ 47 w 756"/>
              <a:gd name="T3" fmla="*/ 233 h 343"/>
              <a:gd name="T4" fmla="*/ 100 w 756"/>
              <a:gd name="T5" fmla="*/ 198 h 343"/>
              <a:gd name="T6" fmla="*/ 121 w 756"/>
              <a:gd name="T7" fmla="*/ 179 h 343"/>
              <a:gd name="T8" fmla="*/ 141 w 756"/>
              <a:gd name="T9" fmla="*/ 173 h 343"/>
              <a:gd name="T10" fmla="*/ 162 w 756"/>
              <a:gd name="T11" fmla="*/ 152 h 343"/>
              <a:gd name="T12" fmla="*/ 194 w 756"/>
              <a:gd name="T13" fmla="*/ 128 h 343"/>
              <a:gd name="T14" fmla="*/ 209 w 756"/>
              <a:gd name="T15" fmla="*/ 98 h 343"/>
              <a:gd name="T16" fmla="*/ 326 w 756"/>
              <a:gd name="T17" fmla="*/ 75 h 343"/>
              <a:gd name="T18" fmla="*/ 709 w 756"/>
              <a:gd name="T19" fmla="*/ 7 h 343"/>
              <a:gd name="T20" fmla="*/ 737 w 756"/>
              <a:gd name="T21" fmla="*/ 39 h 343"/>
              <a:gd name="T22" fmla="*/ 722 w 756"/>
              <a:gd name="T23" fmla="*/ 34 h 343"/>
              <a:gd name="T24" fmla="*/ 698 w 756"/>
              <a:gd name="T25" fmla="*/ 32 h 343"/>
              <a:gd name="T26" fmla="*/ 705 w 756"/>
              <a:gd name="T27" fmla="*/ 49 h 343"/>
              <a:gd name="T28" fmla="*/ 686 w 756"/>
              <a:gd name="T29" fmla="*/ 51 h 343"/>
              <a:gd name="T30" fmla="*/ 662 w 756"/>
              <a:gd name="T31" fmla="*/ 69 h 343"/>
              <a:gd name="T32" fmla="*/ 656 w 756"/>
              <a:gd name="T33" fmla="*/ 43 h 343"/>
              <a:gd name="T34" fmla="*/ 654 w 756"/>
              <a:gd name="T35" fmla="*/ 58 h 343"/>
              <a:gd name="T36" fmla="*/ 673 w 756"/>
              <a:gd name="T37" fmla="*/ 79 h 343"/>
              <a:gd name="T38" fmla="*/ 703 w 756"/>
              <a:gd name="T39" fmla="*/ 69 h 343"/>
              <a:gd name="T40" fmla="*/ 724 w 756"/>
              <a:gd name="T41" fmla="*/ 79 h 343"/>
              <a:gd name="T42" fmla="*/ 724 w 756"/>
              <a:gd name="T43" fmla="*/ 100 h 343"/>
              <a:gd name="T44" fmla="*/ 739 w 756"/>
              <a:gd name="T45" fmla="*/ 71 h 343"/>
              <a:gd name="T46" fmla="*/ 754 w 756"/>
              <a:gd name="T47" fmla="*/ 75 h 343"/>
              <a:gd name="T48" fmla="*/ 743 w 756"/>
              <a:gd name="T49" fmla="*/ 100 h 343"/>
              <a:gd name="T50" fmla="*/ 711 w 756"/>
              <a:gd name="T51" fmla="*/ 137 h 343"/>
              <a:gd name="T52" fmla="*/ 692 w 756"/>
              <a:gd name="T53" fmla="*/ 132 h 343"/>
              <a:gd name="T54" fmla="*/ 684 w 756"/>
              <a:gd name="T55" fmla="*/ 130 h 343"/>
              <a:gd name="T56" fmla="*/ 660 w 756"/>
              <a:gd name="T57" fmla="*/ 137 h 343"/>
              <a:gd name="T58" fmla="*/ 677 w 756"/>
              <a:gd name="T59" fmla="*/ 145 h 343"/>
              <a:gd name="T60" fmla="*/ 690 w 756"/>
              <a:gd name="T61" fmla="*/ 160 h 343"/>
              <a:gd name="T62" fmla="*/ 684 w 756"/>
              <a:gd name="T63" fmla="*/ 186 h 343"/>
              <a:gd name="T64" fmla="*/ 656 w 756"/>
              <a:gd name="T65" fmla="*/ 179 h 343"/>
              <a:gd name="T66" fmla="*/ 681 w 756"/>
              <a:gd name="T67" fmla="*/ 194 h 343"/>
              <a:gd name="T68" fmla="*/ 705 w 756"/>
              <a:gd name="T69" fmla="*/ 181 h 343"/>
              <a:gd name="T70" fmla="*/ 709 w 756"/>
              <a:gd name="T71" fmla="*/ 186 h 343"/>
              <a:gd name="T72" fmla="*/ 724 w 756"/>
              <a:gd name="T73" fmla="*/ 184 h 343"/>
              <a:gd name="T74" fmla="*/ 707 w 756"/>
              <a:gd name="T75" fmla="*/ 211 h 343"/>
              <a:gd name="T76" fmla="*/ 688 w 756"/>
              <a:gd name="T77" fmla="*/ 213 h 343"/>
              <a:gd name="T78" fmla="*/ 654 w 756"/>
              <a:gd name="T79" fmla="*/ 224 h 343"/>
              <a:gd name="T80" fmla="*/ 632 w 756"/>
              <a:gd name="T81" fmla="*/ 243 h 343"/>
              <a:gd name="T82" fmla="*/ 630 w 756"/>
              <a:gd name="T83" fmla="*/ 245 h 343"/>
              <a:gd name="T84" fmla="*/ 603 w 756"/>
              <a:gd name="T85" fmla="*/ 294 h 343"/>
              <a:gd name="T86" fmla="*/ 592 w 756"/>
              <a:gd name="T87" fmla="*/ 299 h 343"/>
              <a:gd name="T88" fmla="*/ 588 w 756"/>
              <a:gd name="T89" fmla="*/ 333 h 343"/>
              <a:gd name="T90" fmla="*/ 543 w 756"/>
              <a:gd name="T91" fmla="*/ 343 h 343"/>
              <a:gd name="T92" fmla="*/ 322 w 756"/>
              <a:gd name="T93" fmla="*/ 273 h 343"/>
              <a:gd name="T94" fmla="*/ 300 w 756"/>
              <a:gd name="T95" fmla="*/ 250 h 343"/>
              <a:gd name="T96" fmla="*/ 175 w 756"/>
              <a:gd name="T97" fmla="*/ 256 h 343"/>
              <a:gd name="T98" fmla="*/ 134 w 756"/>
              <a:gd name="T99" fmla="*/ 275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56" h="343">
                <a:moveTo>
                  <a:pt x="0" y="305"/>
                </a:moveTo>
                <a:lnTo>
                  <a:pt x="0" y="275"/>
                </a:lnTo>
                <a:lnTo>
                  <a:pt x="15" y="273"/>
                </a:lnTo>
                <a:lnTo>
                  <a:pt x="21" y="264"/>
                </a:lnTo>
                <a:lnTo>
                  <a:pt x="21" y="256"/>
                </a:lnTo>
                <a:lnTo>
                  <a:pt x="26" y="247"/>
                </a:lnTo>
                <a:lnTo>
                  <a:pt x="32" y="241"/>
                </a:lnTo>
                <a:lnTo>
                  <a:pt x="47" y="233"/>
                </a:lnTo>
                <a:lnTo>
                  <a:pt x="60" y="233"/>
                </a:lnTo>
                <a:lnTo>
                  <a:pt x="66" y="228"/>
                </a:lnTo>
                <a:lnTo>
                  <a:pt x="87" y="209"/>
                </a:lnTo>
                <a:lnTo>
                  <a:pt x="100" y="198"/>
                </a:lnTo>
                <a:lnTo>
                  <a:pt x="107" y="198"/>
                </a:lnTo>
                <a:lnTo>
                  <a:pt x="111" y="192"/>
                </a:lnTo>
                <a:lnTo>
                  <a:pt x="115" y="177"/>
                </a:lnTo>
                <a:lnTo>
                  <a:pt x="121" y="179"/>
                </a:lnTo>
                <a:lnTo>
                  <a:pt x="124" y="173"/>
                </a:lnTo>
                <a:lnTo>
                  <a:pt x="126" y="169"/>
                </a:lnTo>
                <a:lnTo>
                  <a:pt x="134" y="164"/>
                </a:lnTo>
                <a:lnTo>
                  <a:pt x="141" y="173"/>
                </a:lnTo>
                <a:lnTo>
                  <a:pt x="145" y="173"/>
                </a:lnTo>
                <a:lnTo>
                  <a:pt x="151" y="164"/>
                </a:lnTo>
                <a:lnTo>
                  <a:pt x="156" y="158"/>
                </a:lnTo>
                <a:lnTo>
                  <a:pt x="162" y="152"/>
                </a:lnTo>
                <a:lnTo>
                  <a:pt x="175" y="147"/>
                </a:lnTo>
                <a:lnTo>
                  <a:pt x="181" y="152"/>
                </a:lnTo>
                <a:lnTo>
                  <a:pt x="190" y="143"/>
                </a:lnTo>
                <a:lnTo>
                  <a:pt x="194" y="128"/>
                </a:lnTo>
                <a:lnTo>
                  <a:pt x="200" y="122"/>
                </a:lnTo>
                <a:lnTo>
                  <a:pt x="207" y="120"/>
                </a:lnTo>
                <a:lnTo>
                  <a:pt x="209" y="105"/>
                </a:lnTo>
                <a:lnTo>
                  <a:pt x="209" y="98"/>
                </a:lnTo>
                <a:lnTo>
                  <a:pt x="213" y="88"/>
                </a:lnTo>
                <a:lnTo>
                  <a:pt x="226" y="90"/>
                </a:lnTo>
                <a:lnTo>
                  <a:pt x="256" y="86"/>
                </a:lnTo>
                <a:lnTo>
                  <a:pt x="326" y="75"/>
                </a:lnTo>
                <a:lnTo>
                  <a:pt x="522" y="39"/>
                </a:lnTo>
                <a:lnTo>
                  <a:pt x="620" y="20"/>
                </a:lnTo>
                <a:lnTo>
                  <a:pt x="707" y="0"/>
                </a:lnTo>
                <a:lnTo>
                  <a:pt x="709" y="7"/>
                </a:lnTo>
                <a:lnTo>
                  <a:pt x="716" y="13"/>
                </a:lnTo>
                <a:lnTo>
                  <a:pt x="722" y="15"/>
                </a:lnTo>
                <a:lnTo>
                  <a:pt x="722" y="20"/>
                </a:lnTo>
                <a:lnTo>
                  <a:pt x="737" y="39"/>
                </a:lnTo>
                <a:lnTo>
                  <a:pt x="737" y="47"/>
                </a:lnTo>
                <a:lnTo>
                  <a:pt x="733" y="37"/>
                </a:lnTo>
                <a:lnTo>
                  <a:pt x="718" y="26"/>
                </a:lnTo>
                <a:lnTo>
                  <a:pt x="722" y="34"/>
                </a:lnTo>
                <a:lnTo>
                  <a:pt x="728" y="41"/>
                </a:lnTo>
                <a:lnTo>
                  <a:pt x="720" y="41"/>
                </a:lnTo>
                <a:lnTo>
                  <a:pt x="705" y="32"/>
                </a:lnTo>
                <a:lnTo>
                  <a:pt x="698" y="32"/>
                </a:lnTo>
                <a:lnTo>
                  <a:pt x="705" y="34"/>
                </a:lnTo>
                <a:lnTo>
                  <a:pt x="711" y="41"/>
                </a:lnTo>
                <a:lnTo>
                  <a:pt x="711" y="47"/>
                </a:lnTo>
                <a:lnTo>
                  <a:pt x="705" y="49"/>
                </a:lnTo>
                <a:lnTo>
                  <a:pt x="698" y="47"/>
                </a:lnTo>
                <a:lnTo>
                  <a:pt x="703" y="54"/>
                </a:lnTo>
                <a:lnTo>
                  <a:pt x="692" y="51"/>
                </a:lnTo>
                <a:lnTo>
                  <a:pt x="686" y="51"/>
                </a:lnTo>
                <a:lnTo>
                  <a:pt x="694" y="58"/>
                </a:lnTo>
                <a:lnTo>
                  <a:pt x="677" y="71"/>
                </a:lnTo>
                <a:lnTo>
                  <a:pt x="671" y="66"/>
                </a:lnTo>
                <a:lnTo>
                  <a:pt x="662" y="69"/>
                </a:lnTo>
                <a:lnTo>
                  <a:pt x="656" y="54"/>
                </a:lnTo>
                <a:lnTo>
                  <a:pt x="656" y="47"/>
                </a:lnTo>
                <a:lnTo>
                  <a:pt x="656" y="45"/>
                </a:lnTo>
                <a:lnTo>
                  <a:pt x="656" y="43"/>
                </a:lnTo>
                <a:lnTo>
                  <a:pt x="652" y="39"/>
                </a:lnTo>
                <a:lnTo>
                  <a:pt x="656" y="45"/>
                </a:lnTo>
                <a:lnTo>
                  <a:pt x="652" y="51"/>
                </a:lnTo>
                <a:lnTo>
                  <a:pt x="654" y="58"/>
                </a:lnTo>
                <a:lnTo>
                  <a:pt x="658" y="66"/>
                </a:lnTo>
                <a:lnTo>
                  <a:pt x="664" y="73"/>
                </a:lnTo>
                <a:lnTo>
                  <a:pt x="664" y="81"/>
                </a:lnTo>
                <a:lnTo>
                  <a:pt x="673" y="79"/>
                </a:lnTo>
                <a:lnTo>
                  <a:pt x="679" y="77"/>
                </a:lnTo>
                <a:lnTo>
                  <a:pt x="688" y="71"/>
                </a:lnTo>
                <a:lnTo>
                  <a:pt x="703" y="75"/>
                </a:lnTo>
                <a:lnTo>
                  <a:pt x="703" y="69"/>
                </a:lnTo>
                <a:lnTo>
                  <a:pt x="713" y="64"/>
                </a:lnTo>
                <a:lnTo>
                  <a:pt x="722" y="64"/>
                </a:lnTo>
                <a:lnTo>
                  <a:pt x="724" y="71"/>
                </a:lnTo>
                <a:lnTo>
                  <a:pt x="724" y="79"/>
                </a:lnTo>
                <a:lnTo>
                  <a:pt x="720" y="88"/>
                </a:lnTo>
                <a:lnTo>
                  <a:pt x="726" y="90"/>
                </a:lnTo>
                <a:lnTo>
                  <a:pt x="722" y="96"/>
                </a:lnTo>
                <a:lnTo>
                  <a:pt x="724" y="100"/>
                </a:lnTo>
                <a:lnTo>
                  <a:pt x="733" y="94"/>
                </a:lnTo>
                <a:lnTo>
                  <a:pt x="730" y="79"/>
                </a:lnTo>
                <a:lnTo>
                  <a:pt x="730" y="71"/>
                </a:lnTo>
                <a:lnTo>
                  <a:pt x="739" y="71"/>
                </a:lnTo>
                <a:lnTo>
                  <a:pt x="741" y="64"/>
                </a:lnTo>
                <a:lnTo>
                  <a:pt x="741" y="62"/>
                </a:lnTo>
                <a:lnTo>
                  <a:pt x="747" y="69"/>
                </a:lnTo>
                <a:lnTo>
                  <a:pt x="754" y="75"/>
                </a:lnTo>
                <a:lnTo>
                  <a:pt x="754" y="90"/>
                </a:lnTo>
                <a:lnTo>
                  <a:pt x="756" y="96"/>
                </a:lnTo>
                <a:lnTo>
                  <a:pt x="750" y="103"/>
                </a:lnTo>
                <a:lnTo>
                  <a:pt x="743" y="100"/>
                </a:lnTo>
                <a:lnTo>
                  <a:pt x="743" y="107"/>
                </a:lnTo>
                <a:lnTo>
                  <a:pt x="733" y="130"/>
                </a:lnTo>
                <a:lnTo>
                  <a:pt x="728" y="137"/>
                </a:lnTo>
                <a:lnTo>
                  <a:pt x="711" y="137"/>
                </a:lnTo>
                <a:lnTo>
                  <a:pt x="705" y="135"/>
                </a:lnTo>
                <a:lnTo>
                  <a:pt x="701" y="128"/>
                </a:lnTo>
                <a:lnTo>
                  <a:pt x="701" y="135"/>
                </a:lnTo>
                <a:lnTo>
                  <a:pt x="692" y="132"/>
                </a:lnTo>
                <a:lnTo>
                  <a:pt x="686" y="126"/>
                </a:lnTo>
                <a:lnTo>
                  <a:pt x="690" y="122"/>
                </a:lnTo>
                <a:lnTo>
                  <a:pt x="681" y="124"/>
                </a:lnTo>
                <a:lnTo>
                  <a:pt x="684" y="130"/>
                </a:lnTo>
                <a:lnTo>
                  <a:pt x="686" y="137"/>
                </a:lnTo>
                <a:lnTo>
                  <a:pt x="681" y="135"/>
                </a:lnTo>
                <a:lnTo>
                  <a:pt x="673" y="139"/>
                </a:lnTo>
                <a:lnTo>
                  <a:pt x="660" y="137"/>
                </a:lnTo>
                <a:lnTo>
                  <a:pt x="645" y="132"/>
                </a:lnTo>
                <a:lnTo>
                  <a:pt x="643" y="135"/>
                </a:lnTo>
                <a:lnTo>
                  <a:pt x="645" y="137"/>
                </a:lnTo>
                <a:lnTo>
                  <a:pt x="677" y="145"/>
                </a:lnTo>
                <a:lnTo>
                  <a:pt x="686" y="145"/>
                </a:lnTo>
                <a:lnTo>
                  <a:pt x="701" y="152"/>
                </a:lnTo>
                <a:lnTo>
                  <a:pt x="698" y="158"/>
                </a:lnTo>
                <a:lnTo>
                  <a:pt x="690" y="160"/>
                </a:lnTo>
                <a:lnTo>
                  <a:pt x="688" y="167"/>
                </a:lnTo>
                <a:lnTo>
                  <a:pt x="694" y="164"/>
                </a:lnTo>
                <a:lnTo>
                  <a:pt x="694" y="171"/>
                </a:lnTo>
                <a:lnTo>
                  <a:pt x="684" y="186"/>
                </a:lnTo>
                <a:lnTo>
                  <a:pt x="679" y="188"/>
                </a:lnTo>
                <a:lnTo>
                  <a:pt x="671" y="188"/>
                </a:lnTo>
                <a:lnTo>
                  <a:pt x="662" y="181"/>
                </a:lnTo>
                <a:lnTo>
                  <a:pt x="656" y="179"/>
                </a:lnTo>
                <a:lnTo>
                  <a:pt x="650" y="175"/>
                </a:lnTo>
                <a:lnTo>
                  <a:pt x="654" y="181"/>
                </a:lnTo>
                <a:lnTo>
                  <a:pt x="667" y="192"/>
                </a:lnTo>
                <a:lnTo>
                  <a:pt x="681" y="194"/>
                </a:lnTo>
                <a:lnTo>
                  <a:pt x="696" y="186"/>
                </a:lnTo>
                <a:lnTo>
                  <a:pt x="703" y="188"/>
                </a:lnTo>
                <a:lnTo>
                  <a:pt x="701" y="181"/>
                </a:lnTo>
                <a:lnTo>
                  <a:pt x="705" y="181"/>
                </a:lnTo>
                <a:lnTo>
                  <a:pt x="705" y="179"/>
                </a:lnTo>
                <a:lnTo>
                  <a:pt x="707" y="173"/>
                </a:lnTo>
                <a:lnTo>
                  <a:pt x="711" y="179"/>
                </a:lnTo>
                <a:lnTo>
                  <a:pt x="709" y="186"/>
                </a:lnTo>
                <a:lnTo>
                  <a:pt x="716" y="186"/>
                </a:lnTo>
                <a:lnTo>
                  <a:pt x="720" y="177"/>
                </a:lnTo>
                <a:lnTo>
                  <a:pt x="722" y="177"/>
                </a:lnTo>
                <a:lnTo>
                  <a:pt x="724" y="184"/>
                </a:lnTo>
                <a:lnTo>
                  <a:pt x="722" y="190"/>
                </a:lnTo>
                <a:lnTo>
                  <a:pt x="716" y="196"/>
                </a:lnTo>
                <a:lnTo>
                  <a:pt x="709" y="211"/>
                </a:lnTo>
                <a:lnTo>
                  <a:pt x="707" y="211"/>
                </a:lnTo>
                <a:lnTo>
                  <a:pt x="698" y="207"/>
                </a:lnTo>
                <a:lnTo>
                  <a:pt x="696" y="213"/>
                </a:lnTo>
                <a:lnTo>
                  <a:pt x="692" y="207"/>
                </a:lnTo>
                <a:lnTo>
                  <a:pt x="688" y="213"/>
                </a:lnTo>
                <a:lnTo>
                  <a:pt x="686" y="218"/>
                </a:lnTo>
                <a:lnTo>
                  <a:pt x="679" y="218"/>
                </a:lnTo>
                <a:lnTo>
                  <a:pt x="662" y="226"/>
                </a:lnTo>
                <a:lnTo>
                  <a:pt x="654" y="224"/>
                </a:lnTo>
                <a:lnTo>
                  <a:pt x="647" y="237"/>
                </a:lnTo>
                <a:lnTo>
                  <a:pt x="643" y="243"/>
                </a:lnTo>
                <a:lnTo>
                  <a:pt x="641" y="245"/>
                </a:lnTo>
                <a:lnTo>
                  <a:pt x="632" y="243"/>
                </a:lnTo>
                <a:lnTo>
                  <a:pt x="639" y="237"/>
                </a:lnTo>
                <a:lnTo>
                  <a:pt x="630" y="233"/>
                </a:lnTo>
                <a:lnTo>
                  <a:pt x="635" y="239"/>
                </a:lnTo>
                <a:lnTo>
                  <a:pt x="630" y="245"/>
                </a:lnTo>
                <a:lnTo>
                  <a:pt x="635" y="252"/>
                </a:lnTo>
                <a:lnTo>
                  <a:pt x="620" y="264"/>
                </a:lnTo>
                <a:lnTo>
                  <a:pt x="609" y="279"/>
                </a:lnTo>
                <a:lnTo>
                  <a:pt x="603" y="294"/>
                </a:lnTo>
                <a:lnTo>
                  <a:pt x="601" y="303"/>
                </a:lnTo>
                <a:lnTo>
                  <a:pt x="601" y="324"/>
                </a:lnTo>
                <a:lnTo>
                  <a:pt x="596" y="305"/>
                </a:lnTo>
                <a:lnTo>
                  <a:pt x="592" y="299"/>
                </a:lnTo>
                <a:lnTo>
                  <a:pt x="592" y="299"/>
                </a:lnTo>
                <a:lnTo>
                  <a:pt x="596" y="313"/>
                </a:lnTo>
                <a:lnTo>
                  <a:pt x="594" y="328"/>
                </a:lnTo>
                <a:lnTo>
                  <a:pt x="588" y="333"/>
                </a:lnTo>
                <a:lnTo>
                  <a:pt x="575" y="333"/>
                </a:lnTo>
                <a:lnTo>
                  <a:pt x="562" y="337"/>
                </a:lnTo>
                <a:lnTo>
                  <a:pt x="547" y="343"/>
                </a:lnTo>
                <a:lnTo>
                  <a:pt x="543" y="343"/>
                </a:lnTo>
                <a:lnTo>
                  <a:pt x="539" y="341"/>
                </a:lnTo>
                <a:lnTo>
                  <a:pt x="424" y="258"/>
                </a:lnTo>
                <a:lnTo>
                  <a:pt x="324" y="275"/>
                </a:lnTo>
                <a:lnTo>
                  <a:pt x="322" y="273"/>
                </a:lnTo>
                <a:lnTo>
                  <a:pt x="322" y="267"/>
                </a:lnTo>
                <a:lnTo>
                  <a:pt x="317" y="258"/>
                </a:lnTo>
                <a:lnTo>
                  <a:pt x="307" y="247"/>
                </a:lnTo>
                <a:lnTo>
                  <a:pt x="300" y="250"/>
                </a:lnTo>
                <a:lnTo>
                  <a:pt x="292" y="243"/>
                </a:lnTo>
                <a:lnTo>
                  <a:pt x="262" y="245"/>
                </a:lnTo>
                <a:lnTo>
                  <a:pt x="181" y="254"/>
                </a:lnTo>
                <a:lnTo>
                  <a:pt x="175" y="256"/>
                </a:lnTo>
                <a:lnTo>
                  <a:pt x="166" y="260"/>
                </a:lnTo>
                <a:lnTo>
                  <a:pt x="153" y="264"/>
                </a:lnTo>
                <a:lnTo>
                  <a:pt x="141" y="275"/>
                </a:lnTo>
                <a:lnTo>
                  <a:pt x="134" y="275"/>
                </a:lnTo>
                <a:lnTo>
                  <a:pt x="111" y="288"/>
                </a:lnTo>
                <a:lnTo>
                  <a:pt x="0" y="305"/>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4" name="Freeform 911"/>
          <p:cNvSpPr>
            <a:spLocks/>
          </p:cNvSpPr>
          <p:nvPr/>
        </p:nvSpPr>
        <p:spPr bwMode="auto">
          <a:xfrm>
            <a:off x="7116763" y="3697409"/>
            <a:ext cx="6350" cy="9525"/>
          </a:xfrm>
          <a:custGeom>
            <a:avLst/>
            <a:gdLst>
              <a:gd name="T0" fmla="*/ 0 w 4"/>
              <a:gd name="T1" fmla="*/ 0 h 6"/>
              <a:gd name="T2" fmla="*/ 4 w 4"/>
              <a:gd name="T3" fmla="*/ 4 h 6"/>
              <a:gd name="T4" fmla="*/ 4 w 4"/>
              <a:gd name="T5" fmla="*/ 6 h 6"/>
              <a:gd name="T6" fmla="*/ 0 w 4"/>
              <a:gd name="T7" fmla="*/ 0 h 6"/>
            </a:gdLst>
            <a:ahLst/>
            <a:cxnLst>
              <a:cxn ang="0">
                <a:pos x="T0" y="T1"/>
              </a:cxn>
              <a:cxn ang="0">
                <a:pos x="T2" y="T3"/>
              </a:cxn>
              <a:cxn ang="0">
                <a:pos x="T4" y="T5"/>
              </a:cxn>
              <a:cxn ang="0">
                <a:pos x="T6" y="T7"/>
              </a:cxn>
            </a:cxnLst>
            <a:rect l="0" t="0" r="r" b="b"/>
            <a:pathLst>
              <a:path w="4" h="6">
                <a:moveTo>
                  <a:pt x="0" y="0"/>
                </a:moveTo>
                <a:lnTo>
                  <a:pt x="4" y="4"/>
                </a:lnTo>
                <a:lnTo>
                  <a:pt x="4" y="6"/>
                </a:lnTo>
                <a:lnTo>
                  <a:pt x="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5" name="Freeform 912"/>
          <p:cNvSpPr>
            <a:spLocks/>
          </p:cNvSpPr>
          <p:nvPr/>
        </p:nvSpPr>
        <p:spPr bwMode="auto">
          <a:xfrm>
            <a:off x="7116763" y="3697409"/>
            <a:ext cx="6350" cy="9525"/>
          </a:xfrm>
          <a:custGeom>
            <a:avLst/>
            <a:gdLst>
              <a:gd name="T0" fmla="*/ 0 w 4"/>
              <a:gd name="T1" fmla="*/ 0 h 6"/>
              <a:gd name="T2" fmla="*/ 4 w 4"/>
              <a:gd name="T3" fmla="*/ 4 h 6"/>
              <a:gd name="T4" fmla="*/ 4 w 4"/>
              <a:gd name="T5" fmla="*/ 6 h 6"/>
              <a:gd name="T6" fmla="*/ 0 w 4"/>
              <a:gd name="T7" fmla="*/ 0 h 6"/>
            </a:gdLst>
            <a:ahLst/>
            <a:cxnLst>
              <a:cxn ang="0">
                <a:pos x="T0" y="T1"/>
              </a:cxn>
              <a:cxn ang="0">
                <a:pos x="T2" y="T3"/>
              </a:cxn>
              <a:cxn ang="0">
                <a:pos x="T4" y="T5"/>
              </a:cxn>
              <a:cxn ang="0">
                <a:pos x="T6" y="T7"/>
              </a:cxn>
            </a:cxnLst>
            <a:rect l="0" t="0" r="r" b="b"/>
            <a:pathLst>
              <a:path w="4" h="6">
                <a:moveTo>
                  <a:pt x="0" y="0"/>
                </a:moveTo>
                <a:lnTo>
                  <a:pt x="4" y="4"/>
                </a:lnTo>
                <a:lnTo>
                  <a:pt x="4" y="6"/>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6" name="Freeform 913"/>
          <p:cNvSpPr>
            <a:spLocks/>
          </p:cNvSpPr>
          <p:nvPr/>
        </p:nvSpPr>
        <p:spPr bwMode="auto">
          <a:xfrm>
            <a:off x="7207250" y="3632321"/>
            <a:ext cx="17463" cy="11113"/>
          </a:xfrm>
          <a:custGeom>
            <a:avLst/>
            <a:gdLst>
              <a:gd name="T0" fmla="*/ 0 w 11"/>
              <a:gd name="T1" fmla="*/ 2 h 7"/>
              <a:gd name="T2" fmla="*/ 4 w 11"/>
              <a:gd name="T3" fmla="*/ 0 h 7"/>
              <a:gd name="T4" fmla="*/ 11 w 11"/>
              <a:gd name="T5" fmla="*/ 0 h 7"/>
              <a:gd name="T6" fmla="*/ 9 w 11"/>
              <a:gd name="T7" fmla="*/ 7 h 7"/>
              <a:gd name="T8" fmla="*/ 0 w 11"/>
              <a:gd name="T9" fmla="*/ 2 h 7"/>
            </a:gdLst>
            <a:ahLst/>
            <a:cxnLst>
              <a:cxn ang="0">
                <a:pos x="T0" y="T1"/>
              </a:cxn>
              <a:cxn ang="0">
                <a:pos x="T2" y="T3"/>
              </a:cxn>
              <a:cxn ang="0">
                <a:pos x="T4" y="T5"/>
              </a:cxn>
              <a:cxn ang="0">
                <a:pos x="T6" y="T7"/>
              </a:cxn>
              <a:cxn ang="0">
                <a:pos x="T8" y="T9"/>
              </a:cxn>
            </a:cxnLst>
            <a:rect l="0" t="0" r="r" b="b"/>
            <a:pathLst>
              <a:path w="11" h="7">
                <a:moveTo>
                  <a:pt x="0" y="2"/>
                </a:moveTo>
                <a:lnTo>
                  <a:pt x="4" y="0"/>
                </a:lnTo>
                <a:lnTo>
                  <a:pt x="11" y="0"/>
                </a:lnTo>
                <a:lnTo>
                  <a:pt x="9" y="7"/>
                </a:lnTo>
                <a:lnTo>
                  <a:pt x="0"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7" name="Freeform 914"/>
          <p:cNvSpPr>
            <a:spLocks/>
          </p:cNvSpPr>
          <p:nvPr/>
        </p:nvSpPr>
        <p:spPr bwMode="auto">
          <a:xfrm>
            <a:off x="7207250" y="3632321"/>
            <a:ext cx="17463" cy="11113"/>
          </a:xfrm>
          <a:custGeom>
            <a:avLst/>
            <a:gdLst>
              <a:gd name="T0" fmla="*/ 0 w 11"/>
              <a:gd name="T1" fmla="*/ 2 h 7"/>
              <a:gd name="T2" fmla="*/ 4 w 11"/>
              <a:gd name="T3" fmla="*/ 0 h 7"/>
              <a:gd name="T4" fmla="*/ 11 w 11"/>
              <a:gd name="T5" fmla="*/ 0 h 7"/>
              <a:gd name="T6" fmla="*/ 9 w 11"/>
              <a:gd name="T7" fmla="*/ 7 h 7"/>
              <a:gd name="T8" fmla="*/ 0 w 11"/>
              <a:gd name="T9" fmla="*/ 2 h 7"/>
            </a:gdLst>
            <a:ahLst/>
            <a:cxnLst>
              <a:cxn ang="0">
                <a:pos x="T0" y="T1"/>
              </a:cxn>
              <a:cxn ang="0">
                <a:pos x="T2" y="T3"/>
              </a:cxn>
              <a:cxn ang="0">
                <a:pos x="T4" y="T5"/>
              </a:cxn>
              <a:cxn ang="0">
                <a:pos x="T6" y="T7"/>
              </a:cxn>
              <a:cxn ang="0">
                <a:pos x="T8" y="T9"/>
              </a:cxn>
            </a:cxnLst>
            <a:rect l="0" t="0" r="r" b="b"/>
            <a:pathLst>
              <a:path w="11" h="7">
                <a:moveTo>
                  <a:pt x="0" y="2"/>
                </a:moveTo>
                <a:lnTo>
                  <a:pt x="4" y="0"/>
                </a:lnTo>
                <a:lnTo>
                  <a:pt x="11" y="0"/>
                </a:lnTo>
                <a:lnTo>
                  <a:pt x="9" y="7"/>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08" name="Freeform 915"/>
          <p:cNvSpPr>
            <a:spLocks/>
          </p:cNvSpPr>
          <p:nvPr/>
        </p:nvSpPr>
        <p:spPr bwMode="auto">
          <a:xfrm>
            <a:off x="7227888" y="3629146"/>
            <a:ext cx="74613" cy="122238"/>
          </a:xfrm>
          <a:custGeom>
            <a:avLst/>
            <a:gdLst>
              <a:gd name="T0" fmla="*/ 0 w 47"/>
              <a:gd name="T1" fmla="*/ 2 h 77"/>
              <a:gd name="T2" fmla="*/ 2 w 47"/>
              <a:gd name="T3" fmla="*/ 0 h 77"/>
              <a:gd name="T4" fmla="*/ 2 w 47"/>
              <a:gd name="T5" fmla="*/ 2 h 77"/>
              <a:gd name="T6" fmla="*/ 15 w 47"/>
              <a:gd name="T7" fmla="*/ 32 h 77"/>
              <a:gd name="T8" fmla="*/ 25 w 47"/>
              <a:gd name="T9" fmla="*/ 45 h 77"/>
              <a:gd name="T10" fmla="*/ 43 w 47"/>
              <a:gd name="T11" fmla="*/ 68 h 77"/>
              <a:gd name="T12" fmla="*/ 47 w 47"/>
              <a:gd name="T13" fmla="*/ 75 h 77"/>
              <a:gd name="T14" fmla="*/ 45 w 47"/>
              <a:gd name="T15" fmla="*/ 77 h 77"/>
              <a:gd name="T16" fmla="*/ 40 w 47"/>
              <a:gd name="T17" fmla="*/ 68 h 77"/>
              <a:gd name="T18" fmla="*/ 34 w 47"/>
              <a:gd name="T19" fmla="*/ 62 h 77"/>
              <a:gd name="T20" fmla="*/ 28 w 47"/>
              <a:gd name="T21" fmla="*/ 60 h 77"/>
              <a:gd name="T22" fmla="*/ 30 w 47"/>
              <a:gd name="T23" fmla="*/ 55 h 77"/>
              <a:gd name="T24" fmla="*/ 23 w 47"/>
              <a:gd name="T25" fmla="*/ 49 h 77"/>
              <a:gd name="T26" fmla="*/ 17 w 47"/>
              <a:gd name="T27" fmla="*/ 36 h 77"/>
              <a:gd name="T28" fmla="*/ 13 w 47"/>
              <a:gd name="T29" fmla="*/ 30 h 77"/>
              <a:gd name="T30" fmla="*/ 0 w 47"/>
              <a:gd name="T31"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77">
                <a:moveTo>
                  <a:pt x="0" y="2"/>
                </a:moveTo>
                <a:lnTo>
                  <a:pt x="2" y="0"/>
                </a:lnTo>
                <a:lnTo>
                  <a:pt x="2" y="2"/>
                </a:lnTo>
                <a:lnTo>
                  <a:pt x="15" y="32"/>
                </a:lnTo>
                <a:lnTo>
                  <a:pt x="25" y="45"/>
                </a:lnTo>
                <a:lnTo>
                  <a:pt x="43" y="68"/>
                </a:lnTo>
                <a:lnTo>
                  <a:pt x="47" y="75"/>
                </a:lnTo>
                <a:lnTo>
                  <a:pt x="45" y="77"/>
                </a:lnTo>
                <a:lnTo>
                  <a:pt x="40" y="68"/>
                </a:lnTo>
                <a:lnTo>
                  <a:pt x="34" y="62"/>
                </a:lnTo>
                <a:lnTo>
                  <a:pt x="28" y="60"/>
                </a:lnTo>
                <a:lnTo>
                  <a:pt x="30" y="55"/>
                </a:lnTo>
                <a:lnTo>
                  <a:pt x="23" y="49"/>
                </a:lnTo>
                <a:lnTo>
                  <a:pt x="17" y="36"/>
                </a:lnTo>
                <a:lnTo>
                  <a:pt x="13" y="30"/>
                </a:lnTo>
                <a:lnTo>
                  <a:pt x="0" y="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09" name="Freeform 916"/>
          <p:cNvSpPr>
            <a:spLocks/>
          </p:cNvSpPr>
          <p:nvPr/>
        </p:nvSpPr>
        <p:spPr bwMode="auto">
          <a:xfrm>
            <a:off x="7227888" y="3629146"/>
            <a:ext cx="74613" cy="122238"/>
          </a:xfrm>
          <a:custGeom>
            <a:avLst/>
            <a:gdLst>
              <a:gd name="T0" fmla="*/ 0 w 47"/>
              <a:gd name="T1" fmla="*/ 2 h 77"/>
              <a:gd name="T2" fmla="*/ 2 w 47"/>
              <a:gd name="T3" fmla="*/ 0 h 77"/>
              <a:gd name="T4" fmla="*/ 2 w 47"/>
              <a:gd name="T5" fmla="*/ 2 h 77"/>
              <a:gd name="T6" fmla="*/ 15 w 47"/>
              <a:gd name="T7" fmla="*/ 32 h 77"/>
              <a:gd name="T8" fmla="*/ 25 w 47"/>
              <a:gd name="T9" fmla="*/ 45 h 77"/>
              <a:gd name="T10" fmla="*/ 43 w 47"/>
              <a:gd name="T11" fmla="*/ 68 h 77"/>
              <a:gd name="T12" fmla="*/ 47 w 47"/>
              <a:gd name="T13" fmla="*/ 75 h 77"/>
              <a:gd name="T14" fmla="*/ 45 w 47"/>
              <a:gd name="T15" fmla="*/ 77 h 77"/>
              <a:gd name="T16" fmla="*/ 40 w 47"/>
              <a:gd name="T17" fmla="*/ 68 h 77"/>
              <a:gd name="T18" fmla="*/ 34 w 47"/>
              <a:gd name="T19" fmla="*/ 62 h 77"/>
              <a:gd name="T20" fmla="*/ 28 w 47"/>
              <a:gd name="T21" fmla="*/ 60 h 77"/>
              <a:gd name="T22" fmla="*/ 30 w 47"/>
              <a:gd name="T23" fmla="*/ 55 h 77"/>
              <a:gd name="T24" fmla="*/ 23 w 47"/>
              <a:gd name="T25" fmla="*/ 49 h 77"/>
              <a:gd name="T26" fmla="*/ 17 w 47"/>
              <a:gd name="T27" fmla="*/ 36 h 77"/>
              <a:gd name="T28" fmla="*/ 13 w 47"/>
              <a:gd name="T29" fmla="*/ 30 h 77"/>
              <a:gd name="T30" fmla="*/ 0 w 47"/>
              <a:gd name="T31"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7" h="77">
                <a:moveTo>
                  <a:pt x="0" y="2"/>
                </a:moveTo>
                <a:lnTo>
                  <a:pt x="2" y="0"/>
                </a:lnTo>
                <a:lnTo>
                  <a:pt x="2" y="2"/>
                </a:lnTo>
                <a:lnTo>
                  <a:pt x="15" y="32"/>
                </a:lnTo>
                <a:lnTo>
                  <a:pt x="25" y="45"/>
                </a:lnTo>
                <a:lnTo>
                  <a:pt x="43" y="68"/>
                </a:lnTo>
                <a:lnTo>
                  <a:pt x="47" y="75"/>
                </a:lnTo>
                <a:lnTo>
                  <a:pt x="45" y="77"/>
                </a:lnTo>
                <a:lnTo>
                  <a:pt x="40" y="68"/>
                </a:lnTo>
                <a:lnTo>
                  <a:pt x="34" y="62"/>
                </a:lnTo>
                <a:lnTo>
                  <a:pt x="28" y="60"/>
                </a:lnTo>
                <a:lnTo>
                  <a:pt x="30" y="55"/>
                </a:lnTo>
                <a:lnTo>
                  <a:pt x="23" y="49"/>
                </a:lnTo>
                <a:lnTo>
                  <a:pt x="17" y="36"/>
                </a:lnTo>
                <a:lnTo>
                  <a:pt x="13" y="30"/>
                </a:lnTo>
                <a:lnTo>
                  <a:pt x="0" y="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0" name="Freeform 917"/>
          <p:cNvSpPr>
            <a:spLocks/>
          </p:cNvSpPr>
          <p:nvPr/>
        </p:nvSpPr>
        <p:spPr bwMode="auto">
          <a:xfrm>
            <a:off x="7135813" y="3981571"/>
            <a:ext cx="47625" cy="15875"/>
          </a:xfrm>
          <a:custGeom>
            <a:avLst/>
            <a:gdLst>
              <a:gd name="T0" fmla="*/ 30 w 30"/>
              <a:gd name="T1" fmla="*/ 0 h 10"/>
              <a:gd name="T2" fmla="*/ 15 w 30"/>
              <a:gd name="T3" fmla="*/ 4 h 10"/>
              <a:gd name="T4" fmla="*/ 0 w 30"/>
              <a:gd name="T5" fmla="*/ 10 h 10"/>
              <a:gd name="T6" fmla="*/ 7 w 30"/>
              <a:gd name="T7" fmla="*/ 6 h 10"/>
              <a:gd name="T8" fmla="*/ 20 w 30"/>
              <a:gd name="T9" fmla="*/ 2 h 10"/>
              <a:gd name="T10" fmla="*/ 28 w 30"/>
              <a:gd name="T11" fmla="*/ 0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15" y="4"/>
                </a:lnTo>
                <a:lnTo>
                  <a:pt x="0" y="10"/>
                </a:lnTo>
                <a:lnTo>
                  <a:pt x="7" y="6"/>
                </a:lnTo>
                <a:lnTo>
                  <a:pt x="20" y="2"/>
                </a:lnTo>
                <a:lnTo>
                  <a:pt x="28" y="0"/>
                </a:lnTo>
                <a:lnTo>
                  <a:pt x="30"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1" name="Freeform 918"/>
          <p:cNvSpPr>
            <a:spLocks/>
          </p:cNvSpPr>
          <p:nvPr/>
        </p:nvSpPr>
        <p:spPr bwMode="auto">
          <a:xfrm>
            <a:off x="7135813" y="3981571"/>
            <a:ext cx="47625" cy="15875"/>
          </a:xfrm>
          <a:custGeom>
            <a:avLst/>
            <a:gdLst>
              <a:gd name="T0" fmla="*/ 30 w 30"/>
              <a:gd name="T1" fmla="*/ 0 h 10"/>
              <a:gd name="T2" fmla="*/ 15 w 30"/>
              <a:gd name="T3" fmla="*/ 4 h 10"/>
              <a:gd name="T4" fmla="*/ 0 w 30"/>
              <a:gd name="T5" fmla="*/ 10 h 10"/>
              <a:gd name="T6" fmla="*/ 7 w 30"/>
              <a:gd name="T7" fmla="*/ 6 h 10"/>
              <a:gd name="T8" fmla="*/ 20 w 30"/>
              <a:gd name="T9" fmla="*/ 2 h 10"/>
              <a:gd name="T10" fmla="*/ 28 w 30"/>
              <a:gd name="T11" fmla="*/ 0 h 10"/>
              <a:gd name="T12" fmla="*/ 30 w 3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30" h="10">
                <a:moveTo>
                  <a:pt x="30" y="0"/>
                </a:moveTo>
                <a:lnTo>
                  <a:pt x="15" y="4"/>
                </a:lnTo>
                <a:lnTo>
                  <a:pt x="0" y="10"/>
                </a:lnTo>
                <a:lnTo>
                  <a:pt x="7" y="6"/>
                </a:lnTo>
                <a:lnTo>
                  <a:pt x="20" y="2"/>
                </a:lnTo>
                <a:lnTo>
                  <a:pt x="28" y="0"/>
                </a:lnTo>
                <a:lnTo>
                  <a:pt x="3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2" name="Freeform 919"/>
          <p:cNvSpPr>
            <a:spLocks/>
          </p:cNvSpPr>
          <p:nvPr/>
        </p:nvSpPr>
        <p:spPr bwMode="auto">
          <a:xfrm>
            <a:off x="7210425" y="3930771"/>
            <a:ext cx="30163" cy="60325"/>
          </a:xfrm>
          <a:custGeom>
            <a:avLst/>
            <a:gdLst>
              <a:gd name="T0" fmla="*/ 19 w 19"/>
              <a:gd name="T1" fmla="*/ 0 h 38"/>
              <a:gd name="T2" fmla="*/ 9 w 19"/>
              <a:gd name="T3" fmla="*/ 17 h 38"/>
              <a:gd name="T4" fmla="*/ 0 w 19"/>
              <a:gd name="T5" fmla="*/ 38 h 38"/>
              <a:gd name="T6" fmla="*/ 5 w 19"/>
              <a:gd name="T7" fmla="*/ 21 h 38"/>
              <a:gd name="T8" fmla="*/ 9 w 19"/>
              <a:gd name="T9" fmla="*/ 15 h 38"/>
              <a:gd name="T10" fmla="*/ 13 w 19"/>
              <a:gd name="T11" fmla="*/ 6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9" y="17"/>
                </a:lnTo>
                <a:lnTo>
                  <a:pt x="0" y="38"/>
                </a:lnTo>
                <a:lnTo>
                  <a:pt x="5" y="21"/>
                </a:lnTo>
                <a:lnTo>
                  <a:pt x="9" y="15"/>
                </a:lnTo>
                <a:lnTo>
                  <a:pt x="13" y="6"/>
                </a:lnTo>
                <a:lnTo>
                  <a:pt x="1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3" name="Freeform 920"/>
          <p:cNvSpPr>
            <a:spLocks/>
          </p:cNvSpPr>
          <p:nvPr/>
        </p:nvSpPr>
        <p:spPr bwMode="auto">
          <a:xfrm>
            <a:off x="7210425" y="3930771"/>
            <a:ext cx="30163" cy="60325"/>
          </a:xfrm>
          <a:custGeom>
            <a:avLst/>
            <a:gdLst>
              <a:gd name="T0" fmla="*/ 19 w 19"/>
              <a:gd name="T1" fmla="*/ 0 h 38"/>
              <a:gd name="T2" fmla="*/ 9 w 19"/>
              <a:gd name="T3" fmla="*/ 17 h 38"/>
              <a:gd name="T4" fmla="*/ 0 w 19"/>
              <a:gd name="T5" fmla="*/ 38 h 38"/>
              <a:gd name="T6" fmla="*/ 5 w 19"/>
              <a:gd name="T7" fmla="*/ 21 h 38"/>
              <a:gd name="T8" fmla="*/ 9 w 19"/>
              <a:gd name="T9" fmla="*/ 15 h 38"/>
              <a:gd name="T10" fmla="*/ 13 w 19"/>
              <a:gd name="T11" fmla="*/ 6 h 38"/>
              <a:gd name="T12" fmla="*/ 19 w 19"/>
              <a:gd name="T13" fmla="*/ 0 h 38"/>
            </a:gdLst>
            <a:ahLst/>
            <a:cxnLst>
              <a:cxn ang="0">
                <a:pos x="T0" y="T1"/>
              </a:cxn>
              <a:cxn ang="0">
                <a:pos x="T2" y="T3"/>
              </a:cxn>
              <a:cxn ang="0">
                <a:pos x="T4" y="T5"/>
              </a:cxn>
              <a:cxn ang="0">
                <a:pos x="T6" y="T7"/>
              </a:cxn>
              <a:cxn ang="0">
                <a:pos x="T8" y="T9"/>
              </a:cxn>
              <a:cxn ang="0">
                <a:pos x="T10" y="T11"/>
              </a:cxn>
              <a:cxn ang="0">
                <a:pos x="T12" y="T13"/>
              </a:cxn>
            </a:cxnLst>
            <a:rect l="0" t="0" r="r" b="b"/>
            <a:pathLst>
              <a:path w="19" h="38">
                <a:moveTo>
                  <a:pt x="19" y="0"/>
                </a:moveTo>
                <a:lnTo>
                  <a:pt x="9" y="17"/>
                </a:lnTo>
                <a:lnTo>
                  <a:pt x="0" y="38"/>
                </a:lnTo>
                <a:lnTo>
                  <a:pt x="5" y="21"/>
                </a:lnTo>
                <a:lnTo>
                  <a:pt x="9" y="15"/>
                </a:lnTo>
                <a:lnTo>
                  <a:pt x="13" y="6"/>
                </a:lnTo>
                <a:lnTo>
                  <a:pt x="19"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4" name="Freeform 921"/>
          <p:cNvSpPr>
            <a:spLocks/>
          </p:cNvSpPr>
          <p:nvPr/>
        </p:nvSpPr>
        <p:spPr bwMode="auto">
          <a:xfrm>
            <a:off x="7251700" y="3900609"/>
            <a:ext cx="9525" cy="9525"/>
          </a:xfrm>
          <a:custGeom>
            <a:avLst/>
            <a:gdLst>
              <a:gd name="T0" fmla="*/ 0 w 6"/>
              <a:gd name="T1" fmla="*/ 6 h 6"/>
              <a:gd name="T2" fmla="*/ 2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2" y="0"/>
                </a:lnTo>
                <a:lnTo>
                  <a:pt x="6" y="0"/>
                </a:lnTo>
                <a:lnTo>
                  <a:pt x="0" y="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5" name="Freeform 922"/>
          <p:cNvSpPr>
            <a:spLocks/>
          </p:cNvSpPr>
          <p:nvPr/>
        </p:nvSpPr>
        <p:spPr bwMode="auto">
          <a:xfrm>
            <a:off x="7251700" y="3900609"/>
            <a:ext cx="9525" cy="9525"/>
          </a:xfrm>
          <a:custGeom>
            <a:avLst/>
            <a:gdLst>
              <a:gd name="T0" fmla="*/ 0 w 6"/>
              <a:gd name="T1" fmla="*/ 6 h 6"/>
              <a:gd name="T2" fmla="*/ 2 w 6"/>
              <a:gd name="T3" fmla="*/ 0 h 6"/>
              <a:gd name="T4" fmla="*/ 6 w 6"/>
              <a:gd name="T5" fmla="*/ 0 h 6"/>
              <a:gd name="T6" fmla="*/ 0 w 6"/>
              <a:gd name="T7" fmla="*/ 6 h 6"/>
            </a:gdLst>
            <a:ahLst/>
            <a:cxnLst>
              <a:cxn ang="0">
                <a:pos x="T0" y="T1"/>
              </a:cxn>
              <a:cxn ang="0">
                <a:pos x="T2" y="T3"/>
              </a:cxn>
              <a:cxn ang="0">
                <a:pos x="T4" y="T5"/>
              </a:cxn>
              <a:cxn ang="0">
                <a:pos x="T6" y="T7"/>
              </a:cxn>
            </a:cxnLst>
            <a:rect l="0" t="0" r="r" b="b"/>
            <a:pathLst>
              <a:path w="6" h="6">
                <a:moveTo>
                  <a:pt x="0" y="6"/>
                </a:moveTo>
                <a:lnTo>
                  <a:pt x="2" y="0"/>
                </a:lnTo>
                <a:lnTo>
                  <a:pt x="6" y="0"/>
                </a:lnTo>
                <a:lnTo>
                  <a:pt x="0" y="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6" name="Freeform 923"/>
          <p:cNvSpPr>
            <a:spLocks/>
          </p:cNvSpPr>
          <p:nvPr/>
        </p:nvSpPr>
        <p:spPr bwMode="auto">
          <a:xfrm>
            <a:off x="7272338" y="3868859"/>
            <a:ext cx="19050" cy="20638"/>
          </a:xfrm>
          <a:custGeom>
            <a:avLst/>
            <a:gdLst>
              <a:gd name="T0" fmla="*/ 12 w 12"/>
              <a:gd name="T1" fmla="*/ 0 h 13"/>
              <a:gd name="T2" fmla="*/ 0 w 12"/>
              <a:gd name="T3" fmla="*/ 13 h 13"/>
              <a:gd name="T4" fmla="*/ 4 w 12"/>
              <a:gd name="T5" fmla="*/ 7 h 13"/>
              <a:gd name="T6" fmla="*/ 12 w 12"/>
              <a:gd name="T7" fmla="*/ 0 h 13"/>
              <a:gd name="T8" fmla="*/ 12 w 12"/>
              <a:gd name="T9" fmla="*/ 0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0" y="13"/>
                </a:lnTo>
                <a:lnTo>
                  <a:pt x="4" y="7"/>
                </a:lnTo>
                <a:lnTo>
                  <a:pt x="12" y="0"/>
                </a:lnTo>
                <a:lnTo>
                  <a:pt x="12" y="0"/>
                </a:lnTo>
                <a:lnTo>
                  <a:pt x="12"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7" name="Freeform 924"/>
          <p:cNvSpPr>
            <a:spLocks/>
          </p:cNvSpPr>
          <p:nvPr/>
        </p:nvSpPr>
        <p:spPr bwMode="auto">
          <a:xfrm>
            <a:off x="7272338" y="3868859"/>
            <a:ext cx="19050" cy="20638"/>
          </a:xfrm>
          <a:custGeom>
            <a:avLst/>
            <a:gdLst>
              <a:gd name="T0" fmla="*/ 12 w 12"/>
              <a:gd name="T1" fmla="*/ 0 h 13"/>
              <a:gd name="T2" fmla="*/ 0 w 12"/>
              <a:gd name="T3" fmla="*/ 13 h 13"/>
              <a:gd name="T4" fmla="*/ 4 w 12"/>
              <a:gd name="T5" fmla="*/ 7 h 13"/>
              <a:gd name="T6" fmla="*/ 12 w 12"/>
              <a:gd name="T7" fmla="*/ 0 h 13"/>
              <a:gd name="T8" fmla="*/ 12 w 12"/>
              <a:gd name="T9" fmla="*/ 0 h 13"/>
              <a:gd name="T10" fmla="*/ 12 w 12"/>
              <a:gd name="T11" fmla="*/ 0 h 13"/>
            </a:gdLst>
            <a:ahLst/>
            <a:cxnLst>
              <a:cxn ang="0">
                <a:pos x="T0" y="T1"/>
              </a:cxn>
              <a:cxn ang="0">
                <a:pos x="T2" y="T3"/>
              </a:cxn>
              <a:cxn ang="0">
                <a:pos x="T4" y="T5"/>
              </a:cxn>
              <a:cxn ang="0">
                <a:pos x="T6" y="T7"/>
              </a:cxn>
              <a:cxn ang="0">
                <a:pos x="T8" y="T9"/>
              </a:cxn>
              <a:cxn ang="0">
                <a:pos x="T10" y="T11"/>
              </a:cxn>
            </a:cxnLst>
            <a:rect l="0" t="0" r="r" b="b"/>
            <a:pathLst>
              <a:path w="12" h="13">
                <a:moveTo>
                  <a:pt x="12" y="0"/>
                </a:moveTo>
                <a:lnTo>
                  <a:pt x="0" y="13"/>
                </a:lnTo>
                <a:lnTo>
                  <a:pt x="4" y="7"/>
                </a:lnTo>
                <a:lnTo>
                  <a:pt x="12" y="0"/>
                </a:lnTo>
                <a:lnTo>
                  <a:pt x="12" y="0"/>
                </a:lnTo>
                <a:lnTo>
                  <a:pt x="12"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18" name="Freeform 925"/>
          <p:cNvSpPr>
            <a:spLocks/>
          </p:cNvSpPr>
          <p:nvPr/>
        </p:nvSpPr>
        <p:spPr bwMode="auto">
          <a:xfrm>
            <a:off x="7308850" y="3757734"/>
            <a:ext cx="20638" cy="101600"/>
          </a:xfrm>
          <a:custGeom>
            <a:avLst/>
            <a:gdLst>
              <a:gd name="T0" fmla="*/ 13 w 13"/>
              <a:gd name="T1" fmla="*/ 60 h 64"/>
              <a:gd name="T2" fmla="*/ 2 w 13"/>
              <a:gd name="T3" fmla="*/ 64 h 64"/>
              <a:gd name="T4" fmla="*/ 0 w 13"/>
              <a:gd name="T5" fmla="*/ 62 h 64"/>
              <a:gd name="T6" fmla="*/ 9 w 13"/>
              <a:gd name="T7" fmla="*/ 55 h 64"/>
              <a:gd name="T8" fmla="*/ 11 w 13"/>
              <a:gd name="T9" fmla="*/ 49 h 64"/>
              <a:gd name="T10" fmla="*/ 9 w 13"/>
              <a:gd name="T11" fmla="*/ 21 h 64"/>
              <a:gd name="T12" fmla="*/ 9 w 13"/>
              <a:gd name="T13" fmla="*/ 15 h 64"/>
              <a:gd name="T14" fmla="*/ 4 w 13"/>
              <a:gd name="T15" fmla="*/ 9 h 64"/>
              <a:gd name="T16" fmla="*/ 2 w 13"/>
              <a:gd name="T17" fmla="*/ 0 h 64"/>
              <a:gd name="T18" fmla="*/ 9 w 13"/>
              <a:gd name="T19" fmla="*/ 15 h 64"/>
              <a:gd name="T20" fmla="*/ 11 w 13"/>
              <a:gd name="T21" fmla="*/ 23 h 64"/>
              <a:gd name="T22" fmla="*/ 13 w 13"/>
              <a:gd name="T23" fmla="*/ 45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2" y="64"/>
                </a:lnTo>
                <a:lnTo>
                  <a:pt x="0" y="62"/>
                </a:lnTo>
                <a:lnTo>
                  <a:pt x="9" y="55"/>
                </a:lnTo>
                <a:lnTo>
                  <a:pt x="11" y="49"/>
                </a:lnTo>
                <a:lnTo>
                  <a:pt x="9" y="21"/>
                </a:lnTo>
                <a:lnTo>
                  <a:pt x="9" y="15"/>
                </a:lnTo>
                <a:lnTo>
                  <a:pt x="4" y="9"/>
                </a:lnTo>
                <a:lnTo>
                  <a:pt x="2" y="0"/>
                </a:lnTo>
                <a:lnTo>
                  <a:pt x="9" y="15"/>
                </a:lnTo>
                <a:lnTo>
                  <a:pt x="11" y="23"/>
                </a:lnTo>
                <a:lnTo>
                  <a:pt x="13" y="45"/>
                </a:lnTo>
                <a:lnTo>
                  <a:pt x="13" y="6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19" name="Freeform 926"/>
          <p:cNvSpPr>
            <a:spLocks/>
          </p:cNvSpPr>
          <p:nvPr/>
        </p:nvSpPr>
        <p:spPr bwMode="auto">
          <a:xfrm>
            <a:off x="7308850" y="3757734"/>
            <a:ext cx="20638" cy="101600"/>
          </a:xfrm>
          <a:custGeom>
            <a:avLst/>
            <a:gdLst>
              <a:gd name="T0" fmla="*/ 13 w 13"/>
              <a:gd name="T1" fmla="*/ 60 h 64"/>
              <a:gd name="T2" fmla="*/ 2 w 13"/>
              <a:gd name="T3" fmla="*/ 64 h 64"/>
              <a:gd name="T4" fmla="*/ 0 w 13"/>
              <a:gd name="T5" fmla="*/ 62 h 64"/>
              <a:gd name="T6" fmla="*/ 9 w 13"/>
              <a:gd name="T7" fmla="*/ 55 h 64"/>
              <a:gd name="T8" fmla="*/ 11 w 13"/>
              <a:gd name="T9" fmla="*/ 49 h 64"/>
              <a:gd name="T10" fmla="*/ 9 w 13"/>
              <a:gd name="T11" fmla="*/ 21 h 64"/>
              <a:gd name="T12" fmla="*/ 9 w 13"/>
              <a:gd name="T13" fmla="*/ 15 h 64"/>
              <a:gd name="T14" fmla="*/ 4 w 13"/>
              <a:gd name="T15" fmla="*/ 9 h 64"/>
              <a:gd name="T16" fmla="*/ 2 w 13"/>
              <a:gd name="T17" fmla="*/ 0 h 64"/>
              <a:gd name="T18" fmla="*/ 9 w 13"/>
              <a:gd name="T19" fmla="*/ 15 h 64"/>
              <a:gd name="T20" fmla="*/ 11 w 13"/>
              <a:gd name="T21" fmla="*/ 23 h 64"/>
              <a:gd name="T22" fmla="*/ 13 w 13"/>
              <a:gd name="T23" fmla="*/ 45 h 64"/>
              <a:gd name="T24" fmla="*/ 13 w 13"/>
              <a:gd name="T25"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64">
                <a:moveTo>
                  <a:pt x="13" y="60"/>
                </a:moveTo>
                <a:lnTo>
                  <a:pt x="2" y="64"/>
                </a:lnTo>
                <a:lnTo>
                  <a:pt x="0" y="62"/>
                </a:lnTo>
                <a:lnTo>
                  <a:pt x="9" y="55"/>
                </a:lnTo>
                <a:lnTo>
                  <a:pt x="11" y="49"/>
                </a:lnTo>
                <a:lnTo>
                  <a:pt x="9" y="21"/>
                </a:lnTo>
                <a:lnTo>
                  <a:pt x="9" y="15"/>
                </a:lnTo>
                <a:lnTo>
                  <a:pt x="4" y="9"/>
                </a:lnTo>
                <a:lnTo>
                  <a:pt x="2" y="0"/>
                </a:lnTo>
                <a:lnTo>
                  <a:pt x="9" y="15"/>
                </a:lnTo>
                <a:lnTo>
                  <a:pt x="11" y="23"/>
                </a:lnTo>
                <a:lnTo>
                  <a:pt x="13" y="45"/>
                </a:lnTo>
                <a:lnTo>
                  <a:pt x="13" y="6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0" name="Freeform 927"/>
          <p:cNvSpPr>
            <a:spLocks/>
          </p:cNvSpPr>
          <p:nvPr/>
        </p:nvSpPr>
        <p:spPr bwMode="auto">
          <a:xfrm>
            <a:off x="6500813" y="2073396"/>
            <a:ext cx="849313" cy="762000"/>
          </a:xfrm>
          <a:custGeom>
            <a:avLst/>
            <a:gdLst>
              <a:gd name="T0" fmla="*/ 4 w 535"/>
              <a:gd name="T1" fmla="*/ 411 h 480"/>
              <a:gd name="T2" fmla="*/ 32 w 535"/>
              <a:gd name="T3" fmla="*/ 379 h 480"/>
              <a:gd name="T4" fmla="*/ 47 w 535"/>
              <a:gd name="T5" fmla="*/ 365 h 480"/>
              <a:gd name="T6" fmla="*/ 62 w 535"/>
              <a:gd name="T7" fmla="*/ 343 h 480"/>
              <a:gd name="T8" fmla="*/ 53 w 535"/>
              <a:gd name="T9" fmla="*/ 320 h 480"/>
              <a:gd name="T10" fmla="*/ 55 w 535"/>
              <a:gd name="T11" fmla="*/ 311 h 480"/>
              <a:gd name="T12" fmla="*/ 41 w 535"/>
              <a:gd name="T13" fmla="*/ 303 h 480"/>
              <a:gd name="T14" fmla="*/ 36 w 535"/>
              <a:gd name="T15" fmla="*/ 290 h 480"/>
              <a:gd name="T16" fmla="*/ 51 w 535"/>
              <a:gd name="T17" fmla="*/ 282 h 480"/>
              <a:gd name="T18" fmla="*/ 66 w 535"/>
              <a:gd name="T19" fmla="*/ 275 h 480"/>
              <a:gd name="T20" fmla="*/ 109 w 535"/>
              <a:gd name="T21" fmla="*/ 262 h 480"/>
              <a:gd name="T22" fmla="*/ 158 w 535"/>
              <a:gd name="T23" fmla="*/ 269 h 480"/>
              <a:gd name="T24" fmla="*/ 185 w 535"/>
              <a:gd name="T25" fmla="*/ 258 h 480"/>
              <a:gd name="T26" fmla="*/ 207 w 535"/>
              <a:gd name="T27" fmla="*/ 258 h 480"/>
              <a:gd name="T28" fmla="*/ 217 w 535"/>
              <a:gd name="T29" fmla="*/ 247 h 480"/>
              <a:gd name="T30" fmla="*/ 228 w 535"/>
              <a:gd name="T31" fmla="*/ 233 h 480"/>
              <a:gd name="T32" fmla="*/ 245 w 535"/>
              <a:gd name="T33" fmla="*/ 218 h 480"/>
              <a:gd name="T34" fmla="*/ 258 w 535"/>
              <a:gd name="T35" fmla="*/ 211 h 480"/>
              <a:gd name="T36" fmla="*/ 253 w 535"/>
              <a:gd name="T37" fmla="*/ 196 h 480"/>
              <a:gd name="T38" fmla="*/ 247 w 535"/>
              <a:gd name="T39" fmla="*/ 177 h 480"/>
              <a:gd name="T40" fmla="*/ 256 w 535"/>
              <a:gd name="T41" fmla="*/ 167 h 480"/>
              <a:gd name="T42" fmla="*/ 249 w 535"/>
              <a:gd name="T43" fmla="*/ 164 h 480"/>
              <a:gd name="T44" fmla="*/ 241 w 535"/>
              <a:gd name="T45" fmla="*/ 158 h 480"/>
              <a:gd name="T46" fmla="*/ 241 w 535"/>
              <a:gd name="T47" fmla="*/ 162 h 480"/>
              <a:gd name="T48" fmla="*/ 234 w 535"/>
              <a:gd name="T49" fmla="*/ 149 h 480"/>
              <a:gd name="T50" fmla="*/ 256 w 535"/>
              <a:gd name="T51" fmla="*/ 128 h 480"/>
              <a:gd name="T52" fmla="*/ 271 w 535"/>
              <a:gd name="T53" fmla="*/ 109 h 480"/>
              <a:gd name="T54" fmla="*/ 292 w 535"/>
              <a:gd name="T55" fmla="*/ 62 h 480"/>
              <a:gd name="T56" fmla="*/ 332 w 535"/>
              <a:gd name="T57" fmla="*/ 26 h 480"/>
              <a:gd name="T58" fmla="*/ 390 w 535"/>
              <a:gd name="T59" fmla="*/ 15 h 480"/>
              <a:gd name="T60" fmla="*/ 445 w 535"/>
              <a:gd name="T61" fmla="*/ 3 h 480"/>
              <a:gd name="T62" fmla="*/ 447 w 535"/>
              <a:gd name="T63" fmla="*/ 17 h 480"/>
              <a:gd name="T64" fmla="*/ 454 w 535"/>
              <a:gd name="T65" fmla="*/ 41 h 480"/>
              <a:gd name="T66" fmla="*/ 462 w 535"/>
              <a:gd name="T67" fmla="*/ 56 h 480"/>
              <a:gd name="T68" fmla="*/ 464 w 535"/>
              <a:gd name="T69" fmla="*/ 71 h 480"/>
              <a:gd name="T70" fmla="*/ 469 w 535"/>
              <a:gd name="T71" fmla="*/ 86 h 480"/>
              <a:gd name="T72" fmla="*/ 464 w 535"/>
              <a:gd name="T73" fmla="*/ 103 h 480"/>
              <a:gd name="T74" fmla="*/ 473 w 535"/>
              <a:gd name="T75" fmla="*/ 124 h 480"/>
              <a:gd name="T76" fmla="*/ 477 w 535"/>
              <a:gd name="T77" fmla="*/ 152 h 480"/>
              <a:gd name="T78" fmla="*/ 483 w 535"/>
              <a:gd name="T79" fmla="*/ 152 h 480"/>
              <a:gd name="T80" fmla="*/ 511 w 535"/>
              <a:gd name="T81" fmla="*/ 233 h 480"/>
              <a:gd name="T82" fmla="*/ 515 w 535"/>
              <a:gd name="T83" fmla="*/ 245 h 480"/>
              <a:gd name="T84" fmla="*/ 513 w 535"/>
              <a:gd name="T85" fmla="*/ 322 h 480"/>
              <a:gd name="T86" fmla="*/ 530 w 535"/>
              <a:gd name="T87" fmla="*/ 407 h 480"/>
              <a:gd name="T88" fmla="*/ 535 w 535"/>
              <a:gd name="T89" fmla="*/ 422 h 480"/>
              <a:gd name="T90" fmla="*/ 524 w 535"/>
              <a:gd name="T91" fmla="*/ 437 h 480"/>
              <a:gd name="T92" fmla="*/ 524 w 535"/>
              <a:gd name="T93" fmla="*/ 460 h 480"/>
              <a:gd name="T94" fmla="*/ 515 w 535"/>
              <a:gd name="T95" fmla="*/ 471 h 480"/>
              <a:gd name="T96" fmla="*/ 509 w 535"/>
              <a:gd name="T97" fmla="*/ 480 h 480"/>
              <a:gd name="T98" fmla="*/ 511 w 535"/>
              <a:gd name="T99" fmla="*/ 441 h 480"/>
              <a:gd name="T100" fmla="*/ 498 w 535"/>
              <a:gd name="T101" fmla="*/ 424 h 480"/>
              <a:gd name="T102" fmla="*/ 496 w 535"/>
              <a:gd name="T103" fmla="*/ 420 h 480"/>
              <a:gd name="T104" fmla="*/ 505 w 535"/>
              <a:gd name="T105" fmla="*/ 435 h 480"/>
              <a:gd name="T106" fmla="*/ 434 w 535"/>
              <a:gd name="T107" fmla="*/ 426 h 480"/>
              <a:gd name="T108" fmla="*/ 426 w 535"/>
              <a:gd name="T109" fmla="*/ 420 h 480"/>
              <a:gd name="T110" fmla="*/ 407 w 535"/>
              <a:gd name="T111" fmla="*/ 416 h 480"/>
              <a:gd name="T112" fmla="*/ 398 w 535"/>
              <a:gd name="T113" fmla="*/ 401 h 480"/>
              <a:gd name="T114" fmla="*/ 383 w 535"/>
              <a:gd name="T115" fmla="*/ 379 h 480"/>
              <a:gd name="T116" fmla="*/ 375 w 535"/>
              <a:gd name="T117" fmla="*/ 373 h 480"/>
              <a:gd name="T118" fmla="*/ 366 w 535"/>
              <a:gd name="T119" fmla="*/ 369 h 480"/>
              <a:gd name="T120" fmla="*/ 175 w 535"/>
              <a:gd name="T121" fmla="*/ 409 h 480"/>
              <a:gd name="T122" fmla="*/ 6 w 535"/>
              <a:gd name="T123" fmla="*/ 441 h 480"/>
              <a:gd name="T124" fmla="*/ 0 w 535"/>
              <a:gd name="T125" fmla="*/ 41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5" h="480">
                <a:moveTo>
                  <a:pt x="0" y="414"/>
                </a:moveTo>
                <a:lnTo>
                  <a:pt x="4" y="411"/>
                </a:lnTo>
                <a:lnTo>
                  <a:pt x="19" y="394"/>
                </a:lnTo>
                <a:lnTo>
                  <a:pt x="32" y="379"/>
                </a:lnTo>
                <a:lnTo>
                  <a:pt x="41" y="371"/>
                </a:lnTo>
                <a:lnTo>
                  <a:pt x="47" y="365"/>
                </a:lnTo>
                <a:lnTo>
                  <a:pt x="49" y="356"/>
                </a:lnTo>
                <a:lnTo>
                  <a:pt x="62" y="343"/>
                </a:lnTo>
                <a:lnTo>
                  <a:pt x="62" y="335"/>
                </a:lnTo>
                <a:lnTo>
                  <a:pt x="53" y="320"/>
                </a:lnTo>
                <a:lnTo>
                  <a:pt x="55" y="313"/>
                </a:lnTo>
                <a:lnTo>
                  <a:pt x="55" y="311"/>
                </a:lnTo>
                <a:lnTo>
                  <a:pt x="41" y="309"/>
                </a:lnTo>
                <a:lnTo>
                  <a:pt x="41" y="303"/>
                </a:lnTo>
                <a:lnTo>
                  <a:pt x="36" y="290"/>
                </a:lnTo>
                <a:lnTo>
                  <a:pt x="36" y="290"/>
                </a:lnTo>
                <a:lnTo>
                  <a:pt x="45" y="286"/>
                </a:lnTo>
                <a:lnTo>
                  <a:pt x="51" y="282"/>
                </a:lnTo>
                <a:lnTo>
                  <a:pt x="60" y="279"/>
                </a:lnTo>
                <a:lnTo>
                  <a:pt x="66" y="275"/>
                </a:lnTo>
                <a:lnTo>
                  <a:pt x="81" y="269"/>
                </a:lnTo>
                <a:lnTo>
                  <a:pt x="109" y="262"/>
                </a:lnTo>
                <a:lnTo>
                  <a:pt x="139" y="262"/>
                </a:lnTo>
                <a:lnTo>
                  <a:pt x="158" y="269"/>
                </a:lnTo>
                <a:lnTo>
                  <a:pt x="170" y="260"/>
                </a:lnTo>
                <a:lnTo>
                  <a:pt x="185" y="258"/>
                </a:lnTo>
                <a:lnTo>
                  <a:pt x="200" y="256"/>
                </a:lnTo>
                <a:lnTo>
                  <a:pt x="207" y="258"/>
                </a:lnTo>
                <a:lnTo>
                  <a:pt x="211" y="252"/>
                </a:lnTo>
                <a:lnTo>
                  <a:pt x="217" y="247"/>
                </a:lnTo>
                <a:lnTo>
                  <a:pt x="224" y="241"/>
                </a:lnTo>
                <a:lnTo>
                  <a:pt x="228" y="233"/>
                </a:lnTo>
                <a:lnTo>
                  <a:pt x="236" y="226"/>
                </a:lnTo>
                <a:lnTo>
                  <a:pt x="245" y="218"/>
                </a:lnTo>
                <a:lnTo>
                  <a:pt x="253" y="218"/>
                </a:lnTo>
                <a:lnTo>
                  <a:pt x="258" y="211"/>
                </a:lnTo>
                <a:lnTo>
                  <a:pt x="258" y="203"/>
                </a:lnTo>
                <a:lnTo>
                  <a:pt x="253" y="196"/>
                </a:lnTo>
                <a:lnTo>
                  <a:pt x="253" y="192"/>
                </a:lnTo>
                <a:lnTo>
                  <a:pt x="247" y="177"/>
                </a:lnTo>
                <a:lnTo>
                  <a:pt x="253" y="175"/>
                </a:lnTo>
                <a:lnTo>
                  <a:pt x="256" y="167"/>
                </a:lnTo>
                <a:lnTo>
                  <a:pt x="260" y="160"/>
                </a:lnTo>
                <a:lnTo>
                  <a:pt x="249" y="164"/>
                </a:lnTo>
                <a:lnTo>
                  <a:pt x="249" y="154"/>
                </a:lnTo>
                <a:lnTo>
                  <a:pt x="241" y="158"/>
                </a:lnTo>
                <a:lnTo>
                  <a:pt x="243" y="167"/>
                </a:lnTo>
                <a:lnTo>
                  <a:pt x="241" y="162"/>
                </a:lnTo>
                <a:lnTo>
                  <a:pt x="234" y="156"/>
                </a:lnTo>
                <a:lnTo>
                  <a:pt x="234" y="149"/>
                </a:lnTo>
                <a:lnTo>
                  <a:pt x="249" y="135"/>
                </a:lnTo>
                <a:lnTo>
                  <a:pt x="256" y="128"/>
                </a:lnTo>
                <a:lnTo>
                  <a:pt x="260" y="124"/>
                </a:lnTo>
                <a:lnTo>
                  <a:pt x="271" y="109"/>
                </a:lnTo>
                <a:lnTo>
                  <a:pt x="268" y="100"/>
                </a:lnTo>
                <a:lnTo>
                  <a:pt x="292" y="62"/>
                </a:lnTo>
                <a:lnTo>
                  <a:pt x="317" y="34"/>
                </a:lnTo>
                <a:lnTo>
                  <a:pt x="332" y="26"/>
                </a:lnTo>
                <a:lnTo>
                  <a:pt x="339" y="26"/>
                </a:lnTo>
                <a:lnTo>
                  <a:pt x="390" y="15"/>
                </a:lnTo>
                <a:lnTo>
                  <a:pt x="445" y="0"/>
                </a:lnTo>
                <a:lnTo>
                  <a:pt x="445" y="3"/>
                </a:lnTo>
                <a:lnTo>
                  <a:pt x="447" y="9"/>
                </a:lnTo>
                <a:lnTo>
                  <a:pt x="447" y="17"/>
                </a:lnTo>
                <a:lnTo>
                  <a:pt x="452" y="24"/>
                </a:lnTo>
                <a:lnTo>
                  <a:pt x="454" y="41"/>
                </a:lnTo>
                <a:lnTo>
                  <a:pt x="456" y="49"/>
                </a:lnTo>
                <a:lnTo>
                  <a:pt x="462" y="56"/>
                </a:lnTo>
                <a:lnTo>
                  <a:pt x="464" y="62"/>
                </a:lnTo>
                <a:lnTo>
                  <a:pt x="464" y="71"/>
                </a:lnTo>
                <a:lnTo>
                  <a:pt x="466" y="77"/>
                </a:lnTo>
                <a:lnTo>
                  <a:pt x="469" y="86"/>
                </a:lnTo>
                <a:lnTo>
                  <a:pt x="464" y="88"/>
                </a:lnTo>
                <a:lnTo>
                  <a:pt x="464" y="103"/>
                </a:lnTo>
                <a:lnTo>
                  <a:pt x="469" y="118"/>
                </a:lnTo>
                <a:lnTo>
                  <a:pt x="473" y="124"/>
                </a:lnTo>
                <a:lnTo>
                  <a:pt x="477" y="139"/>
                </a:lnTo>
                <a:lnTo>
                  <a:pt x="477" y="152"/>
                </a:lnTo>
                <a:lnTo>
                  <a:pt x="479" y="158"/>
                </a:lnTo>
                <a:lnTo>
                  <a:pt x="483" y="152"/>
                </a:lnTo>
                <a:lnTo>
                  <a:pt x="494" y="160"/>
                </a:lnTo>
                <a:lnTo>
                  <a:pt x="511" y="233"/>
                </a:lnTo>
                <a:lnTo>
                  <a:pt x="509" y="239"/>
                </a:lnTo>
                <a:lnTo>
                  <a:pt x="515" y="245"/>
                </a:lnTo>
                <a:lnTo>
                  <a:pt x="513" y="252"/>
                </a:lnTo>
                <a:lnTo>
                  <a:pt x="513" y="322"/>
                </a:lnTo>
                <a:lnTo>
                  <a:pt x="515" y="326"/>
                </a:lnTo>
                <a:lnTo>
                  <a:pt x="530" y="407"/>
                </a:lnTo>
                <a:lnTo>
                  <a:pt x="535" y="416"/>
                </a:lnTo>
                <a:lnTo>
                  <a:pt x="535" y="422"/>
                </a:lnTo>
                <a:lnTo>
                  <a:pt x="524" y="435"/>
                </a:lnTo>
                <a:lnTo>
                  <a:pt x="524" y="437"/>
                </a:lnTo>
                <a:lnTo>
                  <a:pt x="530" y="446"/>
                </a:lnTo>
                <a:lnTo>
                  <a:pt x="524" y="460"/>
                </a:lnTo>
                <a:lnTo>
                  <a:pt x="522" y="469"/>
                </a:lnTo>
                <a:lnTo>
                  <a:pt x="515" y="471"/>
                </a:lnTo>
                <a:lnTo>
                  <a:pt x="511" y="480"/>
                </a:lnTo>
                <a:lnTo>
                  <a:pt x="509" y="480"/>
                </a:lnTo>
                <a:lnTo>
                  <a:pt x="511" y="463"/>
                </a:lnTo>
                <a:lnTo>
                  <a:pt x="511" y="441"/>
                </a:lnTo>
                <a:lnTo>
                  <a:pt x="507" y="431"/>
                </a:lnTo>
                <a:lnTo>
                  <a:pt x="498" y="424"/>
                </a:lnTo>
                <a:lnTo>
                  <a:pt x="498" y="418"/>
                </a:lnTo>
                <a:lnTo>
                  <a:pt x="496" y="420"/>
                </a:lnTo>
                <a:lnTo>
                  <a:pt x="498" y="426"/>
                </a:lnTo>
                <a:lnTo>
                  <a:pt x="505" y="435"/>
                </a:lnTo>
                <a:lnTo>
                  <a:pt x="509" y="452"/>
                </a:lnTo>
                <a:lnTo>
                  <a:pt x="434" y="426"/>
                </a:lnTo>
                <a:lnTo>
                  <a:pt x="434" y="424"/>
                </a:lnTo>
                <a:lnTo>
                  <a:pt x="426" y="420"/>
                </a:lnTo>
                <a:lnTo>
                  <a:pt x="420" y="420"/>
                </a:lnTo>
                <a:lnTo>
                  <a:pt x="407" y="416"/>
                </a:lnTo>
                <a:lnTo>
                  <a:pt x="400" y="407"/>
                </a:lnTo>
                <a:lnTo>
                  <a:pt x="398" y="401"/>
                </a:lnTo>
                <a:lnTo>
                  <a:pt x="392" y="386"/>
                </a:lnTo>
                <a:lnTo>
                  <a:pt x="383" y="379"/>
                </a:lnTo>
                <a:lnTo>
                  <a:pt x="377" y="379"/>
                </a:lnTo>
                <a:lnTo>
                  <a:pt x="375" y="373"/>
                </a:lnTo>
                <a:lnTo>
                  <a:pt x="366" y="369"/>
                </a:lnTo>
                <a:lnTo>
                  <a:pt x="366" y="369"/>
                </a:lnTo>
                <a:lnTo>
                  <a:pt x="290" y="386"/>
                </a:lnTo>
                <a:lnTo>
                  <a:pt x="175" y="409"/>
                </a:lnTo>
                <a:lnTo>
                  <a:pt x="73" y="431"/>
                </a:lnTo>
                <a:lnTo>
                  <a:pt x="6" y="441"/>
                </a:lnTo>
                <a:lnTo>
                  <a:pt x="2" y="416"/>
                </a:lnTo>
                <a:lnTo>
                  <a:pt x="0" y="414"/>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1" name="Freeform 928"/>
          <p:cNvSpPr>
            <a:spLocks/>
          </p:cNvSpPr>
          <p:nvPr/>
        </p:nvSpPr>
        <p:spPr bwMode="auto">
          <a:xfrm>
            <a:off x="6500813" y="2073396"/>
            <a:ext cx="849313" cy="762000"/>
          </a:xfrm>
          <a:custGeom>
            <a:avLst/>
            <a:gdLst>
              <a:gd name="T0" fmla="*/ 4 w 535"/>
              <a:gd name="T1" fmla="*/ 411 h 480"/>
              <a:gd name="T2" fmla="*/ 32 w 535"/>
              <a:gd name="T3" fmla="*/ 379 h 480"/>
              <a:gd name="T4" fmla="*/ 47 w 535"/>
              <a:gd name="T5" fmla="*/ 365 h 480"/>
              <a:gd name="T6" fmla="*/ 62 w 535"/>
              <a:gd name="T7" fmla="*/ 343 h 480"/>
              <a:gd name="T8" fmla="*/ 53 w 535"/>
              <a:gd name="T9" fmla="*/ 320 h 480"/>
              <a:gd name="T10" fmla="*/ 55 w 535"/>
              <a:gd name="T11" fmla="*/ 311 h 480"/>
              <a:gd name="T12" fmla="*/ 41 w 535"/>
              <a:gd name="T13" fmla="*/ 303 h 480"/>
              <a:gd name="T14" fmla="*/ 36 w 535"/>
              <a:gd name="T15" fmla="*/ 290 h 480"/>
              <a:gd name="T16" fmla="*/ 51 w 535"/>
              <a:gd name="T17" fmla="*/ 282 h 480"/>
              <a:gd name="T18" fmla="*/ 66 w 535"/>
              <a:gd name="T19" fmla="*/ 275 h 480"/>
              <a:gd name="T20" fmla="*/ 109 w 535"/>
              <a:gd name="T21" fmla="*/ 262 h 480"/>
              <a:gd name="T22" fmla="*/ 158 w 535"/>
              <a:gd name="T23" fmla="*/ 269 h 480"/>
              <a:gd name="T24" fmla="*/ 185 w 535"/>
              <a:gd name="T25" fmla="*/ 258 h 480"/>
              <a:gd name="T26" fmla="*/ 207 w 535"/>
              <a:gd name="T27" fmla="*/ 258 h 480"/>
              <a:gd name="T28" fmla="*/ 217 w 535"/>
              <a:gd name="T29" fmla="*/ 247 h 480"/>
              <a:gd name="T30" fmla="*/ 228 w 535"/>
              <a:gd name="T31" fmla="*/ 233 h 480"/>
              <a:gd name="T32" fmla="*/ 245 w 535"/>
              <a:gd name="T33" fmla="*/ 218 h 480"/>
              <a:gd name="T34" fmla="*/ 258 w 535"/>
              <a:gd name="T35" fmla="*/ 211 h 480"/>
              <a:gd name="T36" fmla="*/ 253 w 535"/>
              <a:gd name="T37" fmla="*/ 196 h 480"/>
              <a:gd name="T38" fmla="*/ 247 w 535"/>
              <a:gd name="T39" fmla="*/ 177 h 480"/>
              <a:gd name="T40" fmla="*/ 256 w 535"/>
              <a:gd name="T41" fmla="*/ 167 h 480"/>
              <a:gd name="T42" fmla="*/ 249 w 535"/>
              <a:gd name="T43" fmla="*/ 164 h 480"/>
              <a:gd name="T44" fmla="*/ 241 w 535"/>
              <a:gd name="T45" fmla="*/ 158 h 480"/>
              <a:gd name="T46" fmla="*/ 241 w 535"/>
              <a:gd name="T47" fmla="*/ 162 h 480"/>
              <a:gd name="T48" fmla="*/ 234 w 535"/>
              <a:gd name="T49" fmla="*/ 149 h 480"/>
              <a:gd name="T50" fmla="*/ 256 w 535"/>
              <a:gd name="T51" fmla="*/ 128 h 480"/>
              <a:gd name="T52" fmla="*/ 271 w 535"/>
              <a:gd name="T53" fmla="*/ 109 h 480"/>
              <a:gd name="T54" fmla="*/ 292 w 535"/>
              <a:gd name="T55" fmla="*/ 62 h 480"/>
              <a:gd name="T56" fmla="*/ 332 w 535"/>
              <a:gd name="T57" fmla="*/ 26 h 480"/>
              <a:gd name="T58" fmla="*/ 390 w 535"/>
              <a:gd name="T59" fmla="*/ 15 h 480"/>
              <a:gd name="T60" fmla="*/ 445 w 535"/>
              <a:gd name="T61" fmla="*/ 3 h 480"/>
              <a:gd name="T62" fmla="*/ 447 w 535"/>
              <a:gd name="T63" fmla="*/ 17 h 480"/>
              <a:gd name="T64" fmla="*/ 454 w 535"/>
              <a:gd name="T65" fmla="*/ 41 h 480"/>
              <a:gd name="T66" fmla="*/ 462 w 535"/>
              <a:gd name="T67" fmla="*/ 56 h 480"/>
              <a:gd name="T68" fmla="*/ 464 w 535"/>
              <a:gd name="T69" fmla="*/ 71 h 480"/>
              <a:gd name="T70" fmla="*/ 469 w 535"/>
              <a:gd name="T71" fmla="*/ 86 h 480"/>
              <a:gd name="T72" fmla="*/ 464 w 535"/>
              <a:gd name="T73" fmla="*/ 103 h 480"/>
              <a:gd name="T74" fmla="*/ 473 w 535"/>
              <a:gd name="T75" fmla="*/ 124 h 480"/>
              <a:gd name="T76" fmla="*/ 477 w 535"/>
              <a:gd name="T77" fmla="*/ 152 h 480"/>
              <a:gd name="T78" fmla="*/ 483 w 535"/>
              <a:gd name="T79" fmla="*/ 152 h 480"/>
              <a:gd name="T80" fmla="*/ 511 w 535"/>
              <a:gd name="T81" fmla="*/ 233 h 480"/>
              <a:gd name="T82" fmla="*/ 515 w 535"/>
              <a:gd name="T83" fmla="*/ 245 h 480"/>
              <a:gd name="T84" fmla="*/ 513 w 535"/>
              <a:gd name="T85" fmla="*/ 322 h 480"/>
              <a:gd name="T86" fmla="*/ 530 w 535"/>
              <a:gd name="T87" fmla="*/ 407 h 480"/>
              <a:gd name="T88" fmla="*/ 535 w 535"/>
              <a:gd name="T89" fmla="*/ 422 h 480"/>
              <a:gd name="T90" fmla="*/ 524 w 535"/>
              <a:gd name="T91" fmla="*/ 437 h 480"/>
              <a:gd name="T92" fmla="*/ 524 w 535"/>
              <a:gd name="T93" fmla="*/ 460 h 480"/>
              <a:gd name="T94" fmla="*/ 515 w 535"/>
              <a:gd name="T95" fmla="*/ 471 h 480"/>
              <a:gd name="T96" fmla="*/ 509 w 535"/>
              <a:gd name="T97" fmla="*/ 480 h 480"/>
              <a:gd name="T98" fmla="*/ 511 w 535"/>
              <a:gd name="T99" fmla="*/ 441 h 480"/>
              <a:gd name="T100" fmla="*/ 498 w 535"/>
              <a:gd name="T101" fmla="*/ 424 h 480"/>
              <a:gd name="T102" fmla="*/ 496 w 535"/>
              <a:gd name="T103" fmla="*/ 420 h 480"/>
              <a:gd name="T104" fmla="*/ 505 w 535"/>
              <a:gd name="T105" fmla="*/ 435 h 480"/>
              <a:gd name="T106" fmla="*/ 434 w 535"/>
              <a:gd name="T107" fmla="*/ 426 h 480"/>
              <a:gd name="T108" fmla="*/ 426 w 535"/>
              <a:gd name="T109" fmla="*/ 420 h 480"/>
              <a:gd name="T110" fmla="*/ 407 w 535"/>
              <a:gd name="T111" fmla="*/ 416 h 480"/>
              <a:gd name="T112" fmla="*/ 398 w 535"/>
              <a:gd name="T113" fmla="*/ 401 h 480"/>
              <a:gd name="T114" fmla="*/ 383 w 535"/>
              <a:gd name="T115" fmla="*/ 379 h 480"/>
              <a:gd name="T116" fmla="*/ 375 w 535"/>
              <a:gd name="T117" fmla="*/ 373 h 480"/>
              <a:gd name="T118" fmla="*/ 366 w 535"/>
              <a:gd name="T119" fmla="*/ 369 h 480"/>
              <a:gd name="T120" fmla="*/ 175 w 535"/>
              <a:gd name="T121" fmla="*/ 409 h 480"/>
              <a:gd name="T122" fmla="*/ 6 w 535"/>
              <a:gd name="T123" fmla="*/ 441 h 480"/>
              <a:gd name="T124" fmla="*/ 0 w 535"/>
              <a:gd name="T125" fmla="*/ 414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5" h="480">
                <a:moveTo>
                  <a:pt x="0" y="414"/>
                </a:moveTo>
                <a:lnTo>
                  <a:pt x="4" y="411"/>
                </a:lnTo>
                <a:lnTo>
                  <a:pt x="19" y="394"/>
                </a:lnTo>
                <a:lnTo>
                  <a:pt x="32" y="379"/>
                </a:lnTo>
                <a:lnTo>
                  <a:pt x="41" y="371"/>
                </a:lnTo>
                <a:lnTo>
                  <a:pt x="47" y="365"/>
                </a:lnTo>
                <a:lnTo>
                  <a:pt x="49" y="356"/>
                </a:lnTo>
                <a:lnTo>
                  <a:pt x="62" y="343"/>
                </a:lnTo>
                <a:lnTo>
                  <a:pt x="62" y="335"/>
                </a:lnTo>
                <a:lnTo>
                  <a:pt x="53" y="320"/>
                </a:lnTo>
                <a:lnTo>
                  <a:pt x="55" y="313"/>
                </a:lnTo>
                <a:lnTo>
                  <a:pt x="55" y="311"/>
                </a:lnTo>
                <a:lnTo>
                  <a:pt x="41" y="309"/>
                </a:lnTo>
                <a:lnTo>
                  <a:pt x="41" y="303"/>
                </a:lnTo>
                <a:lnTo>
                  <a:pt x="36" y="290"/>
                </a:lnTo>
                <a:lnTo>
                  <a:pt x="36" y="290"/>
                </a:lnTo>
                <a:lnTo>
                  <a:pt x="45" y="286"/>
                </a:lnTo>
                <a:lnTo>
                  <a:pt x="51" y="282"/>
                </a:lnTo>
                <a:lnTo>
                  <a:pt x="60" y="279"/>
                </a:lnTo>
                <a:lnTo>
                  <a:pt x="66" y="275"/>
                </a:lnTo>
                <a:lnTo>
                  <a:pt x="81" y="269"/>
                </a:lnTo>
                <a:lnTo>
                  <a:pt x="109" y="262"/>
                </a:lnTo>
                <a:lnTo>
                  <a:pt x="139" y="262"/>
                </a:lnTo>
                <a:lnTo>
                  <a:pt x="158" y="269"/>
                </a:lnTo>
                <a:lnTo>
                  <a:pt x="170" y="260"/>
                </a:lnTo>
                <a:lnTo>
                  <a:pt x="185" y="258"/>
                </a:lnTo>
                <a:lnTo>
                  <a:pt x="200" y="256"/>
                </a:lnTo>
                <a:lnTo>
                  <a:pt x="207" y="258"/>
                </a:lnTo>
                <a:lnTo>
                  <a:pt x="211" y="252"/>
                </a:lnTo>
                <a:lnTo>
                  <a:pt x="217" y="247"/>
                </a:lnTo>
                <a:lnTo>
                  <a:pt x="224" y="241"/>
                </a:lnTo>
                <a:lnTo>
                  <a:pt x="228" y="233"/>
                </a:lnTo>
                <a:lnTo>
                  <a:pt x="236" y="226"/>
                </a:lnTo>
                <a:lnTo>
                  <a:pt x="245" y="218"/>
                </a:lnTo>
                <a:lnTo>
                  <a:pt x="253" y="218"/>
                </a:lnTo>
                <a:lnTo>
                  <a:pt x="258" y="211"/>
                </a:lnTo>
                <a:lnTo>
                  <a:pt x="258" y="203"/>
                </a:lnTo>
                <a:lnTo>
                  <a:pt x="253" y="196"/>
                </a:lnTo>
                <a:lnTo>
                  <a:pt x="253" y="192"/>
                </a:lnTo>
                <a:lnTo>
                  <a:pt x="247" y="177"/>
                </a:lnTo>
                <a:lnTo>
                  <a:pt x="253" y="175"/>
                </a:lnTo>
                <a:lnTo>
                  <a:pt x="256" y="167"/>
                </a:lnTo>
                <a:lnTo>
                  <a:pt x="260" y="160"/>
                </a:lnTo>
                <a:lnTo>
                  <a:pt x="249" y="164"/>
                </a:lnTo>
                <a:lnTo>
                  <a:pt x="249" y="154"/>
                </a:lnTo>
                <a:lnTo>
                  <a:pt x="241" y="158"/>
                </a:lnTo>
                <a:lnTo>
                  <a:pt x="243" y="167"/>
                </a:lnTo>
                <a:lnTo>
                  <a:pt x="241" y="162"/>
                </a:lnTo>
                <a:lnTo>
                  <a:pt x="234" y="156"/>
                </a:lnTo>
                <a:lnTo>
                  <a:pt x="234" y="149"/>
                </a:lnTo>
                <a:lnTo>
                  <a:pt x="249" y="135"/>
                </a:lnTo>
                <a:lnTo>
                  <a:pt x="256" y="128"/>
                </a:lnTo>
                <a:lnTo>
                  <a:pt x="260" y="124"/>
                </a:lnTo>
                <a:lnTo>
                  <a:pt x="271" y="109"/>
                </a:lnTo>
                <a:lnTo>
                  <a:pt x="268" y="100"/>
                </a:lnTo>
                <a:lnTo>
                  <a:pt x="292" y="62"/>
                </a:lnTo>
                <a:lnTo>
                  <a:pt x="317" y="34"/>
                </a:lnTo>
                <a:lnTo>
                  <a:pt x="332" y="26"/>
                </a:lnTo>
                <a:lnTo>
                  <a:pt x="339" y="26"/>
                </a:lnTo>
                <a:lnTo>
                  <a:pt x="390" y="15"/>
                </a:lnTo>
                <a:lnTo>
                  <a:pt x="445" y="0"/>
                </a:lnTo>
                <a:lnTo>
                  <a:pt x="445" y="3"/>
                </a:lnTo>
                <a:lnTo>
                  <a:pt x="447" y="9"/>
                </a:lnTo>
                <a:lnTo>
                  <a:pt x="447" y="17"/>
                </a:lnTo>
                <a:lnTo>
                  <a:pt x="452" y="24"/>
                </a:lnTo>
                <a:lnTo>
                  <a:pt x="454" y="41"/>
                </a:lnTo>
                <a:lnTo>
                  <a:pt x="456" y="49"/>
                </a:lnTo>
                <a:lnTo>
                  <a:pt x="462" y="56"/>
                </a:lnTo>
                <a:lnTo>
                  <a:pt x="464" y="62"/>
                </a:lnTo>
                <a:lnTo>
                  <a:pt x="464" y="71"/>
                </a:lnTo>
                <a:lnTo>
                  <a:pt x="466" y="77"/>
                </a:lnTo>
                <a:lnTo>
                  <a:pt x="469" y="86"/>
                </a:lnTo>
                <a:lnTo>
                  <a:pt x="464" y="88"/>
                </a:lnTo>
                <a:lnTo>
                  <a:pt x="464" y="103"/>
                </a:lnTo>
                <a:lnTo>
                  <a:pt x="469" y="118"/>
                </a:lnTo>
                <a:lnTo>
                  <a:pt x="473" y="124"/>
                </a:lnTo>
                <a:lnTo>
                  <a:pt x="477" y="139"/>
                </a:lnTo>
                <a:lnTo>
                  <a:pt x="477" y="152"/>
                </a:lnTo>
                <a:lnTo>
                  <a:pt x="479" y="158"/>
                </a:lnTo>
                <a:lnTo>
                  <a:pt x="483" y="152"/>
                </a:lnTo>
                <a:lnTo>
                  <a:pt x="494" y="160"/>
                </a:lnTo>
                <a:lnTo>
                  <a:pt x="511" y="233"/>
                </a:lnTo>
                <a:lnTo>
                  <a:pt x="509" y="239"/>
                </a:lnTo>
                <a:lnTo>
                  <a:pt x="515" y="245"/>
                </a:lnTo>
                <a:lnTo>
                  <a:pt x="513" y="252"/>
                </a:lnTo>
                <a:lnTo>
                  <a:pt x="513" y="322"/>
                </a:lnTo>
                <a:lnTo>
                  <a:pt x="515" y="326"/>
                </a:lnTo>
                <a:lnTo>
                  <a:pt x="530" y="407"/>
                </a:lnTo>
                <a:lnTo>
                  <a:pt x="535" y="416"/>
                </a:lnTo>
                <a:lnTo>
                  <a:pt x="535" y="422"/>
                </a:lnTo>
                <a:lnTo>
                  <a:pt x="524" y="435"/>
                </a:lnTo>
                <a:lnTo>
                  <a:pt x="524" y="437"/>
                </a:lnTo>
                <a:lnTo>
                  <a:pt x="530" y="446"/>
                </a:lnTo>
                <a:lnTo>
                  <a:pt x="524" y="460"/>
                </a:lnTo>
                <a:lnTo>
                  <a:pt x="522" y="469"/>
                </a:lnTo>
                <a:lnTo>
                  <a:pt x="515" y="471"/>
                </a:lnTo>
                <a:lnTo>
                  <a:pt x="511" y="480"/>
                </a:lnTo>
                <a:lnTo>
                  <a:pt x="509" y="480"/>
                </a:lnTo>
                <a:lnTo>
                  <a:pt x="511" y="463"/>
                </a:lnTo>
                <a:lnTo>
                  <a:pt x="511" y="441"/>
                </a:lnTo>
                <a:lnTo>
                  <a:pt x="507" y="431"/>
                </a:lnTo>
                <a:lnTo>
                  <a:pt x="498" y="424"/>
                </a:lnTo>
                <a:lnTo>
                  <a:pt x="498" y="418"/>
                </a:lnTo>
                <a:lnTo>
                  <a:pt x="496" y="420"/>
                </a:lnTo>
                <a:lnTo>
                  <a:pt x="498" y="426"/>
                </a:lnTo>
                <a:lnTo>
                  <a:pt x="505" y="435"/>
                </a:lnTo>
                <a:lnTo>
                  <a:pt x="509" y="452"/>
                </a:lnTo>
                <a:lnTo>
                  <a:pt x="434" y="426"/>
                </a:lnTo>
                <a:lnTo>
                  <a:pt x="434" y="424"/>
                </a:lnTo>
                <a:lnTo>
                  <a:pt x="426" y="420"/>
                </a:lnTo>
                <a:lnTo>
                  <a:pt x="420" y="420"/>
                </a:lnTo>
                <a:lnTo>
                  <a:pt x="407" y="416"/>
                </a:lnTo>
                <a:lnTo>
                  <a:pt x="400" y="407"/>
                </a:lnTo>
                <a:lnTo>
                  <a:pt x="398" y="401"/>
                </a:lnTo>
                <a:lnTo>
                  <a:pt x="392" y="386"/>
                </a:lnTo>
                <a:lnTo>
                  <a:pt x="383" y="379"/>
                </a:lnTo>
                <a:lnTo>
                  <a:pt x="377" y="379"/>
                </a:lnTo>
                <a:lnTo>
                  <a:pt x="375" y="373"/>
                </a:lnTo>
                <a:lnTo>
                  <a:pt x="366" y="369"/>
                </a:lnTo>
                <a:lnTo>
                  <a:pt x="366" y="369"/>
                </a:lnTo>
                <a:lnTo>
                  <a:pt x="290" y="386"/>
                </a:lnTo>
                <a:lnTo>
                  <a:pt x="175" y="409"/>
                </a:lnTo>
                <a:lnTo>
                  <a:pt x="73" y="431"/>
                </a:lnTo>
                <a:lnTo>
                  <a:pt x="6" y="441"/>
                </a:lnTo>
                <a:lnTo>
                  <a:pt x="2" y="416"/>
                </a:lnTo>
                <a:lnTo>
                  <a:pt x="0" y="414"/>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2" name="Freeform 929"/>
          <p:cNvSpPr>
            <a:spLocks/>
          </p:cNvSpPr>
          <p:nvPr/>
        </p:nvSpPr>
        <p:spPr bwMode="auto">
          <a:xfrm>
            <a:off x="7308850" y="2706809"/>
            <a:ext cx="254000" cy="158750"/>
          </a:xfrm>
          <a:custGeom>
            <a:avLst/>
            <a:gdLst>
              <a:gd name="T0" fmla="*/ 51 w 160"/>
              <a:gd name="T1" fmla="*/ 78 h 100"/>
              <a:gd name="T2" fmla="*/ 23 w 160"/>
              <a:gd name="T3" fmla="*/ 93 h 100"/>
              <a:gd name="T4" fmla="*/ 11 w 160"/>
              <a:gd name="T5" fmla="*/ 100 h 100"/>
              <a:gd name="T6" fmla="*/ 17 w 160"/>
              <a:gd name="T7" fmla="*/ 93 h 100"/>
              <a:gd name="T8" fmla="*/ 2 w 160"/>
              <a:gd name="T9" fmla="*/ 98 h 100"/>
              <a:gd name="T10" fmla="*/ 0 w 160"/>
              <a:gd name="T11" fmla="*/ 96 h 100"/>
              <a:gd name="T12" fmla="*/ 0 w 160"/>
              <a:gd name="T13" fmla="*/ 89 h 100"/>
              <a:gd name="T14" fmla="*/ 4 w 160"/>
              <a:gd name="T15" fmla="*/ 81 h 100"/>
              <a:gd name="T16" fmla="*/ 17 w 160"/>
              <a:gd name="T17" fmla="*/ 72 h 100"/>
              <a:gd name="T18" fmla="*/ 19 w 160"/>
              <a:gd name="T19" fmla="*/ 64 h 100"/>
              <a:gd name="T20" fmla="*/ 26 w 160"/>
              <a:gd name="T21" fmla="*/ 66 h 100"/>
              <a:gd name="T22" fmla="*/ 26 w 160"/>
              <a:gd name="T23" fmla="*/ 59 h 100"/>
              <a:gd name="T24" fmla="*/ 32 w 160"/>
              <a:gd name="T25" fmla="*/ 53 h 100"/>
              <a:gd name="T26" fmla="*/ 38 w 160"/>
              <a:gd name="T27" fmla="*/ 55 h 100"/>
              <a:gd name="T28" fmla="*/ 53 w 160"/>
              <a:gd name="T29" fmla="*/ 47 h 100"/>
              <a:gd name="T30" fmla="*/ 60 w 160"/>
              <a:gd name="T31" fmla="*/ 47 h 100"/>
              <a:gd name="T32" fmla="*/ 64 w 160"/>
              <a:gd name="T33" fmla="*/ 40 h 100"/>
              <a:gd name="T34" fmla="*/ 70 w 160"/>
              <a:gd name="T35" fmla="*/ 38 h 100"/>
              <a:gd name="T36" fmla="*/ 92 w 160"/>
              <a:gd name="T37" fmla="*/ 32 h 100"/>
              <a:gd name="T38" fmla="*/ 106 w 160"/>
              <a:gd name="T39" fmla="*/ 25 h 100"/>
              <a:gd name="T40" fmla="*/ 128 w 160"/>
              <a:gd name="T41" fmla="*/ 0 h 100"/>
              <a:gd name="T42" fmla="*/ 121 w 160"/>
              <a:gd name="T43" fmla="*/ 12 h 100"/>
              <a:gd name="T44" fmla="*/ 121 w 160"/>
              <a:gd name="T45" fmla="*/ 21 h 100"/>
              <a:gd name="T46" fmla="*/ 113 w 160"/>
              <a:gd name="T47" fmla="*/ 27 h 100"/>
              <a:gd name="T48" fmla="*/ 109 w 160"/>
              <a:gd name="T49" fmla="*/ 34 h 100"/>
              <a:gd name="T50" fmla="*/ 115 w 160"/>
              <a:gd name="T51" fmla="*/ 34 h 100"/>
              <a:gd name="T52" fmla="*/ 119 w 160"/>
              <a:gd name="T53" fmla="*/ 32 h 100"/>
              <a:gd name="T54" fmla="*/ 130 w 160"/>
              <a:gd name="T55" fmla="*/ 17 h 100"/>
              <a:gd name="T56" fmla="*/ 136 w 160"/>
              <a:gd name="T57" fmla="*/ 12 h 100"/>
              <a:gd name="T58" fmla="*/ 143 w 160"/>
              <a:gd name="T59" fmla="*/ 10 h 100"/>
              <a:gd name="T60" fmla="*/ 145 w 160"/>
              <a:gd name="T61" fmla="*/ 12 h 100"/>
              <a:gd name="T62" fmla="*/ 153 w 160"/>
              <a:gd name="T63" fmla="*/ 10 h 100"/>
              <a:gd name="T64" fmla="*/ 160 w 160"/>
              <a:gd name="T65" fmla="*/ 4 h 100"/>
              <a:gd name="T66" fmla="*/ 151 w 160"/>
              <a:gd name="T67" fmla="*/ 17 h 100"/>
              <a:gd name="T68" fmla="*/ 143 w 160"/>
              <a:gd name="T69" fmla="*/ 21 h 100"/>
              <a:gd name="T70" fmla="*/ 130 w 160"/>
              <a:gd name="T71" fmla="*/ 34 h 100"/>
              <a:gd name="T72" fmla="*/ 121 w 160"/>
              <a:gd name="T73" fmla="*/ 34 h 100"/>
              <a:gd name="T74" fmla="*/ 119 w 160"/>
              <a:gd name="T75" fmla="*/ 40 h 100"/>
              <a:gd name="T76" fmla="*/ 106 w 160"/>
              <a:gd name="T77" fmla="*/ 51 h 100"/>
              <a:gd name="T78" fmla="*/ 98 w 160"/>
              <a:gd name="T79" fmla="*/ 51 h 100"/>
              <a:gd name="T80" fmla="*/ 92 w 160"/>
              <a:gd name="T81" fmla="*/ 57 h 100"/>
              <a:gd name="T82" fmla="*/ 83 w 160"/>
              <a:gd name="T83" fmla="*/ 59 h 100"/>
              <a:gd name="T84" fmla="*/ 68 w 160"/>
              <a:gd name="T85" fmla="*/ 68 h 100"/>
              <a:gd name="T86" fmla="*/ 62 w 160"/>
              <a:gd name="T87" fmla="*/ 72 h 100"/>
              <a:gd name="T88" fmla="*/ 53 w 160"/>
              <a:gd name="T89" fmla="*/ 78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23" y="93"/>
                </a:lnTo>
                <a:lnTo>
                  <a:pt x="11" y="100"/>
                </a:lnTo>
                <a:lnTo>
                  <a:pt x="17" y="93"/>
                </a:lnTo>
                <a:lnTo>
                  <a:pt x="2" y="98"/>
                </a:lnTo>
                <a:lnTo>
                  <a:pt x="0" y="96"/>
                </a:lnTo>
                <a:lnTo>
                  <a:pt x="0" y="89"/>
                </a:lnTo>
                <a:lnTo>
                  <a:pt x="4" y="81"/>
                </a:lnTo>
                <a:lnTo>
                  <a:pt x="17" y="72"/>
                </a:lnTo>
                <a:lnTo>
                  <a:pt x="19" y="64"/>
                </a:lnTo>
                <a:lnTo>
                  <a:pt x="26" y="66"/>
                </a:lnTo>
                <a:lnTo>
                  <a:pt x="26" y="59"/>
                </a:lnTo>
                <a:lnTo>
                  <a:pt x="32" y="53"/>
                </a:lnTo>
                <a:lnTo>
                  <a:pt x="38" y="55"/>
                </a:lnTo>
                <a:lnTo>
                  <a:pt x="53" y="47"/>
                </a:lnTo>
                <a:lnTo>
                  <a:pt x="60" y="47"/>
                </a:lnTo>
                <a:lnTo>
                  <a:pt x="64" y="40"/>
                </a:lnTo>
                <a:lnTo>
                  <a:pt x="70" y="38"/>
                </a:lnTo>
                <a:lnTo>
                  <a:pt x="92" y="32"/>
                </a:lnTo>
                <a:lnTo>
                  <a:pt x="106" y="25"/>
                </a:lnTo>
                <a:lnTo>
                  <a:pt x="128" y="0"/>
                </a:lnTo>
                <a:lnTo>
                  <a:pt x="121" y="12"/>
                </a:lnTo>
                <a:lnTo>
                  <a:pt x="121" y="21"/>
                </a:lnTo>
                <a:lnTo>
                  <a:pt x="113" y="27"/>
                </a:lnTo>
                <a:lnTo>
                  <a:pt x="109" y="34"/>
                </a:lnTo>
                <a:lnTo>
                  <a:pt x="115" y="34"/>
                </a:lnTo>
                <a:lnTo>
                  <a:pt x="119" y="32"/>
                </a:lnTo>
                <a:lnTo>
                  <a:pt x="130" y="17"/>
                </a:lnTo>
                <a:lnTo>
                  <a:pt x="136" y="12"/>
                </a:lnTo>
                <a:lnTo>
                  <a:pt x="143" y="10"/>
                </a:lnTo>
                <a:lnTo>
                  <a:pt x="145" y="12"/>
                </a:lnTo>
                <a:lnTo>
                  <a:pt x="153" y="10"/>
                </a:lnTo>
                <a:lnTo>
                  <a:pt x="160" y="4"/>
                </a:lnTo>
                <a:lnTo>
                  <a:pt x="151" y="17"/>
                </a:lnTo>
                <a:lnTo>
                  <a:pt x="143" y="21"/>
                </a:lnTo>
                <a:lnTo>
                  <a:pt x="130" y="34"/>
                </a:lnTo>
                <a:lnTo>
                  <a:pt x="121" y="34"/>
                </a:lnTo>
                <a:lnTo>
                  <a:pt x="119" y="40"/>
                </a:lnTo>
                <a:lnTo>
                  <a:pt x="106" y="51"/>
                </a:lnTo>
                <a:lnTo>
                  <a:pt x="98" y="51"/>
                </a:lnTo>
                <a:lnTo>
                  <a:pt x="92" y="57"/>
                </a:lnTo>
                <a:lnTo>
                  <a:pt x="83" y="59"/>
                </a:lnTo>
                <a:lnTo>
                  <a:pt x="68" y="68"/>
                </a:lnTo>
                <a:lnTo>
                  <a:pt x="62" y="72"/>
                </a:lnTo>
                <a:lnTo>
                  <a:pt x="53" y="78"/>
                </a:lnTo>
                <a:lnTo>
                  <a:pt x="51" y="78"/>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3" name="Freeform 930"/>
          <p:cNvSpPr>
            <a:spLocks/>
          </p:cNvSpPr>
          <p:nvPr/>
        </p:nvSpPr>
        <p:spPr bwMode="auto">
          <a:xfrm>
            <a:off x="7308850" y="2706809"/>
            <a:ext cx="254000" cy="158750"/>
          </a:xfrm>
          <a:custGeom>
            <a:avLst/>
            <a:gdLst>
              <a:gd name="T0" fmla="*/ 51 w 160"/>
              <a:gd name="T1" fmla="*/ 78 h 100"/>
              <a:gd name="T2" fmla="*/ 23 w 160"/>
              <a:gd name="T3" fmla="*/ 93 h 100"/>
              <a:gd name="T4" fmla="*/ 11 w 160"/>
              <a:gd name="T5" fmla="*/ 100 h 100"/>
              <a:gd name="T6" fmla="*/ 17 w 160"/>
              <a:gd name="T7" fmla="*/ 93 h 100"/>
              <a:gd name="T8" fmla="*/ 2 w 160"/>
              <a:gd name="T9" fmla="*/ 98 h 100"/>
              <a:gd name="T10" fmla="*/ 0 w 160"/>
              <a:gd name="T11" fmla="*/ 96 h 100"/>
              <a:gd name="T12" fmla="*/ 0 w 160"/>
              <a:gd name="T13" fmla="*/ 89 h 100"/>
              <a:gd name="T14" fmla="*/ 4 w 160"/>
              <a:gd name="T15" fmla="*/ 81 h 100"/>
              <a:gd name="T16" fmla="*/ 17 w 160"/>
              <a:gd name="T17" fmla="*/ 72 h 100"/>
              <a:gd name="T18" fmla="*/ 19 w 160"/>
              <a:gd name="T19" fmla="*/ 64 h 100"/>
              <a:gd name="T20" fmla="*/ 26 w 160"/>
              <a:gd name="T21" fmla="*/ 66 h 100"/>
              <a:gd name="T22" fmla="*/ 26 w 160"/>
              <a:gd name="T23" fmla="*/ 59 h 100"/>
              <a:gd name="T24" fmla="*/ 32 w 160"/>
              <a:gd name="T25" fmla="*/ 53 h 100"/>
              <a:gd name="T26" fmla="*/ 38 w 160"/>
              <a:gd name="T27" fmla="*/ 55 h 100"/>
              <a:gd name="T28" fmla="*/ 53 w 160"/>
              <a:gd name="T29" fmla="*/ 47 h 100"/>
              <a:gd name="T30" fmla="*/ 60 w 160"/>
              <a:gd name="T31" fmla="*/ 47 h 100"/>
              <a:gd name="T32" fmla="*/ 64 w 160"/>
              <a:gd name="T33" fmla="*/ 40 h 100"/>
              <a:gd name="T34" fmla="*/ 70 w 160"/>
              <a:gd name="T35" fmla="*/ 38 h 100"/>
              <a:gd name="T36" fmla="*/ 92 w 160"/>
              <a:gd name="T37" fmla="*/ 32 h 100"/>
              <a:gd name="T38" fmla="*/ 106 w 160"/>
              <a:gd name="T39" fmla="*/ 25 h 100"/>
              <a:gd name="T40" fmla="*/ 128 w 160"/>
              <a:gd name="T41" fmla="*/ 0 h 100"/>
              <a:gd name="T42" fmla="*/ 121 w 160"/>
              <a:gd name="T43" fmla="*/ 12 h 100"/>
              <a:gd name="T44" fmla="*/ 121 w 160"/>
              <a:gd name="T45" fmla="*/ 21 h 100"/>
              <a:gd name="T46" fmla="*/ 113 w 160"/>
              <a:gd name="T47" fmla="*/ 27 h 100"/>
              <a:gd name="T48" fmla="*/ 109 w 160"/>
              <a:gd name="T49" fmla="*/ 34 h 100"/>
              <a:gd name="T50" fmla="*/ 115 w 160"/>
              <a:gd name="T51" fmla="*/ 34 h 100"/>
              <a:gd name="T52" fmla="*/ 119 w 160"/>
              <a:gd name="T53" fmla="*/ 32 h 100"/>
              <a:gd name="T54" fmla="*/ 130 w 160"/>
              <a:gd name="T55" fmla="*/ 17 h 100"/>
              <a:gd name="T56" fmla="*/ 136 w 160"/>
              <a:gd name="T57" fmla="*/ 12 h 100"/>
              <a:gd name="T58" fmla="*/ 143 w 160"/>
              <a:gd name="T59" fmla="*/ 10 h 100"/>
              <a:gd name="T60" fmla="*/ 145 w 160"/>
              <a:gd name="T61" fmla="*/ 12 h 100"/>
              <a:gd name="T62" fmla="*/ 153 w 160"/>
              <a:gd name="T63" fmla="*/ 10 h 100"/>
              <a:gd name="T64" fmla="*/ 160 w 160"/>
              <a:gd name="T65" fmla="*/ 4 h 100"/>
              <a:gd name="T66" fmla="*/ 151 w 160"/>
              <a:gd name="T67" fmla="*/ 17 h 100"/>
              <a:gd name="T68" fmla="*/ 143 w 160"/>
              <a:gd name="T69" fmla="*/ 21 h 100"/>
              <a:gd name="T70" fmla="*/ 130 w 160"/>
              <a:gd name="T71" fmla="*/ 34 h 100"/>
              <a:gd name="T72" fmla="*/ 121 w 160"/>
              <a:gd name="T73" fmla="*/ 34 h 100"/>
              <a:gd name="T74" fmla="*/ 119 w 160"/>
              <a:gd name="T75" fmla="*/ 40 h 100"/>
              <a:gd name="T76" fmla="*/ 106 w 160"/>
              <a:gd name="T77" fmla="*/ 51 h 100"/>
              <a:gd name="T78" fmla="*/ 98 w 160"/>
              <a:gd name="T79" fmla="*/ 51 h 100"/>
              <a:gd name="T80" fmla="*/ 92 w 160"/>
              <a:gd name="T81" fmla="*/ 57 h 100"/>
              <a:gd name="T82" fmla="*/ 83 w 160"/>
              <a:gd name="T83" fmla="*/ 59 h 100"/>
              <a:gd name="T84" fmla="*/ 68 w 160"/>
              <a:gd name="T85" fmla="*/ 68 h 100"/>
              <a:gd name="T86" fmla="*/ 62 w 160"/>
              <a:gd name="T87" fmla="*/ 72 h 100"/>
              <a:gd name="T88" fmla="*/ 53 w 160"/>
              <a:gd name="T89" fmla="*/ 78 h 100"/>
              <a:gd name="T90" fmla="*/ 51 w 160"/>
              <a:gd name="T91" fmla="*/ 78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0" h="100">
                <a:moveTo>
                  <a:pt x="51" y="78"/>
                </a:moveTo>
                <a:lnTo>
                  <a:pt x="23" y="93"/>
                </a:lnTo>
                <a:lnTo>
                  <a:pt x="11" y="100"/>
                </a:lnTo>
                <a:lnTo>
                  <a:pt x="17" y="93"/>
                </a:lnTo>
                <a:lnTo>
                  <a:pt x="2" y="98"/>
                </a:lnTo>
                <a:lnTo>
                  <a:pt x="0" y="96"/>
                </a:lnTo>
                <a:lnTo>
                  <a:pt x="0" y="89"/>
                </a:lnTo>
                <a:lnTo>
                  <a:pt x="4" y="81"/>
                </a:lnTo>
                <a:lnTo>
                  <a:pt x="17" y="72"/>
                </a:lnTo>
                <a:lnTo>
                  <a:pt x="19" y="64"/>
                </a:lnTo>
                <a:lnTo>
                  <a:pt x="26" y="66"/>
                </a:lnTo>
                <a:lnTo>
                  <a:pt x="26" y="59"/>
                </a:lnTo>
                <a:lnTo>
                  <a:pt x="32" y="53"/>
                </a:lnTo>
                <a:lnTo>
                  <a:pt x="38" y="55"/>
                </a:lnTo>
                <a:lnTo>
                  <a:pt x="53" y="47"/>
                </a:lnTo>
                <a:lnTo>
                  <a:pt x="60" y="47"/>
                </a:lnTo>
                <a:lnTo>
                  <a:pt x="64" y="40"/>
                </a:lnTo>
                <a:lnTo>
                  <a:pt x="70" y="38"/>
                </a:lnTo>
                <a:lnTo>
                  <a:pt x="92" y="32"/>
                </a:lnTo>
                <a:lnTo>
                  <a:pt x="106" y="25"/>
                </a:lnTo>
                <a:lnTo>
                  <a:pt x="128" y="0"/>
                </a:lnTo>
                <a:lnTo>
                  <a:pt x="121" y="12"/>
                </a:lnTo>
                <a:lnTo>
                  <a:pt x="121" y="21"/>
                </a:lnTo>
                <a:lnTo>
                  <a:pt x="113" y="27"/>
                </a:lnTo>
                <a:lnTo>
                  <a:pt x="109" y="34"/>
                </a:lnTo>
                <a:lnTo>
                  <a:pt x="115" y="34"/>
                </a:lnTo>
                <a:lnTo>
                  <a:pt x="119" y="32"/>
                </a:lnTo>
                <a:lnTo>
                  <a:pt x="130" y="17"/>
                </a:lnTo>
                <a:lnTo>
                  <a:pt x="136" y="12"/>
                </a:lnTo>
                <a:lnTo>
                  <a:pt x="143" y="10"/>
                </a:lnTo>
                <a:lnTo>
                  <a:pt x="145" y="12"/>
                </a:lnTo>
                <a:lnTo>
                  <a:pt x="153" y="10"/>
                </a:lnTo>
                <a:lnTo>
                  <a:pt x="160" y="4"/>
                </a:lnTo>
                <a:lnTo>
                  <a:pt x="151" y="17"/>
                </a:lnTo>
                <a:lnTo>
                  <a:pt x="143" y="21"/>
                </a:lnTo>
                <a:lnTo>
                  <a:pt x="130" y="34"/>
                </a:lnTo>
                <a:lnTo>
                  <a:pt x="121" y="34"/>
                </a:lnTo>
                <a:lnTo>
                  <a:pt x="119" y="40"/>
                </a:lnTo>
                <a:lnTo>
                  <a:pt x="106" y="51"/>
                </a:lnTo>
                <a:lnTo>
                  <a:pt x="98" y="51"/>
                </a:lnTo>
                <a:lnTo>
                  <a:pt x="92" y="57"/>
                </a:lnTo>
                <a:lnTo>
                  <a:pt x="83" y="59"/>
                </a:lnTo>
                <a:lnTo>
                  <a:pt x="68" y="68"/>
                </a:lnTo>
                <a:lnTo>
                  <a:pt x="62" y="72"/>
                </a:lnTo>
                <a:lnTo>
                  <a:pt x="53" y="78"/>
                </a:lnTo>
                <a:lnTo>
                  <a:pt x="51" y="78"/>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4" name="Freeform 931"/>
          <p:cNvSpPr>
            <a:spLocks/>
          </p:cNvSpPr>
          <p:nvPr/>
        </p:nvSpPr>
        <p:spPr bwMode="auto">
          <a:xfrm>
            <a:off x="7694613" y="2594096"/>
            <a:ext cx="33338" cy="31750"/>
          </a:xfrm>
          <a:custGeom>
            <a:avLst/>
            <a:gdLst>
              <a:gd name="T0" fmla="*/ 17 w 21"/>
              <a:gd name="T1" fmla="*/ 0 h 20"/>
              <a:gd name="T2" fmla="*/ 10 w 21"/>
              <a:gd name="T3" fmla="*/ 0 h 20"/>
              <a:gd name="T4" fmla="*/ 6 w 21"/>
              <a:gd name="T5" fmla="*/ 7 h 20"/>
              <a:gd name="T6" fmla="*/ 0 w 21"/>
              <a:gd name="T7" fmla="*/ 20 h 20"/>
              <a:gd name="T8" fmla="*/ 15 w 21"/>
              <a:gd name="T9" fmla="*/ 13 h 20"/>
              <a:gd name="T10" fmla="*/ 21 w 21"/>
              <a:gd name="T11" fmla="*/ 7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10" y="0"/>
                </a:lnTo>
                <a:lnTo>
                  <a:pt x="6" y="7"/>
                </a:lnTo>
                <a:lnTo>
                  <a:pt x="0" y="20"/>
                </a:lnTo>
                <a:lnTo>
                  <a:pt x="15" y="13"/>
                </a:lnTo>
                <a:lnTo>
                  <a:pt x="21" y="7"/>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5" name="Freeform 932"/>
          <p:cNvSpPr>
            <a:spLocks/>
          </p:cNvSpPr>
          <p:nvPr/>
        </p:nvSpPr>
        <p:spPr bwMode="auto">
          <a:xfrm>
            <a:off x="7694613" y="2594096"/>
            <a:ext cx="33338" cy="31750"/>
          </a:xfrm>
          <a:custGeom>
            <a:avLst/>
            <a:gdLst>
              <a:gd name="T0" fmla="*/ 17 w 21"/>
              <a:gd name="T1" fmla="*/ 0 h 20"/>
              <a:gd name="T2" fmla="*/ 10 w 21"/>
              <a:gd name="T3" fmla="*/ 0 h 20"/>
              <a:gd name="T4" fmla="*/ 6 w 21"/>
              <a:gd name="T5" fmla="*/ 7 h 20"/>
              <a:gd name="T6" fmla="*/ 0 w 21"/>
              <a:gd name="T7" fmla="*/ 20 h 20"/>
              <a:gd name="T8" fmla="*/ 15 w 21"/>
              <a:gd name="T9" fmla="*/ 13 h 20"/>
              <a:gd name="T10" fmla="*/ 21 w 21"/>
              <a:gd name="T11" fmla="*/ 7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10" y="0"/>
                </a:lnTo>
                <a:lnTo>
                  <a:pt x="6" y="7"/>
                </a:lnTo>
                <a:lnTo>
                  <a:pt x="0" y="20"/>
                </a:lnTo>
                <a:lnTo>
                  <a:pt x="15" y="13"/>
                </a:lnTo>
                <a:lnTo>
                  <a:pt x="21" y="7"/>
                </a:lnTo>
                <a:lnTo>
                  <a:pt x="17"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6" name="Freeform 933"/>
          <p:cNvSpPr>
            <a:spLocks/>
          </p:cNvSpPr>
          <p:nvPr/>
        </p:nvSpPr>
        <p:spPr bwMode="auto">
          <a:xfrm>
            <a:off x="7778750" y="2590921"/>
            <a:ext cx="26988" cy="23813"/>
          </a:xfrm>
          <a:custGeom>
            <a:avLst/>
            <a:gdLst>
              <a:gd name="T0" fmla="*/ 15 w 17"/>
              <a:gd name="T1" fmla="*/ 13 h 15"/>
              <a:gd name="T2" fmla="*/ 17 w 17"/>
              <a:gd name="T3" fmla="*/ 11 h 15"/>
              <a:gd name="T4" fmla="*/ 13 w 17"/>
              <a:gd name="T5" fmla="*/ 5 h 15"/>
              <a:gd name="T6" fmla="*/ 6 w 17"/>
              <a:gd name="T7" fmla="*/ 0 h 15"/>
              <a:gd name="T8" fmla="*/ 9 w 17"/>
              <a:gd name="T9" fmla="*/ 2 h 15"/>
              <a:gd name="T10" fmla="*/ 9 w 17"/>
              <a:gd name="T11" fmla="*/ 9 h 15"/>
              <a:gd name="T12" fmla="*/ 0 w 17"/>
              <a:gd name="T13" fmla="*/ 15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17" y="11"/>
                </a:lnTo>
                <a:lnTo>
                  <a:pt x="13" y="5"/>
                </a:lnTo>
                <a:lnTo>
                  <a:pt x="6" y="0"/>
                </a:lnTo>
                <a:lnTo>
                  <a:pt x="9" y="2"/>
                </a:lnTo>
                <a:lnTo>
                  <a:pt x="9" y="9"/>
                </a:lnTo>
                <a:lnTo>
                  <a:pt x="0" y="15"/>
                </a:lnTo>
                <a:lnTo>
                  <a:pt x="15"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27" name="Freeform 934"/>
          <p:cNvSpPr>
            <a:spLocks/>
          </p:cNvSpPr>
          <p:nvPr/>
        </p:nvSpPr>
        <p:spPr bwMode="auto">
          <a:xfrm>
            <a:off x="7778750" y="2590921"/>
            <a:ext cx="26988" cy="23813"/>
          </a:xfrm>
          <a:custGeom>
            <a:avLst/>
            <a:gdLst>
              <a:gd name="T0" fmla="*/ 15 w 17"/>
              <a:gd name="T1" fmla="*/ 13 h 15"/>
              <a:gd name="T2" fmla="*/ 17 w 17"/>
              <a:gd name="T3" fmla="*/ 11 h 15"/>
              <a:gd name="T4" fmla="*/ 13 w 17"/>
              <a:gd name="T5" fmla="*/ 5 h 15"/>
              <a:gd name="T6" fmla="*/ 6 w 17"/>
              <a:gd name="T7" fmla="*/ 0 h 15"/>
              <a:gd name="T8" fmla="*/ 9 w 17"/>
              <a:gd name="T9" fmla="*/ 2 h 15"/>
              <a:gd name="T10" fmla="*/ 9 w 17"/>
              <a:gd name="T11" fmla="*/ 9 h 15"/>
              <a:gd name="T12" fmla="*/ 0 w 17"/>
              <a:gd name="T13" fmla="*/ 15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17" y="11"/>
                </a:lnTo>
                <a:lnTo>
                  <a:pt x="13" y="5"/>
                </a:lnTo>
                <a:lnTo>
                  <a:pt x="6" y="0"/>
                </a:lnTo>
                <a:lnTo>
                  <a:pt x="9" y="2"/>
                </a:lnTo>
                <a:lnTo>
                  <a:pt x="9" y="9"/>
                </a:lnTo>
                <a:lnTo>
                  <a:pt x="0" y="15"/>
                </a:lnTo>
                <a:lnTo>
                  <a:pt x="15"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28" name="Freeform 935"/>
          <p:cNvSpPr>
            <a:spLocks/>
          </p:cNvSpPr>
          <p:nvPr/>
        </p:nvSpPr>
        <p:spPr bwMode="auto">
          <a:xfrm>
            <a:off x="7315200" y="2357559"/>
            <a:ext cx="473075" cy="250825"/>
          </a:xfrm>
          <a:custGeom>
            <a:avLst/>
            <a:gdLst>
              <a:gd name="T0" fmla="*/ 64 w 298"/>
              <a:gd name="T1" fmla="*/ 54 h 158"/>
              <a:gd name="T2" fmla="*/ 166 w 298"/>
              <a:gd name="T3" fmla="*/ 22 h 158"/>
              <a:gd name="T4" fmla="*/ 173 w 298"/>
              <a:gd name="T5" fmla="*/ 13 h 158"/>
              <a:gd name="T6" fmla="*/ 186 w 298"/>
              <a:gd name="T7" fmla="*/ 2 h 158"/>
              <a:gd name="T8" fmla="*/ 192 w 298"/>
              <a:gd name="T9" fmla="*/ 0 h 158"/>
              <a:gd name="T10" fmla="*/ 196 w 298"/>
              <a:gd name="T11" fmla="*/ 11 h 158"/>
              <a:gd name="T12" fmla="*/ 205 w 298"/>
              <a:gd name="T13" fmla="*/ 24 h 158"/>
              <a:gd name="T14" fmla="*/ 209 w 298"/>
              <a:gd name="T15" fmla="*/ 22 h 158"/>
              <a:gd name="T16" fmla="*/ 215 w 298"/>
              <a:gd name="T17" fmla="*/ 28 h 158"/>
              <a:gd name="T18" fmla="*/ 198 w 298"/>
              <a:gd name="T19" fmla="*/ 43 h 158"/>
              <a:gd name="T20" fmla="*/ 194 w 298"/>
              <a:gd name="T21" fmla="*/ 54 h 158"/>
              <a:gd name="T22" fmla="*/ 190 w 298"/>
              <a:gd name="T23" fmla="*/ 62 h 158"/>
              <a:gd name="T24" fmla="*/ 200 w 298"/>
              <a:gd name="T25" fmla="*/ 73 h 158"/>
              <a:gd name="T26" fmla="*/ 215 w 298"/>
              <a:gd name="T27" fmla="*/ 68 h 158"/>
              <a:gd name="T28" fmla="*/ 237 w 298"/>
              <a:gd name="T29" fmla="*/ 90 h 158"/>
              <a:gd name="T30" fmla="*/ 228 w 298"/>
              <a:gd name="T31" fmla="*/ 94 h 158"/>
              <a:gd name="T32" fmla="*/ 243 w 298"/>
              <a:gd name="T33" fmla="*/ 98 h 158"/>
              <a:gd name="T34" fmla="*/ 254 w 298"/>
              <a:gd name="T35" fmla="*/ 115 h 158"/>
              <a:gd name="T36" fmla="*/ 269 w 298"/>
              <a:gd name="T37" fmla="*/ 117 h 158"/>
              <a:gd name="T38" fmla="*/ 290 w 298"/>
              <a:gd name="T39" fmla="*/ 98 h 158"/>
              <a:gd name="T40" fmla="*/ 279 w 298"/>
              <a:gd name="T41" fmla="*/ 88 h 158"/>
              <a:gd name="T42" fmla="*/ 269 w 298"/>
              <a:gd name="T43" fmla="*/ 75 h 158"/>
              <a:gd name="T44" fmla="*/ 269 w 298"/>
              <a:gd name="T45" fmla="*/ 73 h 158"/>
              <a:gd name="T46" fmla="*/ 283 w 298"/>
              <a:gd name="T47" fmla="*/ 79 h 158"/>
              <a:gd name="T48" fmla="*/ 298 w 298"/>
              <a:gd name="T49" fmla="*/ 107 h 158"/>
              <a:gd name="T50" fmla="*/ 286 w 298"/>
              <a:gd name="T51" fmla="*/ 117 h 158"/>
              <a:gd name="T52" fmla="*/ 260 w 298"/>
              <a:gd name="T53" fmla="*/ 128 h 158"/>
              <a:gd name="T54" fmla="*/ 252 w 298"/>
              <a:gd name="T55" fmla="*/ 141 h 158"/>
              <a:gd name="T56" fmla="*/ 241 w 298"/>
              <a:gd name="T57" fmla="*/ 128 h 158"/>
              <a:gd name="T58" fmla="*/ 235 w 298"/>
              <a:gd name="T59" fmla="*/ 126 h 158"/>
              <a:gd name="T60" fmla="*/ 224 w 298"/>
              <a:gd name="T61" fmla="*/ 139 h 158"/>
              <a:gd name="T62" fmla="*/ 213 w 298"/>
              <a:gd name="T63" fmla="*/ 149 h 158"/>
              <a:gd name="T64" fmla="*/ 207 w 298"/>
              <a:gd name="T65" fmla="*/ 154 h 158"/>
              <a:gd name="T66" fmla="*/ 196 w 298"/>
              <a:gd name="T67" fmla="*/ 141 h 158"/>
              <a:gd name="T68" fmla="*/ 198 w 298"/>
              <a:gd name="T69" fmla="*/ 126 h 158"/>
              <a:gd name="T70" fmla="*/ 192 w 298"/>
              <a:gd name="T71" fmla="*/ 137 h 158"/>
              <a:gd name="T72" fmla="*/ 186 w 298"/>
              <a:gd name="T73" fmla="*/ 132 h 158"/>
              <a:gd name="T74" fmla="*/ 181 w 298"/>
              <a:gd name="T75" fmla="*/ 122 h 158"/>
              <a:gd name="T76" fmla="*/ 173 w 298"/>
              <a:gd name="T77" fmla="*/ 113 h 158"/>
              <a:gd name="T78" fmla="*/ 139 w 298"/>
              <a:gd name="T79" fmla="*/ 117 h 158"/>
              <a:gd name="T80" fmla="*/ 124 w 298"/>
              <a:gd name="T81" fmla="*/ 120 h 158"/>
              <a:gd name="T82" fmla="*/ 75 w 298"/>
              <a:gd name="T83" fmla="*/ 132 h 158"/>
              <a:gd name="T84" fmla="*/ 58 w 298"/>
              <a:gd name="T85" fmla="*/ 137 h 158"/>
              <a:gd name="T86" fmla="*/ 2 w 298"/>
              <a:gd name="T87" fmla="*/ 147 h 158"/>
              <a:gd name="T88" fmla="*/ 0 w 298"/>
              <a:gd name="T8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158">
                <a:moveTo>
                  <a:pt x="2" y="66"/>
                </a:moveTo>
                <a:lnTo>
                  <a:pt x="64" y="54"/>
                </a:lnTo>
                <a:lnTo>
                  <a:pt x="158" y="32"/>
                </a:lnTo>
                <a:lnTo>
                  <a:pt x="166" y="22"/>
                </a:lnTo>
                <a:lnTo>
                  <a:pt x="171" y="13"/>
                </a:lnTo>
                <a:lnTo>
                  <a:pt x="173" y="13"/>
                </a:lnTo>
                <a:lnTo>
                  <a:pt x="177" y="7"/>
                </a:lnTo>
                <a:lnTo>
                  <a:pt x="186" y="2"/>
                </a:lnTo>
                <a:lnTo>
                  <a:pt x="188" y="0"/>
                </a:lnTo>
                <a:lnTo>
                  <a:pt x="192" y="0"/>
                </a:lnTo>
                <a:lnTo>
                  <a:pt x="190" y="7"/>
                </a:lnTo>
                <a:lnTo>
                  <a:pt x="196" y="11"/>
                </a:lnTo>
                <a:lnTo>
                  <a:pt x="196" y="17"/>
                </a:lnTo>
                <a:lnTo>
                  <a:pt x="205" y="24"/>
                </a:lnTo>
                <a:lnTo>
                  <a:pt x="211" y="22"/>
                </a:lnTo>
                <a:lnTo>
                  <a:pt x="209" y="22"/>
                </a:lnTo>
                <a:lnTo>
                  <a:pt x="217" y="19"/>
                </a:lnTo>
                <a:lnTo>
                  <a:pt x="215" y="28"/>
                </a:lnTo>
                <a:lnTo>
                  <a:pt x="200" y="36"/>
                </a:lnTo>
                <a:lnTo>
                  <a:pt x="198" y="43"/>
                </a:lnTo>
                <a:lnTo>
                  <a:pt x="198" y="47"/>
                </a:lnTo>
                <a:lnTo>
                  <a:pt x="194" y="54"/>
                </a:lnTo>
                <a:lnTo>
                  <a:pt x="196" y="62"/>
                </a:lnTo>
                <a:lnTo>
                  <a:pt x="190" y="62"/>
                </a:lnTo>
                <a:lnTo>
                  <a:pt x="194" y="68"/>
                </a:lnTo>
                <a:lnTo>
                  <a:pt x="200" y="73"/>
                </a:lnTo>
                <a:lnTo>
                  <a:pt x="209" y="68"/>
                </a:lnTo>
                <a:lnTo>
                  <a:pt x="215" y="68"/>
                </a:lnTo>
                <a:lnTo>
                  <a:pt x="230" y="83"/>
                </a:lnTo>
                <a:lnTo>
                  <a:pt x="237" y="90"/>
                </a:lnTo>
                <a:lnTo>
                  <a:pt x="228" y="88"/>
                </a:lnTo>
                <a:lnTo>
                  <a:pt x="228" y="94"/>
                </a:lnTo>
                <a:lnTo>
                  <a:pt x="237" y="96"/>
                </a:lnTo>
                <a:lnTo>
                  <a:pt x="243" y="98"/>
                </a:lnTo>
                <a:lnTo>
                  <a:pt x="249" y="113"/>
                </a:lnTo>
                <a:lnTo>
                  <a:pt x="254" y="115"/>
                </a:lnTo>
                <a:lnTo>
                  <a:pt x="262" y="115"/>
                </a:lnTo>
                <a:lnTo>
                  <a:pt x="269" y="117"/>
                </a:lnTo>
                <a:lnTo>
                  <a:pt x="283" y="105"/>
                </a:lnTo>
                <a:lnTo>
                  <a:pt x="290" y="98"/>
                </a:lnTo>
                <a:lnTo>
                  <a:pt x="286" y="88"/>
                </a:lnTo>
                <a:lnTo>
                  <a:pt x="279" y="88"/>
                </a:lnTo>
                <a:lnTo>
                  <a:pt x="277" y="79"/>
                </a:lnTo>
                <a:lnTo>
                  <a:pt x="269" y="75"/>
                </a:lnTo>
                <a:lnTo>
                  <a:pt x="262" y="73"/>
                </a:lnTo>
                <a:lnTo>
                  <a:pt x="269" y="73"/>
                </a:lnTo>
                <a:lnTo>
                  <a:pt x="277" y="75"/>
                </a:lnTo>
                <a:lnTo>
                  <a:pt x="283" y="79"/>
                </a:lnTo>
                <a:lnTo>
                  <a:pt x="294" y="92"/>
                </a:lnTo>
                <a:lnTo>
                  <a:pt x="298" y="107"/>
                </a:lnTo>
                <a:lnTo>
                  <a:pt x="294" y="115"/>
                </a:lnTo>
                <a:lnTo>
                  <a:pt x="286" y="117"/>
                </a:lnTo>
                <a:lnTo>
                  <a:pt x="264" y="128"/>
                </a:lnTo>
                <a:lnTo>
                  <a:pt x="260" y="128"/>
                </a:lnTo>
                <a:lnTo>
                  <a:pt x="258" y="134"/>
                </a:lnTo>
                <a:lnTo>
                  <a:pt x="252" y="141"/>
                </a:lnTo>
                <a:lnTo>
                  <a:pt x="245" y="143"/>
                </a:lnTo>
                <a:lnTo>
                  <a:pt x="241" y="128"/>
                </a:lnTo>
                <a:lnTo>
                  <a:pt x="241" y="122"/>
                </a:lnTo>
                <a:lnTo>
                  <a:pt x="235" y="126"/>
                </a:lnTo>
                <a:lnTo>
                  <a:pt x="230" y="132"/>
                </a:lnTo>
                <a:lnTo>
                  <a:pt x="224" y="139"/>
                </a:lnTo>
                <a:lnTo>
                  <a:pt x="220" y="152"/>
                </a:lnTo>
                <a:lnTo>
                  <a:pt x="213" y="149"/>
                </a:lnTo>
                <a:lnTo>
                  <a:pt x="207" y="158"/>
                </a:lnTo>
                <a:lnTo>
                  <a:pt x="207" y="154"/>
                </a:lnTo>
                <a:lnTo>
                  <a:pt x="203" y="143"/>
                </a:lnTo>
                <a:lnTo>
                  <a:pt x="196" y="141"/>
                </a:lnTo>
                <a:lnTo>
                  <a:pt x="198" y="134"/>
                </a:lnTo>
                <a:lnTo>
                  <a:pt x="198" y="126"/>
                </a:lnTo>
                <a:lnTo>
                  <a:pt x="198" y="132"/>
                </a:lnTo>
                <a:lnTo>
                  <a:pt x="192" y="137"/>
                </a:lnTo>
                <a:lnTo>
                  <a:pt x="188" y="134"/>
                </a:lnTo>
                <a:lnTo>
                  <a:pt x="186" y="132"/>
                </a:lnTo>
                <a:lnTo>
                  <a:pt x="181" y="128"/>
                </a:lnTo>
                <a:lnTo>
                  <a:pt x="181" y="122"/>
                </a:lnTo>
                <a:lnTo>
                  <a:pt x="177" y="122"/>
                </a:lnTo>
                <a:lnTo>
                  <a:pt x="173" y="113"/>
                </a:lnTo>
                <a:lnTo>
                  <a:pt x="166" y="109"/>
                </a:lnTo>
                <a:lnTo>
                  <a:pt x="139" y="117"/>
                </a:lnTo>
                <a:lnTo>
                  <a:pt x="134" y="117"/>
                </a:lnTo>
                <a:lnTo>
                  <a:pt x="124" y="120"/>
                </a:lnTo>
                <a:lnTo>
                  <a:pt x="83" y="128"/>
                </a:lnTo>
                <a:lnTo>
                  <a:pt x="75" y="132"/>
                </a:lnTo>
                <a:lnTo>
                  <a:pt x="71" y="132"/>
                </a:lnTo>
                <a:lnTo>
                  <a:pt x="58" y="137"/>
                </a:lnTo>
                <a:lnTo>
                  <a:pt x="49" y="137"/>
                </a:lnTo>
                <a:lnTo>
                  <a:pt x="2" y="147"/>
                </a:lnTo>
                <a:lnTo>
                  <a:pt x="0" y="143"/>
                </a:lnTo>
                <a:lnTo>
                  <a:pt x="0" y="73"/>
                </a:lnTo>
                <a:lnTo>
                  <a:pt x="2" y="66"/>
                </a:lnTo>
                <a:close/>
              </a:path>
            </a:pathLst>
          </a:cu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1129" name="Freeform 936"/>
          <p:cNvSpPr>
            <a:spLocks/>
          </p:cNvSpPr>
          <p:nvPr/>
        </p:nvSpPr>
        <p:spPr bwMode="auto">
          <a:xfrm>
            <a:off x="7315200" y="2357559"/>
            <a:ext cx="473075" cy="250825"/>
          </a:xfrm>
          <a:custGeom>
            <a:avLst/>
            <a:gdLst>
              <a:gd name="T0" fmla="*/ 64 w 298"/>
              <a:gd name="T1" fmla="*/ 54 h 158"/>
              <a:gd name="T2" fmla="*/ 166 w 298"/>
              <a:gd name="T3" fmla="*/ 22 h 158"/>
              <a:gd name="T4" fmla="*/ 173 w 298"/>
              <a:gd name="T5" fmla="*/ 13 h 158"/>
              <a:gd name="T6" fmla="*/ 186 w 298"/>
              <a:gd name="T7" fmla="*/ 2 h 158"/>
              <a:gd name="T8" fmla="*/ 192 w 298"/>
              <a:gd name="T9" fmla="*/ 0 h 158"/>
              <a:gd name="T10" fmla="*/ 196 w 298"/>
              <a:gd name="T11" fmla="*/ 11 h 158"/>
              <a:gd name="T12" fmla="*/ 205 w 298"/>
              <a:gd name="T13" fmla="*/ 24 h 158"/>
              <a:gd name="T14" fmla="*/ 209 w 298"/>
              <a:gd name="T15" fmla="*/ 22 h 158"/>
              <a:gd name="T16" fmla="*/ 215 w 298"/>
              <a:gd name="T17" fmla="*/ 28 h 158"/>
              <a:gd name="T18" fmla="*/ 198 w 298"/>
              <a:gd name="T19" fmla="*/ 43 h 158"/>
              <a:gd name="T20" fmla="*/ 194 w 298"/>
              <a:gd name="T21" fmla="*/ 54 h 158"/>
              <a:gd name="T22" fmla="*/ 190 w 298"/>
              <a:gd name="T23" fmla="*/ 62 h 158"/>
              <a:gd name="T24" fmla="*/ 200 w 298"/>
              <a:gd name="T25" fmla="*/ 73 h 158"/>
              <a:gd name="T26" fmla="*/ 215 w 298"/>
              <a:gd name="T27" fmla="*/ 68 h 158"/>
              <a:gd name="T28" fmla="*/ 237 w 298"/>
              <a:gd name="T29" fmla="*/ 90 h 158"/>
              <a:gd name="T30" fmla="*/ 228 w 298"/>
              <a:gd name="T31" fmla="*/ 94 h 158"/>
              <a:gd name="T32" fmla="*/ 243 w 298"/>
              <a:gd name="T33" fmla="*/ 98 h 158"/>
              <a:gd name="T34" fmla="*/ 254 w 298"/>
              <a:gd name="T35" fmla="*/ 115 h 158"/>
              <a:gd name="T36" fmla="*/ 269 w 298"/>
              <a:gd name="T37" fmla="*/ 117 h 158"/>
              <a:gd name="T38" fmla="*/ 290 w 298"/>
              <a:gd name="T39" fmla="*/ 98 h 158"/>
              <a:gd name="T40" fmla="*/ 279 w 298"/>
              <a:gd name="T41" fmla="*/ 88 h 158"/>
              <a:gd name="T42" fmla="*/ 269 w 298"/>
              <a:gd name="T43" fmla="*/ 75 h 158"/>
              <a:gd name="T44" fmla="*/ 269 w 298"/>
              <a:gd name="T45" fmla="*/ 73 h 158"/>
              <a:gd name="T46" fmla="*/ 283 w 298"/>
              <a:gd name="T47" fmla="*/ 79 h 158"/>
              <a:gd name="T48" fmla="*/ 298 w 298"/>
              <a:gd name="T49" fmla="*/ 107 h 158"/>
              <a:gd name="T50" fmla="*/ 286 w 298"/>
              <a:gd name="T51" fmla="*/ 117 h 158"/>
              <a:gd name="T52" fmla="*/ 260 w 298"/>
              <a:gd name="T53" fmla="*/ 128 h 158"/>
              <a:gd name="T54" fmla="*/ 252 w 298"/>
              <a:gd name="T55" fmla="*/ 141 h 158"/>
              <a:gd name="T56" fmla="*/ 241 w 298"/>
              <a:gd name="T57" fmla="*/ 128 h 158"/>
              <a:gd name="T58" fmla="*/ 235 w 298"/>
              <a:gd name="T59" fmla="*/ 126 h 158"/>
              <a:gd name="T60" fmla="*/ 224 w 298"/>
              <a:gd name="T61" fmla="*/ 139 h 158"/>
              <a:gd name="T62" fmla="*/ 213 w 298"/>
              <a:gd name="T63" fmla="*/ 149 h 158"/>
              <a:gd name="T64" fmla="*/ 207 w 298"/>
              <a:gd name="T65" fmla="*/ 154 h 158"/>
              <a:gd name="T66" fmla="*/ 196 w 298"/>
              <a:gd name="T67" fmla="*/ 141 h 158"/>
              <a:gd name="T68" fmla="*/ 198 w 298"/>
              <a:gd name="T69" fmla="*/ 126 h 158"/>
              <a:gd name="T70" fmla="*/ 192 w 298"/>
              <a:gd name="T71" fmla="*/ 137 h 158"/>
              <a:gd name="T72" fmla="*/ 186 w 298"/>
              <a:gd name="T73" fmla="*/ 132 h 158"/>
              <a:gd name="T74" fmla="*/ 181 w 298"/>
              <a:gd name="T75" fmla="*/ 122 h 158"/>
              <a:gd name="T76" fmla="*/ 173 w 298"/>
              <a:gd name="T77" fmla="*/ 113 h 158"/>
              <a:gd name="T78" fmla="*/ 139 w 298"/>
              <a:gd name="T79" fmla="*/ 117 h 158"/>
              <a:gd name="T80" fmla="*/ 124 w 298"/>
              <a:gd name="T81" fmla="*/ 120 h 158"/>
              <a:gd name="T82" fmla="*/ 75 w 298"/>
              <a:gd name="T83" fmla="*/ 132 h 158"/>
              <a:gd name="T84" fmla="*/ 58 w 298"/>
              <a:gd name="T85" fmla="*/ 137 h 158"/>
              <a:gd name="T86" fmla="*/ 2 w 298"/>
              <a:gd name="T87" fmla="*/ 147 h 158"/>
              <a:gd name="T88" fmla="*/ 0 w 298"/>
              <a:gd name="T89" fmla="*/ 73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8" h="158">
                <a:moveTo>
                  <a:pt x="2" y="66"/>
                </a:moveTo>
                <a:lnTo>
                  <a:pt x="64" y="54"/>
                </a:lnTo>
                <a:lnTo>
                  <a:pt x="158" y="32"/>
                </a:lnTo>
                <a:lnTo>
                  <a:pt x="166" y="22"/>
                </a:lnTo>
                <a:lnTo>
                  <a:pt x="171" y="13"/>
                </a:lnTo>
                <a:lnTo>
                  <a:pt x="173" y="13"/>
                </a:lnTo>
                <a:lnTo>
                  <a:pt x="177" y="7"/>
                </a:lnTo>
                <a:lnTo>
                  <a:pt x="186" y="2"/>
                </a:lnTo>
                <a:lnTo>
                  <a:pt x="188" y="0"/>
                </a:lnTo>
                <a:lnTo>
                  <a:pt x="192" y="0"/>
                </a:lnTo>
                <a:lnTo>
                  <a:pt x="190" y="7"/>
                </a:lnTo>
                <a:lnTo>
                  <a:pt x="196" y="11"/>
                </a:lnTo>
                <a:lnTo>
                  <a:pt x="196" y="17"/>
                </a:lnTo>
                <a:lnTo>
                  <a:pt x="205" y="24"/>
                </a:lnTo>
                <a:lnTo>
                  <a:pt x="211" y="22"/>
                </a:lnTo>
                <a:lnTo>
                  <a:pt x="209" y="22"/>
                </a:lnTo>
                <a:lnTo>
                  <a:pt x="217" y="19"/>
                </a:lnTo>
                <a:lnTo>
                  <a:pt x="215" y="28"/>
                </a:lnTo>
                <a:lnTo>
                  <a:pt x="200" y="36"/>
                </a:lnTo>
                <a:lnTo>
                  <a:pt x="198" y="43"/>
                </a:lnTo>
                <a:lnTo>
                  <a:pt x="198" y="47"/>
                </a:lnTo>
                <a:lnTo>
                  <a:pt x="194" y="54"/>
                </a:lnTo>
                <a:lnTo>
                  <a:pt x="196" y="62"/>
                </a:lnTo>
                <a:lnTo>
                  <a:pt x="190" y="62"/>
                </a:lnTo>
                <a:lnTo>
                  <a:pt x="194" y="68"/>
                </a:lnTo>
                <a:lnTo>
                  <a:pt x="200" y="73"/>
                </a:lnTo>
                <a:lnTo>
                  <a:pt x="209" y="68"/>
                </a:lnTo>
                <a:lnTo>
                  <a:pt x="215" y="68"/>
                </a:lnTo>
                <a:lnTo>
                  <a:pt x="230" y="83"/>
                </a:lnTo>
                <a:lnTo>
                  <a:pt x="237" y="90"/>
                </a:lnTo>
                <a:lnTo>
                  <a:pt x="228" y="88"/>
                </a:lnTo>
                <a:lnTo>
                  <a:pt x="228" y="94"/>
                </a:lnTo>
                <a:lnTo>
                  <a:pt x="237" y="96"/>
                </a:lnTo>
                <a:lnTo>
                  <a:pt x="243" y="98"/>
                </a:lnTo>
                <a:lnTo>
                  <a:pt x="249" y="113"/>
                </a:lnTo>
                <a:lnTo>
                  <a:pt x="254" y="115"/>
                </a:lnTo>
                <a:lnTo>
                  <a:pt x="262" y="115"/>
                </a:lnTo>
                <a:lnTo>
                  <a:pt x="269" y="117"/>
                </a:lnTo>
                <a:lnTo>
                  <a:pt x="283" y="105"/>
                </a:lnTo>
                <a:lnTo>
                  <a:pt x="290" y="98"/>
                </a:lnTo>
                <a:lnTo>
                  <a:pt x="286" y="88"/>
                </a:lnTo>
                <a:lnTo>
                  <a:pt x="279" y="88"/>
                </a:lnTo>
                <a:lnTo>
                  <a:pt x="277" y="79"/>
                </a:lnTo>
                <a:lnTo>
                  <a:pt x="269" y="75"/>
                </a:lnTo>
                <a:lnTo>
                  <a:pt x="262" y="73"/>
                </a:lnTo>
                <a:lnTo>
                  <a:pt x="269" y="73"/>
                </a:lnTo>
                <a:lnTo>
                  <a:pt x="277" y="75"/>
                </a:lnTo>
                <a:lnTo>
                  <a:pt x="283" y="79"/>
                </a:lnTo>
                <a:lnTo>
                  <a:pt x="294" y="92"/>
                </a:lnTo>
                <a:lnTo>
                  <a:pt x="298" y="107"/>
                </a:lnTo>
                <a:lnTo>
                  <a:pt x="294" y="115"/>
                </a:lnTo>
                <a:lnTo>
                  <a:pt x="286" y="117"/>
                </a:lnTo>
                <a:lnTo>
                  <a:pt x="264" y="128"/>
                </a:lnTo>
                <a:lnTo>
                  <a:pt x="260" y="128"/>
                </a:lnTo>
                <a:lnTo>
                  <a:pt x="258" y="134"/>
                </a:lnTo>
                <a:lnTo>
                  <a:pt x="252" y="141"/>
                </a:lnTo>
                <a:lnTo>
                  <a:pt x="245" y="143"/>
                </a:lnTo>
                <a:lnTo>
                  <a:pt x="241" y="128"/>
                </a:lnTo>
                <a:lnTo>
                  <a:pt x="241" y="122"/>
                </a:lnTo>
                <a:lnTo>
                  <a:pt x="235" y="126"/>
                </a:lnTo>
                <a:lnTo>
                  <a:pt x="230" y="132"/>
                </a:lnTo>
                <a:lnTo>
                  <a:pt x="224" y="139"/>
                </a:lnTo>
                <a:lnTo>
                  <a:pt x="220" y="152"/>
                </a:lnTo>
                <a:lnTo>
                  <a:pt x="213" y="149"/>
                </a:lnTo>
                <a:lnTo>
                  <a:pt x="207" y="158"/>
                </a:lnTo>
                <a:lnTo>
                  <a:pt x="207" y="154"/>
                </a:lnTo>
                <a:lnTo>
                  <a:pt x="203" y="143"/>
                </a:lnTo>
                <a:lnTo>
                  <a:pt x="196" y="141"/>
                </a:lnTo>
                <a:lnTo>
                  <a:pt x="198" y="134"/>
                </a:lnTo>
                <a:lnTo>
                  <a:pt x="198" y="126"/>
                </a:lnTo>
                <a:lnTo>
                  <a:pt x="198" y="132"/>
                </a:lnTo>
                <a:lnTo>
                  <a:pt x="192" y="137"/>
                </a:lnTo>
                <a:lnTo>
                  <a:pt x="188" y="134"/>
                </a:lnTo>
                <a:lnTo>
                  <a:pt x="186" y="132"/>
                </a:lnTo>
                <a:lnTo>
                  <a:pt x="181" y="128"/>
                </a:lnTo>
                <a:lnTo>
                  <a:pt x="181" y="122"/>
                </a:lnTo>
                <a:lnTo>
                  <a:pt x="177" y="122"/>
                </a:lnTo>
                <a:lnTo>
                  <a:pt x="173" y="113"/>
                </a:lnTo>
                <a:lnTo>
                  <a:pt x="166" y="109"/>
                </a:lnTo>
                <a:lnTo>
                  <a:pt x="139" y="117"/>
                </a:lnTo>
                <a:lnTo>
                  <a:pt x="134" y="117"/>
                </a:lnTo>
                <a:lnTo>
                  <a:pt x="124" y="120"/>
                </a:lnTo>
                <a:lnTo>
                  <a:pt x="83" y="128"/>
                </a:lnTo>
                <a:lnTo>
                  <a:pt x="75" y="132"/>
                </a:lnTo>
                <a:lnTo>
                  <a:pt x="71" y="132"/>
                </a:lnTo>
                <a:lnTo>
                  <a:pt x="58" y="137"/>
                </a:lnTo>
                <a:lnTo>
                  <a:pt x="49" y="137"/>
                </a:lnTo>
                <a:lnTo>
                  <a:pt x="2" y="147"/>
                </a:lnTo>
                <a:lnTo>
                  <a:pt x="0" y="143"/>
                </a:lnTo>
                <a:lnTo>
                  <a:pt x="0" y="73"/>
                </a:lnTo>
                <a:lnTo>
                  <a:pt x="2" y="6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0" name="Freeform 937"/>
          <p:cNvSpPr>
            <a:spLocks/>
          </p:cNvSpPr>
          <p:nvPr/>
        </p:nvSpPr>
        <p:spPr bwMode="auto">
          <a:xfrm>
            <a:off x="7694613" y="2594096"/>
            <a:ext cx="33338" cy="31750"/>
          </a:xfrm>
          <a:custGeom>
            <a:avLst/>
            <a:gdLst>
              <a:gd name="T0" fmla="*/ 17 w 21"/>
              <a:gd name="T1" fmla="*/ 0 h 20"/>
              <a:gd name="T2" fmla="*/ 21 w 21"/>
              <a:gd name="T3" fmla="*/ 7 h 20"/>
              <a:gd name="T4" fmla="*/ 15 w 21"/>
              <a:gd name="T5" fmla="*/ 13 h 20"/>
              <a:gd name="T6" fmla="*/ 0 w 21"/>
              <a:gd name="T7" fmla="*/ 20 h 20"/>
              <a:gd name="T8" fmla="*/ 6 w 21"/>
              <a:gd name="T9" fmla="*/ 7 h 20"/>
              <a:gd name="T10" fmla="*/ 10 w 21"/>
              <a:gd name="T11" fmla="*/ 0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21" y="7"/>
                </a:lnTo>
                <a:lnTo>
                  <a:pt x="15" y="13"/>
                </a:lnTo>
                <a:lnTo>
                  <a:pt x="0" y="20"/>
                </a:lnTo>
                <a:lnTo>
                  <a:pt x="6" y="7"/>
                </a:lnTo>
                <a:lnTo>
                  <a:pt x="10" y="0"/>
                </a:lnTo>
                <a:lnTo>
                  <a:pt x="17"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1" name="Freeform 938"/>
          <p:cNvSpPr>
            <a:spLocks/>
          </p:cNvSpPr>
          <p:nvPr/>
        </p:nvSpPr>
        <p:spPr bwMode="auto">
          <a:xfrm>
            <a:off x="7694613" y="2594096"/>
            <a:ext cx="33338" cy="31750"/>
          </a:xfrm>
          <a:custGeom>
            <a:avLst/>
            <a:gdLst>
              <a:gd name="T0" fmla="*/ 17 w 21"/>
              <a:gd name="T1" fmla="*/ 0 h 20"/>
              <a:gd name="T2" fmla="*/ 21 w 21"/>
              <a:gd name="T3" fmla="*/ 7 h 20"/>
              <a:gd name="T4" fmla="*/ 15 w 21"/>
              <a:gd name="T5" fmla="*/ 13 h 20"/>
              <a:gd name="T6" fmla="*/ 0 w 21"/>
              <a:gd name="T7" fmla="*/ 20 h 20"/>
              <a:gd name="T8" fmla="*/ 6 w 21"/>
              <a:gd name="T9" fmla="*/ 7 h 20"/>
              <a:gd name="T10" fmla="*/ 10 w 21"/>
              <a:gd name="T11" fmla="*/ 0 h 20"/>
              <a:gd name="T12" fmla="*/ 17 w 21"/>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17" y="0"/>
                </a:moveTo>
                <a:lnTo>
                  <a:pt x="21" y="7"/>
                </a:lnTo>
                <a:lnTo>
                  <a:pt x="15" y="13"/>
                </a:lnTo>
                <a:lnTo>
                  <a:pt x="0" y="20"/>
                </a:lnTo>
                <a:lnTo>
                  <a:pt x="6" y="7"/>
                </a:lnTo>
                <a:lnTo>
                  <a:pt x="10" y="0"/>
                </a:lnTo>
                <a:lnTo>
                  <a:pt x="17"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2" name="Freeform 939"/>
          <p:cNvSpPr>
            <a:spLocks/>
          </p:cNvSpPr>
          <p:nvPr/>
        </p:nvSpPr>
        <p:spPr bwMode="auto">
          <a:xfrm>
            <a:off x="7778750" y="2590921"/>
            <a:ext cx="26988" cy="23813"/>
          </a:xfrm>
          <a:custGeom>
            <a:avLst/>
            <a:gdLst>
              <a:gd name="T0" fmla="*/ 15 w 17"/>
              <a:gd name="T1" fmla="*/ 13 h 15"/>
              <a:gd name="T2" fmla="*/ 0 w 17"/>
              <a:gd name="T3" fmla="*/ 15 h 15"/>
              <a:gd name="T4" fmla="*/ 9 w 17"/>
              <a:gd name="T5" fmla="*/ 9 h 15"/>
              <a:gd name="T6" fmla="*/ 9 w 17"/>
              <a:gd name="T7" fmla="*/ 2 h 15"/>
              <a:gd name="T8" fmla="*/ 6 w 17"/>
              <a:gd name="T9" fmla="*/ 0 h 15"/>
              <a:gd name="T10" fmla="*/ 13 w 17"/>
              <a:gd name="T11" fmla="*/ 5 h 15"/>
              <a:gd name="T12" fmla="*/ 17 w 17"/>
              <a:gd name="T13" fmla="*/ 11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0" y="15"/>
                </a:lnTo>
                <a:lnTo>
                  <a:pt x="9" y="9"/>
                </a:lnTo>
                <a:lnTo>
                  <a:pt x="9" y="2"/>
                </a:lnTo>
                <a:lnTo>
                  <a:pt x="6" y="0"/>
                </a:lnTo>
                <a:lnTo>
                  <a:pt x="13" y="5"/>
                </a:lnTo>
                <a:lnTo>
                  <a:pt x="17" y="11"/>
                </a:lnTo>
                <a:lnTo>
                  <a:pt x="15"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3" name="Freeform 940"/>
          <p:cNvSpPr>
            <a:spLocks/>
          </p:cNvSpPr>
          <p:nvPr/>
        </p:nvSpPr>
        <p:spPr bwMode="auto">
          <a:xfrm>
            <a:off x="7778750" y="2590921"/>
            <a:ext cx="26988" cy="23813"/>
          </a:xfrm>
          <a:custGeom>
            <a:avLst/>
            <a:gdLst>
              <a:gd name="T0" fmla="*/ 15 w 17"/>
              <a:gd name="T1" fmla="*/ 13 h 15"/>
              <a:gd name="T2" fmla="*/ 0 w 17"/>
              <a:gd name="T3" fmla="*/ 15 h 15"/>
              <a:gd name="T4" fmla="*/ 9 w 17"/>
              <a:gd name="T5" fmla="*/ 9 h 15"/>
              <a:gd name="T6" fmla="*/ 9 w 17"/>
              <a:gd name="T7" fmla="*/ 2 h 15"/>
              <a:gd name="T8" fmla="*/ 6 w 17"/>
              <a:gd name="T9" fmla="*/ 0 h 15"/>
              <a:gd name="T10" fmla="*/ 13 w 17"/>
              <a:gd name="T11" fmla="*/ 5 h 15"/>
              <a:gd name="T12" fmla="*/ 17 w 17"/>
              <a:gd name="T13" fmla="*/ 11 h 15"/>
              <a:gd name="T14" fmla="*/ 15 w 17"/>
              <a:gd name="T15" fmla="*/ 13 h 1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 h="15">
                <a:moveTo>
                  <a:pt x="15" y="13"/>
                </a:moveTo>
                <a:lnTo>
                  <a:pt x="0" y="15"/>
                </a:lnTo>
                <a:lnTo>
                  <a:pt x="9" y="9"/>
                </a:lnTo>
                <a:lnTo>
                  <a:pt x="9" y="2"/>
                </a:lnTo>
                <a:lnTo>
                  <a:pt x="6" y="0"/>
                </a:lnTo>
                <a:lnTo>
                  <a:pt x="13" y="5"/>
                </a:lnTo>
                <a:lnTo>
                  <a:pt x="17" y="11"/>
                </a:lnTo>
                <a:lnTo>
                  <a:pt x="15" y="13"/>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4" name="Freeform 941"/>
          <p:cNvSpPr>
            <a:spLocks/>
          </p:cNvSpPr>
          <p:nvPr/>
        </p:nvSpPr>
        <p:spPr bwMode="auto">
          <a:xfrm>
            <a:off x="7842250" y="1995609"/>
            <a:ext cx="26988" cy="34925"/>
          </a:xfrm>
          <a:custGeom>
            <a:avLst/>
            <a:gdLst>
              <a:gd name="T0" fmla="*/ 11 w 17"/>
              <a:gd name="T1" fmla="*/ 0 h 22"/>
              <a:gd name="T2" fmla="*/ 7 w 17"/>
              <a:gd name="T3" fmla="*/ 0 h 22"/>
              <a:gd name="T4" fmla="*/ 0 w 17"/>
              <a:gd name="T5" fmla="*/ 15 h 22"/>
              <a:gd name="T6" fmla="*/ 3 w 17"/>
              <a:gd name="T7" fmla="*/ 22 h 22"/>
              <a:gd name="T8" fmla="*/ 15 w 17"/>
              <a:gd name="T9" fmla="*/ 15 h 22"/>
              <a:gd name="T10" fmla="*/ 17 w 17"/>
              <a:gd name="T11" fmla="*/ 7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7" y="0"/>
                </a:lnTo>
                <a:lnTo>
                  <a:pt x="0" y="15"/>
                </a:lnTo>
                <a:lnTo>
                  <a:pt x="3" y="22"/>
                </a:lnTo>
                <a:lnTo>
                  <a:pt x="15" y="15"/>
                </a:lnTo>
                <a:lnTo>
                  <a:pt x="17" y="7"/>
                </a:lnTo>
                <a:lnTo>
                  <a:pt x="1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5" name="Freeform 942"/>
          <p:cNvSpPr>
            <a:spLocks/>
          </p:cNvSpPr>
          <p:nvPr/>
        </p:nvSpPr>
        <p:spPr bwMode="auto">
          <a:xfrm>
            <a:off x="7842250" y="1995609"/>
            <a:ext cx="26988" cy="34925"/>
          </a:xfrm>
          <a:custGeom>
            <a:avLst/>
            <a:gdLst>
              <a:gd name="T0" fmla="*/ 11 w 17"/>
              <a:gd name="T1" fmla="*/ 0 h 22"/>
              <a:gd name="T2" fmla="*/ 7 w 17"/>
              <a:gd name="T3" fmla="*/ 0 h 22"/>
              <a:gd name="T4" fmla="*/ 0 w 17"/>
              <a:gd name="T5" fmla="*/ 15 h 22"/>
              <a:gd name="T6" fmla="*/ 3 w 17"/>
              <a:gd name="T7" fmla="*/ 22 h 22"/>
              <a:gd name="T8" fmla="*/ 15 w 17"/>
              <a:gd name="T9" fmla="*/ 15 h 22"/>
              <a:gd name="T10" fmla="*/ 17 w 17"/>
              <a:gd name="T11" fmla="*/ 7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7" y="0"/>
                </a:lnTo>
                <a:lnTo>
                  <a:pt x="0" y="15"/>
                </a:lnTo>
                <a:lnTo>
                  <a:pt x="3" y="22"/>
                </a:lnTo>
                <a:lnTo>
                  <a:pt x="15" y="15"/>
                </a:lnTo>
                <a:lnTo>
                  <a:pt x="17" y="7"/>
                </a:lnTo>
                <a:lnTo>
                  <a:pt x="11"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6" name="Freeform 943"/>
          <p:cNvSpPr>
            <a:spLocks/>
          </p:cNvSpPr>
          <p:nvPr/>
        </p:nvSpPr>
        <p:spPr bwMode="auto">
          <a:xfrm>
            <a:off x="8008938" y="1878134"/>
            <a:ext cx="15875" cy="33338"/>
          </a:xfrm>
          <a:custGeom>
            <a:avLst/>
            <a:gdLst>
              <a:gd name="T0" fmla="*/ 6 w 10"/>
              <a:gd name="T1" fmla="*/ 0 h 21"/>
              <a:gd name="T2" fmla="*/ 4 w 10"/>
              <a:gd name="T3" fmla="*/ 0 h 21"/>
              <a:gd name="T4" fmla="*/ 2 w 10"/>
              <a:gd name="T5" fmla="*/ 6 h 21"/>
              <a:gd name="T6" fmla="*/ 0 w 10"/>
              <a:gd name="T7" fmla="*/ 15 h 21"/>
              <a:gd name="T8" fmla="*/ 4 w 10"/>
              <a:gd name="T9" fmla="*/ 21 h 21"/>
              <a:gd name="T10" fmla="*/ 10 w 10"/>
              <a:gd name="T11" fmla="*/ 15 h 21"/>
              <a:gd name="T12" fmla="*/ 10 w 10"/>
              <a:gd name="T13" fmla="*/ 6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4" y="0"/>
                </a:lnTo>
                <a:lnTo>
                  <a:pt x="2" y="6"/>
                </a:lnTo>
                <a:lnTo>
                  <a:pt x="0" y="15"/>
                </a:lnTo>
                <a:lnTo>
                  <a:pt x="4" y="21"/>
                </a:lnTo>
                <a:lnTo>
                  <a:pt x="10" y="15"/>
                </a:lnTo>
                <a:lnTo>
                  <a:pt x="10" y="6"/>
                </a:lnTo>
                <a:lnTo>
                  <a:pt x="6"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37" name="Freeform 944"/>
          <p:cNvSpPr>
            <a:spLocks/>
          </p:cNvSpPr>
          <p:nvPr/>
        </p:nvSpPr>
        <p:spPr bwMode="auto">
          <a:xfrm>
            <a:off x="8008938" y="1878134"/>
            <a:ext cx="15875" cy="33338"/>
          </a:xfrm>
          <a:custGeom>
            <a:avLst/>
            <a:gdLst>
              <a:gd name="T0" fmla="*/ 6 w 10"/>
              <a:gd name="T1" fmla="*/ 0 h 21"/>
              <a:gd name="T2" fmla="*/ 4 w 10"/>
              <a:gd name="T3" fmla="*/ 0 h 21"/>
              <a:gd name="T4" fmla="*/ 2 w 10"/>
              <a:gd name="T5" fmla="*/ 6 h 21"/>
              <a:gd name="T6" fmla="*/ 0 w 10"/>
              <a:gd name="T7" fmla="*/ 15 h 21"/>
              <a:gd name="T8" fmla="*/ 4 w 10"/>
              <a:gd name="T9" fmla="*/ 21 h 21"/>
              <a:gd name="T10" fmla="*/ 10 w 10"/>
              <a:gd name="T11" fmla="*/ 15 h 21"/>
              <a:gd name="T12" fmla="*/ 10 w 10"/>
              <a:gd name="T13" fmla="*/ 6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4" y="0"/>
                </a:lnTo>
                <a:lnTo>
                  <a:pt x="2" y="6"/>
                </a:lnTo>
                <a:lnTo>
                  <a:pt x="0" y="15"/>
                </a:lnTo>
                <a:lnTo>
                  <a:pt x="4" y="21"/>
                </a:lnTo>
                <a:lnTo>
                  <a:pt x="10" y="15"/>
                </a:lnTo>
                <a:lnTo>
                  <a:pt x="10" y="6"/>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38" name="Freeform 945"/>
          <p:cNvSpPr>
            <a:spLocks/>
          </p:cNvSpPr>
          <p:nvPr/>
        </p:nvSpPr>
        <p:spPr bwMode="auto">
          <a:xfrm>
            <a:off x="7470775" y="1501896"/>
            <a:ext cx="517525" cy="819150"/>
          </a:xfrm>
          <a:custGeom>
            <a:avLst/>
            <a:gdLst>
              <a:gd name="T0" fmla="*/ 11 w 326"/>
              <a:gd name="T1" fmla="*/ 277 h 516"/>
              <a:gd name="T2" fmla="*/ 19 w 326"/>
              <a:gd name="T3" fmla="*/ 262 h 516"/>
              <a:gd name="T4" fmla="*/ 19 w 326"/>
              <a:gd name="T5" fmla="*/ 250 h 516"/>
              <a:gd name="T6" fmla="*/ 28 w 326"/>
              <a:gd name="T7" fmla="*/ 233 h 516"/>
              <a:gd name="T8" fmla="*/ 43 w 326"/>
              <a:gd name="T9" fmla="*/ 199 h 516"/>
              <a:gd name="T10" fmla="*/ 34 w 326"/>
              <a:gd name="T11" fmla="*/ 169 h 516"/>
              <a:gd name="T12" fmla="*/ 39 w 326"/>
              <a:gd name="T13" fmla="*/ 107 h 516"/>
              <a:gd name="T14" fmla="*/ 85 w 326"/>
              <a:gd name="T15" fmla="*/ 9 h 516"/>
              <a:gd name="T16" fmla="*/ 107 w 326"/>
              <a:gd name="T17" fmla="*/ 32 h 516"/>
              <a:gd name="T18" fmla="*/ 126 w 326"/>
              <a:gd name="T19" fmla="*/ 13 h 516"/>
              <a:gd name="T20" fmla="*/ 147 w 326"/>
              <a:gd name="T21" fmla="*/ 0 h 516"/>
              <a:gd name="T22" fmla="*/ 183 w 326"/>
              <a:gd name="T23" fmla="*/ 17 h 516"/>
              <a:gd name="T24" fmla="*/ 230 w 326"/>
              <a:gd name="T25" fmla="*/ 139 h 516"/>
              <a:gd name="T26" fmla="*/ 234 w 326"/>
              <a:gd name="T27" fmla="*/ 158 h 516"/>
              <a:gd name="T28" fmla="*/ 249 w 326"/>
              <a:gd name="T29" fmla="*/ 171 h 516"/>
              <a:gd name="T30" fmla="*/ 271 w 326"/>
              <a:gd name="T31" fmla="*/ 171 h 516"/>
              <a:gd name="T32" fmla="*/ 275 w 326"/>
              <a:gd name="T33" fmla="*/ 192 h 516"/>
              <a:gd name="T34" fmla="*/ 288 w 326"/>
              <a:gd name="T35" fmla="*/ 213 h 516"/>
              <a:gd name="T36" fmla="*/ 303 w 326"/>
              <a:gd name="T37" fmla="*/ 209 h 516"/>
              <a:gd name="T38" fmla="*/ 309 w 326"/>
              <a:gd name="T39" fmla="*/ 237 h 516"/>
              <a:gd name="T40" fmla="*/ 320 w 326"/>
              <a:gd name="T41" fmla="*/ 233 h 516"/>
              <a:gd name="T42" fmla="*/ 318 w 326"/>
              <a:gd name="T43" fmla="*/ 260 h 516"/>
              <a:gd name="T44" fmla="*/ 305 w 326"/>
              <a:gd name="T45" fmla="*/ 271 h 516"/>
              <a:gd name="T46" fmla="*/ 298 w 326"/>
              <a:gd name="T47" fmla="*/ 273 h 516"/>
              <a:gd name="T48" fmla="*/ 283 w 326"/>
              <a:gd name="T49" fmla="*/ 284 h 516"/>
              <a:gd name="T50" fmla="*/ 273 w 326"/>
              <a:gd name="T51" fmla="*/ 284 h 516"/>
              <a:gd name="T52" fmla="*/ 271 w 326"/>
              <a:gd name="T53" fmla="*/ 305 h 516"/>
              <a:gd name="T54" fmla="*/ 264 w 326"/>
              <a:gd name="T55" fmla="*/ 299 h 516"/>
              <a:gd name="T56" fmla="*/ 260 w 326"/>
              <a:gd name="T57" fmla="*/ 316 h 516"/>
              <a:gd name="T58" fmla="*/ 239 w 326"/>
              <a:gd name="T59" fmla="*/ 311 h 516"/>
              <a:gd name="T60" fmla="*/ 226 w 326"/>
              <a:gd name="T61" fmla="*/ 318 h 516"/>
              <a:gd name="T62" fmla="*/ 228 w 326"/>
              <a:gd name="T63" fmla="*/ 339 h 516"/>
              <a:gd name="T64" fmla="*/ 207 w 326"/>
              <a:gd name="T65" fmla="*/ 331 h 516"/>
              <a:gd name="T66" fmla="*/ 203 w 326"/>
              <a:gd name="T67" fmla="*/ 318 h 516"/>
              <a:gd name="T68" fmla="*/ 188 w 326"/>
              <a:gd name="T69" fmla="*/ 328 h 516"/>
              <a:gd name="T70" fmla="*/ 190 w 326"/>
              <a:gd name="T71" fmla="*/ 350 h 516"/>
              <a:gd name="T72" fmla="*/ 192 w 326"/>
              <a:gd name="T73" fmla="*/ 371 h 516"/>
              <a:gd name="T74" fmla="*/ 177 w 326"/>
              <a:gd name="T75" fmla="*/ 384 h 516"/>
              <a:gd name="T76" fmla="*/ 166 w 326"/>
              <a:gd name="T77" fmla="*/ 399 h 516"/>
              <a:gd name="T78" fmla="*/ 158 w 326"/>
              <a:gd name="T79" fmla="*/ 392 h 516"/>
              <a:gd name="T80" fmla="*/ 156 w 326"/>
              <a:gd name="T81" fmla="*/ 394 h 516"/>
              <a:gd name="T82" fmla="*/ 156 w 326"/>
              <a:gd name="T83" fmla="*/ 399 h 516"/>
              <a:gd name="T84" fmla="*/ 145 w 326"/>
              <a:gd name="T85" fmla="*/ 403 h 516"/>
              <a:gd name="T86" fmla="*/ 139 w 326"/>
              <a:gd name="T87" fmla="*/ 394 h 516"/>
              <a:gd name="T88" fmla="*/ 134 w 326"/>
              <a:gd name="T89" fmla="*/ 401 h 516"/>
              <a:gd name="T90" fmla="*/ 145 w 326"/>
              <a:gd name="T91" fmla="*/ 426 h 516"/>
              <a:gd name="T92" fmla="*/ 134 w 326"/>
              <a:gd name="T93" fmla="*/ 420 h 516"/>
              <a:gd name="T94" fmla="*/ 130 w 326"/>
              <a:gd name="T95" fmla="*/ 426 h 516"/>
              <a:gd name="T96" fmla="*/ 113 w 326"/>
              <a:gd name="T97" fmla="*/ 437 h 516"/>
              <a:gd name="T98" fmla="*/ 109 w 326"/>
              <a:gd name="T99" fmla="*/ 460 h 516"/>
              <a:gd name="T100" fmla="*/ 100 w 326"/>
              <a:gd name="T101" fmla="*/ 486 h 516"/>
              <a:gd name="T102" fmla="*/ 100 w 326"/>
              <a:gd name="T103" fmla="*/ 509 h 516"/>
              <a:gd name="T104" fmla="*/ 83 w 326"/>
              <a:gd name="T105" fmla="*/ 507 h 516"/>
              <a:gd name="T106" fmla="*/ 68 w 326"/>
              <a:gd name="T107" fmla="*/ 490 h 516"/>
              <a:gd name="T108" fmla="*/ 62 w 326"/>
              <a:gd name="T109" fmla="*/ 469 h 516"/>
              <a:gd name="T110" fmla="*/ 0 w 326"/>
              <a:gd name="T111" fmla="*/ 28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516">
                <a:moveTo>
                  <a:pt x="0" y="282"/>
                </a:moveTo>
                <a:lnTo>
                  <a:pt x="4" y="275"/>
                </a:lnTo>
                <a:lnTo>
                  <a:pt x="11" y="277"/>
                </a:lnTo>
                <a:lnTo>
                  <a:pt x="19" y="275"/>
                </a:lnTo>
                <a:lnTo>
                  <a:pt x="17" y="269"/>
                </a:lnTo>
                <a:lnTo>
                  <a:pt x="19" y="262"/>
                </a:lnTo>
                <a:lnTo>
                  <a:pt x="22" y="260"/>
                </a:lnTo>
                <a:lnTo>
                  <a:pt x="28" y="265"/>
                </a:lnTo>
                <a:lnTo>
                  <a:pt x="19" y="250"/>
                </a:lnTo>
                <a:lnTo>
                  <a:pt x="22" y="247"/>
                </a:lnTo>
                <a:lnTo>
                  <a:pt x="24" y="241"/>
                </a:lnTo>
                <a:lnTo>
                  <a:pt x="28" y="233"/>
                </a:lnTo>
                <a:lnTo>
                  <a:pt x="39" y="218"/>
                </a:lnTo>
                <a:lnTo>
                  <a:pt x="36" y="213"/>
                </a:lnTo>
                <a:lnTo>
                  <a:pt x="43" y="199"/>
                </a:lnTo>
                <a:lnTo>
                  <a:pt x="36" y="190"/>
                </a:lnTo>
                <a:lnTo>
                  <a:pt x="36" y="177"/>
                </a:lnTo>
                <a:lnTo>
                  <a:pt x="34" y="169"/>
                </a:lnTo>
                <a:lnTo>
                  <a:pt x="36" y="147"/>
                </a:lnTo>
                <a:lnTo>
                  <a:pt x="43" y="137"/>
                </a:lnTo>
                <a:lnTo>
                  <a:pt x="39" y="107"/>
                </a:lnTo>
                <a:lnTo>
                  <a:pt x="70" y="9"/>
                </a:lnTo>
                <a:lnTo>
                  <a:pt x="79" y="7"/>
                </a:lnTo>
                <a:lnTo>
                  <a:pt x="85" y="9"/>
                </a:lnTo>
                <a:lnTo>
                  <a:pt x="90" y="24"/>
                </a:lnTo>
                <a:lnTo>
                  <a:pt x="98" y="30"/>
                </a:lnTo>
                <a:lnTo>
                  <a:pt x="107" y="32"/>
                </a:lnTo>
                <a:lnTo>
                  <a:pt x="113" y="24"/>
                </a:lnTo>
                <a:lnTo>
                  <a:pt x="119" y="22"/>
                </a:lnTo>
                <a:lnTo>
                  <a:pt x="126" y="13"/>
                </a:lnTo>
                <a:lnTo>
                  <a:pt x="132" y="11"/>
                </a:lnTo>
                <a:lnTo>
                  <a:pt x="139" y="3"/>
                </a:lnTo>
                <a:lnTo>
                  <a:pt x="147" y="0"/>
                </a:lnTo>
                <a:lnTo>
                  <a:pt x="156" y="3"/>
                </a:lnTo>
                <a:lnTo>
                  <a:pt x="168" y="7"/>
                </a:lnTo>
                <a:lnTo>
                  <a:pt x="183" y="17"/>
                </a:lnTo>
                <a:lnTo>
                  <a:pt x="190" y="20"/>
                </a:lnTo>
                <a:lnTo>
                  <a:pt x="222" y="115"/>
                </a:lnTo>
                <a:lnTo>
                  <a:pt x="230" y="139"/>
                </a:lnTo>
                <a:lnTo>
                  <a:pt x="230" y="145"/>
                </a:lnTo>
                <a:lnTo>
                  <a:pt x="234" y="154"/>
                </a:lnTo>
                <a:lnTo>
                  <a:pt x="234" y="158"/>
                </a:lnTo>
                <a:lnTo>
                  <a:pt x="237" y="167"/>
                </a:lnTo>
                <a:lnTo>
                  <a:pt x="243" y="164"/>
                </a:lnTo>
                <a:lnTo>
                  <a:pt x="249" y="171"/>
                </a:lnTo>
                <a:lnTo>
                  <a:pt x="258" y="171"/>
                </a:lnTo>
                <a:lnTo>
                  <a:pt x="264" y="167"/>
                </a:lnTo>
                <a:lnTo>
                  <a:pt x="271" y="171"/>
                </a:lnTo>
                <a:lnTo>
                  <a:pt x="269" y="179"/>
                </a:lnTo>
                <a:lnTo>
                  <a:pt x="271" y="186"/>
                </a:lnTo>
                <a:lnTo>
                  <a:pt x="275" y="192"/>
                </a:lnTo>
                <a:lnTo>
                  <a:pt x="275" y="201"/>
                </a:lnTo>
                <a:lnTo>
                  <a:pt x="279" y="207"/>
                </a:lnTo>
                <a:lnTo>
                  <a:pt x="288" y="213"/>
                </a:lnTo>
                <a:lnTo>
                  <a:pt x="292" y="207"/>
                </a:lnTo>
                <a:lnTo>
                  <a:pt x="298" y="207"/>
                </a:lnTo>
                <a:lnTo>
                  <a:pt x="303" y="209"/>
                </a:lnTo>
                <a:lnTo>
                  <a:pt x="305" y="211"/>
                </a:lnTo>
                <a:lnTo>
                  <a:pt x="318" y="224"/>
                </a:lnTo>
                <a:lnTo>
                  <a:pt x="309" y="237"/>
                </a:lnTo>
                <a:lnTo>
                  <a:pt x="315" y="243"/>
                </a:lnTo>
                <a:lnTo>
                  <a:pt x="322" y="235"/>
                </a:lnTo>
                <a:lnTo>
                  <a:pt x="320" y="233"/>
                </a:lnTo>
                <a:lnTo>
                  <a:pt x="326" y="239"/>
                </a:lnTo>
                <a:lnTo>
                  <a:pt x="326" y="245"/>
                </a:lnTo>
                <a:lnTo>
                  <a:pt x="318" y="260"/>
                </a:lnTo>
                <a:lnTo>
                  <a:pt x="311" y="265"/>
                </a:lnTo>
                <a:lnTo>
                  <a:pt x="300" y="262"/>
                </a:lnTo>
                <a:lnTo>
                  <a:pt x="305" y="271"/>
                </a:lnTo>
                <a:lnTo>
                  <a:pt x="298" y="269"/>
                </a:lnTo>
                <a:lnTo>
                  <a:pt x="298" y="273"/>
                </a:lnTo>
                <a:lnTo>
                  <a:pt x="298" y="273"/>
                </a:lnTo>
                <a:lnTo>
                  <a:pt x="292" y="277"/>
                </a:lnTo>
                <a:lnTo>
                  <a:pt x="292" y="284"/>
                </a:lnTo>
                <a:lnTo>
                  <a:pt x="283" y="284"/>
                </a:lnTo>
                <a:lnTo>
                  <a:pt x="283" y="292"/>
                </a:lnTo>
                <a:lnTo>
                  <a:pt x="279" y="290"/>
                </a:lnTo>
                <a:lnTo>
                  <a:pt x="273" y="284"/>
                </a:lnTo>
                <a:lnTo>
                  <a:pt x="269" y="292"/>
                </a:lnTo>
                <a:lnTo>
                  <a:pt x="271" y="299"/>
                </a:lnTo>
                <a:lnTo>
                  <a:pt x="271" y="305"/>
                </a:lnTo>
                <a:lnTo>
                  <a:pt x="269" y="299"/>
                </a:lnTo>
                <a:lnTo>
                  <a:pt x="266" y="305"/>
                </a:lnTo>
                <a:lnTo>
                  <a:pt x="264" y="299"/>
                </a:lnTo>
                <a:lnTo>
                  <a:pt x="260" y="303"/>
                </a:lnTo>
                <a:lnTo>
                  <a:pt x="262" y="309"/>
                </a:lnTo>
                <a:lnTo>
                  <a:pt x="260" y="316"/>
                </a:lnTo>
                <a:lnTo>
                  <a:pt x="256" y="309"/>
                </a:lnTo>
                <a:lnTo>
                  <a:pt x="237" y="303"/>
                </a:lnTo>
                <a:lnTo>
                  <a:pt x="239" y="311"/>
                </a:lnTo>
                <a:lnTo>
                  <a:pt x="230" y="318"/>
                </a:lnTo>
                <a:lnTo>
                  <a:pt x="224" y="309"/>
                </a:lnTo>
                <a:lnTo>
                  <a:pt x="226" y="318"/>
                </a:lnTo>
                <a:lnTo>
                  <a:pt x="224" y="324"/>
                </a:lnTo>
                <a:lnTo>
                  <a:pt x="224" y="333"/>
                </a:lnTo>
                <a:lnTo>
                  <a:pt x="228" y="339"/>
                </a:lnTo>
                <a:lnTo>
                  <a:pt x="217" y="335"/>
                </a:lnTo>
                <a:lnTo>
                  <a:pt x="205" y="335"/>
                </a:lnTo>
                <a:lnTo>
                  <a:pt x="207" y="331"/>
                </a:lnTo>
                <a:lnTo>
                  <a:pt x="209" y="322"/>
                </a:lnTo>
                <a:lnTo>
                  <a:pt x="200" y="324"/>
                </a:lnTo>
                <a:lnTo>
                  <a:pt x="203" y="318"/>
                </a:lnTo>
                <a:lnTo>
                  <a:pt x="196" y="309"/>
                </a:lnTo>
                <a:lnTo>
                  <a:pt x="198" y="322"/>
                </a:lnTo>
                <a:lnTo>
                  <a:pt x="188" y="328"/>
                </a:lnTo>
                <a:lnTo>
                  <a:pt x="192" y="335"/>
                </a:lnTo>
                <a:lnTo>
                  <a:pt x="192" y="343"/>
                </a:lnTo>
                <a:lnTo>
                  <a:pt x="190" y="350"/>
                </a:lnTo>
                <a:lnTo>
                  <a:pt x="190" y="358"/>
                </a:lnTo>
                <a:lnTo>
                  <a:pt x="190" y="365"/>
                </a:lnTo>
                <a:lnTo>
                  <a:pt x="192" y="371"/>
                </a:lnTo>
                <a:lnTo>
                  <a:pt x="188" y="380"/>
                </a:lnTo>
                <a:lnTo>
                  <a:pt x="185" y="388"/>
                </a:lnTo>
                <a:lnTo>
                  <a:pt x="177" y="384"/>
                </a:lnTo>
                <a:lnTo>
                  <a:pt x="168" y="384"/>
                </a:lnTo>
                <a:lnTo>
                  <a:pt x="166" y="390"/>
                </a:lnTo>
                <a:lnTo>
                  <a:pt x="166" y="399"/>
                </a:lnTo>
                <a:lnTo>
                  <a:pt x="166" y="405"/>
                </a:lnTo>
                <a:lnTo>
                  <a:pt x="160" y="401"/>
                </a:lnTo>
                <a:lnTo>
                  <a:pt x="158" y="392"/>
                </a:lnTo>
                <a:lnTo>
                  <a:pt x="158" y="386"/>
                </a:lnTo>
                <a:lnTo>
                  <a:pt x="158" y="388"/>
                </a:lnTo>
                <a:lnTo>
                  <a:pt x="156" y="394"/>
                </a:lnTo>
                <a:lnTo>
                  <a:pt x="160" y="409"/>
                </a:lnTo>
                <a:lnTo>
                  <a:pt x="154" y="405"/>
                </a:lnTo>
                <a:lnTo>
                  <a:pt x="156" y="399"/>
                </a:lnTo>
                <a:lnTo>
                  <a:pt x="151" y="392"/>
                </a:lnTo>
                <a:lnTo>
                  <a:pt x="147" y="392"/>
                </a:lnTo>
                <a:lnTo>
                  <a:pt x="145" y="403"/>
                </a:lnTo>
                <a:lnTo>
                  <a:pt x="151" y="411"/>
                </a:lnTo>
                <a:lnTo>
                  <a:pt x="149" y="418"/>
                </a:lnTo>
                <a:lnTo>
                  <a:pt x="139" y="394"/>
                </a:lnTo>
                <a:lnTo>
                  <a:pt x="139" y="386"/>
                </a:lnTo>
                <a:lnTo>
                  <a:pt x="134" y="392"/>
                </a:lnTo>
                <a:lnTo>
                  <a:pt x="134" y="401"/>
                </a:lnTo>
                <a:lnTo>
                  <a:pt x="137" y="397"/>
                </a:lnTo>
                <a:lnTo>
                  <a:pt x="147" y="420"/>
                </a:lnTo>
                <a:lnTo>
                  <a:pt x="145" y="426"/>
                </a:lnTo>
                <a:lnTo>
                  <a:pt x="139" y="414"/>
                </a:lnTo>
                <a:lnTo>
                  <a:pt x="137" y="411"/>
                </a:lnTo>
                <a:lnTo>
                  <a:pt x="134" y="420"/>
                </a:lnTo>
                <a:lnTo>
                  <a:pt x="132" y="426"/>
                </a:lnTo>
                <a:lnTo>
                  <a:pt x="130" y="420"/>
                </a:lnTo>
                <a:lnTo>
                  <a:pt x="130" y="426"/>
                </a:lnTo>
                <a:lnTo>
                  <a:pt x="126" y="414"/>
                </a:lnTo>
                <a:lnTo>
                  <a:pt x="115" y="429"/>
                </a:lnTo>
                <a:lnTo>
                  <a:pt x="113" y="437"/>
                </a:lnTo>
                <a:lnTo>
                  <a:pt x="115" y="443"/>
                </a:lnTo>
                <a:lnTo>
                  <a:pt x="119" y="446"/>
                </a:lnTo>
                <a:lnTo>
                  <a:pt x="109" y="460"/>
                </a:lnTo>
                <a:lnTo>
                  <a:pt x="113" y="467"/>
                </a:lnTo>
                <a:lnTo>
                  <a:pt x="107" y="480"/>
                </a:lnTo>
                <a:lnTo>
                  <a:pt x="100" y="486"/>
                </a:lnTo>
                <a:lnTo>
                  <a:pt x="100" y="495"/>
                </a:lnTo>
                <a:lnTo>
                  <a:pt x="102" y="501"/>
                </a:lnTo>
                <a:lnTo>
                  <a:pt x="100" y="509"/>
                </a:lnTo>
                <a:lnTo>
                  <a:pt x="94" y="516"/>
                </a:lnTo>
                <a:lnTo>
                  <a:pt x="90" y="514"/>
                </a:lnTo>
                <a:lnTo>
                  <a:pt x="83" y="507"/>
                </a:lnTo>
                <a:lnTo>
                  <a:pt x="83" y="501"/>
                </a:lnTo>
                <a:lnTo>
                  <a:pt x="75" y="497"/>
                </a:lnTo>
                <a:lnTo>
                  <a:pt x="68" y="490"/>
                </a:lnTo>
                <a:lnTo>
                  <a:pt x="64" y="484"/>
                </a:lnTo>
                <a:lnTo>
                  <a:pt x="62" y="478"/>
                </a:lnTo>
                <a:lnTo>
                  <a:pt x="62" y="469"/>
                </a:lnTo>
                <a:lnTo>
                  <a:pt x="53" y="448"/>
                </a:lnTo>
                <a:lnTo>
                  <a:pt x="0" y="286"/>
                </a:lnTo>
                <a:lnTo>
                  <a:pt x="0" y="282"/>
                </a:lnTo>
                <a:close/>
              </a:path>
            </a:pathLst>
          </a:custGeom>
          <a:solidFill>
            <a:srgbClr val="FFC80B"/>
          </a:solidFill>
          <a:ln>
            <a:noFill/>
          </a:ln>
        </p:spPr>
        <p:txBody>
          <a:bodyPr vert="horz" wrap="square" lIns="91440" tIns="45720" rIns="91440" bIns="45720" numCol="1" anchor="t" anchorCtr="0" compatLnSpc="1">
            <a:prstTxWarp prst="textNoShape">
              <a:avLst/>
            </a:prstTxWarp>
          </a:bodyPr>
          <a:lstStyle/>
          <a:p>
            <a:endParaRPr lang="en-US"/>
          </a:p>
        </p:txBody>
      </p:sp>
      <p:sp>
        <p:nvSpPr>
          <p:cNvPr id="1139" name="Freeform 946"/>
          <p:cNvSpPr>
            <a:spLocks/>
          </p:cNvSpPr>
          <p:nvPr/>
        </p:nvSpPr>
        <p:spPr bwMode="auto">
          <a:xfrm>
            <a:off x="7470775" y="1501896"/>
            <a:ext cx="517525" cy="819150"/>
          </a:xfrm>
          <a:custGeom>
            <a:avLst/>
            <a:gdLst>
              <a:gd name="T0" fmla="*/ 11 w 326"/>
              <a:gd name="T1" fmla="*/ 277 h 516"/>
              <a:gd name="T2" fmla="*/ 19 w 326"/>
              <a:gd name="T3" fmla="*/ 262 h 516"/>
              <a:gd name="T4" fmla="*/ 19 w 326"/>
              <a:gd name="T5" fmla="*/ 250 h 516"/>
              <a:gd name="T6" fmla="*/ 28 w 326"/>
              <a:gd name="T7" fmla="*/ 233 h 516"/>
              <a:gd name="T8" fmla="*/ 43 w 326"/>
              <a:gd name="T9" fmla="*/ 199 h 516"/>
              <a:gd name="T10" fmla="*/ 34 w 326"/>
              <a:gd name="T11" fmla="*/ 169 h 516"/>
              <a:gd name="T12" fmla="*/ 39 w 326"/>
              <a:gd name="T13" fmla="*/ 107 h 516"/>
              <a:gd name="T14" fmla="*/ 85 w 326"/>
              <a:gd name="T15" fmla="*/ 9 h 516"/>
              <a:gd name="T16" fmla="*/ 107 w 326"/>
              <a:gd name="T17" fmla="*/ 32 h 516"/>
              <a:gd name="T18" fmla="*/ 126 w 326"/>
              <a:gd name="T19" fmla="*/ 13 h 516"/>
              <a:gd name="T20" fmla="*/ 147 w 326"/>
              <a:gd name="T21" fmla="*/ 0 h 516"/>
              <a:gd name="T22" fmla="*/ 183 w 326"/>
              <a:gd name="T23" fmla="*/ 17 h 516"/>
              <a:gd name="T24" fmla="*/ 230 w 326"/>
              <a:gd name="T25" fmla="*/ 139 h 516"/>
              <a:gd name="T26" fmla="*/ 234 w 326"/>
              <a:gd name="T27" fmla="*/ 158 h 516"/>
              <a:gd name="T28" fmla="*/ 249 w 326"/>
              <a:gd name="T29" fmla="*/ 171 h 516"/>
              <a:gd name="T30" fmla="*/ 271 w 326"/>
              <a:gd name="T31" fmla="*/ 171 h 516"/>
              <a:gd name="T32" fmla="*/ 275 w 326"/>
              <a:gd name="T33" fmla="*/ 192 h 516"/>
              <a:gd name="T34" fmla="*/ 288 w 326"/>
              <a:gd name="T35" fmla="*/ 213 h 516"/>
              <a:gd name="T36" fmla="*/ 303 w 326"/>
              <a:gd name="T37" fmla="*/ 209 h 516"/>
              <a:gd name="T38" fmla="*/ 309 w 326"/>
              <a:gd name="T39" fmla="*/ 237 h 516"/>
              <a:gd name="T40" fmla="*/ 320 w 326"/>
              <a:gd name="T41" fmla="*/ 233 h 516"/>
              <a:gd name="T42" fmla="*/ 318 w 326"/>
              <a:gd name="T43" fmla="*/ 260 h 516"/>
              <a:gd name="T44" fmla="*/ 305 w 326"/>
              <a:gd name="T45" fmla="*/ 271 h 516"/>
              <a:gd name="T46" fmla="*/ 298 w 326"/>
              <a:gd name="T47" fmla="*/ 273 h 516"/>
              <a:gd name="T48" fmla="*/ 283 w 326"/>
              <a:gd name="T49" fmla="*/ 284 h 516"/>
              <a:gd name="T50" fmla="*/ 273 w 326"/>
              <a:gd name="T51" fmla="*/ 284 h 516"/>
              <a:gd name="T52" fmla="*/ 271 w 326"/>
              <a:gd name="T53" fmla="*/ 305 h 516"/>
              <a:gd name="T54" fmla="*/ 264 w 326"/>
              <a:gd name="T55" fmla="*/ 299 h 516"/>
              <a:gd name="T56" fmla="*/ 260 w 326"/>
              <a:gd name="T57" fmla="*/ 316 h 516"/>
              <a:gd name="T58" fmla="*/ 239 w 326"/>
              <a:gd name="T59" fmla="*/ 311 h 516"/>
              <a:gd name="T60" fmla="*/ 226 w 326"/>
              <a:gd name="T61" fmla="*/ 318 h 516"/>
              <a:gd name="T62" fmla="*/ 228 w 326"/>
              <a:gd name="T63" fmla="*/ 339 h 516"/>
              <a:gd name="T64" fmla="*/ 207 w 326"/>
              <a:gd name="T65" fmla="*/ 331 h 516"/>
              <a:gd name="T66" fmla="*/ 203 w 326"/>
              <a:gd name="T67" fmla="*/ 318 h 516"/>
              <a:gd name="T68" fmla="*/ 188 w 326"/>
              <a:gd name="T69" fmla="*/ 328 h 516"/>
              <a:gd name="T70" fmla="*/ 190 w 326"/>
              <a:gd name="T71" fmla="*/ 350 h 516"/>
              <a:gd name="T72" fmla="*/ 192 w 326"/>
              <a:gd name="T73" fmla="*/ 371 h 516"/>
              <a:gd name="T74" fmla="*/ 177 w 326"/>
              <a:gd name="T75" fmla="*/ 384 h 516"/>
              <a:gd name="T76" fmla="*/ 166 w 326"/>
              <a:gd name="T77" fmla="*/ 399 h 516"/>
              <a:gd name="T78" fmla="*/ 158 w 326"/>
              <a:gd name="T79" fmla="*/ 392 h 516"/>
              <a:gd name="T80" fmla="*/ 156 w 326"/>
              <a:gd name="T81" fmla="*/ 394 h 516"/>
              <a:gd name="T82" fmla="*/ 156 w 326"/>
              <a:gd name="T83" fmla="*/ 399 h 516"/>
              <a:gd name="T84" fmla="*/ 145 w 326"/>
              <a:gd name="T85" fmla="*/ 403 h 516"/>
              <a:gd name="T86" fmla="*/ 139 w 326"/>
              <a:gd name="T87" fmla="*/ 394 h 516"/>
              <a:gd name="T88" fmla="*/ 134 w 326"/>
              <a:gd name="T89" fmla="*/ 401 h 516"/>
              <a:gd name="T90" fmla="*/ 145 w 326"/>
              <a:gd name="T91" fmla="*/ 426 h 516"/>
              <a:gd name="T92" fmla="*/ 134 w 326"/>
              <a:gd name="T93" fmla="*/ 420 h 516"/>
              <a:gd name="T94" fmla="*/ 130 w 326"/>
              <a:gd name="T95" fmla="*/ 426 h 516"/>
              <a:gd name="T96" fmla="*/ 113 w 326"/>
              <a:gd name="T97" fmla="*/ 437 h 516"/>
              <a:gd name="T98" fmla="*/ 109 w 326"/>
              <a:gd name="T99" fmla="*/ 460 h 516"/>
              <a:gd name="T100" fmla="*/ 100 w 326"/>
              <a:gd name="T101" fmla="*/ 486 h 516"/>
              <a:gd name="T102" fmla="*/ 100 w 326"/>
              <a:gd name="T103" fmla="*/ 509 h 516"/>
              <a:gd name="T104" fmla="*/ 83 w 326"/>
              <a:gd name="T105" fmla="*/ 507 h 516"/>
              <a:gd name="T106" fmla="*/ 68 w 326"/>
              <a:gd name="T107" fmla="*/ 490 h 516"/>
              <a:gd name="T108" fmla="*/ 62 w 326"/>
              <a:gd name="T109" fmla="*/ 469 h 516"/>
              <a:gd name="T110" fmla="*/ 0 w 326"/>
              <a:gd name="T111" fmla="*/ 282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26" h="516">
                <a:moveTo>
                  <a:pt x="0" y="282"/>
                </a:moveTo>
                <a:lnTo>
                  <a:pt x="4" y="275"/>
                </a:lnTo>
                <a:lnTo>
                  <a:pt x="11" y="277"/>
                </a:lnTo>
                <a:lnTo>
                  <a:pt x="19" y="275"/>
                </a:lnTo>
                <a:lnTo>
                  <a:pt x="17" y="269"/>
                </a:lnTo>
                <a:lnTo>
                  <a:pt x="19" y="262"/>
                </a:lnTo>
                <a:lnTo>
                  <a:pt x="22" y="260"/>
                </a:lnTo>
                <a:lnTo>
                  <a:pt x="28" y="265"/>
                </a:lnTo>
                <a:lnTo>
                  <a:pt x="19" y="250"/>
                </a:lnTo>
                <a:lnTo>
                  <a:pt x="22" y="247"/>
                </a:lnTo>
                <a:lnTo>
                  <a:pt x="24" y="241"/>
                </a:lnTo>
                <a:lnTo>
                  <a:pt x="28" y="233"/>
                </a:lnTo>
                <a:lnTo>
                  <a:pt x="39" y="218"/>
                </a:lnTo>
                <a:lnTo>
                  <a:pt x="36" y="213"/>
                </a:lnTo>
                <a:lnTo>
                  <a:pt x="43" y="199"/>
                </a:lnTo>
                <a:lnTo>
                  <a:pt x="36" y="190"/>
                </a:lnTo>
                <a:lnTo>
                  <a:pt x="36" y="177"/>
                </a:lnTo>
                <a:lnTo>
                  <a:pt x="34" y="169"/>
                </a:lnTo>
                <a:lnTo>
                  <a:pt x="36" y="147"/>
                </a:lnTo>
                <a:lnTo>
                  <a:pt x="43" y="137"/>
                </a:lnTo>
                <a:lnTo>
                  <a:pt x="39" y="107"/>
                </a:lnTo>
                <a:lnTo>
                  <a:pt x="70" y="9"/>
                </a:lnTo>
                <a:lnTo>
                  <a:pt x="79" y="7"/>
                </a:lnTo>
                <a:lnTo>
                  <a:pt x="85" y="9"/>
                </a:lnTo>
                <a:lnTo>
                  <a:pt x="90" y="24"/>
                </a:lnTo>
                <a:lnTo>
                  <a:pt x="98" y="30"/>
                </a:lnTo>
                <a:lnTo>
                  <a:pt x="107" y="32"/>
                </a:lnTo>
                <a:lnTo>
                  <a:pt x="113" y="24"/>
                </a:lnTo>
                <a:lnTo>
                  <a:pt x="119" y="22"/>
                </a:lnTo>
                <a:lnTo>
                  <a:pt x="126" y="13"/>
                </a:lnTo>
                <a:lnTo>
                  <a:pt x="132" y="11"/>
                </a:lnTo>
                <a:lnTo>
                  <a:pt x="139" y="3"/>
                </a:lnTo>
                <a:lnTo>
                  <a:pt x="147" y="0"/>
                </a:lnTo>
                <a:lnTo>
                  <a:pt x="156" y="3"/>
                </a:lnTo>
                <a:lnTo>
                  <a:pt x="168" y="7"/>
                </a:lnTo>
                <a:lnTo>
                  <a:pt x="183" y="17"/>
                </a:lnTo>
                <a:lnTo>
                  <a:pt x="190" y="20"/>
                </a:lnTo>
                <a:lnTo>
                  <a:pt x="222" y="115"/>
                </a:lnTo>
                <a:lnTo>
                  <a:pt x="230" y="139"/>
                </a:lnTo>
                <a:lnTo>
                  <a:pt x="230" y="145"/>
                </a:lnTo>
                <a:lnTo>
                  <a:pt x="234" y="154"/>
                </a:lnTo>
                <a:lnTo>
                  <a:pt x="234" y="158"/>
                </a:lnTo>
                <a:lnTo>
                  <a:pt x="237" y="167"/>
                </a:lnTo>
                <a:lnTo>
                  <a:pt x="243" y="164"/>
                </a:lnTo>
                <a:lnTo>
                  <a:pt x="249" y="171"/>
                </a:lnTo>
                <a:lnTo>
                  <a:pt x="258" y="171"/>
                </a:lnTo>
                <a:lnTo>
                  <a:pt x="264" y="167"/>
                </a:lnTo>
                <a:lnTo>
                  <a:pt x="271" y="171"/>
                </a:lnTo>
                <a:lnTo>
                  <a:pt x="269" y="179"/>
                </a:lnTo>
                <a:lnTo>
                  <a:pt x="271" y="186"/>
                </a:lnTo>
                <a:lnTo>
                  <a:pt x="275" y="192"/>
                </a:lnTo>
                <a:lnTo>
                  <a:pt x="275" y="201"/>
                </a:lnTo>
                <a:lnTo>
                  <a:pt x="279" y="207"/>
                </a:lnTo>
                <a:lnTo>
                  <a:pt x="288" y="213"/>
                </a:lnTo>
                <a:lnTo>
                  <a:pt x="292" y="207"/>
                </a:lnTo>
                <a:lnTo>
                  <a:pt x="298" y="207"/>
                </a:lnTo>
                <a:lnTo>
                  <a:pt x="303" y="209"/>
                </a:lnTo>
                <a:lnTo>
                  <a:pt x="305" y="211"/>
                </a:lnTo>
                <a:lnTo>
                  <a:pt x="318" y="224"/>
                </a:lnTo>
                <a:lnTo>
                  <a:pt x="309" y="237"/>
                </a:lnTo>
                <a:lnTo>
                  <a:pt x="315" y="243"/>
                </a:lnTo>
                <a:lnTo>
                  <a:pt x="322" y="235"/>
                </a:lnTo>
                <a:lnTo>
                  <a:pt x="320" y="233"/>
                </a:lnTo>
                <a:lnTo>
                  <a:pt x="326" y="239"/>
                </a:lnTo>
                <a:lnTo>
                  <a:pt x="326" y="245"/>
                </a:lnTo>
                <a:lnTo>
                  <a:pt x="318" y="260"/>
                </a:lnTo>
                <a:lnTo>
                  <a:pt x="311" y="265"/>
                </a:lnTo>
                <a:lnTo>
                  <a:pt x="300" y="262"/>
                </a:lnTo>
                <a:lnTo>
                  <a:pt x="305" y="271"/>
                </a:lnTo>
                <a:lnTo>
                  <a:pt x="298" y="269"/>
                </a:lnTo>
                <a:lnTo>
                  <a:pt x="298" y="273"/>
                </a:lnTo>
                <a:lnTo>
                  <a:pt x="298" y="273"/>
                </a:lnTo>
                <a:lnTo>
                  <a:pt x="292" y="277"/>
                </a:lnTo>
                <a:lnTo>
                  <a:pt x="292" y="284"/>
                </a:lnTo>
                <a:lnTo>
                  <a:pt x="283" y="284"/>
                </a:lnTo>
                <a:lnTo>
                  <a:pt x="283" y="292"/>
                </a:lnTo>
                <a:lnTo>
                  <a:pt x="279" y="290"/>
                </a:lnTo>
                <a:lnTo>
                  <a:pt x="273" y="284"/>
                </a:lnTo>
                <a:lnTo>
                  <a:pt x="269" y="292"/>
                </a:lnTo>
                <a:lnTo>
                  <a:pt x="271" y="299"/>
                </a:lnTo>
                <a:lnTo>
                  <a:pt x="271" y="305"/>
                </a:lnTo>
                <a:lnTo>
                  <a:pt x="269" y="299"/>
                </a:lnTo>
                <a:lnTo>
                  <a:pt x="266" y="305"/>
                </a:lnTo>
                <a:lnTo>
                  <a:pt x="264" y="299"/>
                </a:lnTo>
                <a:lnTo>
                  <a:pt x="260" y="303"/>
                </a:lnTo>
                <a:lnTo>
                  <a:pt x="262" y="309"/>
                </a:lnTo>
                <a:lnTo>
                  <a:pt x="260" y="316"/>
                </a:lnTo>
                <a:lnTo>
                  <a:pt x="256" y="309"/>
                </a:lnTo>
                <a:lnTo>
                  <a:pt x="237" y="303"/>
                </a:lnTo>
                <a:lnTo>
                  <a:pt x="239" y="311"/>
                </a:lnTo>
                <a:lnTo>
                  <a:pt x="230" y="318"/>
                </a:lnTo>
                <a:lnTo>
                  <a:pt x="224" y="309"/>
                </a:lnTo>
                <a:lnTo>
                  <a:pt x="226" y="318"/>
                </a:lnTo>
                <a:lnTo>
                  <a:pt x="224" y="324"/>
                </a:lnTo>
                <a:lnTo>
                  <a:pt x="224" y="333"/>
                </a:lnTo>
                <a:lnTo>
                  <a:pt x="228" y="339"/>
                </a:lnTo>
                <a:lnTo>
                  <a:pt x="217" y="335"/>
                </a:lnTo>
                <a:lnTo>
                  <a:pt x="205" y="335"/>
                </a:lnTo>
                <a:lnTo>
                  <a:pt x="207" y="331"/>
                </a:lnTo>
                <a:lnTo>
                  <a:pt x="209" y="322"/>
                </a:lnTo>
                <a:lnTo>
                  <a:pt x="200" y="324"/>
                </a:lnTo>
                <a:lnTo>
                  <a:pt x="203" y="318"/>
                </a:lnTo>
                <a:lnTo>
                  <a:pt x="196" y="309"/>
                </a:lnTo>
                <a:lnTo>
                  <a:pt x="198" y="322"/>
                </a:lnTo>
                <a:lnTo>
                  <a:pt x="188" y="328"/>
                </a:lnTo>
                <a:lnTo>
                  <a:pt x="192" y="335"/>
                </a:lnTo>
                <a:lnTo>
                  <a:pt x="192" y="343"/>
                </a:lnTo>
                <a:lnTo>
                  <a:pt x="190" y="350"/>
                </a:lnTo>
                <a:lnTo>
                  <a:pt x="190" y="358"/>
                </a:lnTo>
                <a:lnTo>
                  <a:pt x="190" y="365"/>
                </a:lnTo>
                <a:lnTo>
                  <a:pt x="192" y="371"/>
                </a:lnTo>
                <a:lnTo>
                  <a:pt x="188" y="380"/>
                </a:lnTo>
                <a:lnTo>
                  <a:pt x="185" y="388"/>
                </a:lnTo>
                <a:lnTo>
                  <a:pt x="177" y="384"/>
                </a:lnTo>
                <a:lnTo>
                  <a:pt x="168" y="384"/>
                </a:lnTo>
                <a:lnTo>
                  <a:pt x="166" y="390"/>
                </a:lnTo>
                <a:lnTo>
                  <a:pt x="166" y="399"/>
                </a:lnTo>
                <a:lnTo>
                  <a:pt x="166" y="405"/>
                </a:lnTo>
                <a:lnTo>
                  <a:pt x="160" y="401"/>
                </a:lnTo>
                <a:lnTo>
                  <a:pt x="158" y="392"/>
                </a:lnTo>
                <a:lnTo>
                  <a:pt x="158" y="386"/>
                </a:lnTo>
                <a:lnTo>
                  <a:pt x="158" y="388"/>
                </a:lnTo>
                <a:lnTo>
                  <a:pt x="156" y="394"/>
                </a:lnTo>
                <a:lnTo>
                  <a:pt x="160" y="409"/>
                </a:lnTo>
                <a:lnTo>
                  <a:pt x="154" y="405"/>
                </a:lnTo>
                <a:lnTo>
                  <a:pt x="156" y="399"/>
                </a:lnTo>
                <a:lnTo>
                  <a:pt x="151" y="392"/>
                </a:lnTo>
                <a:lnTo>
                  <a:pt x="147" y="392"/>
                </a:lnTo>
                <a:lnTo>
                  <a:pt x="145" y="403"/>
                </a:lnTo>
                <a:lnTo>
                  <a:pt x="151" y="411"/>
                </a:lnTo>
                <a:lnTo>
                  <a:pt x="149" y="418"/>
                </a:lnTo>
                <a:lnTo>
                  <a:pt x="139" y="394"/>
                </a:lnTo>
                <a:lnTo>
                  <a:pt x="139" y="386"/>
                </a:lnTo>
                <a:lnTo>
                  <a:pt x="134" y="392"/>
                </a:lnTo>
                <a:lnTo>
                  <a:pt x="134" y="401"/>
                </a:lnTo>
                <a:lnTo>
                  <a:pt x="137" y="397"/>
                </a:lnTo>
                <a:lnTo>
                  <a:pt x="147" y="420"/>
                </a:lnTo>
                <a:lnTo>
                  <a:pt x="145" y="426"/>
                </a:lnTo>
                <a:lnTo>
                  <a:pt x="139" y="414"/>
                </a:lnTo>
                <a:lnTo>
                  <a:pt x="137" y="411"/>
                </a:lnTo>
                <a:lnTo>
                  <a:pt x="134" y="420"/>
                </a:lnTo>
                <a:lnTo>
                  <a:pt x="132" y="426"/>
                </a:lnTo>
                <a:lnTo>
                  <a:pt x="130" y="420"/>
                </a:lnTo>
                <a:lnTo>
                  <a:pt x="130" y="426"/>
                </a:lnTo>
                <a:lnTo>
                  <a:pt x="126" y="414"/>
                </a:lnTo>
                <a:lnTo>
                  <a:pt x="115" y="429"/>
                </a:lnTo>
                <a:lnTo>
                  <a:pt x="113" y="437"/>
                </a:lnTo>
                <a:lnTo>
                  <a:pt x="115" y="443"/>
                </a:lnTo>
                <a:lnTo>
                  <a:pt x="119" y="446"/>
                </a:lnTo>
                <a:lnTo>
                  <a:pt x="109" y="460"/>
                </a:lnTo>
                <a:lnTo>
                  <a:pt x="113" y="467"/>
                </a:lnTo>
                <a:lnTo>
                  <a:pt x="107" y="480"/>
                </a:lnTo>
                <a:lnTo>
                  <a:pt x="100" y="486"/>
                </a:lnTo>
                <a:lnTo>
                  <a:pt x="100" y="495"/>
                </a:lnTo>
                <a:lnTo>
                  <a:pt x="102" y="501"/>
                </a:lnTo>
                <a:lnTo>
                  <a:pt x="100" y="509"/>
                </a:lnTo>
                <a:lnTo>
                  <a:pt x="94" y="516"/>
                </a:lnTo>
                <a:lnTo>
                  <a:pt x="90" y="514"/>
                </a:lnTo>
                <a:lnTo>
                  <a:pt x="83" y="507"/>
                </a:lnTo>
                <a:lnTo>
                  <a:pt x="83" y="501"/>
                </a:lnTo>
                <a:lnTo>
                  <a:pt x="75" y="497"/>
                </a:lnTo>
                <a:lnTo>
                  <a:pt x="68" y="490"/>
                </a:lnTo>
                <a:lnTo>
                  <a:pt x="64" y="484"/>
                </a:lnTo>
                <a:lnTo>
                  <a:pt x="62" y="478"/>
                </a:lnTo>
                <a:lnTo>
                  <a:pt x="62" y="469"/>
                </a:lnTo>
                <a:lnTo>
                  <a:pt x="53" y="448"/>
                </a:lnTo>
                <a:lnTo>
                  <a:pt x="0" y="286"/>
                </a:lnTo>
                <a:lnTo>
                  <a:pt x="0" y="282"/>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0" name="Freeform 947"/>
          <p:cNvSpPr>
            <a:spLocks/>
          </p:cNvSpPr>
          <p:nvPr/>
        </p:nvSpPr>
        <p:spPr bwMode="auto">
          <a:xfrm>
            <a:off x="7842250" y="1995609"/>
            <a:ext cx="26988" cy="34925"/>
          </a:xfrm>
          <a:custGeom>
            <a:avLst/>
            <a:gdLst>
              <a:gd name="T0" fmla="*/ 11 w 17"/>
              <a:gd name="T1" fmla="*/ 0 h 22"/>
              <a:gd name="T2" fmla="*/ 17 w 17"/>
              <a:gd name="T3" fmla="*/ 7 h 22"/>
              <a:gd name="T4" fmla="*/ 15 w 17"/>
              <a:gd name="T5" fmla="*/ 15 h 22"/>
              <a:gd name="T6" fmla="*/ 3 w 17"/>
              <a:gd name="T7" fmla="*/ 22 h 22"/>
              <a:gd name="T8" fmla="*/ 0 w 17"/>
              <a:gd name="T9" fmla="*/ 15 h 22"/>
              <a:gd name="T10" fmla="*/ 7 w 17"/>
              <a:gd name="T11" fmla="*/ 0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17" y="7"/>
                </a:lnTo>
                <a:lnTo>
                  <a:pt x="15" y="15"/>
                </a:lnTo>
                <a:lnTo>
                  <a:pt x="3" y="22"/>
                </a:lnTo>
                <a:lnTo>
                  <a:pt x="0" y="15"/>
                </a:lnTo>
                <a:lnTo>
                  <a:pt x="7" y="0"/>
                </a:lnTo>
                <a:lnTo>
                  <a:pt x="11"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1" name="Freeform 948"/>
          <p:cNvSpPr>
            <a:spLocks/>
          </p:cNvSpPr>
          <p:nvPr/>
        </p:nvSpPr>
        <p:spPr bwMode="auto">
          <a:xfrm>
            <a:off x="7842250" y="1995609"/>
            <a:ext cx="26988" cy="34925"/>
          </a:xfrm>
          <a:custGeom>
            <a:avLst/>
            <a:gdLst>
              <a:gd name="T0" fmla="*/ 11 w 17"/>
              <a:gd name="T1" fmla="*/ 0 h 22"/>
              <a:gd name="T2" fmla="*/ 17 w 17"/>
              <a:gd name="T3" fmla="*/ 7 h 22"/>
              <a:gd name="T4" fmla="*/ 15 w 17"/>
              <a:gd name="T5" fmla="*/ 15 h 22"/>
              <a:gd name="T6" fmla="*/ 3 w 17"/>
              <a:gd name="T7" fmla="*/ 22 h 22"/>
              <a:gd name="T8" fmla="*/ 0 w 17"/>
              <a:gd name="T9" fmla="*/ 15 h 22"/>
              <a:gd name="T10" fmla="*/ 7 w 17"/>
              <a:gd name="T11" fmla="*/ 0 h 22"/>
              <a:gd name="T12" fmla="*/ 11 w 17"/>
              <a:gd name="T13" fmla="*/ 0 h 22"/>
            </a:gdLst>
            <a:ahLst/>
            <a:cxnLst>
              <a:cxn ang="0">
                <a:pos x="T0" y="T1"/>
              </a:cxn>
              <a:cxn ang="0">
                <a:pos x="T2" y="T3"/>
              </a:cxn>
              <a:cxn ang="0">
                <a:pos x="T4" y="T5"/>
              </a:cxn>
              <a:cxn ang="0">
                <a:pos x="T6" y="T7"/>
              </a:cxn>
              <a:cxn ang="0">
                <a:pos x="T8" y="T9"/>
              </a:cxn>
              <a:cxn ang="0">
                <a:pos x="T10" y="T11"/>
              </a:cxn>
              <a:cxn ang="0">
                <a:pos x="T12" y="T13"/>
              </a:cxn>
            </a:cxnLst>
            <a:rect l="0" t="0" r="r" b="b"/>
            <a:pathLst>
              <a:path w="17" h="22">
                <a:moveTo>
                  <a:pt x="11" y="0"/>
                </a:moveTo>
                <a:lnTo>
                  <a:pt x="17" y="7"/>
                </a:lnTo>
                <a:lnTo>
                  <a:pt x="15" y="15"/>
                </a:lnTo>
                <a:lnTo>
                  <a:pt x="3" y="22"/>
                </a:lnTo>
                <a:lnTo>
                  <a:pt x="0" y="15"/>
                </a:lnTo>
                <a:lnTo>
                  <a:pt x="7" y="0"/>
                </a:lnTo>
                <a:lnTo>
                  <a:pt x="11"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2" name="Freeform 949"/>
          <p:cNvSpPr>
            <a:spLocks/>
          </p:cNvSpPr>
          <p:nvPr/>
        </p:nvSpPr>
        <p:spPr bwMode="auto">
          <a:xfrm>
            <a:off x="8008938" y="1878134"/>
            <a:ext cx="15875" cy="33338"/>
          </a:xfrm>
          <a:custGeom>
            <a:avLst/>
            <a:gdLst>
              <a:gd name="T0" fmla="*/ 6 w 10"/>
              <a:gd name="T1" fmla="*/ 0 h 21"/>
              <a:gd name="T2" fmla="*/ 10 w 10"/>
              <a:gd name="T3" fmla="*/ 6 h 21"/>
              <a:gd name="T4" fmla="*/ 10 w 10"/>
              <a:gd name="T5" fmla="*/ 15 h 21"/>
              <a:gd name="T6" fmla="*/ 4 w 10"/>
              <a:gd name="T7" fmla="*/ 21 h 21"/>
              <a:gd name="T8" fmla="*/ 0 w 10"/>
              <a:gd name="T9" fmla="*/ 15 h 21"/>
              <a:gd name="T10" fmla="*/ 2 w 10"/>
              <a:gd name="T11" fmla="*/ 6 h 21"/>
              <a:gd name="T12" fmla="*/ 4 w 10"/>
              <a:gd name="T13" fmla="*/ 0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10" y="6"/>
                </a:lnTo>
                <a:lnTo>
                  <a:pt x="10" y="15"/>
                </a:lnTo>
                <a:lnTo>
                  <a:pt x="4" y="21"/>
                </a:lnTo>
                <a:lnTo>
                  <a:pt x="0" y="15"/>
                </a:lnTo>
                <a:lnTo>
                  <a:pt x="2" y="6"/>
                </a:lnTo>
                <a:lnTo>
                  <a:pt x="4" y="0"/>
                </a:lnTo>
                <a:lnTo>
                  <a:pt x="6"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3" name="Freeform 950"/>
          <p:cNvSpPr>
            <a:spLocks/>
          </p:cNvSpPr>
          <p:nvPr/>
        </p:nvSpPr>
        <p:spPr bwMode="auto">
          <a:xfrm>
            <a:off x="8008938" y="1878134"/>
            <a:ext cx="15875" cy="33338"/>
          </a:xfrm>
          <a:custGeom>
            <a:avLst/>
            <a:gdLst>
              <a:gd name="T0" fmla="*/ 6 w 10"/>
              <a:gd name="T1" fmla="*/ 0 h 21"/>
              <a:gd name="T2" fmla="*/ 10 w 10"/>
              <a:gd name="T3" fmla="*/ 6 h 21"/>
              <a:gd name="T4" fmla="*/ 10 w 10"/>
              <a:gd name="T5" fmla="*/ 15 h 21"/>
              <a:gd name="T6" fmla="*/ 4 w 10"/>
              <a:gd name="T7" fmla="*/ 21 h 21"/>
              <a:gd name="T8" fmla="*/ 0 w 10"/>
              <a:gd name="T9" fmla="*/ 15 h 21"/>
              <a:gd name="T10" fmla="*/ 2 w 10"/>
              <a:gd name="T11" fmla="*/ 6 h 21"/>
              <a:gd name="T12" fmla="*/ 4 w 10"/>
              <a:gd name="T13" fmla="*/ 0 h 21"/>
              <a:gd name="T14" fmla="*/ 6 w 10"/>
              <a:gd name="T15" fmla="*/ 0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0"/>
                </a:moveTo>
                <a:lnTo>
                  <a:pt x="10" y="6"/>
                </a:lnTo>
                <a:lnTo>
                  <a:pt x="10" y="15"/>
                </a:lnTo>
                <a:lnTo>
                  <a:pt x="4" y="21"/>
                </a:lnTo>
                <a:lnTo>
                  <a:pt x="0" y="15"/>
                </a:lnTo>
                <a:lnTo>
                  <a:pt x="2" y="6"/>
                </a:lnTo>
                <a:lnTo>
                  <a:pt x="4" y="0"/>
                </a:lnTo>
                <a:lnTo>
                  <a:pt x="6"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5" name="Group 4"/>
          <p:cNvGrpSpPr/>
          <p:nvPr/>
        </p:nvGrpSpPr>
        <p:grpSpPr>
          <a:xfrm>
            <a:off x="2819168" y="5595265"/>
            <a:ext cx="777875" cy="284163"/>
            <a:chOff x="2573338" y="5621338"/>
            <a:chExt cx="777875" cy="284163"/>
          </a:xfrm>
        </p:grpSpPr>
        <p:sp>
          <p:nvSpPr>
            <p:cNvPr id="1156" name="Freeform 963"/>
            <p:cNvSpPr>
              <a:spLocks/>
            </p:cNvSpPr>
            <p:nvPr/>
          </p:nvSpPr>
          <p:spPr bwMode="auto">
            <a:xfrm>
              <a:off x="3187700" y="5738813"/>
              <a:ext cx="163513" cy="166688"/>
            </a:xfrm>
            <a:custGeom>
              <a:avLst/>
              <a:gdLst>
                <a:gd name="T0" fmla="*/ 45 w 103"/>
                <a:gd name="T1" fmla="*/ 105 h 105"/>
                <a:gd name="T2" fmla="*/ 54 w 103"/>
                <a:gd name="T3" fmla="*/ 105 h 105"/>
                <a:gd name="T4" fmla="*/ 56 w 103"/>
                <a:gd name="T5" fmla="*/ 96 h 105"/>
                <a:gd name="T6" fmla="*/ 56 w 103"/>
                <a:gd name="T7" fmla="*/ 90 h 105"/>
                <a:gd name="T8" fmla="*/ 62 w 103"/>
                <a:gd name="T9" fmla="*/ 83 h 105"/>
                <a:gd name="T10" fmla="*/ 66 w 103"/>
                <a:gd name="T11" fmla="*/ 77 h 105"/>
                <a:gd name="T12" fmla="*/ 71 w 103"/>
                <a:gd name="T13" fmla="*/ 71 h 105"/>
                <a:gd name="T14" fmla="*/ 77 w 103"/>
                <a:gd name="T15" fmla="*/ 68 h 105"/>
                <a:gd name="T16" fmla="*/ 83 w 103"/>
                <a:gd name="T17" fmla="*/ 64 h 105"/>
                <a:gd name="T18" fmla="*/ 92 w 103"/>
                <a:gd name="T19" fmla="*/ 60 h 105"/>
                <a:gd name="T20" fmla="*/ 96 w 103"/>
                <a:gd name="T21" fmla="*/ 51 h 105"/>
                <a:gd name="T22" fmla="*/ 96 w 103"/>
                <a:gd name="T23" fmla="*/ 49 h 105"/>
                <a:gd name="T24" fmla="*/ 103 w 103"/>
                <a:gd name="T25" fmla="*/ 43 h 105"/>
                <a:gd name="T26" fmla="*/ 100 w 103"/>
                <a:gd name="T27" fmla="*/ 37 h 105"/>
                <a:gd name="T28" fmla="*/ 92 w 103"/>
                <a:gd name="T29" fmla="*/ 34 h 105"/>
                <a:gd name="T30" fmla="*/ 86 w 103"/>
                <a:gd name="T31" fmla="*/ 28 h 105"/>
                <a:gd name="T32" fmla="*/ 79 w 103"/>
                <a:gd name="T33" fmla="*/ 26 h 105"/>
                <a:gd name="T34" fmla="*/ 73 w 103"/>
                <a:gd name="T35" fmla="*/ 20 h 105"/>
                <a:gd name="T36" fmla="*/ 68 w 103"/>
                <a:gd name="T37" fmla="*/ 15 h 105"/>
                <a:gd name="T38" fmla="*/ 60 w 103"/>
                <a:gd name="T39" fmla="*/ 9 h 105"/>
                <a:gd name="T40" fmla="*/ 39 w 103"/>
                <a:gd name="T41" fmla="*/ 7 h 105"/>
                <a:gd name="T42" fmla="*/ 30 w 103"/>
                <a:gd name="T43" fmla="*/ 5 h 105"/>
                <a:gd name="T44" fmla="*/ 22 w 103"/>
                <a:gd name="T45" fmla="*/ 7 h 105"/>
                <a:gd name="T46" fmla="*/ 15 w 103"/>
                <a:gd name="T47" fmla="*/ 5 h 105"/>
                <a:gd name="T48" fmla="*/ 7 w 103"/>
                <a:gd name="T49" fmla="*/ 0 h 105"/>
                <a:gd name="T50" fmla="*/ 2 w 103"/>
                <a:gd name="T51" fmla="*/ 0 h 105"/>
                <a:gd name="T52" fmla="*/ 0 w 103"/>
                <a:gd name="T53" fmla="*/ 9 h 105"/>
                <a:gd name="T54" fmla="*/ 2 w 103"/>
                <a:gd name="T55" fmla="*/ 15 h 105"/>
                <a:gd name="T56" fmla="*/ 11 w 103"/>
                <a:gd name="T57" fmla="*/ 22 h 105"/>
                <a:gd name="T58" fmla="*/ 9 w 103"/>
                <a:gd name="T59" fmla="*/ 28 h 105"/>
                <a:gd name="T60" fmla="*/ 7 w 103"/>
                <a:gd name="T61" fmla="*/ 37 h 105"/>
                <a:gd name="T62" fmla="*/ 7 w 103"/>
                <a:gd name="T63" fmla="*/ 37 h 105"/>
                <a:gd name="T64" fmla="*/ 0 w 103"/>
                <a:gd name="T65" fmla="*/ 45 h 105"/>
                <a:gd name="T66" fmla="*/ 0 w 103"/>
                <a:gd name="T67" fmla="*/ 51 h 105"/>
                <a:gd name="T68" fmla="*/ 7 w 103"/>
                <a:gd name="T69" fmla="*/ 58 h 105"/>
                <a:gd name="T70" fmla="*/ 11 w 103"/>
                <a:gd name="T71" fmla="*/ 62 h 105"/>
                <a:gd name="T72" fmla="*/ 17 w 103"/>
                <a:gd name="T73" fmla="*/ 68 h 105"/>
                <a:gd name="T74" fmla="*/ 17 w 103"/>
                <a:gd name="T75" fmla="*/ 71 h 105"/>
                <a:gd name="T76" fmla="*/ 22 w 103"/>
                <a:gd name="T77" fmla="*/ 77 h 105"/>
                <a:gd name="T78" fmla="*/ 24 w 103"/>
                <a:gd name="T79" fmla="*/ 83 h 105"/>
                <a:gd name="T80" fmla="*/ 26 w 103"/>
                <a:gd name="T81" fmla="*/ 98 h 105"/>
                <a:gd name="T82" fmla="*/ 32 w 103"/>
                <a:gd name="T83" fmla="*/ 103 h 105"/>
                <a:gd name="T84" fmla="*/ 39 w 103"/>
                <a:gd name="T85" fmla="*/ 103 h 105"/>
                <a:gd name="T86" fmla="*/ 45 w 103"/>
                <a:gd name="T87" fmla="*/ 105 h 105"/>
                <a:gd name="T88" fmla="*/ 45 w 103"/>
                <a:gd name="T8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105">
                  <a:moveTo>
                    <a:pt x="45" y="105"/>
                  </a:moveTo>
                  <a:lnTo>
                    <a:pt x="54" y="105"/>
                  </a:lnTo>
                  <a:lnTo>
                    <a:pt x="56" y="96"/>
                  </a:lnTo>
                  <a:lnTo>
                    <a:pt x="56" y="90"/>
                  </a:lnTo>
                  <a:lnTo>
                    <a:pt x="62" y="83"/>
                  </a:lnTo>
                  <a:lnTo>
                    <a:pt x="66" y="77"/>
                  </a:lnTo>
                  <a:lnTo>
                    <a:pt x="71" y="71"/>
                  </a:lnTo>
                  <a:lnTo>
                    <a:pt x="77" y="68"/>
                  </a:lnTo>
                  <a:lnTo>
                    <a:pt x="83" y="64"/>
                  </a:lnTo>
                  <a:lnTo>
                    <a:pt x="92" y="60"/>
                  </a:lnTo>
                  <a:lnTo>
                    <a:pt x="96" y="51"/>
                  </a:lnTo>
                  <a:lnTo>
                    <a:pt x="96" y="49"/>
                  </a:lnTo>
                  <a:lnTo>
                    <a:pt x="103" y="43"/>
                  </a:lnTo>
                  <a:lnTo>
                    <a:pt x="100" y="37"/>
                  </a:lnTo>
                  <a:lnTo>
                    <a:pt x="92" y="34"/>
                  </a:lnTo>
                  <a:lnTo>
                    <a:pt x="86" y="28"/>
                  </a:lnTo>
                  <a:lnTo>
                    <a:pt x="79" y="26"/>
                  </a:lnTo>
                  <a:lnTo>
                    <a:pt x="73" y="20"/>
                  </a:lnTo>
                  <a:lnTo>
                    <a:pt x="68" y="15"/>
                  </a:lnTo>
                  <a:lnTo>
                    <a:pt x="60" y="9"/>
                  </a:lnTo>
                  <a:lnTo>
                    <a:pt x="39" y="7"/>
                  </a:lnTo>
                  <a:lnTo>
                    <a:pt x="30" y="5"/>
                  </a:lnTo>
                  <a:lnTo>
                    <a:pt x="22" y="7"/>
                  </a:lnTo>
                  <a:lnTo>
                    <a:pt x="15" y="5"/>
                  </a:lnTo>
                  <a:lnTo>
                    <a:pt x="7" y="0"/>
                  </a:lnTo>
                  <a:lnTo>
                    <a:pt x="2" y="0"/>
                  </a:lnTo>
                  <a:lnTo>
                    <a:pt x="0" y="9"/>
                  </a:lnTo>
                  <a:lnTo>
                    <a:pt x="2" y="15"/>
                  </a:lnTo>
                  <a:lnTo>
                    <a:pt x="11" y="22"/>
                  </a:lnTo>
                  <a:lnTo>
                    <a:pt x="9" y="28"/>
                  </a:lnTo>
                  <a:lnTo>
                    <a:pt x="7" y="37"/>
                  </a:lnTo>
                  <a:lnTo>
                    <a:pt x="7" y="37"/>
                  </a:lnTo>
                  <a:lnTo>
                    <a:pt x="0" y="45"/>
                  </a:lnTo>
                  <a:lnTo>
                    <a:pt x="0" y="51"/>
                  </a:lnTo>
                  <a:lnTo>
                    <a:pt x="7" y="58"/>
                  </a:lnTo>
                  <a:lnTo>
                    <a:pt x="11" y="62"/>
                  </a:lnTo>
                  <a:lnTo>
                    <a:pt x="17" y="68"/>
                  </a:lnTo>
                  <a:lnTo>
                    <a:pt x="17" y="71"/>
                  </a:lnTo>
                  <a:lnTo>
                    <a:pt x="22" y="77"/>
                  </a:lnTo>
                  <a:lnTo>
                    <a:pt x="24" y="83"/>
                  </a:lnTo>
                  <a:lnTo>
                    <a:pt x="26" y="98"/>
                  </a:lnTo>
                  <a:lnTo>
                    <a:pt x="32" y="103"/>
                  </a:lnTo>
                  <a:lnTo>
                    <a:pt x="39" y="103"/>
                  </a:lnTo>
                  <a:lnTo>
                    <a:pt x="45" y="105"/>
                  </a:lnTo>
                  <a:lnTo>
                    <a:pt x="45" y="105"/>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4" name="Freeform 951"/>
            <p:cNvSpPr>
              <a:spLocks/>
            </p:cNvSpPr>
            <p:nvPr/>
          </p:nvSpPr>
          <p:spPr bwMode="auto">
            <a:xfrm>
              <a:off x="2573338" y="5678488"/>
              <a:ext cx="15875" cy="33338"/>
            </a:xfrm>
            <a:custGeom>
              <a:avLst/>
              <a:gdLst>
                <a:gd name="T0" fmla="*/ 6 w 10"/>
                <a:gd name="T1" fmla="*/ 21 h 21"/>
                <a:gd name="T2" fmla="*/ 6 w 10"/>
                <a:gd name="T3" fmla="*/ 19 h 21"/>
                <a:gd name="T4" fmla="*/ 10 w 10"/>
                <a:gd name="T5" fmla="*/ 11 h 21"/>
                <a:gd name="T6" fmla="*/ 10 w 10"/>
                <a:gd name="T7" fmla="*/ 6 h 21"/>
                <a:gd name="T8" fmla="*/ 10 w 10"/>
                <a:gd name="T9" fmla="*/ 0 h 21"/>
                <a:gd name="T10" fmla="*/ 4 w 10"/>
                <a:gd name="T11" fmla="*/ 6 h 21"/>
                <a:gd name="T12" fmla="*/ 0 w 10"/>
                <a:gd name="T13" fmla="*/ 15 h 21"/>
                <a:gd name="T14" fmla="*/ 6 w 1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21"/>
                  </a:moveTo>
                  <a:lnTo>
                    <a:pt x="6" y="19"/>
                  </a:lnTo>
                  <a:lnTo>
                    <a:pt x="10" y="11"/>
                  </a:lnTo>
                  <a:lnTo>
                    <a:pt x="10" y="6"/>
                  </a:lnTo>
                  <a:lnTo>
                    <a:pt x="10" y="0"/>
                  </a:lnTo>
                  <a:lnTo>
                    <a:pt x="4" y="6"/>
                  </a:lnTo>
                  <a:lnTo>
                    <a:pt x="0" y="15"/>
                  </a:lnTo>
                  <a:lnTo>
                    <a:pt x="6" y="21"/>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5" name="Freeform 952"/>
            <p:cNvSpPr>
              <a:spLocks/>
            </p:cNvSpPr>
            <p:nvPr/>
          </p:nvSpPr>
          <p:spPr bwMode="auto">
            <a:xfrm>
              <a:off x="2573338" y="5678488"/>
              <a:ext cx="15875" cy="33338"/>
            </a:xfrm>
            <a:custGeom>
              <a:avLst/>
              <a:gdLst>
                <a:gd name="T0" fmla="*/ 6 w 10"/>
                <a:gd name="T1" fmla="*/ 21 h 21"/>
                <a:gd name="T2" fmla="*/ 6 w 10"/>
                <a:gd name="T3" fmla="*/ 19 h 21"/>
                <a:gd name="T4" fmla="*/ 10 w 10"/>
                <a:gd name="T5" fmla="*/ 11 h 21"/>
                <a:gd name="T6" fmla="*/ 10 w 10"/>
                <a:gd name="T7" fmla="*/ 6 h 21"/>
                <a:gd name="T8" fmla="*/ 10 w 10"/>
                <a:gd name="T9" fmla="*/ 0 h 21"/>
                <a:gd name="T10" fmla="*/ 4 w 10"/>
                <a:gd name="T11" fmla="*/ 6 h 21"/>
                <a:gd name="T12" fmla="*/ 0 w 10"/>
                <a:gd name="T13" fmla="*/ 15 h 21"/>
                <a:gd name="T14" fmla="*/ 6 w 10"/>
                <a:gd name="T15" fmla="*/ 21 h 2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21">
                  <a:moveTo>
                    <a:pt x="6" y="21"/>
                  </a:moveTo>
                  <a:lnTo>
                    <a:pt x="6" y="19"/>
                  </a:lnTo>
                  <a:lnTo>
                    <a:pt x="10" y="11"/>
                  </a:lnTo>
                  <a:lnTo>
                    <a:pt x="10" y="6"/>
                  </a:lnTo>
                  <a:lnTo>
                    <a:pt x="10" y="0"/>
                  </a:lnTo>
                  <a:lnTo>
                    <a:pt x="4" y="6"/>
                  </a:lnTo>
                  <a:lnTo>
                    <a:pt x="0" y="15"/>
                  </a:lnTo>
                  <a:lnTo>
                    <a:pt x="6" y="21"/>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6" name="Freeform 953"/>
            <p:cNvSpPr>
              <a:spLocks/>
            </p:cNvSpPr>
            <p:nvPr/>
          </p:nvSpPr>
          <p:spPr bwMode="auto">
            <a:xfrm>
              <a:off x="2620963" y="5621338"/>
              <a:ext cx="60325" cy="50800"/>
            </a:xfrm>
            <a:custGeom>
              <a:avLst/>
              <a:gdLst>
                <a:gd name="T0" fmla="*/ 32 w 38"/>
                <a:gd name="T1" fmla="*/ 32 h 32"/>
                <a:gd name="T2" fmla="*/ 32 w 38"/>
                <a:gd name="T3" fmla="*/ 30 h 32"/>
                <a:gd name="T4" fmla="*/ 38 w 38"/>
                <a:gd name="T5" fmla="*/ 23 h 32"/>
                <a:gd name="T6" fmla="*/ 36 w 38"/>
                <a:gd name="T7" fmla="*/ 15 h 32"/>
                <a:gd name="T8" fmla="*/ 36 w 38"/>
                <a:gd name="T9" fmla="*/ 6 h 32"/>
                <a:gd name="T10" fmla="*/ 36 w 38"/>
                <a:gd name="T11" fmla="*/ 6 h 32"/>
                <a:gd name="T12" fmla="*/ 27 w 38"/>
                <a:gd name="T13" fmla="*/ 0 h 32"/>
                <a:gd name="T14" fmla="*/ 21 w 38"/>
                <a:gd name="T15" fmla="*/ 2 h 32"/>
                <a:gd name="T16" fmla="*/ 15 w 38"/>
                <a:gd name="T17" fmla="*/ 4 h 32"/>
                <a:gd name="T18" fmla="*/ 8 w 38"/>
                <a:gd name="T19" fmla="*/ 10 h 32"/>
                <a:gd name="T20" fmla="*/ 2 w 38"/>
                <a:gd name="T21" fmla="*/ 17 h 32"/>
                <a:gd name="T22" fmla="*/ 2 w 38"/>
                <a:gd name="T23" fmla="*/ 17 h 32"/>
                <a:gd name="T24" fmla="*/ 0 w 38"/>
                <a:gd name="T25" fmla="*/ 25 h 32"/>
                <a:gd name="T26" fmla="*/ 8 w 38"/>
                <a:gd name="T27" fmla="*/ 30 h 32"/>
                <a:gd name="T28" fmla="*/ 23 w 38"/>
                <a:gd name="T29" fmla="*/ 32 h 32"/>
                <a:gd name="T30" fmla="*/ 32 w 38"/>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2">
                  <a:moveTo>
                    <a:pt x="32" y="32"/>
                  </a:moveTo>
                  <a:lnTo>
                    <a:pt x="32" y="30"/>
                  </a:lnTo>
                  <a:lnTo>
                    <a:pt x="38" y="23"/>
                  </a:lnTo>
                  <a:lnTo>
                    <a:pt x="36" y="15"/>
                  </a:lnTo>
                  <a:lnTo>
                    <a:pt x="36" y="6"/>
                  </a:lnTo>
                  <a:lnTo>
                    <a:pt x="36" y="6"/>
                  </a:lnTo>
                  <a:lnTo>
                    <a:pt x="27" y="0"/>
                  </a:lnTo>
                  <a:lnTo>
                    <a:pt x="21" y="2"/>
                  </a:lnTo>
                  <a:lnTo>
                    <a:pt x="15" y="4"/>
                  </a:lnTo>
                  <a:lnTo>
                    <a:pt x="8" y="10"/>
                  </a:lnTo>
                  <a:lnTo>
                    <a:pt x="2" y="17"/>
                  </a:lnTo>
                  <a:lnTo>
                    <a:pt x="2" y="17"/>
                  </a:lnTo>
                  <a:lnTo>
                    <a:pt x="0" y="25"/>
                  </a:lnTo>
                  <a:lnTo>
                    <a:pt x="8" y="30"/>
                  </a:lnTo>
                  <a:lnTo>
                    <a:pt x="23" y="32"/>
                  </a:lnTo>
                  <a:lnTo>
                    <a:pt x="32"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7" name="Freeform 954"/>
            <p:cNvSpPr>
              <a:spLocks/>
            </p:cNvSpPr>
            <p:nvPr/>
          </p:nvSpPr>
          <p:spPr bwMode="auto">
            <a:xfrm>
              <a:off x="2620963" y="5621338"/>
              <a:ext cx="60325" cy="50800"/>
            </a:xfrm>
            <a:custGeom>
              <a:avLst/>
              <a:gdLst>
                <a:gd name="T0" fmla="*/ 32 w 38"/>
                <a:gd name="T1" fmla="*/ 32 h 32"/>
                <a:gd name="T2" fmla="*/ 32 w 38"/>
                <a:gd name="T3" fmla="*/ 30 h 32"/>
                <a:gd name="T4" fmla="*/ 38 w 38"/>
                <a:gd name="T5" fmla="*/ 23 h 32"/>
                <a:gd name="T6" fmla="*/ 36 w 38"/>
                <a:gd name="T7" fmla="*/ 15 h 32"/>
                <a:gd name="T8" fmla="*/ 36 w 38"/>
                <a:gd name="T9" fmla="*/ 6 h 32"/>
                <a:gd name="T10" fmla="*/ 36 w 38"/>
                <a:gd name="T11" fmla="*/ 6 h 32"/>
                <a:gd name="T12" fmla="*/ 27 w 38"/>
                <a:gd name="T13" fmla="*/ 0 h 32"/>
                <a:gd name="T14" fmla="*/ 21 w 38"/>
                <a:gd name="T15" fmla="*/ 2 h 32"/>
                <a:gd name="T16" fmla="*/ 15 w 38"/>
                <a:gd name="T17" fmla="*/ 4 h 32"/>
                <a:gd name="T18" fmla="*/ 8 w 38"/>
                <a:gd name="T19" fmla="*/ 10 h 32"/>
                <a:gd name="T20" fmla="*/ 2 w 38"/>
                <a:gd name="T21" fmla="*/ 17 h 32"/>
                <a:gd name="T22" fmla="*/ 2 w 38"/>
                <a:gd name="T23" fmla="*/ 17 h 32"/>
                <a:gd name="T24" fmla="*/ 0 w 38"/>
                <a:gd name="T25" fmla="*/ 25 h 32"/>
                <a:gd name="T26" fmla="*/ 8 w 38"/>
                <a:gd name="T27" fmla="*/ 30 h 32"/>
                <a:gd name="T28" fmla="*/ 23 w 38"/>
                <a:gd name="T29" fmla="*/ 32 h 32"/>
                <a:gd name="T30" fmla="*/ 32 w 38"/>
                <a:gd name="T3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8" h="32">
                  <a:moveTo>
                    <a:pt x="32" y="32"/>
                  </a:moveTo>
                  <a:lnTo>
                    <a:pt x="32" y="30"/>
                  </a:lnTo>
                  <a:lnTo>
                    <a:pt x="38" y="23"/>
                  </a:lnTo>
                  <a:lnTo>
                    <a:pt x="36" y="15"/>
                  </a:lnTo>
                  <a:lnTo>
                    <a:pt x="36" y="6"/>
                  </a:lnTo>
                  <a:lnTo>
                    <a:pt x="36" y="6"/>
                  </a:lnTo>
                  <a:lnTo>
                    <a:pt x="27" y="0"/>
                  </a:lnTo>
                  <a:lnTo>
                    <a:pt x="21" y="2"/>
                  </a:lnTo>
                  <a:lnTo>
                    <a:pt x="15" y="4"/>
                  </a:lnTo>
                  <a:lnTo>
                    <a:pt x="8" y="10"/>
                  </a:lnTo>
                  <a:lnTo>
                    <a:pt x="2" y="17"/>
                  </a:lnTo>
                  <a:lnTo>
                    <a:pt x="2" y="17"/>
                  </a:lnTo>
                  <a:lnTo>
                    <a:pt x="0" y="25"/>
                  </a:lnTo>
                  <a:lnTo>
                    <a:pt x="8" y="30"/>
                  </a:lnTo>
                  <a:lnTo>
                    <a:pt x="23" y="32"/>
                  </a:lnTo>
                  <a:lnTo>
                    <a:pt x="32" y="32"/>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48" name="Freeform 955"/>
            <p:cNvSpPr>
              <a:spLocks/>
            </p:cNvSpPr>
            <p:nvPr/>
          </p:nvSpPr>
          <p:spPr bwMode="auto">
            <a:xfrm>
              <a:off x="2833688" y="5637213"/>
              <a:ext cx="84138" cy="55563"/>
            </a:xfrm>
            <a:custGeom>
              <a:avLst/>
              <a:gdLst>
                <a:gd name="T0" fmla="*/ 40 w 53"/>
                <a:gd name="T1" fmla="*/ 32 h 35"/>
                <a:gd name="T2" fmla="*/ 47 w 53"/>
                <a:gd name="T3" fmla="*/ 28 h 35"/>
                <a:gd name="T4" fmla="*/ 53 w 53"/>
                <a:gd name="T5" fmla="*/ 26 h 35"/>
                <a:gd name="T6" fmla="*/ 47 w 53"/>
                <a:gd name="T7" fmla="*/ 20 h 35"/>
                <a:gd name="T8" fmla="*/ 42 w 53"/>
                <a:gd name="T9" fmla="*/ 13 h 35"/>
                <a:gd name="T10" fmla="*/ 36 w 53"/>
                <a:gd name="T11" fmla="*/ 17 h 35"/>
                <a:gd name="T12" fmla="*/ 32 w 53"/>
                <a:gd name="T13" fmla="*/ 11 h 35"/>
                <a:gd name="T14" fmla="*/ 17 w 53"/>
                <a:gd name="T15" fmla="*/ 0 h 35"/>
                <a:gd name="T16" fmla="*/ 10 w 53"/>
                <a:gd name="T17" fmla="*/ 5 h 35"/>
                <a:gd name="T18" fmla="*/ 6 w 53"/>
                <a:gd name="T19" fmla="*/ 13 h 35"/>
                <a:gd name="T20" fmla="*/ 0 w 53"/>
                <a:gd name="T21" fmla="*/ 15 h 35"/>
                <a:gd name="T22" fmla="*/ 0 w 53"/>
                <a:gd name="T23" fmla="*/ 20 h 35"/>
                <a:gd name="T24" fmla="*/ 4 w 53"/>
                <a:gd name="T25" fmla="*/ 26 h 35"/>
                <a:gd name="T26" fmla="*/ 13 w 53"/>
                <a:gd name="T27" fmla="*/ 30 h 35"/>
                <a:gd name="T28" fmla="*/ 21 w 53"/>
                <a:gd name="T29" fmla="*/ 35 h 35"/>
                <a:gd name="T30" fmla="*/ 27 w 53"/>
                <a:gd name="T31" fmla="*/ 32 h 35"/>
                <a:gd name="T32" fmla="*/ 25 w 53"/>
                <a:gd name="T33" fmla="*/ 28 h 35"/>
                <a:gd name="T34" fmla="*/ 32 w 53"/>
                <a:gd name="T35" fmla="*/ 28 h 35"/>
                <a:gd name="T36" fmla="*/ 40 w 53"/>
                <a:gd name="T37"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5">
                  <a:moveTo>
                    <a:pt x="40" y="32"/>
                  </a:moveTo>
                  <a:lnTo>
                    <a:pt x="47" y="28"/>
                  </a:lnTo>
                  <a:lnTo>
                    <a:pt x="53" y="26"/>
                  </a:lnTo>
                  <a:lnTo>
                    <a:pt x="47" y="20"/>
                  </a:lnTo>
                  <a:lnTo>
                    <a:pt x="42" y="13"/>
                  </a:lnTo>
                  <a:lnTo>
                    <a:pt x="36" y="17"/>
                  </a:lnTo>
                  <a:lnTo>
                    <a:pt x="32" y="11"/>
                  </a:lnTo>
                  <a:lnTo>
                    <a:pt x="17" y="0"/>
                  </a:lnTo>
                  <a:lnTo>
                    <a:pt x="10" y="5"/>
                  </a:lnTo>
                  <a:lnTo>
                    <a:pt x="6" y="13"/>
                  </a:lnTo>
                  <a:lnTo>
                    <a:pt x="0" y="15"/>
                  </a:lnTo>
                  <a:lnTo>
                    <a:pt x="0" y="20"/>
                  </a:lnTo>
                  <a:lnTo>
                    <a:pt x="4" y="26"/>
                  </a:lnTo>
                  <a:lnTo>
                    <a:pt x="13" y="30"/>
                  </a:lnTo>
                  <a:lnTo>
                    <a:pt x="21" y="35"/>
                  </a:lnTo>
                  <a:lnTo>
                    <a:pt x="27" y="32"/>
                  </a:lnTo>
                  <a:lnTo>
                    <a:pt x="25" y="28"/>
                  </a:lnTo>
                  <a:lnTo>
                    <a:pt x="32" y="28"/>
                  </a:lnTo>
                  <a:lnTo>
                    <a:pt x="40"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49" name="Freeform 956"/>
            <p:cNvSpPr>
              <a:spLocks/>
            </p:cNvSpPr>
            <p:nvPr/>
          </p:nvSpPr>
          <p:spPr bwMode="auto">
            <a:xfrm>
              <a:off x="2833688" y="5637213"/>
              <a:ext cx="84138" cy="55563"/>
            </a:xfrm>
            <a:custGeom>
              <a:avLst/>
              <a:gdLst>
                <a:gd name="T0" fmla="*/ 40 w 53"/>
                <a:gd name="T1" fmla="*/ 32 h 35"/>
                <a:gd name="T2" fmla="*/ 47 w 53"/>
                <a:gd name="T3" fmla="*/ 28 h 35"/>
                <a:gd name="T4" fmla="*/ 53 w 53"/>
                <a:gd name="T5" fmla="*/ 26 h 35"/>
                <a:gd name="T6" fmla="*/ 47 w 53"/>
                <a:gd name="T7" fmla="*/ 20 h 35"/>
                <a:gd name="T8" fmla="*/ 42 w 53"/>
                <a:gd name="T9" fmla="*/ 13 h 35"/>
                <a:gd name="T10" fmla="*/ 36 w 53"/>
                <a:gd name="T11" fmla="*/ 17 h 35"/>
                <a:gd name="T12" fmla="*/ 32 w 53"/>
                <a:gd name="T13" fmla="*/ 11 h 35"/>
                <a:gd name="T14" fmla="*/ 17 w 53"/>
                <a:gd name="T15" fmla="*/ 0 h 35"/>
                <a:gd name="T16" fmla="*/ 10 w 53"/>
                <a:gd name="T17" fmla="*/ 5 h 35"/>
                <a:gd name="T18" fmla="*/ 6 w 53"/>
                <a:gd name="T19" fmla="*/ 13 h 35"/>
                <a:gd name="T20" fmla="*/ 0 w 53"/>
                <a:gd name="T21" fmla="*/ 15 h 35"/>
                <a:gd name="T22" fmla="*/ 0 w 53"/>
                <a:gd name="T23" fmla="*/ 20 h 35"/>
                <a:gd name="T24" fmla="*/ 4 w 53"/>
                <a:gd name="T25" fmla="*/ 26 h 35"/>
                <a:gd name="T26" fmla="*/ 13 w 53"/>
                <a:gd name="T27" fmla="*/ 30 h 35"/>
                <a:gd name="T28" fmla="*/ 21 w 53"/>
                <a:gd name="T29" fmla="*/ 35 h 35"/>
                <a:gd name="T30" fmla="*/ 27 w 53"/>
                <a:gd name="T31" fmla="*/ 32 h 35"/>
                <a:gd name="T32" fmla="*/ 25 w 53"/>
                <a:gd name="T33" fmla="*/ 28 h 35"/>
                <a:gd name="T34" fmla="*/ 32 w 53"/>
                <a:gd name="T35" fmla="*/ 28 h 35"/>
                <a:gd name="T36" fmla="*/ 40 w 53"/>
                <a:gd name="T37" fmla="*/ 32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5">
                  <a:moveTo>
                    <a:pt x="40" y="32"/>
                  </a:moveTo>
                  <a:lnTo>
                    <a:pt x="47" y="28"/>
                  </a:lnTo>
                  <a:lnTo>
                    <a:pt x="53" y="26"/>
                  </a:lnTo>
                  <a:lnTo>
                    <a:pt x="47" y="20"/>
                  </a:lnTo>
                  <a:lnTo>
                    <a:pt x="42" y="13"/>
                  </a:lnTo>
                  <a:lnTo>
                    <a:pt x="36" y="17"/>
                  </a:lnTo>
                  <a:lnTo>
                    <a:pt x="32" y="11"/>
                  </a:lnTo>
                  <a:lnTo>
                    <a:pt x="17" y="0"/>
                  </a:lnTo>
                  <a:lnTo>
                    <a:pt x="10" y="5"/>
                  </a:lnTo>
                  <a:lnTo>
                    <a:pt x="6" y="13"/>
                  </a:lnTo>
                  <a:lnTo>
                    <a:pt x="0" y="15"/>
                  </a:lnTo>
                  <a:lnTo>
                    <a:pt x="0" y="20"/>
                  </a:lnTo>
                  <a:lnTo>
                    <a:pt x="4" y="26"/>
                  </a:lnTo>
                  <a:lnTo>
                    <a:pt x="13" y="30"/>
                  </a:lnTo>
                  <a:lnTo>
                    <a:pt x="21" y="35"/>
                  </a:lnTo>
                  <a:lnTo>
                    <a:pt x="27" y="32"/>
                  </a:lnTo>
                  <a:lnTo>
                    <a:pt x="25" y="28"/>
                  </a:lnTo>
                  <a:lnTo>
                    <a:pt x="32" y="28"/>
                  </a:lnTo>
                  <a:lnTo>
                    <a:pt x="40" y="32"/>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0" name="Freeform 957"/>
            <p:cNvSpPr>
              <a:spLocks/>
            </p:cNvSpPr>
            <p:nvPr/>
          </p:nvSpPr>
          <p:spPr bwMode="auto">
            <a:xfrm>
              <a:off x="2968625" y="5661025"/>
              <a:ext cx="68263" cy="31750"/>
            </a:xfrm>
            <a:custGeom>
              <a:avLst/>
              <a:gdLst>
                <a:gd name="T0" fmla="*/ 36 w 43"/>
                <a:gd name="T1" fmla="*/ 13 h 20"/>
                <a:gd name="T2" fmla="*/ 36 w 43"/>
                <a:gd name="T3" fmla="*/ 11 h 20"/>
                <a:gd name="T4" fmla="*/ 43 w 43"/>
                <a:gd name="T5" fmla="*/ 7 h 20"/>
                <a:gd name="T6" fmla="*/ 40 w 43"/>
                <a:gd name="T7" fmla="*/ 0 h 20"/>
                <a:gd name="T8" fmla="*/ 36 w 43"/>
                <a:gd name="T9" fmla="*/ 0 h 20"/>
                <a:gd name="T10" fmla="*/ 30 w 43"/>
                <a:gd name="T11" fmla="*/ 2 h 20"/>
                <a:gd name="T12" fmla="*/ 23 w 43"/>
                <a:gd name="T13" fmla="*/ 5 h 20"/>
                <a:gd name="T14" fmla="*/ 15 w 43"/>
                <a:gd name="T15" fmla="*/ 5 h 20"/>
                <a:gd name="T16" fmla="*/ 8 w 43"/>
                <a:gd name="T17" fmla="*/ 7 h 20"/>
                <a:gd name="T18" fmla="*/ 0 w 43"/>
                <a:gd name="T19" fmla="*/ 9 h 20"/>
                <a:gd name="T20" fmla="*/ 2 w 43"/>
                <a:gd name="T21" fmla="*/ 11 h 20"/>
                <a:gd name="T22" fmla="*/ 0 w 43"/>
                <a:gd name="T23" fmla="*/ 20 h 20"/>
                <a:gd name="T24" fmla="*/ 13 w 43"/>
                <a:gd name="T25" fmla="*/ 15 h 20"/>
                <a:gd name="T26" fmla="*/ 19 w 43"/>
                <a:gd name="T27" fmla="*/ 11 h 20"/>
                <a:gd name="T28" fmla="*/ 28 w 43"/>
                <a:gd name="T29" fmla="*/ 13 h 20"/>
                <a:gd name="T30" fmla="*/ 36 w 43"/>
                <a:gd name="T3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0">
                  <a:moveTo>
                    <a:pt x="36" y="13"/>
                  </a:moveTo>
                  <a:lnTo>
                    <a:pt x="36" y="11"/>
                  </a:lnTo>
                  <a:lnTo>
                    <a:pt x="43" y="7"/>
                  </a:lnTo>
                  <a:lnTo>
                    <a:pt x="40" y="0"/>
                  </a:lnTo>
                  <a:lnTo>
                    <a:pt x="36" y="0"/>
                  </a:lnTo>
                  <a:lnTo>
                    <a:pt x="30" y="2"/>
                  </a:lnTo>
                  <a:lnTo>
                    <a:pt x="23" y="5"/>
                  </a:lnTo>
                  <a:lnTo>
                    <a:pt x="15" y="5"/>
                  </a:lnTo>
                  <a:lnTo>
                    <a:pt x="8" y="7"/>
                  </a:lnTo>
                  <a:lnTo>
                    <a:pt x="0" y="9"/>
                  </a:lnTo>
                  <a:lnTo>
                    <a:pt x="2" y="11"/>
                  </a:lnTo>
                  <a:lnTo>
                    <a:pt x="0" y="20"/>
                  </a:lnTo>
                  <a:lnTo>
                    <a:pt x="13" y="15"/>
                  </a:lnTo>
                  <a:lnTo>
                    <a:pt x="19" y="11"/>
                  </a:lnTo>
                  <a:lnTo>
                    <a:pt x="28" y="13"/>
                  </a:lnTo>
                  <a:lnTo>
                    <a:pt x="36"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1" name="Freeform 958"/>
            <p:cNvSpPr>
              <a:spLocks/>
            </p:cNvSpPr>
            <p:nvPr/>
          </p:nvSpPr>
          <p:spPr bwMode="auto">
            <a:xfrm>
              <a:off x="2968625" y="5661025"/>
              <a:ext cx="68263" cy="31750"/>
            </a:xfrm>
            <a:custGeom>
              <a:avLst/>
              <a:gdLst>
                <a:gd name="T0" fmla="*/ 36 w 43"/>
                <a:gd name="T1" fmla="*/ 13 h 20"/>
                <a:gd name="T2" fmla="*/ 36 w 43"/>
                <a:gd name="T3" fmla="*/ 11 h 20"/>
                <a:gd name="T4" fmla="*/ 43 w 43"/>
                <a:gd name="T5" fmla="*/ 7 h 20"/>
                <a:gd name="T6" fmla="*/ 40 w 43"/>
                <a:gd name="T7" fmla="*/ 0 h 20"/>
                <a:gd name="T8" fmla="*/ 36 w 43"/>
                <a:gd name="T9" fmla="*/ 0 h 20"/>
                <a:gd name="T10" fmla="*/ 30 w 43"/>
                <a:gd name="T11" fmla="*/ 2 h 20"/>
                <a:gd name="T12" fmla="*/ 23 w 43"/>
                <a:gd name="T13" fmla="*/ 5 h 20"/>
                <a:gd name="T14" fmla="*/ 15 w 43"/>
                <a:gd name="T15" fmla="*/ 5 h 20"/>
                <a:gd name="T16" fmla="*/ 8 w 43"/>
                <a:gd name="T17" fmla="*/ 7 h 20"/>
                <a:gd name="T18" fmla="*/ 0 w 43"/>
                <a:gd name="T19" fmla="*/ 9 h 20"/>
                <a:gd name="T20" fmla="*/ 2 w 43"/>
                <a:gd name="T21" fmla="*/ 11 h 20"/>
                <a:gd name="T22" fmla="*/ 0 w 43"/>
                <a:gd name="T23" fmla="*/ 20 h 20"/>
                <a:gd name="T24" fmla="*/ 13 w 43"/>
                <a:gd name="T25" fmla="*/ 15 h 20"/>
                <a:gd name="T26" fmla="*/ 19 w 43"/>
                <a:gd name="T27" fmla="*/ 11 h 20"/>
                <a:gd name="T28" fmla="*/ 28 w 43"/>
                <a:gd name="T29" fmla="*/ 13 h 20"/>
                <a:gd name="T30" fmla="*/ 36 w 43"/>
                <a:gd name="T31"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 h="20">
                  <a:moveTo>
                    <a:pt x="36" y="13"/>
                  </a:moveTo>
                  <a:lnTo>
                    <a:pt x="36" y="11"/>
                  </a:lnTo>
                  <a:lnTo>
                    <a:pt x="43" y="7"/>
                  </a:lnTo>
                  <a:lnTo>
                    <a:pt x="40" y="0"/>
                  </a:lnTo>
                  <a:lnTo>
                    <a:pt x="36" y="0"/>
                  </a:lnTo>
                  <a:lnTo>
                    <a:pt x="30" y="2"/>
                  </a:lnTo>
                  <a:lnTo>
                    <a:pt x="23" y="5"/>
                  </a:lnTo>
                  <a:lnTo>
                    <a:pt x="15" y="5"/>
                  </a:lnTo>
                  <a:lnTo>
                    <a:pt x="8" y="7"/>
                  </a:lnTo>
                  <a:lnTo>
                    <a:pt x="0" y="9"/>
                  </a:lnTo>
                  <a:lnTo>
                    <a:pt x="2" y="11"/>
                  </a:lnTo>
                  <a:lnTo>
                    <a:pt x="0" y="20"/>
                  </a:lnTo>
                  <a:lnTo>
                    <a:pt x="13" y="15"/>
                  </a:lnTo>
                  <a:lnTo>
                    <a:pt x="19" y="11"/>
                  </a:lnTo>
                  <a:lnTo>
                    <a:pt x="28" y="13"/>
                  </a:lnTo>
                  <a:lnTo>
                    <a:pt x="36" y="13"/>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2" name="Freeform 959"/>
            <p:cNvSpPr>
              <a:spLocks/>
            </p:cNvSpPr>
            <p:nvPr/>
          </p:nvSpPr>
          <p:spPr bwMode="auto">
            <a:xfrm>
              <a:off x="3005138" y="5702300"/>
              <a:ext cx="34925" cy="20638"/>
            </a:xfrm>
            <a:custGeom>
              <a:avLst/>
              <a:gdLst>
                <a:gd name="T0" fmla="*/ 17 w 22"/>
                <a:gd name="T1" fmla="*/ 13 h 13"/>
                <a:gd name="T2" fmla="*/ 17 w 22"/>
                <a:gd name="T3" fmla="*/ 13 h 13"/>
                <a:gd name="T4" fmla="*/ 22 w 22"/>
                <a:gd name="T5" fmla="*/ 4 h 13"/>
                <a:gd name="T6" fmla="*/ 15 w 22"/>
                <a:gd name="T7" fmla="*/ 0 h 13"/>
                <a:gd name="T8" fmla="*/ 7 w 22"/>
                <a:gd name="T9" fmla="*/ 0 h 13"/>
                <a:gd name="T10" fmla="*/ 0 w 22"/>
                <a:gd name="T11" fmla="*/ 4 h 13"/>
                <a:gd name="T12" fmla="*/ 9 w 22"/>
                <a:gd name="T13" fmla="*/ 8 h 13"/>
                <a:gd name="T14" fmla="*/ 17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7" y="13"/>
                  </a:moveTo>
                  <a:lnTo>
                    <a:pt x="17" y="13"/>
                  </a:lnTo>
                  <a:lnTo>
                    <a:pt x="22" y="4"/>
                  </a:lnTo>
                  <a:lnTo>
                    <a:pt x="15" y="0"/>
                  </a:lnTo>
                  <a:lnTo>
                    <a:pt x="7" y="0"/>
                  </a:lnTo>
                  <a:lnTo>
                    <a:pt x="0" y="4"/>
                  </a:lnTo>
                  <a:lnTo>
                    <a:pt x="9" y="8"/>
                  </a:lnTo>
                  <a:lnTo>
                    <a:pt x="17" y="13"/>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3" name="Freeform 960"/>
            <p:cNvSpPr>
              <a:spLocks/>
            </p:cNvSpPr>
            <p:nvPr/>
          </p:nvSpPr>
          <p:spPr bwMode="auto">
            <a:xfrm>
              <a:off x="3005138" y="5702300"/>
              <a:ext cx="34925" cy="20638"/>
            </a:xfrm>
            <a:custGeom>
              <a:avLst/>
              <a:gdLst>
                <a:gd name="T0" fmla="*/ 17 w 22"/>
                <a:gd name="T1" fmla="*/ 13 h 13"/>
                <a:gd name="T2" fmla="*/ 17 w 22"/>
                <a:gd name="T3" fmla="*/ 13 h 13"/>
                <a:gd name="T4" fmla="*/ 22 w 22"/>
                <a:gd name="T5" fmla="*/ 4 h 13"/>
                <a:gd name="T6" fmla="*/ 15 w 22"/>
                <a:gd name="T7" fmla="*/ 0 h 13"/>
                <a:gd name="T8" fmla="*/ 7 w 22"/>
                <a:gd name="T9" fmla="*/ 0 h 13"/>
                <a:gd name="T10" fmla="*/ 0 w 22"/>
                <a:gd name="T11" fmla="*/ 4 h 13"/>
                <a:gd name="T12" fmla="*/ 9 w 22"/>
                <a:gd name="T13" fmla="*/ 8 h 13"/>
                <a:gd name="T14" fmla="*/ 17 w 22"/>
                <a:gd name="T15" fmla="*/ 13 h 1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2" h="13">
                  <a:moveTo>
                    <a:pt x="17" y="13"/>
                  </a:moveTo>
                  <a:lnTo>
                    <a:pt x="17" y="13"/>
                  </a:lnTo>
                  <a:lnTo>
                    <a:pt x="22" y="4"/>
                  </a:lnTo>
                  <a:lnTo>
                    <a:pt x="15" y="0"/>
                  </a:lnTo>
                  <a:lnTo>
                    <a:pt x="7" y="0"/>
                  </a:lnTo>
                  <a:lnTo>
                    <a:pt x="0" y="4"/>
                  </a:lnTo>
                  <a:lnTo>
                    <a:pt x="9" y="8"/>
                  </a:lnTo>
                  <a:lnTo>
                    <a:pt x="17" y="13"/>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4" name="Freeform 961"/>
            <p:cNvSpPr>
              <a:spLocks/>
            </p:cNvSpPr>
            <p:nvPr/>
          </p:nvSpPr>
          <p:spPr bwMode="auto">
            <a:xfrm>
              <a:off x="3049588" y="5672138"/>
              <a:ext cx="95250" cy="50800"/>
            </a:xfrm>
            <a:custGeom>
              <a:avLst/>
              <a:gdLst>
                <a:gd name="T0" fmla="*/ 34 w 60"/>
                <a:gd name="T1" fmla="*/ 32 h 32"/>
                <a:gd name="T2" fmla="*/ 38 w 60"/>
                <a:gd name="T3" fmla="*/ 30 h 32"/>
                <a:gd name="T4" fmla="*/ 45 w 60"/>
                <a:gd name="T5" fmla="*/ 23 h 32"/>
                <a:gd name="T6" fmla="*/ 51 w 60"/>
                <a:gd name="T7" fmla="*/ 21 h 32"/>
                <a:gd name="T8" fmla="*/ 55 w 60"/>
                <a:gd name="T9" fmla="*/ 19 h 32"/>
                <a:gd name="T10" fmla="*/ 60 w 60"/>
                <a:gd name="T11" fmla="*/ 10 h 32"/>
                <a:gd name="T12" fmla="*/ 53 w 60"/>
                <a:gd name="T13" fmla="*/ 4 h 32"/>
                <a:gd name="T14" fmla="*/ 47 w 60"/>
                <a:gd name="T15" fmla="*/ 4 h 32"/>
                <a:gd name="T16" fmla="*/ 38 w 60"/>
                <a:gd name="T17" fmla="*/ 0 h 32"/>
                <a:gd name="T18" fmla="*/ 36 w 60"/>
                <a:gd name="T19" fmla="*/ 0 h 32"/>
                <a:gd name="T20" fmla="*/ 30 w 60"/>
                <a:gd name="T21" fmla="*/ 0 h 32"/>
                <a:gd name="T22" fmla="*/ 23 w 60"/>
                <a:gd name="T23" fmla="*/ 4 h 32"/>
                <a:gd name="T24" fmla="*/ 17 w 60"/>
                <a:gd name="T25" fmla="*/ 6 h 32"/>
                <a:gd name="T26" fmla="*/ 9 w 60"/>
                <a:gd name="T27" fmla="*/ 0 h 32"/>
                <a:gd name="T28" fmla="*/ 2 w 60"/>
                <a:gd name="T29" fmla="*/ 2 h 32"/>
                <a:gd name="T30" fmla="*/ 0 w 60"/>
                <a:gd name="T31" fmla="*/ 6 h 32"/>
                <a:gd name="T32" fmla="*/ 0 w 60"/>
                <a:gd name="T33" fmla="*/ 13 h 32"/>
                <a:gd name="T34" fmla="*/ 9 w 60"/>
                <a:gd name="T35" fmla="*/ 19 h 32"/>
                <a:gd name="T36" fmla="*/ 23 w 60"/>
                <a:gd name="T37" fmla="*/ 21 h 32"/>
                <a:gd name="T38" fmla="*/ 23 w 60"/>
                <a:gd name="T39" fmla="*/ 21 h 32"/>
                <a:gd name="T40" fmla="*/ 26 w 60"/>
                <a:gd name="T41" fmla="*/ 27 h 32"/>
                <a:gd name="T42" fmla="*/ 34 w 60"/>
                <a:gd name="T4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32">
                  <a:moveTo>
                    <a:pt x="34" y="32"/>
                  </a:moveTo>
                  <a:lnTo>
                    <a:pt x="38" y="30"/>
                  </a:lnTo>
                  <a:lnTo>
                    <a:pt x="45" y="23"/>
                  </a:lnTo>
                  <a:lnTo>
                    <a:pt x="51" y="21"/>
                  </a:lnTo>
                  <a:lnTo>
                    <a:pt x="55" y="19"/>
                  </a:lnTo>
                  <a:lnTo>
                    <a:pt x="60" y="10"/>
                  </a:lnTo>
                  <a:lnTo>
                    <a:pt x="53" y="4"/>
                  </a:lnTo>
                  <a:lnTo>
                    <a:pt x="47" y="4"/>
                  </a:lnTo>
                  <a:lnTo>
                    <a:pt x="38" y="0"/>
                  </a:lnTo>
                  <a:lnTo>
                    <a:pt x="36" y="0"/>
                  </a:lnTo>
                  <a:lnTo>
                    <a:pt x="30" y="0"/>
                  </a:lnTo>
                  <a:lnTo>
                    <a:pt x="23" y="4"/>
                  </a:lnTo>
                  <a:lnTo>
                    <a:pt x="17" y="6"/>
                  </a:lnTo>
                  <a:lnTo>
                    <a:pt x="9" y="0"/>
                  </a:lnTo>
                  <a:lnTo>
                    <a:pt x="2" y="2"/>
                  </a:lnTo>
                  <a:lnTo>
                    <a:pt x="0" y="6"/>
                  </a:lnTo>
                  <a:lnTo>
                    <a:pt x="0" y="13"/>
                  </a:lnTo>
                  <a:lnTo>
                    <a:pt x="9" y="19"/>
                  </a:lnTo>
                  <a:lnTo>
                    <a:pt x="23" y="21"/>
                  </a:lnTo>
                  <a:lnTo>
                    <a:pt x="23" y="21"/>
                  </a:lnTo>
                  <a:lnTo>
                    <a:pt x="26" y="27"/>
                  </a:lnTo>
                  <a:lnTo>
                    <a:pt x="34" y="32"/>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55" name="Freeform 962"/>
            <p:cNvSpPr>
              <a:spLocks/>
            </p:cNvSpPr>
            <p:nvPr/>
          </p:nvSpPr>
          <p:spPr bwMode="auto">
            <a:xfrm>
              <a:off x="3049588" y="5672138"/>
              <a:ext cx="95250" cy="50800"/>
            </a:xfrm>
            <a:custGeom>
              <a:avLst/>
              <a:gdLst>
                <a:gd name="T0" fmla="*/ 34 w 60"/>
                <a:gd name="T1" fmla="*/ 32 h 32"/>
                <a:gd name="T2" fmla="*/ 38 w 60"/>
                <a:gd name="T3" fmla="*/ 30 h 32"/>
                <a:gd name="T4" fmla="*/ 45 w 60"/>
                <a:gd name="T5" fmla="*/ 23 h 32"/>
                <a:gd name="T6" fmla="*/ 51 w 60"/>
                <a:gd name="T7" fmla="*/ 21 h 32"/>
                <a:gd name="T8" fmla="*/ 55 w 60"/>
                <a:gd name="T9" fmla="*/ 19 h 32"/>
                <a:gd name="T10" fmla="*/ 60 w 60"/>
                <a:gd name="T11" fmla="*/ 10 h 32"/>
                <a:gd name="T12" fmla="*/ 53 w 60"/>
                <a:gd name="T13" fmla="*/ 4 h 32"/>
                <a:gd name="T14" fmla="*/ 47 w 60"/>
                <a:gd name="T15" fmla="*/ 4 h 32"/>
                <a:gd name="T16" fmla="*/ 38 w 60"/>
                <a:gd name="T17" fmla="*/ 0 h 32"/>
                <a:gd name="T18" fmla="*/ 36 w 60"/>
                <a:gd name="T19" fmla="*/ 0 h 32"/>
                <a:gd name="T20" fmla="*/ 30 w 60"/>
                <a:gd name="T21" fmla="*/ 0 h 32"/>
                <a:gd name="T22" fmla="*/ 23 w 60"/>
                <a:gd name="T23" fmla="*/ 4 h 32"/>
                <a:gd name="T24" fmla="*/ 17 w 60"/>
                <a:gd name="T25" fmla="*/ 6 h 32"/>
                <a:gd name="T26" fmla="*/ 9 w 60"/>
                <a:gd name="T27" fmla="*/ 0 h 32"/>
                <a:gd name="T28" fmla="*/ 2 w 60"/>
                <a:gd name="T29" fmla="*/ 2 h 32"/>
                <a:gd name="T30" fmla="*/ 0 w 60"/>
                <a:gd name="T31" fmla="*/ 6 h 32"/>
                <a:gd name="T32" fmla="*/ 0 w 60"/>
                <a:gd name="T33" fmla="*/ 13 h 32"/>
                <a:gd name="T34" fmla="*/ 9 w 60"/>
                <a:gd name="T35" fmla="*/ 19 h 32"/>
                <a:gd name="T36" fmla="*/ 23 w 60"/>
                <a:gd name="T37" fmla="*/ 21 h 32"/>
                <a:gd name="T38" fmla="*/ 23 w 60"/>
                <a:gd name="T39" fmla="*/ 21 h 32"/>
                <a:gd name="T40" fmla="*/ 26 w 60"/>
                <a:gd name="T41" fmla="*/ 27 h 32"/>
                <a:gd name="T42" fmla="*/ 34 w 60"/>
                <a:gd name="T43"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0" h="32">
                  <a:moveTo>
                    <a:pt x="34" y="32"/>
                  </a:moveTo>
                  <a:lnTo>
                    <a:pt x="38" y="30"/>
                  </a:lnTo>
                  <a:lnTo>
                    <a:pt x="45" y="23"/>
                  </a:lnTo>
                  <a:lnTo>
                    <a:pt x="51" y="21"/>
                  </a:lnTo>
                  <a:lnTo>
                    <a:pt x="55" y="19"/>
                  </a:lnTo>
                  <a:lnTo>
                    <a:pt x="60" y="10"/>
                  </a:lnTo>
                  <a:lnTo>
                    <a:pt x="53" y="4"/>
                  </a:lnTo>
                  <a:lnTo>
                    <a:pt x="47" y="4"/>
                  </a:lnTo>
                  <a:lnTo>
                    <a:pt x="38" y="0"/>
                  </a:lnTo>
                  <a:lnTo>
                    <a:pt x="36" y="0"/>
                  </a:lnTo>
                  <a:lnTo>
                    <a:pt x="30" y="0"/>
                  </a:lnTo>
                  <a:lnTo>
                    <a:pt x="23" y="4"/>
                  </a:lnTo>
                  <a:lnTo>
                    <a:pt x="17" y="6"/>
                  </a:lnTo>
                  <a:lnTo>
                    <a:pt x="9" y="0"/>
                  </a:lnTo>
                  <a:lnTo>
                    <a:pt x="2" y="2"/>
                  </a:lnTo>
                  <a:lnTo>
                    <a:pt x="0" y="6"/>
                  </a:lnTo>
                  <a:lnTo>
                    <a:pt x="0" y="13"/>
                  </a:lnTo>
                  <a:lnTo>
                    <a:pt x="9" y="19"/>
                  </a:lnTo>
                  <a:lnTo>
                    <a:pt x="23" y="21"/>
                  </a:lnTo>
                  <a:lnTo>
                    <a:pt x="23" y="21"/>
                  </a:lnTo>
                  <a:lnTo>
                    <a:pt x="26" y="27"/>
                  </a:lnTo>
                  <a:lnTo>
                    <a:pt x="34" y="32"/>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57" name="Freeform 964"/>
            <p:cNvSpPr>
              <a:spLocks/>
            </p:cNvSpPr>
            <p:nvPr/>
          </p:nvSpPr>
          <p:spPr bwMode="auto">
            <a:xfrm>
              <a:off x="3187700" y="5738813"/>
              <a:ext cx="163513" cy="166688"/>
            </a:xfrm>
            <a:custGeom>
              <a:avLst/>
              <a:gdLst>
                <a:gd name="T0" fmla="*/ 45 w 103"/>
                <a:gd name="T1" fmla="*/ 105 h 105"/>
                <a:gd name="T2" fmla="*/ 54 w 103"/>
                <a:gd name="T3" fmla="*/ 105 h 105"/>
                <a:gd name="T4" fmla="*/ 56 w 103"/>
                <a:gd name="T5" fmla="*/ 96 h 105"/>
                <a:gd name="T6" fmla="*/ 56 w 103"/>
                <a:gd name="T7" fmla="*/ 90 h 105"/>
                <a:gd name="T8" fmla="*/ 62 w 103"/>
                <a:gd name="T9" fmla="*/ 83 h 105"/>
                <a:gd name="T10" fmla="*/ 66 w 103"/>
                <a:gd name="T11" fmla="*/ 77 h 105"/>
                <a:gd name="T12" fmla="*/ 71 w 103"/>
                <a:gd name="T13" fmla="*/ 71 h 105"/>
                <a:gd name="T14" fmla="*/ 77 w 103"/>
                <a:gd name="T15" fmla="*/ 68 h 105"/>
                <a:gd name="T16" fmla="*/ 83 w 103"/>
                <a:gd name="T17" fmla="*/ 64 h 105"/>
                <a:gd name="T18" fmla="*/ 92 w 103"/>
                <a:gd name="T19" fmla="*/ 60 h 105"/>
                <a:gd name="T20" fmla="*/ 96 w 103"/>
                <a:gd name="T21" fmla="*/ 51 h 105"/>
                <a:gd name="T22" fmla="*/ 96 w 103"/>
                <a:gd name="T23" fmla="*/ 49 h 105"/>
                <a:gd name="T24" fmla="*/ 103 w 103"/>
                <a:gd name="T25" fmla="*/ 43 h 105"/>
                <a:gd name="T26" fmla="*/ 100 w 103"/>
                <a:gd name="T27" fmla="*/ 37 h 105"/>
                <a:gd name="T28" fmla="*/ 92 w 103"/>
                <a:gd name="T29" fmla="*/ 34 h 105"/>
                <a:gd name="T30" fmla="*/ 86 w 103"/>
                <a:gd name="T31" fmla="*/ 28 h 105"/>
                <a:gd name="T32" fmla="*/ 79 w 103"/>
                <a:gd name="T33" fmla="*/ 26 h 105"/>
                <a:gd name="T34" fmla="*/ 73 w 103"/>
                <a:gd name="T35" fmla="*/ 20 h 105"/>
                <a:gd name="T36" fmla="*/ 68 w 103"/>
                <a:gd name="T37" fmla="*/ 15 h 105"/>
                <a:gd name="T38" fmla="*/ 60 w 103"/>
                <a:gd name="T39" fmla="*/ 9 h 105"/>
                <a:gd name="T40" fmla="*/ 39 w 103"/>
                <a:gd name="T41" fmla="*/ 7 h 105"/>
                <a:gd name="T42" fmla="*/ 30 w 103"/>
                <a:gd name="T43" fmla="*/ 5 h 105"/>
                <a:gd name="T44" fmla="*/ 22 w 103"/>
                <a:gd name="T45" fmla="*/ 7 h 105"/>
                <a:gd name="T46" fmla="*/ 15 w 103"/>
                <a:gd name="T47" fmla="*/ 5 h 105"/>
                <a:gd name="T48" fmla="*/ 7 w 103"/>
                <a:gd name="T49" fmla="*/ 0 h 105"/>
                <a:gd name="T50" fmla="*/ 2 w 103"/>
                <a:gd name="T51" fmla="*/ 0 h 105"/>
                <a:gd name="T52" fmla="*/ 0 w 103"/>
                <a:gd name="T53" fmla="*/ 9 h 105"/>
                <a:gd name="T54" fmla="*/ 2 w 103"/>
                <a:gd name="T55" fmla="*/ 15 h 105"/>
                <a:gd name="T56" fmla="*/ 11 w 103"/>
                <a:gd name="T57" fmla="*/ 22 h 105"/>
                <a:gd name="T58" fmla="*/ 9 w 103"/>
                <a:gd name="T59" fmla="*/ 28 h 105"/>
                <a:gd name="T60" fmla="*/ 7 w 103"/>
                <a:gd name="T61" fmla="*/ 37 h 105"/>
                <a:gd name="T62" fmla="*/ 7 w 103"/>
                <a:gd name="T63" fmla="*/ 37 h 105"/>
                <a:gd name="T64" fmla="*/ 0 w 103"/>
                <a:gd name="T65" fmla="*/ 45 h 105"/>
                <a:gd name="T66" fmla="*/ 0 w 103"/>
                <a:gd name="T67" fmla="*/ 51 h 105"/>
                <a:gd name="T68" fmla="*/ 7 w 103"/>
                <a:gd name="T69" fmla="*/ 58 h 105"/>
                <a:gd name="T70" fmla="*/ 11 w 103"/>
                <a:gd name="T71" fmla="*/ 62 h 105"/>
                <a:gd name="T72" fmla="*/ 17 w 103"/>
                <a:gd name="T73" fmla="*/ 68 h 105"/>
                <a:gd name="T74" fmla="*/ 17 w 103"/>
                <a:gd name="T75" fmla="*/ 71 h 105"/>
                <a:gd name="T76" fmla="*/ 22 w 103"/>
                <a:gd name="T77" fmla="*/ 77 h 105"/>
                <a:gd name="T78" fmla="*/ 24 w 103"/>
                <a:gd name="T79" fmla="*/ 83 h 105"/>
                <a:gd name="T80" fmla="*/ 26 w 103"/>
                <a:gd name="T81" fmla="*/ 98 h 105"/>
                <a:gd name="T82" fmla="*/ 32 w 103"/>
                <a:gd name="T83" fmla="*/ 103 h 105"/>
                <a:gd name="T84" fmla="*/ 39 w 103"/>
                <a:gd name="T85" fmla="*/ 103 h 105"/>
                <a:gd name="T86" fmla="*/ 45 w 103"/>
                <a:gd name="T87" fmla="*/ 105 h 105"/>
                <a:gd name="T88" fmla="*/ 45 w 103"/>
                <a:gd name="T89" fmla="*/ 105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3" h="105">
                  <a:moveTo>
                    <a:pt x="45" y="105"/>
                  </a:moveTo>
                  <a:lnTo>
                    <a:pt x="54" y="105"/>
                  </a:lnTo>
                  <a:lnTo>
                    <a:pt x="56" y="96"/>
                  </a:lnTo>
                  <a:lnTo>
                    <a:pt x="56" y="90"/>
                  </a:lnTo>
                  <a:lnTo>
                    <a:pt x="62" y="83"/>
                  </a:lnTo>
                  <a:lnTo>
                    <a:pt x="66" y="77"/>
                  </a:lnTo>
                  <a:lnTo>
                    <a:pt x="71" y="71"/>
                  </a:lnTo>
                  <a:lnTo>
                    <a:pt x="77" y="68"/>
                  </a:lnTo>
                  <a:lnTo>
                    <a:pt x="83" y="64"/>
                  </a:lnTo>
                  <a:lnTo>
                    <a:pt x="92" y="60"/>
                  </a:lnTo>
                  <a:lnTo>
                    <a:pt x="96" y="51"/>
                  </a:lnTo>
                  <a:lnTo>
                    <a:pt x="96" y="49"/>
                  </a:lnTo>
                  <a:lnTo>
                    <a:pt x="103" y="43"/>
                  </a:lnTo>
                  <a:lnTo>
                    <a:pt x="100" y="37"/>
                  </a:lnTo>
                  <a:lnTo>
                    <a:pt x="92" y="34"/>
                  </a:lnTo>
                  <a:lnTo>
                    <a:pt x="86" y="28"/>
                  </a:lnTo>
                  <a:lnTo>
                    <a:pt x="79" y="26"/>
                  </a:lnTo>
                  <a:lnTo>
                    <a:pt x="73" y="20"/>
                  </a:lnTo>
                  <a:lnTo>
                    <a:pt x="68" y="15"/>
                  </a:lnTo>
                  <a:lnTo>
                    <a:pt x="60" y="9"/>
                  </a:lnTo>
                  <a:lnTo>
                    <a:pt x="39" y="7"/>
                  </a:lnTo>
                  <a:lnTo>
                    <a:pt x="30" y="5"/>
                  </a:lnTo>
                  <a:lnTo>
                    <a:pt x="22" y="7"/>
                  </a:lnTo>
                  <a:lnTo>
                    <a:pt x="15" y="5"/>
                  </a:lnTo>
                  <a:lnTo>
                    <a:pt x="7" y="0"/>
                  </a:lnTo>
                  <a:lnTo>
                    <a:pt x="2" y="0"/>
                  </a:lnTo>
                  <a:lnTo>
                    <a:pt x="0" y="9"/>
                  </a:lnTo>
                  <a:lnTo>
                    <a:pt x="2" y="15"/>
                  </a:lnTo>
                  <a:lnTo>
                    <a:pt x="11" y="22"/>
                  </a:lnTo>
                  <a:lnTo>
                    <a:pt x="9" y="28"/>
                  </a:lnTo>
                  <a:lnTo>
                    <a:pt x="7" y="37"/>
                  </a:lnTo>
                  <a:lnTo>
                    <a:pt x="7" y="37"/>
                  </a:lnTo>
                  <a:lnTo>
                    <a:pt x="0" y="45"/>
                  </a:lnTo>
                  <a:lnTo>
                    <a:pt x="0" y="51"/>
                  </a:lnTo>
                  <a:lnTo>
                    <a:pt x="7" y="58"/>
                  </a:lnTo>
                  <a:lnTo>
                    <a:pt x="11" y="62"/>
                  </a:lnTo>
                  <a:lnTo>
                    <a:pt x="17" y="68"/>
                  </a:lnTo>
                  <a:lnTo>
                    <a:pt x="17" y="71"/>
                  </a:lnTo>
                  <a:lnTo>
                    <a:pt x="22" y="77"/>
                  </a:lnTo>
                  <a:lnTo>
                    <a:pt x="24" y="83"/>
                  </a:lnTo>
                  <a:lnTo>
                    <a:pt x="26" y="98"/>
                  </a:lnTo>
                  <a:lnTo>
                    <a:pt x="32" y="103"/>
                  </a:lnTo>
                  <a:lnTo>
                    <a:pt x="39" y="103"/>
                  </a:lnTo>
                  <a:lnTo>
                    <a:pt x="45" y="105"/>
                  </a:lnTo>
                  <a:lnTo>
                    <a:pt x="45" y="105"/>
                  </a:lnTo>
                </a:path>
              </a:pathLst>
            </a:custGeom>
            <a:noFill/>
            <a:ln w="3175"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sp>
        <p:nvSpPr>
          <p:cNvPr id="1168" name="Freeform 975"/>
          <p:cNvSpPr>
            <a:spLocks/>
          </p:cNvSpPr>
          <p:nvPr/>
        </p:nvSpPr>
        <p:spPr bwMode="auto">
          <a:xfrm>
            <a:off x="606425" y="2476621"/>
            <a:ext cx="1149350" cy="1930400"/>
          </a:xfrm>
          <a:custGeom>
            <a:avLst/>
            <a:gdLst>
              <a:gd name="T0" fmla="*/ 59 w 724"/>
              <a:gd name="T1" fmla="*/ 36 h 1216"/>
              <a:gd name="T2" fmla="*/ 63 w 724"/>
              <a:gd name="T3" fmla="*/ 0 h 1216"/>
              <a:gd name="T4" fmla="*/ 338 w 724"/>
              <a:gd name="T5" fmla="*/ 343 h 1216"/>
              <a:gd name="T6" fmla="*/ 692 w 724"/>
              <a:gd name="T7" fmla="*/ 971 h 1216"/>
              <a:gd name="T8" fmla="*/ 704 w 724"/>
              <a:gd name="T9" fmla="*/ 1009 h 1216"/>
              <a:gd name="T10" fmla="*/ 724 w 724"/>
              <a:gd name="T11" fmla="*/ 1048 h 1216"/>
              <a:gd name="T12" fmla="*/ 683 w 724"/>
              <a:gd name="T13" fmla="*/ 1080 h 1216"/>
              <a:gd name="T14" fmla="*/ 672 w 724"/>
              <a:gd name="T15" fmla="*/ 1122 h 1216"/>
              <a:gd name="T16" fmla="*/ 651 w 724"/>
              <a:gd name="T17" fmla="*/ 1158 h 1216"/>
              <a:gd name="T18" fmla="*/ 657 w 724"/>
              <a:gd name="T19" fmla="*/ 1182 h 1216"/>
              <a:gd name="T20" fmla="*/ 657 w 724"/>
              <a:gd name="T21" fmla="*/ 1210 h 1216"/>
              <a:gd name="T22" fmla="*/ 640 w 724"/>
              <a:gd name="T23" fmla="*/ 1214 h 1216"/>
              <a:gd name="T24" fmla="*/ 410 w 724"/>
              <a:gd name="T25" fmla="*/ 1182 h 1216"/>
              <a:gd name="T26" fmla="*/ 406 w 724"/>
              <a:gd name="T27" fmla="*/ 1169 h 1216"/>
              <a:gd name="T28" fmla="*/ 408 w 724"/>
              <a:gd name="T29" fmla="*/ 1139 h 1216"/>
              <a:gd name="T30" fmla="*/ 372 w 724"/>
              <a:gd name="T31" fmla="*/ 1063 h 1216"/>
              <a:gd name="T32" fmla="*/ 344 w 724"/>
              <a:gd name="T33" fmla="*/ 1033 h 1216"/>
              <a:gd name="T34" fmla="*/ 325 w 724"/>
              <a:gd name="T35" fmla="*/ 1026 h 1216"/>
              <a:gd name="T36" fmla="*/ 319 w 724"/>
              <a:gd name="T37" fmla="*/ 997 h 1216"/>
              <a:gd name="T38" fmla="*/ 259 w 724"/>
              <a:gd name="T39" fmla="*/ 954 h 1216"/>
              <a:gd name="T40" fmla="*/ 219 w 724"/>
              <a:gd name="T41" fmla="*/ 931 h 1216"/>
              <a:gd name="T42" fmla="*/ 185 w 724"/>
              <a:gd name="T43" fmla="*/ 914 h 1216"/>
              <a:gd name="T44" fmla="*/ 146 w 724"/>
              <a:gd name="T45" fmla="*/ 894 h 1216"/>
              <a:gd name="T46" fmla="*/ 155 w 724"/>
              <a:gd name="T47" fmla="*/ 865 h 1216"/>
              <a:gd name="T48" fmla="*/ 157 w 724"/>
              <a:gd name="T49" fmla="*/ 824 h 1216"/>
              <a:gd name="T50" fmla="*/ 151 w 724"/>
              <a:gd name="T51" fmla="*/ 803 h 1216"/>
              <a:gd name="T52" fmla="*/ 123 w 724"/>
              <a:gd name="T53" fmla="*/ 760 h 1216"/>
              <a:gd name="T54" fmla="*/ 110 w 724"/>
              <a:gd name="T55" fmla="*/ 715 h 1216"/>
              <a:gd name="T56" fmla="*/ 85 w 724"/>
              <a:gd name="T57" fmla="*/ 673 h 1216"/>
              <a:gd name="T58" fmla="*/ 104 w 724"/>
              <a:gd name="T59" fmla="*/ 630 h 1216"/>
              <a:gd name="T60" fmla="*/ 91 w 724"/>
              <a:gd name="T61" fmla="*/ 600 h 1216"/>
              <a:gd name="T62" fmla="*/ 68 w 724"/>
              <a:gd name="T63" fmla="*/ 558 h 1216"/>
              <a:gd name="T64" fmla="*/ 68 w 724"/>
              <a:gd name="T65" fmla="*/ 524 h 1216"/>
              <a:gd name="T66" fmla="*/ 85 w 724"/>
              <a:gd name="T67" fmla="*/ 496 h 1216"/>
              <a:gd name="T68" fmla="*/ 83 w 724"/>
              <a:gd name="T69" fmla="*/ 522 h 1216"/>
              <a:gd name="T70" fmla="*/ 108 w 724"/>
              <a:gd name="T71" fmla="*/ 543 h 1216"/>
              <a:gd name="T72" fmla="*/ 95 w 724"/>
              <a:gd name="T73" fmla="*/ 505 h 1216"/>
              <a:gd name="T74" fmla="*/ 93 w 724"/>
              <a:gd name="T75" fmla="*/ 477 h 1216"/>
              <a:gd name="T76" fmla="*/ 125 w 724"/>
              <a:gd name="T77" fmla="*/ 479 h 1216"/>
              <a:gd name="T78" fmla="*/ 172 w 724"/>
              <a:gd name="T79" fmla="*/ 496 h 1216"/>
              <a:gd name="T80" fmla="*/ 146 w 724"/>
              <a:gd name="T81" fmla="*/ 485 h 1216"/>
              <a:gd name="T82" fmla="*/ 134 w 724"/>
              <a:gd name="T83" fmla="*/ 481 h 1216"/>
              <a:gd name="T84" fmla="*/ 108 w 724"/>
              <a:gd name="T85" fmla="*/ 473 h 1216"/>
              <a:gd name="T86" fmla="*/ 85 w 724"/>
              <a:gd name="T87" fmla="*/ 468 h 1216"/>
              <a:gd name="T88" fmla="*/ 78 w 724"/>
              <a:gd name="T89" fmla="*/ 494 h 1216"/>
              <a:gd name="T90" fmla="*/ 57 w 724"/>
              <a:gd name="T91" fmla="*/ 466 h 1216"/>
              <a:gd name="T92" fmla="*/ 49 w 724"/>
              <a:gd name="T93" fmla="*/ 449 h 1216"/>
              <a:gd name="T94" fmla="*/ 46 w 724"/>
              <a:gd name="T95" fmla="*/ 426 h 1216"/>
              <a:gd name="T96" fmla="*/ 44 w 724"/>
              <a:gd name="T97" fmla="*/ 413 h 1216"/>
              <a:gd name="T98" fmla="*/ 23 w 724"/>
              <a:gd name="T99" fmla="*/ 370 h 1216"/>
              <a:gd name="T100" fmla="*/ 14 w 724"/>
              <a:gd name="T101" fmla="*/ 324 h 1216"/>
              <a:gd name="T102" fmla="*/ 25 w 724"/>
              <a:gd name="T103" fmla="*/ 264 h 1216"/>
              <a:gd name="T104" fmla="*/ 19 w 724"/>
              <a:gd name="T105" fmla="*/ 221 h 1216"/>
              <a:gd name="T106" fmla="*/ 2 w 724"/>
              <a:gd name="T107" fmla="*/ 179 h 1216"/>
              <a:gd name="T108" fmla="*/ 19 w 724"/>
              <a:gd name="T109" fmla="*/ 136 h 1216"/>
              <a:gd name="T110" fmla="*/ 34 w 724"/>
              <a:gd name="T111" fmla="*/ 119 h 1216"/>
              <a:gd name="T112" fmla="*/ 57 w 724"/>
              <a:gd name="T113" fmla="*/ 6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4" h="1216">
                <a:moveTo>
                  <a:pt x="57" y="66"/>
                </a:moveTo>
                <a:lnTo>
                  <a:pt x="59" y="53"/>
                </a:lnTo>
                <a:lnTo>
                  <a:pt x="61" y="51"/>
                </a:lnTo>
                <a:lnTo>
                  <a:pt x="59" y="36"/>
                </a:lnTo>
                <a:lnTo>
                  <a:pt x="61" y="30"/>
                </a:lnTo>
                <a:lnTo>
                  <a:pt x="55" y="21"/>
                </a:lnTo>
                <a:lnTo>
                  <a:pt x="59" y="15"/>
                </a:lnTo>
                <a:lnTo>
                  <a:pt x="63" y="0"/>
                </a:lnTo>
                <a:lnTo>
                  <a:pt x="68" y="0"/>
                </a:lnTo>
                <a:lnTo>
                  <a:pt x="249" y="49"/>
                </a:lnTo>
                <a:lnTo>
                  <a:pt x="400" y="89"/>
                </a:lnTo>
                <a:lnTo>
                  <a:pt x="338" y="343"/>
                </a:lnTo>
                <a:lnTo>
                  <a:pt x="321" y="417"/>
                </a:lnTo>
                <a:lnTo>
                  <a:pt x="583" y="801"/>
                </a:lnTo>
                <a:lnTo>
                  <a:pt x="694" y="965"/>
                </a:lnTo>
                <a:lnTo>
                  <a:pt x="692" y="971"/>
                </a:lnTo>
                <a:lnTo>
                  <a:pt x="692" y="977"/>
                </a:lnTo>
                <a:lnTo>
                  <a:pt x="700" y="994"/>
                </a:lnTo>
                <a:lnTo>
                  <a:pt x="702" y="1003"/>
                </a:lnTo>
                <a:lnTo>
                  <a:pt x="704" y="1009"/>
                </a:lnTo>
                <a:lnTo>
                  <a:pt x="706" y="1018"/>
                </a:lnTo>
                <a:lnTo>
                  <a:pt x="706" y="1026"/>
                </a:lnTo>
                <a:lnTo>
                  <a:pt x="719" y="1041"/>
                </a:lnTo>
                <a:lnTo>
                  <a:pt x="724" y="1048"/>
                </a:lnTo>
                <a:lnTo>
                  <a:pt x="719" y="1054"/>
                </a:lnTo>
                <a:lnTo>
                  <a:pt x="694" y="1067"/>
                </a:lnTo>
                <a:lnTo>
                  <a:pt x="689" y="1075"/>
                </a:lnTo>
                <a:lnTo>
                  <a:pt x="683" y="1080"/>
                </a:lnTo>
                <a:lnTo>
                  <a:pt x="681" y="1092"/>
                </a:lnTo>
                <a:lnTo>
                  <a:pt x="679" y="1105"/>
                </a:lnTo>
                <a:lnTo>
                  <a:pt x="675" y="1114"/>
                </a:lnTo>
                <a:lnTo>
                  <a:pt x="672" y="1122"/>
                </a:lnTo>
                <a:lnTo>
                  <a:pt x="660" y="1137"/>
                </a:lnTo>
                <a:lnTo>
                  <a:pt x="653" y="1144"/>
                </a:lnTo>
                <a:lnTo>
                  <a:pt x="649" y="1150"/>
                </a:lnTo>
                <a:lnTo>
                  <a:pt x="651" y="1158"/>
                </a:lnTo>
                <a:lnTo>
                  <a:pt x="651" y="1165"/>
                </a:lnTo>
                <a:lnTo>
                  <a:pt x="647" y="1173"/>
                </a:lnTo>
                <a:lnTo>
                  <a:pt x="649" y="1180"/>
                </a:lnTo>
                <a:lnTo>
                  <a:pt x="657" y="1182"/>
                </a:lnTo>
                <a:lnTo>
                  <a:pt x="664" y="1186"/>
                </a:lnTo>
                <a:lnTo>
                  <a:pt x="664" y="1193"/>
                </a:lnTo>
                <a:lnTo>
                  <a:pt x="664" y="1205"/>
                </a:lnTo>
                <a:lnTo>
                  <a:pt x="657" y="1210"/>
                </a:lnTo>
                <a:lnTo>
                  <a:pt x="655" y="1216"/>
                </a:lnTo>
                <a:lnTo>
                  <a:pt x="647" y="1216"/>
                </a:lnTo>
                <a:lnTo>
                  <a:pt x="645" y="1214"/>
                </a:lnTo>
                <a:lnTo>
                  <a:pt x="640" y="1214"/>
                </a:lnTo>
                <a:lnTo>
                  <a:pt x="638" y="1214"/>
                </a:lnTo>
                <a:lnTo>
                  <a:pt x="415" y="1193"/>
                </a:lnTo>
                <a:lnTo>
                  <a:pt x="413" y="1190"/>
                </a:lnTo>
                <a:lnTo>
                  <a:pt x="410" y="1182"/>
                </a:lnTo>
                <a:lnTo>
                  <a:pt x="406" y="1173"/>
                </a:lnTo>
                <a:lnTo>
                  <a:pt x="410" y="1182"/>
                </a:lnTo>
                <a:lnTo>
                  <a:pt x="413" y="1173"/>
                </a:lnTo>
                <a:lnTo>
                  <a:pt x="406" y="1169"/>
                </a:lnTo>
                <a:lnTo>
                  <a:pt x="404" y="1176"/>
                </a:lnTo>
                <a:lnTo>
                  <a:pt x="404" y="1167"/>
                </a:lnTo>
                <a:lnTo>
                  <a:pt x="406" y="1152"/>
                </a:lnTo>
                <a:lnTo>
                  <a:pt x="408" y="1139"/>
                </a:lnTo>
                <a:lnTo>
                  <a:pt x="406" y="1124"/>
                </a:lnTo>
                <a:lnTo>
                  <a:pt x="402" y="1107"/>
                </a:lnTo>
                <a:lnTo>
                  <a:pt x="396" y="1092"/>
                </a:lnTo>
                <a:lnTo>
                  <a:pt x="372" y="1063"/>
                </a:lnTo>
                <a:lnTo>
                  <a:pt x="364" y="1056"/>
                </a:lnTo>
                <a:lnTo>
                  <a:pt x="359" y="1050"/>
                </a:lnTo>
                <a:lnTo>
                  <a:pt x="351" y="1037"/>
                </a:lnTo>
                <a:lnTo>
                  <a:pt x="344" y="1033"/>
                </a:lnTo>
                <a:lnTo>
                  <a:pt x="336" y="1033"/>
                </a:lnTo>
                <a:lnTo>
                  <a:pt x="334" y="1037"/>
                </a:lnTo>
                <a:lnTo>
                  <a:pt x="325" y="1033"/>
                </a:lnTo>
                <a:lnTo>
                  <a:pt x="325" y="1026"/>
                </a:lnTo>
                <a:lnTo>
                  <a:pt x="327" y="1018"/>
                </a:lnTo>
                <a:lnTo>
                  <a:pt x="327" y="1012"/>
                </a:lnTo>
                <a:lnTo>
                  <a:pt x="321" y="997"/>
                </a:lnTo>
                <a:lnTo>
                  <a:pt x="319" y="997"/>
                </a:lnTo>
                <a:lnTo>
                  <a:pt x="291" y="990"/>
                </a:lnTo>
                <a:lnTo>
                  <a:pt x="276" y="982"/>
                </a:lnTo>
                <a:lnTo>
                  <a:pt x="261" y="969"/>
                </a:lnTo>
                <a:lnTo>
                  <a:pt x="259" y="954"/>
                </a:lnTo>
                <a:lnTo>
                  <a:pt x="251" y="948"/>
                </a:lnTo>
                <a:lnTo>
                  <a:pt x="247" y="941"/>
                </a:lnTo>
                <a:lnTo>
                  <a:pt x="234" y="933"/>
                </a:lnTo>
                <a:lnTo>
                  <a:pt x="219" y="931"/>
                </a:lnTo>
                <a:lnTo>
                  <a:pt x="212" y="928"/>
                </a:lnTo>
                <a:lnTo>
                  <a:pt x="200" y="918"/>
                </a:lnTo>
                <a:lnTo>
                  <a:pt x="191" y="916"/>
                </a:lnTo>
                <a:lnTo>
                  <a:pt x="185" y="914"/>
                </a:lnTo>
                <a:lnTo>
                  <a:pt x="163" y="911"/>
                </a:lnTo>
                <a:lnTo>
                  <a:pt x="157" y="903"/>
                </a:lnTo>
                <a:lnTo>
                  <a:pt x="153" y="897"/>
                </a:lnTo>
                <a:lnTo>
                  <a:pt x="146" y="894"/>
                </a:lnTo>
                <a:lnTo>
                  <a:pt x="149" y="886"/>
                </a:lnTo>
                <a:lnTo>
                  <a:pt x="153" y="879"/>
                </a:lnTo>
                <a:lnTo>
                  <a:pt x="151" y="871"/>
                </a:lnTo>
                <a:lnTo>
                  <a:pt x="155" y="865"/>
                </a:lnTo>
                <a:lnTo>
                  <a:pt x="155" y="850"/>
                </a:lnTo>
                <a:lnTo>
                  <a:pt x="161" y="839"/>
                </a:lnTo>
                <a:lnTo>
                  <a:pt x="161" y="833"/>
                </a:lnTo>
                <a:lnTo>
                  <a:pt x="157" y="824"/>
                </a:lnTo>
                <a:lnTo>
                  <a:pt x="149" y="822"/>
                </a:lnTo>
                <a:lnTo>
                  <a:pt x="144" y="816"/>
                </a:lnTo>
                <a:lnTo>
                  <a:pt x="144" y="807"/>
                </a:lnTo>
                <a:lnTo>
                  <a:pt x="151" y="803"/>
                </a:lnTo>
                <a:lnTo>
                  <a:pt x="149" y="794"/>
                </a:lnTo>
                <a:lnTo>
                  <a:pt x="136" y="781"/>
                </a:lnTo>
                <a:lnTo>
                  <a:pt x="132" y="767"/>
                </a:lnTo>
                <a:lnTo>
                  <a:pt x="123" y="760"/>
                </a:lnTo>
                <a:lnTo>
                  <a:pt x="121" y="752"/>
                </a:lnTo>
                <a:lnTo>
                  <a:pt x="119" y="745"/>
                </a:lnTo>
                <a:lnTo>
                  <a:pt x="112" y="730"/>
                </a:lnTo>
                <a:lnTo>
                  <a:pt x="110" y="715"/>
                </a:lnTo>
                <a:lnTo>
                  <a:pt x="104" y="709"/>
                </a:lnTo>
                <a:lnTo>
                  <a:pt x="100" y="696"/>
                </a:lnTo>
                <a:lnTo>
                  <a:pt x="89" y="681"/>
                </a:lnTo>
                <a:lnTo>
                  <a:pt x="85" y="673"/>
                </a:lnTo>
                <a:lnTo>
                  <a:pt x="87" y="658"/>
                </a:lnTo>
                <a:lnTo>
                  <a:pt x="87" y="643"/>
                </a:lnTo>
                <a:lnTo>
                  <a:pt x="102" y="637"/>
                </a:lnTo>
                <a:lnTo>
                  <a:pt x="104" y="630"/>
                </a:lnTo>
                <a:lnTo>
                  <a:pt x="108" y="630"/>
                </a:lnTo>
                <a:lnTo>
                  <a:pt x="108" y="615"/>
                </a:lnTo>
                <a:lnTo>
                  <a:pt x="104" y="600"/>
                </a:lnTo>
                <a:lnTo>
                  <a:pt x="91" y="600"/>
                </a:lnTo>
                <a:lnTo>
                  <a:pt x="83" y="594"/>
                </a:lnTo>
                <a:lnTo>
                  <a:pt x="70" y="573"/>
                </a:lnTo>
                <a:lnTo>
                  <a:pt x="68" y="564"/>
                </a:lnTo>
                <a:lnTo>
                  <a:pt x="68" y="558"/>
                </a:lnTo>
                <a:lnTo>
                  <a:pt x="70" y="554"/>
                </a:lnTo>
                <a:lnTo>
                  <a:pt x="72" y="547"/>
                </a:lnTo>
                <a:lnTo>
                  <a:pt x="72" y="532"/>
                </a:lnTo>
                <a:lnTo>
                  <a:pt x="68" y="524"/>
                </a:lnTo>
                <a:lnTo>
                  <a:pt x="74" y="511"/>
                </a:lnTo>
                <a:lnTo>
                  <a:pt x="74" y="502"/>
                </a:lnTo>
                <a:lnTo>
                  <a:pt x="78" y="496"/>
                </a:lnTo>
                <a:lnTo>
                  <a:pt x="85" y="496"/>
                </a:lnTo>
                <a:lnTo>
                  <a:pt x="87" y="500"/>
                </a:lnTo>
                <a:lnTo>
                  <a:pt x="87" y="507"/>
                </a:lnTo>
                <a:lnTo>
                  <a:pt x="83" y="515"/>
                </a:lnTo>
                <a:lnTo>
                  <a:pt x="83" y="522"/>
                </a:lnTo>
                <a:lnTo>
                  <a:pt x="89" y="526"/>
                </a:lnTo>
                <a:lnTo>
                  <a:pt x="93" y="534"/>
                </a:lnTo>
                <a:lnTo>
                  <a:pt x="100" y="543"/>
                </a:lnTo>
                <a:lnTo>
                  <a:pt x="108" y="543"/>
                </a:lnTo>
                <a:lnTo>
                  <a:pt x="102" y="537"/>
                </a:lnTo>
                <a:lnTo>
                  <a:pt x="102" y="522"/>
                </a:lnTo>
                <a:lnTo>
                  <a:pt x="100" y="509"/>
                </a:lnTo>
                <a:lnTo>
                  <a:pt x="95" y="505"/>
                </a:lnTo>
                <a:lnTo>
                  <a:pt x="93" y="498"/>
                </a:lnTo>
                <a:lnTo>
                  <a:pt x="95" y="492"/>
                </a:lnTo>
                <a:lnTo>
                  <a:pt x="91" y="483"/>
                </a:lnTo>
                <a:lnTo>
                  <a:pt x="93" y="477"/>
                </a:lnTo>
                <a:lnTo>
                  <a:pt x="102" y="477"/>
                </a:lnTo>
                <a:lnTo>
                  <a:pt x="108" y="473"/>
                </a:lnTo>
                <a:lnTo>
                  <a:pt x="115" y="479"/>
                </a:lnTo>
                <a:lnTo>
                  <a:pt x="125" y="479"/>
                </a:lnTo>
                <a:lnTo>
                  <a:pt x="146" y="490"/>
                </a:lnTo>
                <a:lnTo>
                  <a:pt x="161" y="483"/>
                </a:lnTo>
                <a:lnTo>
                  <a:pt x="172" y="498"/>
                </a:lnTo>
                <a:lnTo>
                  <a:pt x="172" y="496"/>
                </a:lnTo>
                <a:lnTo>
                  <a:pt x="168" y="490"/>
                </a:lnTo>
                <a:lnTo>
                  <a:pt x="161" y="483"/>
                </a:lnTo>
                <a:lnTo>
                  <a:pt x="153" y="485"/>
                </a:lnTo>
                <a:lnTo>
                  <a:pt x="146" y="485"/>
                </a:lnTo>
                <a:lnTo>
                  <a:pt x="153" y="481"/>
                </a:lnTo>
                <a:lnTo>
                  <a:pt x="155" y="477"/>
                </a:lnTo>
                <a:lnTo>
                  <a:pt x="149" y="481"/>
                </a:lnTo>
                <a:lnTo>
                  <a:pt x="134" y="481"/>
                </a:lnTo>
                <a:lnTo>
                  <a:pt x="127" y="475"/>
                </a:lnTo>
                <a:lnTo>
                  <a:pt x="121" y="473"/>
                </a:lnTo>
                <a:lnTo>
                  <a:pt x="115" y="477"/>
                </a:lnTo>
                <a:lnTo>
                  <a:pt x="108" y="473"/>
                </a:lnTo>
                <a:lnTo>
                  <a:pt x="102" y="466"/>
                </a:lnTo>
                <a:lnTo>
                  <a:pt x="95" y="460"/>
                </a:lnTo>
                <a:lnTo>
                  <a:pt x="89" y="462"/>
                </a:lnTo>
                <a:lnTo>
                  <a:pt x="85" y="468"/>
                </a:lnTo>
                <a:lnTo>
                  <a:pt x="87" y="477"/>
                </a:lnTo>
                <a:lnTo>
                  <a:pt x="80" y="481"/>
                </a:lnTo>
                <a:lnTo>
                  <a:pt x="85" y="490"/>
                </a:lnTo>
                <a:lnTo>
                  <a:pt x="78" y="494"/>
                </a:lnTo>
                <a:lnTo>
                  <a:pt x="70" y="488"/>
                </a:lnTo>
                <a:lnTo>
                  <a:pt x="66" y="479"/>
                </a:lnTo>
                <a:lnTo>
                  <a:pt x="59" y="475"/>
                </a:lnTo>
                <a:lnTo>
                  <a:pt x="57" y="466"/>
                </a:lnTo>
                <a:lnTo>
                  <a:pt x="49" y="460"/>
                </a:lnTo>
                <a:lnTo>
                  <a:pt x="42" y="464"/>
                </a:lnTo>
                <a:lnTo>
                  <a:pt x="44" y="456"/>
                </a:lnTo>
                <a:lnTo>
                  <a:pt x="49" y="449"/>
                </a:lnTo>
                <a:lnTo>
                  <a:pt x="51" y="441"/>
                </a:lnTo>
                <a:lnTo>
                  <a:pt x="55" y="456"/>
                </a:lnTo>
                <a:lnTo>
                  <a:pt x="53" y="441"/>
                </a:lnTo>
                <a:lnTo>
                  <a:pt x="46" y="426"/>
                </a:lnTo>
                <a:lnTo>
                  <a:pt x="46" y="426"/>
                </a:lnTo>
                <a:lnTo>
                  <a:pt x="44" y="428"/>
                </a:lnTo>
                <a:lnTo>
                  <a:pt x="46" y="422"/>
                </a:lnTo>
                <a:lnTo>
                  <a:pt x="44" y="413"/>
                </a:lnTo>
                <a:lnTo>
                  <a:pt x="40" y="407"/>
                </a:lnTo>
                <a:lnTo>
                  <a:pt x="34" y="400"/>
                </a:lnTo>
                <a:lnTo>
                  <a:pt x="29" y="392"/>
                </a:lnTo>
                <a:lnTo>
                  <a:pt x="23" y="370"/>
                </a:lnTo>
                <a:lnTo>
                  <a:pt x="14" y="356"/>
                </a:lnTo>
                <a:lnTo>
                  <a:pt x="8" y="343"/>
                </a:lnTo>
                <a:lnTo>
                  <a:pt x="14" y="334"/>
                </a:lnTo>
                <a:lnTo>
                  <a:pt x="14" y="324"/>
                </a:lnTo>
                <a:lnTo>
                  <a:pt x="14" y="294"/>
                </a:lnTo>
                <a:lnTo>
                  <a:pt x="21" y="281"/>
                </a:lnTo>
                <a:lnTo>
                  <a:pt x="25" y="275"/>
                </a:lnTo>
                <a:lnTo>
                  <a:pt x="25" y="264"/>
                </a:lnTo>
                <a:lnTo>
                  <a:pt x="27" y="258"/>
                </a:lnTo>
                <a:lnTo>
                  <a:pt x="25" y="251"/>
                </a:lnTo>
                <a:lnTo>
                  <a:pt x="25" y="243"/>
                </a:lnTo>
                <a:lnTo>
                  <a:pt x="19" y="221"/>
                </a:lnTo>
                <a:lnTo>
                  <a:pt x="14" y="215"/>
                </a:lnTo>
                <a:lnTo>
                  <a:pt x="14" y="206"/>
                </a:lnTo>
                <a:lnTo>
                  <a:pt x="0" y="185"/>
                </a:lnTo>
                <a:lnTo>
                  <a:pt x="2" y="179"/>
                </a:lnTo>
                <a:lnTo>
                  <a:pt x="2" y="166"/>
                </a:lnTo>
                <a:lnTo>
                  <a:pt x="6" y="151"/>
                </a:lnTo>
                <a:lnTo>
                  <a:pt x="14" y="145"/>
                </a:lnTo>
                <a:lnTo>
                  <a:pt x="19" y="136"/>
                </a:lnTo>
                <a:lnTo>
                  <a:pt x="25" y="134"/>
                </a:lnTo>
                <a:lnTo>
                  <a:pt x="34" y="130"/>
                </a:lnTo>
                <a:lnTo>
                  <a:pt x="31" y="128"/>
                </a:lnTo>
                <a:lnTo>
                  <a:pt x="34" y="119"/>
                </a:lnTo>
                <a:lnTo>
                  <a:pt x="38" y="113"/>
                </a:lnTo>
                <a:lnTo>
                  <a:pt x="42" y="104"/>
                </a:lnTo>
                <a:lnTo>
                  <a:pt x="40" y="98"/>
                </a:lnTo>
                <a:lnTo>
                  <a:pt x="57" y="66"/>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69" name="Freeform 976"/>
          <p:cNvSpPr>
            <a:spLocks/>
          </p:cNvSpPr>
          <p:nvPr/>
        </p:nvSpPr>
        <p:spPr bwMode="auto">
          <a:xfrm>
            <a:off x="606425" y="2476621"/>
            <a:ext cx="1149350" cy="1930400"/>
          </a:xfrm>
          <a:custGeom>
            <a:avLst/>
            <a:gdLst>
              <a:gd name="T0" fmla="*/ 59 w 724"/>
              <a:gd name="T1" fmla="*/ 36 h 1216"/>
              <a:gd name="T2" fmla="*/ 63 w 724"/>
              <a:gd name="T3" fmla="*/ 0 h 1216"/>
              <a:gd name="T4" fmla="*/ 338 w 724"/>
              <a:gd name="T5" fmla="*/ 343 h 1216"/>
              <a:gd name="T6" fmla="*/ 692 w 724"/>
              <a:gd name="T7" fmla="*/ 971 h 1216"/>
              <a:gd name="T8" fmla="*/ 704 w 724"/>
              <a:gd name="T9" fmla="*/ 1009 h 1216"/>
              <a:gd name="T10" fmla="*/ 724 w 724"/>
              <a:gd name="T11" fmla="*/ 1048 h 1216"/>
              <a:gd name="T12" fmla="*/ 683 w 724"/>
              <a:gd name="T13" fmla="*/ 1080 h 1216"/>
              <a:gd name="T14" fmla="*/ 672 w 724"/>
              <a:gd name="T15" fmla="*/ 1122 h 1216"/>
              <a:gd name="T16" fmla="*/ 651 w 724"/>
              <a:gd name="T17" fmla="*/ 1158 h 1216"/>
              <a:gd name="T18" fmla="*/ 657 w 724"/>
              <a:gd name="T19" fmla="*/ 1182 h 1216"/>
              <a:gd name="T20" fmla="*/ 657 w 724"/>
              <a:gd name="T21" fmla="*/ 1210 h 1216"/>
              <a:gd name="T22" fmla="*/ 640 w 724"/>
              <a:gd name="T23" fmla="*/ 1214 h 1216"/>
              <a:gd name="T24" fmla="*/ 410 w 724"/>
              <a:gd name="T25" fmla="*/ 1182 h 1216"/>
              <a:gd name="T26" fmla="*/ 406 w 724"/>
              <a:gd name="T27" fmla="*/ 1169 h 1216"/>
              <a:gd name="T28" fmla="*/ 408 w 724"/>
              <a:gd name="T29" fmla="*/ 1139 h 1216"/>
              <a:gd name="T30" fmla="*/ 372 w 724"/>
              <a:gd name="T31" fmla="*/ 1063 h 1216"/>
              <a:gd name="T32" fmla="*/ 344 w 724"/>
              <a:gd name="T33" fmla="*/ 1033 h 1216"/>
              <a:gd name="T34" fmla="*/ 325 w 724"/>
              <a:gd name="T35" fmla="*/ 1026 h 1216"/>
              <a:gd name="T36" fmla="*/ 319 w 724"/>
              <a:gd name="T37" fmla="*/ 997 h 1216"/>
              <a:gd name="T38" fmla="*/ 259 w 724"/>
              <a:gd name="T39" fmla="*/ 954 h 1216"/>
              <a:gd name="T40" fmla="*/ 219 w 724"/>
              <a:gd name="T41" fmla="*/ 931 h 1216"/>
              <a:gd name="T42" fmla="*/ 185 w 724"/>
              <a:gd name="T43" fmla="*/ 914 h 1216"/>
              <a:gd name="T44" fmla="*/ 146 w 724"/>
              <a:gd name="T45" fmla="*/ 894 h 1216"/>
              <a:gd name="T46" fmla="*/ 155 w 724"/>
              <a:gd name="T47" fmla="*/ 865 h 1216"/>
              <a:gd name="T48" fmla="*/ 157 w 724"/>
              <a:gd name="T49" fmla="*/ 824 h 1216"/>
              <a:gd name="T50" fmla="*/ 151 w 724"/>
              <a:gd name="T51" fmla="*/ 803 h 1216"/>
              <a:gd name="T52" fmla="*/ 123 w 724"/>
              <a:gd name="T53" fmla="*/ 760 h 1216"/>
              <a:gd name="T54" fmla="*/ 110 w 724"/>
              <a:gd name="T55" fmla="*/ 715 h 1216"/>
              <a:gd name="T56" fmla="*/ 85 w 724"/>
              <a:gd name="T57" fmla="*/ 673 h 1216"/>
              <a:gd name="T58" fmla="*/ 104 w 724"/>
              <a:gd name="T59" fmla="*/ 630 h 1216"/>
              <a:gd name="T60" fmla="*/ 91 w 724"/>
              <a:gd name="T61" fmla="*/ 600 h 1216"/>
              <a:gd name="T62" fmla="*/ 68 w 724"/>
              <a:gd name="T63" fmla="*/ 558 h 1216"/>
              <a:gd name="T64" fmla="*/ 68 w 724"/>
              <a:gd name="T65" fmla="*/ 524 h 1216"/>
              <a:gd name="T66" fmla="*/ 85 w 724"/>
              <a:gd name="T67" fmla="*/ 496 h 1216"/>
              <a:gd name="T68" fmla="*/ 83 w 724"/>
              <a:gd name="T69" fmla="*/ 522 h 1216"/>
              <a:gd name="T70" fmla="*/ 108 w 724"/>
              <a:gd name="T71" fmla="*/ 543 h 1216"/>
              <a:gd name="T72" fmla="*/ 95 w 724"/>
              <a:gd name="T73" fmla="*/ 505 h 1216"/>
              <a:gd name="T74" fmla="*/ 93 w 724"/>
              <a:gd name="T75" fmla="*/ 477 h 1216"/>
              <a:gd name="T76" fmla="*/ 125 w 724"/>
              <a:gd name="T77" fmla="*/ 479 h 1216"/>
              <a:gd name="T78" fmla="*/ 172 w 724"/>
              <a:gd name="T79" fmla="*/ 496 h 1216"/>
              <a:gd name="T80" fmla="*/ 146 w 724"/>
              <a:gd name="T81" fmla="*/ 485 h 1216"/>
              <a:gd name="T82" fmla="*/ 134 w 724"/>
              <a:gd name="T83" fmla="*/ 481 h 1216"/>
              <a:gd name="T84" fmla="*/ 108 w 724"/>
              <a:gd name="T85" fmla="*/ 473 h 1216"/>
              <a:gd name="T86" fmla="*/ 85 w 724"/>
              <a:gd name="T87" fmla="*/ 468 h 1216"/>
              <a:gd name="T88" fmla="*/ 78 w 724"/>
              <a:gd name="T89" fmla="*/ 494 h 1216"/>
              <a:gd name="T90" fmla="*/ 57 w 724"/>
              <a:gd name="T91" fmla="*/ 466 h 1216"/>
              <a:gd name="T92" fmla="*/ 49 w 724"/>
              <a:gd name="T93" fmla="*/ 449 h 1216"/>
              <a:gd name="T94" fmla="*/ 46 w 724"/>
              <a:gd name="T95" fmla="*/ 426 h 1216"/>
              <a:gd name="T96" fmla="*/ 44 w 724"/>
              <a:gd name="T97" fmla="*/ 413 h 1216"/>
              <a:gd name="T98" fmla="*/ 23 w 724"/>
              <a:gd name="T99" fmla="*/ 370 h 1216"/>
              <a:gd name="T100" fmla="*/ 14 w 724"/>
              <a:gd name="T101" fmla="*/ 324 h 1216"/>
              <a:gd name="T102" fmla="*/ 25 w 724"/>
              <a:gd name="T103" fmla="*/ 264 h 1216"/>
              <a:gd name="T104" fmla="*/ 19 w 724"/>
              <a:gd name="T105" fmla="*/ 221 h 1216"/>
              <a:gd name="T106" fmla="*/ 2 w 724"/>
              <a:gd name="T107" fmla="*/ 179 h 1216"/>
              <a:gd name="T108" fmla="*/ 19 w 724"/>
              <a:gd name="T109" fmla="*/ 136 h 1216"/>
              <a:gd name="T110" fmla="*/ 34 w 724"/>
              <a:gd name="T111" fmla="*/ 119 h 1216"/>
              <a:gd name="T112" fmla="*/ 57 w 724"/>
              <a:gd name="T113" fmla="*/ 6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724" h="1216">
                <a:moveTo>
                  <a:pt x="57" y="66"/>
                </a:moveTo>
                <a:lnTo>
                  <a:pt x="59" y="53"/>
                </a:lnTo>
                <a:lnTo>
                  <a:pt x="61" y="51"/>
                </a:lnTo>
                <a:lnTo>
                  <a:pt x="59" y="36"/>
                </a:lnTo>
                <a:lnTo>
                  <a:pt x="61" y="30"/>
                </a:lnTo>
                <a:lnTo>
                  <a:pt x="55" y="21"/>
                </a:lnTo>
                <a:lnTo>
                  <a:pt x="59" y="15"/>
                </a:lnTo>
                <a:lnTo>
                  <a:pt x="63" y="0"/>
                </a:lnTo>
                <a:lnTo>
                  <a:pt x="68" y="0"/>
                </a:lnTo>
                <a:lnTo>
                  <a:pt x="249" y="49"/>
                </a:lnTo>
                <a:lnTo>
                  <a:pt x="400" y="89"/>
                </a:lnTo>
                <a:lnTo>
                  <a:pt x="338" y="343"/>
                </a:lnTo>
                <a:lnTo>
                  <a:pt x="321" y="417"/>
                </a:lnTo>
                <a:lnTo>
                  <a:pt x="583" y="801"/>
                </a:lnTo>
                <a:lnTo>
                  <a:pt x="694" y="965"/>
                </a:lnTo>
                <a:lnTo>
                  <a:pt x="692" y="971"/>
                </a:lnTo>
                <a:lnTo>
                  <a:pt x="692" y="977"/>
                </a:lnTo>
                <a:lnTo>
                  <a:pt x="700" y="994"/>
                </a:lnTo>
                <a:lnTo>
                  <a:pt x="702" y="1003"/>
                </a:lnTo>
                <a:lnTo>
                  <a:pt x="704" y="1009"/>
                </a:lnTo>
                <a:lnTo>
                  <a:pt x="706" y="1018"/>
                </a:lnTo>
                <a:lnTo>
                  <a:pt x="706" y="1026"/>
                </a:lnTo>
                <a:lnTo>
                  <a:pt x="719" y="1041"/>
                </a:lnTo>
                <a:lnTo>
                  <a:pt x="724" y="1048"/>
                </a:lnTo>
                <a:lnTo>
                  <a:pt x="719" y="1054"/>
                </a:lnTo>
                <a:lnTo>
                  <a:pt x="694" y="1067"/>
                </a:lnTo>
                <a:lnTo>
                  <a:pt x="689" y="1075"/>
                </a:lnTo>
                <a:lnTo>
                  <a:pt x="683" y="1080"/>
                </a:lnTo>
                <a:lnTo>
                  <a:pt x="681" y="1092"/>
                </a:lnTo>
                <a:lnTo>
                  <a:pt x="679" y="1105"/>
                </a:lnTo>
                <a:lnTo>
                  <a:pt x="675" y="1114"/>
                </a:lnTo>
                <a:lnTo>
                  <a:pt x="672" y="1122"/>
                </a:lnTo>
                <a:lnTo>
                  <a:pt x="660" y="1137"/>
                </a:lnTo>
                <a:lnTo>
                  <a:pt x="653" y="1144"/>
                </a:lnTo>
                <a:lnTo>
                  <a:pt x="649" y="1150"/>
                </a:lnTo>
                <a:lnTo>
                  <a:pt x="651" y="1158"/>
                </a:lnTo>
                <a:lnTo>
                  <a:pt x="651" y="1165"/>
                </a:lnTo>
                <a:lnTo>
                  <a:pt x="647" y="1173"/>
                </a:lnTo>
                <a:lnTo>
                  <a:pt x="649" y="1180"/>
                </a:lnTo>
                <a:lnTo>
                  <a:pt x="657" y="1182"/>
                </a:lnTo>
                <a:lnTo>
                  <a:pt x="664" y="1186"/>
                </a:lnTo>
                <a:lnTo>
                  <a:pt x="664" y="1193"/>
                </a:lnTo>
                <a:lnTo>
                  <a:pt x="664" y="1205"/>
                </a:lnTo>
                <a:lnTo>
                  <a:pt x="657" y="1210"/>
                </a:lnTo>
                <a:lnTo>
                  <a:pt x="655" y="1216"/>
                </a:lnTo>
                <a:lnTo>
                  <a:pt x="647" y="1216"/>
                </a:lnTo>
                <a:lnTo>
                  <a:pt x="645" y="1214"/>
                </a:lnTo>
                <a:lnTo>
                  <a:pt x="640" y="1214"/>
                </a:lnTo>
                <a:lnTo>
                  <a:pt x="638" y="1214"/>
                </a:lnTo>
                <a:lnTo>
                  <a:pt x="415" y="1193"/>
                </a:lnTo>
                <a:lnTo>
                  <a:pt x="413" y="1190"/>
                </a:lnTo>
                <a:lnTo>
                  <a:pt x="410" y="1182"/>
                </a:lnTo>
                <a:lnTo>
                  <a:pt x="406" y="1173"/>
                </a:lnTo>
                <a:lnTo>
                  <a:pt x="410" y="1182"/>
                </a:lnTo>
                <a:lnTo>
                  <a:pt x="413" y="1173"/>
                </a:lnTo>
                <a:lnTo>
                  <a:pt x="406" y="1169"/>
                </a:lnTo>
                <a:lnTo>
                  <a:pt x="404" y="1176"/>
                </a:lnTo>
                <a:lnTo>
                  <a:pt x="404" y="1167"/>
                </a:lnTo>
                <a:lnTo>
                  <a:pt x="406" y="1152"/>
                </a:lnTo>
                <a:lnTo>
                  <a:pt x="408" y="1139"/>
                </a:lnTo>
                <a:lnTo>
                  <a:pt x="406" y="1124"/>
                </a:lnTo>
                <a:lnTo>
                  <a:pt x="402" y="1107"/>
                </a:lnTo>
                <a:lnTo>
                  <a:pt x="396" y="1092"/>
                </a:lnTo>
                <a:lnTo>
                  <a:pt x="372" y="1063"/>
                </a:lnTo>
                <a:lnTo>
                  <a:pt x="364" y="1056"/>
                </a:lnTo>
                <a:lnTo>
                  <a:pt x="359" y="1050"/>
                </a:lnTo>
                <a:lnTo>
                  <a:pt x="351" y="1037"/>
                </a:lnTo>
                <a:lnTo>
                  <a:pt x="344" y="1033"/>
                </a:lnTo>
                <a:lnTo>
                  <a:pt x="336" y="1033"/>
                </a:lnTo>
                <a:lnTo>
                  <a:pt x="334" y="1037"/>
                </a:lnTo>
                <a:lnTo>
                  <a:pt x="325" y="1033"/>
                </a:lnTo>
                <a:lnTo>
                  <a:pt x="325" y="1026"/>
                </a:lnTo>
                <a:lnTo>
                  <a:pt x="327" y="1018"/>
                </a:lnTo>
                <a:lnTo>
                  <a:pt x="327" y="1012"/>
                </a:lnTo>
                <a:lnTo>
                  <a:pt x="321" y="997"/>
                </a:lnTo>
                <a:lnTo>
                  <a:pt x="319" y="997"/>
                </a:lnTo>
                <a:lnTo>
                  <a:pt x="291" y="990"/>
                </a:lnTo>
                <a:lnTo>
                  <a:pt x="276" y="982"/>
                </a:lnTo>
                <a:lnTo>
                  <a:pt x="261" y="969"/>
                </a:lnTo>
                <a:lnTo>
                  <a:pt x="259" y="954"/>
                </a:lnTo>
                <a:lnTo>
                  <a:pt x="251" y="948"/>
                </a:lnTo>
                <a:lnTo>
                  <a:pt x="247" y="941"/>
                </a:lnTo>
                <a:lnTo>
                  <a:pt x="234" y="933"/>
                </a:lnTo>
                <a:lnTo>
                  <a:pt x="219" y="931"/>
                </a:lnTo>
                <a:lnTo>
                  <a:pt x="212" y="928"/>
                </a:lnTo>
                <a:lnTo>
                  <a:pt x="200" y="918"/>
                </a:lnTo>
                <a:lnTo>
                  <a:pt x="191" y="916"/>
                </a:lnTo>
                <a:lnTo>
                  <a:pt x="185" y="914"/>
                </a:lnTo>
                <a:lnTo>
                  <a:pt x="163" y="911"/>
                </a:lnTo>
                <a:lnTo>
                  <a:pt x="157" y="903"/>
                </a:lnTo>
                <a:lnTo>
                  <a:pt x="153" y="897"/>
                </a:lnTo>
                <a:lnTo>
                  <a:pt x="146" y="894"/>
                </a:lnTo>
                <a:lnTo>
                  <a:pt x="149" y="886"/>
                </a:lnTo>
                <a:lnTo>
                  <a:pt x="153" y="879"/>
                </a:lnTo>
                <a:lnTo>
                  <a:pt x="151" y="871"/>
                </a:lnTo>
                <a:lnTo>
                  <a:pt x="155" y="865"/>
                </a:lnTo>
                <a:lnTo>
                  <a:pt x="155" y="850"/>
                </a:lnTo>
                <a:lnTo>
                  <a:pt x="161" y="839"/>
                </a:lnTo>
                <a:lnTo>
                  <a:pt x="161" y="833"/>
                </a:lnTo>
                <a:lnTo>
                  <a:pt x="157" y="824"/>
                </a:lnTo>
                <a:lnTo>
                  <a:pt x="149" y="822"/>
                </a:lnTo>
                <a:lnTo>
                  <a:pt x="144" y="816"/>
                </a:lnTo>
                <a:lnTo>
                  <a:pt x="144" y="807"/>
                </a:lnTo>
                <a:lnTo>
                  <a:pt x="151" y="803"/>
                </a:lnTo>
                <a:lnTo>
                  <a:pt x="149" y="794"/>
                </a:lnTo>
                <a:lnTo>
                  <a:pt x="136" y="781"/>
                </a:lnTo>
                <a:lnTo>
                  <a:pt x="132" y="767"/>
                </a:lnTo>
                <a:lnTo>
                  <a:pt x="123" y="760"/>
                </a:lnTo>
                <a:lnTo>
                  <a:pt x="121" y="752"/>
                </a:lnTo>
                <a:lnTo>
                  <a:pt x="119" y="745"/>
                </a:lnTo>
                <a:lnTo>
                  <a:pt x="112" y="730"/>
                </a:lnTo>
                <a:lnTo>
                  <a:pt x="110" y="715"/>
                </a:lnTo>
                <a:lnTo>
                  <a:pt x="104" y="709"/>
                </a:lnTo>
                <a:lnTo>
                  <a:pt x="100" y="696"/>
                </a:lnTo>
                <a:lnTo>
                  <a:pt x="89" y="681"/>
                </a:lnTo>
                <a:lnTo>
                  <a:pt x="85" y="673"/>
                </a:lnTo>
                <a:lnTo>
                  <a:pt x="87" y="658"/>
                </a:lnTo>
                <a:lnTo>
                  <a:pt x="87" y="643"/>
                </a:lnTo>
                <a:lnTo>
                  <a:pt x="102" y="637"/>
                </a:lnTo>
                <a:lnTo>
                  <a:pt x="104" y="630"/>
                </a:lnTo>
                <a:lnTo>
                  <a:pt x="108" y="630"/>
                </a:lnTo>
                <a:lnTo>
                  <a:pt x="108" y="615"/>
                </a:lnTo>
                <a:lnTo>
                  <a:pt x="104" y="600"/>
                </a:lnTo>
                <a:lnTo>
                  <a:pt x="91" y="600"/>
                </a:lnTo>
                <a:lnTo>
                  <a:pt x="83" y="594"/>
                </a:lnTo>
                <a:lnTo>
                  <a:pt x="70" y="573"/>
                </a:lnTo>
                <a:lnTo>
                  <a:pt x="68" y="564"/>
                </a:lnTo>
                <a:lnTo>
                  <a:pt x="68" y="558"/>
                </a:lnTo>
                <a:lnTo>
                  <a:pt x="70" y="554"/>
                </a:lnTo>
                <a:lnTo>
                  <a:pt x="72" y="547"/>
                </a:lnTo>
                <a:lnTo>
                  <a:pt x="72" y="532"/>
                </a:lnTo>
                <a:lnTo>
                  <a:pt x="68" y="524"/>
                </a:lnTo>
                <a:lnTo>
                  <a:pt x="74" y="511"/>
                </a:lnTo>
                <a:lnTo>
                  <a:pt x="74" y="502"/>
                </a:lnTo>
                <a:lnTo>
                  <a:pt x="78" y="496"/>
                </a:lnTo>
                <a:lnTo>
                  <a:pt x="85" y="496"/>
                </a:lnTo>
                <a:lnTo>
                  <a:pt x="87" y="500"/>
                </a:lnTo>
                <a:lnTo>
                  <a:pt x="87" y="507"/>
                </a:lnTo>
                <a:lnTo>
                  <a:pt x="83" y="515"/>
                </a:lnTo>
                <a:lnTo>
                  <a:pt x="83" y="522"/>
                </a:lnTo>
                <a:lnTo>
                  <a:pt x="89" y="526"/>
                </a:lnTo>
                <a:lnTo>
                  <a:pt x="93" y="534"/>
                </a:lnTo>
                <a:lnTo>
                  <a:pt x="100" y="543"/>
                </a:lnTo>
                <a:lnTo>
                  <a:pt x="108" y="543"/>
                </a:lnTo>
                <a:lnTo>
                  <a:pt x="102" y="537"/>
                </a:lnTo>
                <a:lnTo>
                  <a:pt x="102" y="522"/>
                </a:lnTo>
                <a:lnTo>
                  <a:pt x="100" y="509"/>
                </a:lnTo>
                <a:lnTo>
                  <a:pt x="95" y="505"/>
                </a:lnTo>
                <a:lnTo>
                  <a:pt x="93" y="498"/>
                </a:lnTo>
                <a:lnTo>
                  <a:pt x="95" y="492"/>
                </a:lnTo>
                <a:lnTo>
                  <a:pt x="91" y="483"/>
                </a:lnTo>
                <a:lnTo>
                  <a:pt x="93" y="477"/>
                </a:lnTo>
                <a:lnTo>
                  <a:pt x="102" y="477"/>
                </a:lnTo>
                <a:lnTo>
                  <a:pt x="108" y="473"/>
                </a:lnTo>
                <a:lnTo>
                  <a:pt x="115" y="479"/>
                </a:lnTo>
                <a:lnTo>
                  <a:pt x="125" y="479"/>
                </a:lnTo>
                <a:lnTo>
                  <a:pt x="146" y="490"/>
                </a:lnTo>
                <a:lnTo>
                  <a:pt x="161" y="483"/>
                </a:lnTo>
                <a:lnTo>
                  <a:pt x="172" y="498"/>
                </a:lnTo>
                <a:lnTo>
                  <a:pt x="172" y="496"/>
                </a:lnTo>
                <a:lnTo>
                  <a:pt x="168" y="490"/>
                </a:lnTo>
                <a:lnTo>
                  <a:pt x="161" y="483"/>
                </a:lnTo>
                <a:lnTo>
                  <a:pt x="153" y="485"/>
                </a:lnTo>
                <a:lnTo>
                  <a:pt x="146" y="485"/>
                </a:lnTo>
                <a:lnTo>
                  <a:pt x="153" y="481"/>
                </a:lnTo>
                <a:lnTo>
                  <a:pt x="155" y="477"/>
                </a:lnTo>
                <a:lnTo>
                  <a:pt x="149" y="481"/>
                </a:lnTo>
                <a:lnTo>
                  <a:pt x="134" y="481"/>
                </a:lnTo>
                <a:lnTo>
                  <a:pt x="127" y="475"/>
                </a:lnTo>
                <a:lnTo>
                  <a:pt x="121" y="473"/>
                </a:lnTo>
                <a:lnTo>
                  <a:pt x="115" y="477"/>
                </a:lnTo>
                <a:lnTo>
                  <a:pt x="108" y="473"/>
                </a:lnTo>
                <a:lnTo>
                  <a:pt x="102" y="466"/>
                </a:lnTo>
                <a:lnTo>
                  <a:pt x="95" y="460"/>
                </a:lnTo>
                <a:lnTo>
                  <a:pt x="89" y="462"/>
                </a:lnTo>
                <a:lnTo>
                  <a:pt x="85" y="468"/>
                </a:lnTo>
                <a:lnTo>
                  <a:pt x="87" y="477"/>
                </a:lnTo>
                <a:lnTo>
                  <a:pt x="80" y="481"/>
                </a:lnTo>
                <a:lnTo>
                  <a:pt x="85" y="490"/>
                </a:lnTo>
                <a:lnTo>
                  <a:pt x="78" y="494"/>
                </a:lnTo>
                <a:lnTo>
                  <a:pt x="70" y="488"/>
                </a:lnTo>
                <a:lnTo>
                  <a:pt x="66" y="479"/>
                </a:lnTo>
                <a:lnTo>
                  <a:pt x="59" y="475"/>
                </a:lnTo>
                <a:lnTo>
                  <a:pt x="57" y="466"/>
                </a:lnTo>
                <a:lnTo>
                  <a:pt x="49" y="460"/>
                </a:lnTo>
                <a:lnTo>
                  <a:pt x="42" y="464"/>
                </a:lnTo>
                <a:lnTo>
                  <a:pt x="44" y="456"/>
                </a:lnTo>
                <a:lnTo>
                  <a:pt x="49" y="449"/>
                </a:lnTo>
                <a:lnTo>
                  <a:pt x="51" y="441"/>
                </a:lnTo>
                <a:lnTo>
                  <a:pt x="55" y="456"/>
                </a:lnTo>
                <a:lnTo>
                  <a:pt x="53" y="441"/>
                </a:lnTo>
                <a:lnTo>
                  <a:pt x="46" y="426"/>
                </a:lnTo>
                <a:lnTo>
                  <a:pt x="46" y="426"/>
                </a:lnTo>
                <a:lnTo>
                  <a:pt x="44" y="428"/>
                </a:lnTo>
                <a:lnTo>
                  <a:pt x="46" y="422"/>
                </a:lnTo>
                <a:lnTo>
                  <a:pt x="44" y="413"/>
                </a:lnTo>
                <a:lnTo>
                  <a:pt x="40" y="407"/>
                </a:lnTo>
                <a:lnTo>
                  <a:pt x="34" y="400"/>
                </a:lnTo>
                <a:lnTo>
                  <a:pt x="29" y="392"/>
                </a:lnTo>
                <a:lnTo>
                  <a:pt x="23" y="370"/>
                </a:lnTo>
                <a:lnTo>
                  <a:pt x="14" y="356"/>
                </a:lnTo>
                <a:lnTo>
                  <a:pt x="8" y="343"/>
                </a:lnTo>
                <a:lnTo>
                  <a:pt x="14" y="334"/>
                </a:lnTo>
                <a:lnTo>
                  <a:pt x="14" y="324"/>
                </a:lnTo>
                <a:lnTo>
                  <a:pt x="14" y="294"/>
                </a:lnTo>
                <a:lnTo>
                  <a:pt x="21" y="281"/>
                </a:lnTo>
                <a:lnTo>
                  <a:pt x="25" y="275"/>
                </a:lnTo>
                <a:lnTo>
                  <a:pt x="25" y="264"/>
                </a:lnTo>
                <a:lnTo>
                  <a:pt x="27" y="258"/>
                </a:lnTo>
                <a:lnTo>
                  <a:pt x="25" y="251"/>
                </a:lnTo>
                <a:lnTo>
                  <a:pt x="25" y="243"/>
                </a:lnTo>
                <a:lnTo>
                  <a:pt x="19" y="221"/>
                </a:lnTo>
                <a:lnTo>
                  <a:pt x="14" y="215"/>
                </a:lnTo>
                <a:lnTo>
                  <a:pt x="14" y="206"/>
                </a:lnTo>
                <a:lnTo>
                  <a:pt x="0" y="185"/>
                </a:lnTo>
                <a:lnTo>
                  <a:pt x="2" y="179"/>
                </a:lnTo>
                <a:lnTo>
                  <a:pt x="2" y="166"/>
                </a:lnTo>
                <a:lnTo>
                  <a:pt x="6" y="151"/>
                </a:lnTo>
                <a:lnTo>
                  <a:pt x="14" y="145"/>
                </a:lnTo>
                <a:lnTo>
                  <a:pt x="19" y="136"/>
                </a:lnTo>
                <a:lnTo>
                  <a:pt x="25" y="134"/>
                </a:lnTo>
                <a:lnTo>
                  <a:pt x="34" y="130"/>
                </a:lnTo>
                <a:lnTo>
                  <a:pt x="31" y="128"/>
                </a:lnTo>
                <a:lnTo>
                  <a:pt x="34" y="119"/>
                </a:lnTo>
                <a:lnTo>
                  <a:pt x="38" y="113"/>
                </a:lnTo>
                <a:lnTo>
                  <a:pt x="42" y="104"/>
                </a:lnTo>
                <a:lnTo>
                  <a:pt x="40" y="98"/>
                </a:lnTo>
                <a:lnTo>
                  <a:pt x="57" y="66"/>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70" name="Freeform 977"/>
          <p:cNvSpPr>
            <a:spLocks/>
          </p:cNvSpPr>
          <p:nvPr/>
        </p:nvSpPr>
        <p:spPr bwMode="auto">
          <a:xfrm>
            <a:off x="862013" y="3243384"/>
            <a:ext cx="17463" cy="23813"/>
          </a:xfrm>
          <a:custGeom>
            <a:avLst/>
            <a:gdLst>
              <a:gd name="T0" fmla="*/ 0 w 11"/>
              <a:gd name="T1" fmla="*/ 0 h 15"/>
              <a:gd name="T2" fmla="*/ 7 w 11"/>
              <a:gd name="T3" fmla="*/ 7 h 15"/>
              <a:gd name="T4" fmla="*/ 11 w 11"/>
              <a:gd name="T5" fmla="*/ 13 h 15"/>
              <a:gd name="T6" fmla="*/ 11 w 11"/>
              <a:gd name="T7" fmla="*/ 15 h 15"/>
              <a:gd name="T8" fmla="*/ 0 w 11"/>
              <a:gd name="T9" fmla="*/ 0 h 15"/>
            </a:gdLst>
            <a:ahLst/>
            <a:cxnLst>
              <a:cxn ang="0">
                <a:pos x="T0" y="T1"/>
              </a:cxn>
              <a:cxn ang="0">
                <a:pos x="T2" y="T3"/>
              </a:cxn>
              <a:cxn ang="0">
                <a:pos x="T4" y="T5"/>
              </a:cxn>
              <a:cxn ang="0">
                <a:pos x="T6" y="T7"/>
              </a:cxn>
              <a:cxn ang="0">
                <a:pos x="T8" y="T9"/>
              </a:cxn>
            </a:cxnLst>
            <a:rect l="0" t="0" r="r" b="b"/>
            <a:pathLst>
              <a:path w="11" h="15">
                <a:moveTo>
                  <a:pt x="0" y="0"/>
                </a:moveTo>
                <a:lnTo>
                  <a:pt x="7" y="7"/>
                </a:lnTo>
                <a:lnTo>
                  <a:pt x="11" y="13"/>
                </a:lnTo>
                <a:lnTo>
                  <a:pt x="11" y="15"/>
                </a:lnTo>
                <a:lnTo>
                  <a:pt x="0" y="0"/>
                </a:lnTo>
                <a:close/>
              </a:path>
            </a:pathLst>
          </a:custGeom>
          <a:solidFill>
            <a:srgbClr val="B3B3B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71" name="Freeform 978"/>
          <p:cNvSpPr>
            <a:spLocks/>
          </p:cNvSpPr>
          <p:nvPr/>
        </p:nvSpPr>
        <p:spPr bwMode="auto">
          <a:xfrm>
            <a:off x="862013" y="3243384"/>
            <a:ext cx="17463" cy="23813"/>
          </a:xfrm>
          <a:custGeom>
            <a:avLst/>
            <a:gdLst>
              <a:gd name="T0" fmla="*/ 0 w 11"/>
              <a:gd name="T1" fmla="*/ 0 h 15"/>
              <a:gd name="T2" fmla="*/ 7 w 11"/>
              <a:gd name="T3" fmla="*/ 7 h 15"/>
              <a:gd name="T4" fmla="*/ 11 w 11"/>
              <a:gd name="T5" fmla="*/ 13 h 15"/>
              <a:gd name="T6" fmla="*/ 11 w 11"/>
              <a:gd name="T7" fmla="*/ 15 h 15"/>
              <a:gd name="T8" fmla="*/ 0 w 11"/>
              <a:gd name="T9" fmla="*/ 0 h 15"/>
            </a:gdLst>
            <a:ahLst/>
            <a:cxnLst>
              <a:cxn ang="0">
                <a:pos x="T0" y="T1"/>
              </a:cxn>
              <a:cxn ang="0">
                <a:pos x="T2" y="T3"/>
              </a:cxn>
              <a:cxn ang="0">
                <a:pos x="T4" y="T5"/>
              </a:cxn>
              <a:cxn ang="0">
                <a:pos x="T6" y="T7"/>
              </a:cxn>
              <a:cxn ang="0">
                <a:pos x="T8" y="T9"/>
              </a:cxn>
            </a:cxnLst>
            <a:rect l="0" t="0" r="r" b="b"/>
            <a:pathLst>
              <a:path w="11" h="15">
                <a:moveTo>
                  <a:pt x="0" y="0"/>
                </a:moveTo>
                <a:lnTo>
                  <a:pt x="7" y="7"/>
                </a:lnTo>
                <a:lnTo>
                  <a:pt x="11" y="13"/>
                </a:lnTo>
                <a:lnTo>
                  <a:pt x="11" y="15"/>
                </a:lnTo>
                <a:lnTo>
                  <a:pt x="0" y="0"/>
                </a:lnTo>
              </a:path>
            </a:pathLst>
          </a:custGeom>
          <a:noFill/>
          <a:ln w="14288" cap="flat">
            <a:solidFill>
              <a:srgbClr val="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6" name="Group 5"/>
          <p:cNvGrpSpPr/>
          <p:nvPr/>
        </p:nvGrpSpPr>
        <p:grpSpPr>
          <a:xfrm>
            <a:off x="642937" y="4562596"/>
            <a:ext cx="2017713" cy="1514475"/>
            <a:chOff x="642937" y="4610100"/>
            <a:chExt cx="2017713" cy="1514475"/>
          </a:xfrm>
          <a:solidFill>
            <a:srgbClr val="C00000"/>
          </a:solidFill>
        </p:grpSpPr>
        <p:sp>
          <p:nvSpPr>
            <p:cNvPr id="1185" name="Freeform 992"/>
            <p:cNvSpPr>
              <a:spLocks/>
            </p:cNvSpPr>
            <p:nvPr/>
          </p:nvSpPr>
          <p:spPr bwMode="auto">
            <a:xfrm>
              <a:off x="642938" y="6049963"/>
              <a:ext cx="101600" cy="50800"/>
            </a:xfrm>
            <a:custGeom>
              <a:avLst/>
              <a:gdLst>
                <a:gd name="T0" fmla="*/ 4 w 64"/>
                <a:gd name="T1" fmla="*/ 32 h 32"/>
                <a:gd name="T2" fmla="*/ 19 w 64"/>
                <a:gd name="T3" fmla="*/ 30 h 32"/>
                <a:gd name="T4" fmla="*/ 30 w 64"/>
                <a:gd name="T5" fmla="*/ 28 h 32"/>
                <a:gd name="T6" fmla="*/ 34 w 64"/>
                <a:gd name="T7" fmla="*/ 28 h 32"/>
                <a:gd name="T8" fmla="*/ 40 w 64"/>
                <a:gd name="T9" fmla="*/ 30 h 32"/>
                <a:gd name="T10" fmla="*/ 40 w 64"/>
                <a:gd name="T11" fmla="*/ 24 h 32"/>
                <a:gd name="T12" fmla="*/ 45 w 64"/>
                <a:gd name="T13" fmla="*/ 28 h 32"/>
                <a:gd name="T14" fmla="*/ 49 w 64"/>
                <a:gd name="T15" fmla="*/ 24 h 32"/>
                <a:gd name="T16" fmla="*/ 53 w 64"/>
                <a:gd name="T17" fmla="*/ 24 h 32"/>
                <a:gd name="T18" fmla="*/ 60 w 64"/>
                <a:gd name="T19" fmla="*/ 24 h 32"/>
                <a:gd name="T20" fmla="*/ 55 w 64"/>
                <a:gd name="T21" fmla="*/ 17 h 32"/>
                <a:gd name="T22" fmla="*/ 51 w 64"/>
                <a:gd name="T23" fmla="*/ 22 h 32"/>
                <a:gd name="T24" fmla="*/ 53 w 64"/>
                <a:gd name="T25" fmla="*/ 15 h 32"/>
                <a:gd name="T26" fmla="*/ 57 w 64"/>
                <a:gd name="T27" fmla="*/ 15 h 32"/>
                <a:gd name="T28" fmla="*/ 64 w 64"/>
                <a:gd name="T29" fmla="*/ 11 h 32"/>
                <a:gd name="T30" fmla="*/ 62 w 64"/>
                <a:gd name="T31" fmla="*/ 5 h 32"/>
                <a:gd name="T32" fmla="*/ 55 w 64"/>
                <a:gd name="T33" fmla="*/ 9 h 32"/>
                <a:gd name="T34" fmla="*/ 51 w 64"/>
                <a:gd name="T35" fmla="*/ 9 h 32"/>
                <a:gd name="T36" fmla="*/ 53 w 64"/>
                <a:gd name="T37" fmla="*/ 2 h 32"/>
                <a:gd name="T38" fmla="*/ 49 w 64"/>
                <a:gd name="T39" fmla="*/ 0 h 32"/>
                <a:gd name="T40" fmla="*/ 45 w 64"/>
                <a:gd name="T41" fmla="*/ 0 h 32"/>
                <a:gd name="T42" fmla="*/ 38 w 64"/>
                <a:gd name="T43" fmla="*/ 0 h 32"/>
                <a:gd name="T44" fmla="*/ 32 w 64"/>
                <a:gd name="T45" fmla="*/ 5 h 32"/>
                <a:gd name="T46" fmla="*/ 36 w 64"/>
                <a:gd name="T47" fmla="*/ 11 h 32"/>
                <a:gd name="T48" fmla="*/ 40 w 64"/>
                <a:gd name="T49" fmla="*/ 13 h 32"/>
                <a:gd name="T50" fmla="*/ 45 w 64"/>
                <a:gd name="T51" fmla="*/ 17 h 32"/>
                <a:gd name="T52" fmla="*/ 34 w 64"/>
                <a:gd name="T53" fmla="*/ 15 h 32"/>
                <a:gd name="T54" fmla="*/ 34 w 64"/>
                <a:gd name="T55" fmla="*/ 19 h 32"/>
                <a:gd name="T56" fmla="*/ 28 w 64"/>
                <a:gd name="T57" fmla="*/ 22 h 32"/>
                <a:gd name="T58" fmla="*/ 32 w 64"/>
                <a:gd name="T59" fmla="*/ 24 h 32"/>
                <a:gd name="T60" fmla="*/ 28 w 64"/>
                <a:gd name="T61" fmla="*/ 24 h 32"/>
                <a:gd name="T62" fmla="*/ 17 w 64"/>
                <a:gd name="T63" fmla="*/ 26 h 32"/>
                <a:gd name="T64" fmla="*/ 11 w 64"/>
                <a:gd name="T65" fmla="*/ 26 h 32"/>
                <a:gd name="T66" fmla="*/ 6 w 64"/>
                <a:gd name="T67" fmla="*/ 24 h 32"/>
                <a:gd name="T68" fmla="*/ 0 w 64"/>
                <a:gd name="T69" fmla="*/ 28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19" y="30"/>
                  </a:lnTo>
                  <a:lnTo>
                    <a:pt x="30" y="28"/>
                  </a:lnTo>
                  <a:lnTo>
                    <a:pt x="34" y="28"/>
                  </a:lnTo>
                  <a:lnTo>
                    <a:pt x="40" y="30"/>
                  </a:lnTo>
                  <a:lnTo>
                    <a:pt x="40" y="24"/>
                  </a:lnTo>
                  <a:lnTo>
                    <a:pt x="45" y="28"/>
                  </a:lnTo>
                  <a:lnTo>
                    <a:pt x="49" y="24"/>
                  </a:lnTo>
                  <a:lnTo>
                    <a:pt x="53" y="24"/>
                  </a:lnTo>
                  <a:lnTo>
                    <a:pt x="60" y="24"/>
                  </a:lnTo>
                  <a:lnTo>
                    <a:pt x="55" y="17"/>
                  </a:lnTo>
                  <a:lnTo>
                    <a:pt x="51" y="22"/>
                  </a:lnTo>
                  <a:lnTo>
                    <a:pt x="53" y="15"/>
                  </a:lnTo>
                  <a:lnTo>
                    <a:pt x="57" y="15"/>
                  </a:lnTo>
                  <a:lnTo>
                    <a:pt x="64" y="11"/>
                  </a:lnTo>
                  <a:lnTo>
                    <a:pt x="62" y="5"/>
                  </a:lnTo>
                  <a:lnTo>
                    <a:pt x="55" y="9"/>
                  </a:lnTo>
                  <a:lnTo>
                    <a:pt x="51" y="9"/>
                  </a:lnTo>
                  <a:lnTo>
                    <a:pt x="53" y="2"/>
                  </a:lnTo>
                  <a:lnTo>
                    <a:pt x="49" y="0"/>
                  </a:lnTo>
                  <a:lnTo>
                    <a:pt x="45" y="0"/>
                  </a:lnTo>
                  <a:lnTo>
                    <a:pt x="38" y="0"/>
                  </a:lnTo>
                  <a:lnTo>
                    <a:pt x="32" y="5"/>
                  </a:lnTo>
                  <a:lnTo>
                    <a:pt x="36" y="11"/>
                  </a:lnTo>
                  <a:lnTo>
                    <a:pt x="40" y="13"/>
                  </a:lnTo>
                  <a:lnTo>
                    <a:pt x="45" y="17"/>
                  </a:lnTo>
                  <a:lnTo>
                    <a:pt x="34" y="15"/>
                  </a:lnTo>
                  <a:lnTo>
                    <a:pt x="34" y="19"/>
                  </a:lnTo>
                  <a:lnTo>
                    <a:pt x="28" y="22"/>
                  </a:lnTo>
                  <a:lnTo>
                    <a:pt x="32" y="24"/>
                  </a:lnTo>
                  <a:lnTo>
                    <a:pt x="28" y="24"/>
                  </a:lnTo>
                  <a:lnTo>
                    <a:pt x="17" y="26"/>
                  </a:lnTo>
                  <a:lnTo>
                    <a:pt x="11" y="26"/>
                  </a:lnTo>
                  <a:lnTo>
                    <a:pt x="6" y="24"/>
                  </a:lnTo>
                  <a:lnTo>
                    <a:pt x="0" y="28"/>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6" name="Freeform 993"/>
            <p:cNvSpPr>
              <a:spLocks/>
            </p:cNvSpPr>
            <p:nvPr/>
          </p:nvSpPr>
          <p:spPr bwMode="auto">
            <a:xfrm>
              <a:off x="642938" y="6049963"/>
              <a:ext cx="101600" cy="50800"/>
            </a:xfrm>
            <a:custGeom>
              <a:avLst/>
              <a:gdLst>
                <a:gd name="T0" fmla="*/ 4 w 64"/>
                <a:gd name="T1" fmla="*/ 32 h 32"/>
                <a:gd name="T2" fmla="*/ 19 w 64"/>
                <a:gd name="T3" fmla="*/ 30 h 32"/>
                <a:gd name="T4" fmla="*/ 30 w 64"/>
                <a:gd name="T5" fmla="*/ 28 h 32"/>
                <a:gd name="T6" fmla="*/ 34 w 64"/>
                <a:gd name="T7" fmla="*/ 28 h 32"/>
                <a:gd name="T8" fmla="*/ 40 w 64"/>
                <a:gd name="T9" fmla="*/ 30 h 32"/>
                <a:gd name="T10" fmla="*/ 40 w 64"/>
                <a:gd name="T11" fmla="*/ 24 h 32"/>
                <a:gd name="T12" fmla="*/ 45 w 64"/>
                <a:gd name="T13" fmla="*/ 28 h 32"/>
                <a:gd name="T14" fmla="*/ 49 w 64"/>
                <a:gd name="T15" fmla="*/ 24 h 32"/>
                <a:gd name="T16" fmla="*/ 53 w 64"/>
                <a:gd name="T17" fmla="*/ 24 h 32"/>
                <a:gd name="T18" fmla="*/ 60 w 64"/>
                <a:gd name="T19" fmla="*/ 24 h 32"/>
                <a:gd name="T20" fmla="*/ 55 w 64"/>
                <a:gd name="T21" fmla="*/ 17 h 32"/>
                <a:gd name="T22" fmla="*/ 51 w 64"/>
                <a:gd name="T23" fmla="*/ 22 h 32"/>
                <a:gd name="T24" fmla="*/ 53 w 64"/>
                <a:gd name="T25" fmla="*/ 15 h 32"/>
                <a:gd name="T26" fmla="*/ 57 w 64"/>
                <a:gd name="T27" fmla="*/ 15 h 32"/>
                <a:gd name="T28" fmla="*/ 64 w 64"/>
                <a:gd name="T29" fmla="*/ 11 h 32"/>
                <a:gd name="T30" fmla="*/ 62 w 64"/>
                <a:gd name="T31" fmla="*/ 5 h 32"/>
                <a:gd name="T32" fmla="*/ 55 w 64"/>
                <a:gd name="T33" fmla="*/ 9 h 32"/>
                <a:gd name="T34" fmla="*/ 51 w 64"/>
                <a:gd name="T35" fmla="*/ 9 h 32"/>
                <a:gd name="T36" fmla="*/ 53 w 64"/>
                <a:gd name="T37" fmla="*/ 2 h 32"/>
                <a:gd name="T38" fmla="*/ 49 w 64"/>
                <a:gd name="T39" fmla="*/ 0 h 32"/>
                <a:gd name="T40" fmla="*/ 45 w 64"/>
                <a:gd name="T41" fmla="*/ 0 h 32"/>
                <a:gd name="T42" fmla="*/ 38 w 64"/>
                <a:gd name="T43" fmla="*/ 0 h 32"/>
                <a:gd name="T44" fmla="*/ 32 w 64"/>
                <a:gd name="T45" fmla="*/ 5 h 32"/>
                <a:gd name="T46" fmla="*/ 36 w 64"/>
                <a:gd name="T47" fmla="*/ 11 h 32"/>
                <a:gd name="T48" fmla="*/ 40 w 64"/>
                <a:gd name="T49" fmla="*/ 13 h 32"/>
                <a:gd name="T50" fmla="*/ 45 w 64"/>
                <a:gd name="T51" fmla="*/ 17 h 32"/>
                <a:gd name="T52" fmla="*/ 34 w 64"/>
                <a:gd name="T53" fmla="*/ 15 h 32"/>
                <a:gd name="T54" fmla="*/ 34 w 64"/>
                <a:gd name="T55" fmla="*/ 19 h 32"/>
                <a:gd name="T56" fmla="*/ 28 w 64"/>
                <a:gd name="T57" fmla="*/ 22 h 32"/>
                <a:gd name="T58" fmla="*/ 32 w 64"/>
                <a:gd name="T59" fmla="*/ 24 h 32"/>
                <a:gd name="T60" fmla="*/ 28 w 64"/>
                <a:gd name="T61" fmla="*/ 24 h 32"/>
                <a:gd name="T62" fmla="*/ 17 w 64"/>
                <a:gd name="T63" fmla="*/ 26 h 32"/>
                <a:gd name="T64" fmla="*/ 11 w 64"/>
                <a:gd name="T65" fmla="*/ 26 h 32"/>
                <a:gd name="T66" fmla="*/ 6 w 64"/>
                <a:gd name="T67" fmla="*/ 24 h 32"/>
                <a:gd name="T68" fmla="*/ 0 w 64"/>
                <a:gd name="T69" fmla="*/ 28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19" y="30"/>
                  </a:lnTo>
                  <a:lnTo>
                    <a:pt x="30" y="28"/>
                  </a:lnTo>
                  <a:lnTo>
                    <a:pt x="34" y="28"/>
                  </a:lnTo>
                  <a:lnTo>
                    <a:pt x="40" y="30"/>
                  </a:lnTo>
                  <a:lnTo>
                    <a:pt x="40" y="24"/>
                  </a:lnTo>
                  <a:lnTo>
                    <a:pt x="45" y="28"/>
                  </a:lnTo>
                  <a:lnTo>
                    <a:pt x="49" y="24"/>
                  </a:lnTo>
                  <a:lnTo>
                    <a:pt x="53" y="24"/>
                  </a:lnTo>
                  <a:lnTo>
                    <a:pt x="60" y="24"/>
                  </a:lnTo>
                  <a:lnTo>
                    <a:pt x="55" y="17"/>
                  </a:lnTo>
                  <a:lnTo>
                    <a:pt x="51" y="22"/>
                  </a:lnTo>
                  <a:lnTo>
                    <a:pt x="53" y="15"/>
                  </a:lnTo>
                  <a:lnTo>
                    <a:pt x="57" y="15"/>
                  </a:lnTo>
                  <a:lnTo>
                    <a:pt x="64" y="11"/>
                  </a:lnTo>
                  <a:lnTo>
                    <a:pt x="62" y="5"/>
                  </a:lnTo>
                  <a:lnTo>
                    <a:pt x="55" y="9"/>
                  </a:lnTo>
                  <a:lnTo>
                    <a:pt x="51" y="9"/>
                  </a:lnTo>
                  <a:lnTo>
                    <a:pt x="53" y="2"/>
                  </a:lnTo>
                  <a:lnTo>
                    <a:pt x="49" y="0"/>
                  </a:lnTo>
                  <a:lnTo>
                    <a:pt x="45" y="0"/>
                  </a:lnTo>
                  <a:lnTo>
                    <a:pt x="38" y="0"/>
                  </a:lnTo>
                  <a:lnTo>
                    <a:pt x="32" y="5"/>
                  </a:lnTo>
                  <a:lnTo>
                    <a:pt x="36" y="11"/>
                  </a:lnTo>
                  <a:lnTo>
                    <a:pt x="40" y="13"/>
                  </a:lnTo>
                  <a:lnTo>
                    <a:pt x="45" y="17"/>
                  </a:lnTo>
                  <a:lnTo>
                    <a:pt x="34" y="15"/>
                  </a:lnTo>
                  <a:lnTo>
                    <a:pt x="34" y="19"/>
                  </a:lnTo>
                  <a:lnTo>
                    <a:pt x="28" y="22"/>
                  </a:lnTo>
                  <a:lnTo>
                    <a:pt x="32" y="24"/>
                  </a:lnTo>
                  <a:lnTo>
                    <a:pt x="28" y="24"/>
                  </a:lnTo>
                  <a:lnTo>
                    <a:pt x="17" y="26"/>
                  </a:lnTo>
                  <a:lnTo>
                    <a:pt x="11" y="26"/>
                  </a:lnTo>
                  <a:lnTo>
                    <a:pt x="6" y="24"/>
                  </a:lnTo>
                  <a:lnTo>
                    <a:pt x="0" y="28"/>
                  </a:lnTo>
                  <a:lnTo>
                    <a:pt x="4" y="3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7" name="Freeform 994"/>
            <p:cNvSpPr>
              <a:spLocks/>
            </p:cNvSpPr>
            <p:nvPr/>
          </p:nvSpPr>
          <p:spPr bwMode="auto">
            <a:xfrm>
              <a:off x="738188" y="6076950"/>
              <a:ext cx="9525" cy="11113"/>
            </a:xfrm>
            <a:custGeom>
              <a:avLst/>
              <a:gdLst>
                <a:gd name="T0" fmla="*/ 2 w 6"/>
                <a:gd name="T1" fmla="*/ 7 h 7"/>
                <a:gd name="T2" fmla="*/ 4 w 6"/>
                <a:gd name="T3" fmla="*/ 5 h 7"/>
                <a:gd name="T4" fmla="*/ 6 w 6"/>
                <a:gd name="T5" fmla="*/ 0 h 7"/>
                <a:gd name="T6" fmla="*/ 0 w 6"/>
                <a:gd name="T7" fmla="*/ 0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4" y="5"/>
                  </a:lnTo>
                  <a:lnTo>
                    <a:pt x="6" y="0"/>
                  </a:lnTo>
                  <a:lnTo>
                    <a:pt x="0" y="0"/>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88" name="Freeform 995"/>
            <p:cNvSpPr>
              <a:spLocks/>
            </p:cNvSpPr>
            <p:nvPr/>
          </p:nvSpPr>
          <p:spPr bwMode="auto">
            <a:xfrm>
              <a:off x="738188" y="6076950"/>
              <a:ext cx="9525" cy="11113"/>
            </a:xfrm>
            <a:custGeom>
              <a:avLst/>
              <a:gdLst>
                <a:gd name="T0" fmla="*/ 2 w 6"/>
                <a:gd name="T1" fmla="*/ 7 h 7"/>
                <a:gd name="T2" fmla="*/ 4 w 6"/>
                <a:gd name="T3" fmla="*/ 5 h 7"/>
                <a:gd name="T4" fmla="*/ 6 w 6"/>
                <a:gd name="T5" fmla="*/ 0 h 7"/>
                <a:gd name="T6" fmla="*/ 0 w 6"/>
                <a:gd name="T7" fmla="*/ 0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4" y="5"/>
                  </a:lnTo>
                  <a:lnTo>
                    <a:pt x="6" y="0"/>
                  </a:lnTo>
                  <a:lnTo>
                    <a:pt x="0" y="0"/>
                  </a:lnTo>
                  <a:lnTo>
                    <a:pt x="2"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89" name="Freeform 996"/>
            <p:cNvSpPr>
              <a:spLocks/>
            </p:cNvSpPr>
            <p:nvPr/>
          </p:nvSpPr>
          <p:spPr bwMode="auto">
            <a:xfrm>
              <a:off x="879475" y="5499100"/>
              <a:ext cx="77788" cy="57150"/>
            </a:xfrm>
            <a:custGeom>
              <a:avLst/>
              <a:gdLst>
                <a:gd name="T0" fmla="*/ 6 w 49"/>
                <a:gd name="T1" fmla="*/ 15 h 36"/>
                <a:gd name="T2" fmla="*/ 6 w 49"/>
                <a:gd name="T3" fmla="*/ 15 h 36"/>
                <a:gd name="T4" fmla="*/ 15 w 49"/>
                <a:gd name="T5" fmla="*/ 26 h 36"/>
                <a:gd name="T6" fmla="*/ 19 w 49"/>
                <a:gd name="T7" fmla="*/ 28 h 36"/>
                <a:gd name="T8" fmla="*/ 28 w 49"/>
                <a:gd name="T9" fmla="*/ 36 h 36"/>
                <a:gd name="T10" fmla="*/ 23 w 49"/>
                <a:gd name="T11" fmla="*/ 30 h 36"/>
                <a:gd name="T12" fmla="*/ 30 w 49"/>
                <a:gd name="T13" fmla="*/ 32 h 36"/>
                <a:gd name="T14" fmla="*/ 40 w 49"/>
                <a:gd name="T15" fmla="*/ 32 h 36"/>
                <a:gd name="T16" fmla="*/ 45 w 49"/>
                <a:gd name="T17" fmla="*/ 32 h 36"/>
                <a:gd name="T18" fmla="*/ 45 w 49"/>
                <a:gd name="T19" fmla="*/ 26 h 36"/>
                <a:gd name="T20" fmla="*/ 49 w 49"/>
                <a:gd name="T21" fmla="*/ 11 h 36"/>
                <a:gd name="T22" fmla="*/ 45 w 49"/>
                <a:gd name="T23" fmla="*/ 7 h 36"/>
                <a:gd name="T24" fmla="*/ 38 w 49"/>
                <a:gd name="T25" fmla="*/ 7 h 36"/>
                <a:gd name="T26" fmla="*/ 34 w 49"/>
                <a:gd name="T27" fmla="*/ 0 h 36"/>
                <a:gd name="T28" fmla="*/ 30 w 49"/>
                <a:gd name="T29" fmla="*/ 0 h 36"/>
                <a:gd name="T30" fmla="*/ 23 w 49"/>
                <a:gd name="T31" fmla="*/ 2 h 36"/>
                <a:gd name="T32" fmla="*/ 19 w 49"/>
                <a:gd name="T33" fmla="*/ 0 h 36"/>
                <a:gd name="T34" fmla="*/ 15 w 49"/>
                <a:gd name="T35" fmla="*/ 4 h 36"/>
                <a:gd name="T36" fmla="*/ 6 w 49"/>
                <a:gd name="T37" fmla="*/ 0 h 36"/>
                <a:gd name="T38" fmla="*/ 0 w 49"/>
                <a:gd name="T39" fmla="*/ 2 h 36"/>
                <a:gd name="T40" fmla="*/ 2 w 49"/>
                <a:gd name="T41" fmla="*/ 13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6" y="15"/>
                  </a:lnTo>
                  <a:lnTo>
                    <a:pt x="15" y="26"/>
                  </a:lnTo>
                  <a:lnTo>
                    <a:pt x="19" y="28"/>
                  </a:lnTo>
                  <a:lnTo>
                    <a:pt x="28" y="36"/>
                  </a:lnTo>
                  <a:lnTo>
                    <a:pt x="23" y="30"/>
                  </a:lnTo>
                  <a:lnTo>
                    <a:pt x="30" y="32"/>
                  </a:lnTo>
                  <a:lnTo>
                    <a:pt x="40" y="32"/>
                  </a:lnTo>
                  <a:lnTo>
                    <a:pt x="45" y="32"/>
                  </a:lnTo>
                  <a:lnTo>
                    <a:pt x="45" y="26"/>
                  </a:lnTo>
                  <a:lnTo>
                    <a:pt x="49" y="11"/>
                  </a:lnTo>
                  <a:lnTo>
                    <a:pt x="45" y="7"/>
                  </a:lnTo>
                  <a:lnTo>
                    <a:pt x="38" y="7"/>
                  </a:lnTo>
                  <a:lnTo>
                    <a:pt x="34" y="0"/>
                  </a:lnTo>
                  <a:lnTo>
                    <a:pt x="30" y="0"/>
                  </a:lnTo>
                  <a:lnTo>
                    <a:pt x="23" y="2"/>
                  </a:lnTo>
                  <a:lnTo>
                    <a:pt x="19" y="0"/>
                  </a:lnTo>
                  <a:lnTo>
                    <a:pt x="15" y="4"/>
                  </a:lnTo>
                  <a:lnTo>
                    <a:pt x="6" y="0"/>
                  </a:lnTo>
                  <a:lnTo>
                    <a:pt x="0" y="2"/>
                  </a:lnTo>
                  <a:lnTo>
                    <a:pt x="2" y="13"/>
                  </a:lnTo>
                  <a:lnTo>
                    <a:pt x="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0" name="Freeform 997"/>
            <p:cNvSpPr>
              <a:spLocks/>
            </p:cNvSpPr>
            <p:nvPr/>
          </p:nvSpPr>
          <p:spPr bwMode="auto">
            <a:xfrm>
              <a:off x="879475" y="5499100"/>
              <a:ext cx="77788" cy="57150"/>
            </a:xfrm>
            <a:custGeom>
              <a:avLst/>
              <a:gdLst>
                <a:gd name="T0" fmla="*/ 6 w 49"/>
                <a:gd name="T1" fmla="*/ 15 h 36"/>
                <a:gd name="T2" fmla="*/ 6 w 49"/>
                <a:gd name="T3" fmla="*/ 15 h 36"/>
                <a:gd name="T4" fmla="*/ 15 w 49"/>
                <a:gd name="T5" fmla="*/ 26 h 36"/>
                <a:gd name="T6" fmla="*/ 19 w 49"/>
                <a:gd name="T7" fmla="*/ 28 h 36"/>
                <a:gd name="T8" fmla="*/ 28 w 49"/>
                <a:gd name="T9" fmla="*/ 36 h 36"/>
                <a:gd name="T10" fmla="*/ 23 w 49"/>
                <a:gd name="T11" fmla="*/ 30 h 36"/>
                <a:gd name="T12" fmla="*/ 30 w 49"/>
                <a:gd name="T13" fmla="*/ 32 h 36"/>
                <a:gd name="T14" fmla="*/ 40 w 49"/>
                <a:gd name="T15" fmla="*/ 32 h 36"/>
                <a:gd name="T16" fmla="*/ 45 w 49"/>
                <a:gd name="T17" fmla="*/ 32 h 36"/>
                <a:gd name="T18" fmla="*/ 45 w 49"/>
                <a:gd name="T19" fmla="*/ 26 h 36"/>
                <a:gd name="T20" fmla="*/ 49 w 49"/>
                <a:gd name="T21" fmla="*/ 11 h 36"/>
                <a:gd name="T22" fmla="*/ 45 w 49"/>
                <a:gd name="T23" fmla="*/ 7 h 36"/>
                <a:gd name="T24" fmla="*/ 38 w 49"/>
                <a:gd name="T25" fmla="*/ 7 h 36"/>
                <a:gd name="T26" fmla="*/ 34 w 49"/>
                <a:gd name="T27" fmla="*/ 0 h 36"/>
                <a:gd name="T28" fmla="*/ 30 w 49"/>
                <a:gd name="T29" fmla="*/ 0 h 36"/>
                <a:gd name="T30" fmla="*/ 23 w 49"/>
                <a:gd name="T31" fmla="*/ 2 h 36"/>
                <a:gd name="T32" fmla="*/ 19 w 49"/>
                <a:gd name="T33" fmla="*/ 0 h 36"/>
                <a:gd name="T34" fmla="*/ 15 w 49"/>
                <a:gd name="T35" fmla="*/ 4 h 36"/>
                <a:gd name="T36" fmla="*/ 6 w 49"/>
                <a:gd name="T37" fmla="*/ 0 h 36"/>
                <a:gd name="T38" fmla="*/ 0 w 49"/>
                <a:gd name="T39" fmla="*/ 2 h 36"/>
                <a:gd name="T40" fmla="*/ 2 w 49"/>
                <a:gd name="T41" fmla="*/ 13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6" y="15"/>
                  </a:lnTo>
                  <a:lnTo>
                    <a:pt x="15" y="26"/>
                  </a:lnTo>
                  <a:lnTo>
                    <a:pt x="19" y="28"/>
                  </a:lnTo>
                  <a:lnTo>
                    <a:pt x="28" y="36"/>
                  </a:lnTo>
                  <a:lnTo>
                    <a:pt x="23" y="30"/>
                  </a:lnTo>
                  <a:lnTo>
                    <a:pt x="30" y="32"/>
                  </a:lnTo>
                  <a:lnTo>
                    <a:pt x="40" y="32"/>
                  </a:lnTo>
                  <a:lnTo>
                    <a:pt x="45" y="32"/>
                  </a:lnTo>
                  <a:lnTo>
                    <a:pt x="45" y="26"/>
                  </a:lnTo>
                  <a:lnTo>
                    <a:pt x="49" y="11"/>
                  </a:lnTo>
                  <a:lnTo>
                    <a:pt x="45" y="7"/>
                  </a:lnTo>
                  <a:lnTo>
                    <a:pt x="38" y="7"/>
                  </a:lnTo>
                  <a:lnTo>
                    <a:pt x="34" y="0"/>
                  </a:lnTo>
                  <a:lnTo>
                    <a:pt x="30" y="0"/>
                  </a:lnTo>
                  <a:lnTo>
                    <a:pt x="23" y="2"/>
                  </a:lnTo>
                  <a:lnTo>
                    <a:pt x="19" y="0"/>
                  </a:lnTo>
                  <a:lnTo>
                    <a:pt x="15" y="4"/>
                  </a:lnTo>
                  <a:lnTo>
                    <a:pt x="6" y="0"/>
                  </a:lnTo>
                  <a:lnTo>
                    <a:pt x="0" y="2"/>
                  </a:lnTo>
                  <a:lnTo>
                    <a:pt x="2" y="13"/>
                  </a:lnTo>
                  <a:lnTo>
                    <a:pt x="6"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1" name="Freeform 998"/>
            <p:cNvSpPr>
              <a:spLocks/>
            </p:cNvSpPr>
            <p:nvPr/>
          </p:nvSpPr>
          <p:spPr bwMode="auto">
            <a:xfrm>
              <a:off x="757238" y="6046788"/>
              <a:ext cx="23813" cy="17463"/>
            </a:xfrm>
            <a:custGeom>
              <a:avLst/>
              <a:gdLst>
                <a:gd name="T0" fmla="*/ 5 w 15"/>
                <a:gd name="T1" fmla="*/ 11 h 11"/>
                <a:gd name="T2" fmla="*/ 15 w 15"/>
                <a:gd name="T3" fmla="*/ 9 h 11"/>
                <a:gd name="T4" fmla="*/ 9 w 15"/>
                <a:gd name="T5" fmla="*/ 4 h 11"/>
                <a:gd name="T6" fmla="*/ 5 w 15"/>
                <a:gd name="T7" fmla="*/ 0 h 11"/>
                <a:gd name="T8" fmla="*/ 0 w 15"/>
                <a:gd name="T9" fmla="*/ 4 h 11"/>
                <a:gd name="T10" fmla="*/ 0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15" y="9"/>
                  </a:lnTo>
                  <a:lnTo>
                    <a:pt x="9" y="4"/>
                  </a:lnTo>
                  <a:lnTo>
                    <a:pt x="5" y="0"/>
                  </a:lnTo>
                  <a:lnTo>
                    <a:pt x="0" y="4"/>
                  </a:lnTo>
                  <a:lnTo>
                    <a:pt x="0" y="9"/>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2" name="Freeform 999"/>
            <p:cNvSpPr>
              <a:spLocks/>
            </p:cNvSpPr>
            <p:nvPr/>
          </p:nvSpPr>
          <p:spPr bwMode="auto">
            <a:xfrm>
              <a:off x="757238" y="6046788"/>
              <a:ext cx="23813" cy="17463"/>
            </a:xfrm>
            <a:custGeom>
              <a:avLst/>
              <a:gdLst>
                <a:gd name="T0" fmla="*/ 5 w 15"/>
                <a:gd name="T1" fmla="*/ 11 h 11"/>
                <a:gd name="T2" fmla="*/ 15 w 15"/>
                <a:gd name="T3" fmla="*/ 9 h 11"/>
                <a:gd name="T4" fmla="*/ 9 w 15"/>
                <a:gd name="T5" fmla="*/ 4 h 11"/>
                <a:gd name="T6" fmla="*/ 5 w 15"/>
                <a:gd name="T7" fmla="*/ 0 h 11"/>
                <a:gd name="T8" fmla="*/ 0 w 15"/>
                <a:gd name="T9" fmla="*/ 4 h 11"/>
                <a:gd name="T10" fmla="*/ 0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15" y="9"/>
                  </a:lnTo>
                  <a:lnTo>
                    <a:pt x="9" y="4"/>
                  </a:lnTo>
                  <a:lnTo>
                    <a:pt x="5" y="0"/>
                  </a:lnTo>
                  <a:lnTo>
                    <a:pt x="0" y="4"/>
                  </a:lnTo>
                  <a:lnTo>
                    <a:pt x="0" y="9"/>
                  </a:lnTo>
                  <a:lnTo>
                    <a:pt x="5"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3" name="Freeform 1000"/>
            <p:cNvSpPr>
              <a:spLocks/>
            </p:cNvSpPr>
            <p:nvPr/>
          </p:nvSpPr>
          <p:spPr bwMode="auto">
            <a:xfrm>
              <a:off x="784225" y="6046788"/>
              <a:ext cx="7938" cy="17463"/>
            </a:xfrm>
            <a:custGeom>
              <a:avLst/>
              <a:gdLst>
                <a:gd name="T0" fmla="*/ 0 w 5"/>
                <a:gd name="T1" fmla="*/ 11 h 11"/>
                <a:gd name="T2" fmla="*/ 0 w 5"/>
                <a:gd name="T3" fmla="*/ 11 h 11"/>
                <a:gd name="T4" fmla="*/ 5 w 5"/>
                <a:gd name="T5" fmla="*/ 7 h 11"/>
                <a:gd name="T6" fmla="*/ 3 w 5"/>
                <a:gd name="T7" fmla="*/ 0 h 11"/>
                <a:gd name="T8" fmla="*/ 0 w 5"/>
                <a:gd name="T9" fmla="*/ 4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11"/>
                  </a:lnTo>
                  <a:lnTo>
                    <a:pt x="5" y="7"/>
                  </a:lnTo>
                  <a:lnTo>
                    <a:pt x="3" y="0"/>
                  </a:lnTo>
                  <a:lnTo>
                    <a:pt x="0" y="4"/>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4" name="Freeform 1001"/>
            <p:cNvSpPr>
              <a:spLocks/>
            </p:cNvSpPr>
            <p:nvPr/>
          </p:nvSpPr>
          <p:spPr bwMode="auto">
            <a:xfrm>
              <a:off x="784225" y="6046788"/>
              <a:ext cx="7938" cy="17463"/>
            </a:xfrm>
            <a:custGeom>
              <a:avLst/>
              <a:gdLst>
                <a:gd name="T0" fmla="*/ 0 w 5"/>
                <a:gd name="T1" fmla="*/ 11 h 11"/>
                <a:gd name="T2" fmla="*/ 0 w 5"/>
                <a:gd name="T3" fmla="*/ 11 h 11"/>
                <a:gd name="T4" fmla="*/ 5 w 5"/>
                <a:gd name="T5" fmla="*/ 7 h 11"/>
                <a:gd name="T6" fmla="*/ 3 w 5"/>
                <a:gd name="T7" fmla="*/ 0 h 11"/>
                <a:gd name="T8" fmla="*/ 0 w 5"/>
                <a:gd name="T9" fmla="*/ 4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11"/>
                  </a:lnTo>
                  <a:lnTo>
                    <a:pt x="5" y="7"/>
                  </a:lnTo>
                  <a:lnTo>
                    <a:pt x="3" y="0"/>
                  </a:lnTo>
                  <a:lnTo>
                    <a:pt x="0" y="4"/>
                  </a:lnTo>
                  <a:lnTo>
                    <a:pt x="0"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5" name="Freeform 1002"/>
            <p:cNvSpPr>
              <a:spLocks/>
            </p:cNvSpPr>
            <p:nvPr/>
          </p:nvSpPr>
          <p:spPr bwMode="auto">
            <a:xfrm>
              <a:off x="792163" y="6067425"/>
              <a:ext cx="6350" cy="6350"/>
            </a:xfrm>
            <a:custGeom>
              <a:avLst/>
              <a:gdLst>
                <a:gd name="T0" fmla="*/ 4 w 4"/>
                <a:gd name="T1" fmla="*/ 4 h 4"/>
                <a:gd name="T2" fmla="*/ 4 w 4"/>
                <a:gd name="T3" fmla="*/ 2 h 4"/>
                <a:gd name="T4" fmla="*/ 0 w 4"/>
                <a:gd name="T5" fmla="*/ 0 h 4"/>
                <a:gd name="T6" fmla="*/ 4 w 4"/>
                <a:gd name="T7" fmla="*/ 4 h 4"/>
              </a:gdLst>
              <a:ahLst/>
              <a:cxnLst>
                <a:cxn ang="0">
                  <a:pos x="T0" y="T1"/>
                </a:cxn>
                <a:cxn ang="0">
                  <a:pos x="T2" y="T3"/>
                </a:cxn>
                <a:cxn ang="0">
                  <a:pos x="T4" y="T5"/>
                </a:cxn>
                <a:cxn ang="0">
                  <a:pos x="T6" y="T7"/>
                </a:cxn>
              </a:cxnLst>
              <a:rect l="0" t="0" r="r" b="b"/>
              <a:pathLst>
                <a:path w="4" h="4">
                  <a:moveTo>
                    <a:pt x="4" y="4"/>
                  </a:moveTo>
                  <a:lnTo>
                    <a:pt x="4" y="2"/>
                  </a:lnTo>
                  <a:lnTo>
                    <a:pt x="0"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6" name="Freeform 1003"/>
            <p:cNvSpPr>
              <a:spLocks/>
            </p:cNvSpPr>
            <p:nvPr/>
          </p:nvSpPr>
          <p:spPr bwMode="auto">
            <a:xfrm>
              <a:off x="792163" y="6067425"/>
              <a:ext cx="6350" cy="6350"/>
            </a:xfrm>
            <a:custGeom>
              <a:avLst/>
              <a:gdLst>
                <a:gd name="T0" fmla="*/ 4 w 4"/>
                <a:gd name="T1" fmla="*/ 4 h 4"/>
                <a:gd name="T2" fmla="*/ 4 w 4"/>
                <a:gd name="T3" fmla="*/ 2 h 4"/>
                <a:gd name="T4" fmla="*/ 0 w 4"/>
                <a:gd name="T5" fmla="*/ 0 h 4"/>
                <a:gd name="T6" fmla="*/ 4 w 4"/>
                <a:gd name="T7" fmla="*/ 4 h 4"/>
              </a:gdLst>
              <a:ahLst/>
              <a:cxnLst>
                <a:cxn ang="0">
                  <a:pos x="T0" y="T1"/>
                </a:cxn>
                <a:cxn ang="0">
                  <a:pos x="T2" y="T3"/>
                </a:cxn>
                <a:cxn ang="0">
                  <a:pos x="T4" y="T5"/>
                </a:cxn>
                <a:cxn ang="0">
                  <a:pos x="T6" y="T7"/>
                </a:cxn>
              </a:cxnLst>
              <a:rect l="0" t="0" r="r" b="b"/>
              <a:pathLst>
                <a:path w="4" h="4">
                  <a:moveTo>
                    <a:pt x="4" y="4"/>
                  </a:moveTo>
                  <a:lnTo>
                    <a:pt x="4" y="2"/>
                  </a:lnTo>
                  <a:lnTo>
                    <a:pt x="0" y="0"/>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7" name="Freeform 1004"/>
            <p:cNvSpPr>
              <a:spLocks/>
            </p:cNvSpPr>
            <p:nvPr/>
          </p:nvSpPr>
          <p:spPr bwMode="auto">
            <a:xfrm>
              <a:off x="1065213" y="4995863"/>
              <a:ext cx="11113" cy="6350"/>
            </a:xfrm>
            <a:custGeom>
              <a:avLst/>
              <a:gdLst>
                <a:gd name="T0" fmla="*/ 7 w 7"/>
                <a:gd name="T1" fmla="*/ 2 h 4"/>
                <a:gd name="T2" fmla="*/ 7 w 7"/>
                <a:gd name="T3" fmla="*/ 0 h 4"/>
                <a:gd name="T4" fmla="*/ 0 w 7"/>
                <a:gd name="T5" fmla="*/ 4 h 4"/>
                <a:gd name="T6" fmla="*/ 7 w 7"/>
                <a:gd name="T7" fmla="*/ 2 h 4"/>
              </a:gdLst>
              <a:ahLst/>
              <a:cxnLst>
                <a:cxn ang="0">
                  <a:pos x="T0" y="T1"/>
                </a:cxn>
                <a:cxn ang="0">
                  <a:pos x="T2" y="T3"/>
                </a:cxn>
                <a:cxn ang="0">
                  <a:pos x="T4" y="T5"/>
                </a:cxn>
                <a:cxn ang="0">
                  <a:pos x="T6" y="T7"/>
                </a:cxn>
              </a:cxnLst>
              <a:rect l="0" t="0" r="r" b="b"/>
              <a:pathLst>
                <a:path w="7" h="4">
                  <a:moveTo>
                    <a:pt x="7" y="2"/>
                  </a:moveTo>
                  <a:lnTo>
                    <a:pt x="7" y="0"/>
                  </a:lnTo>
                  <a:lnTo>
                    <a:pt x="0" y="4"/>
                  </a:lnTo>
                  <a:lnTo>
                    <a:pt x="7"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98" name="Freeform 1005"/>
            <p:cNvSpPr>
              <a:spLocks/>
            </p:cNvSpPr>
            <p:nvPr/>
          </p:nvSpPr>
          <p:spPr bwMode="auto">
            <a:xfrm>
              <a:off x="1065213" y="4995863"/>
              <a:ext cx="11113" cy="6350"/>
            </a:xfrm>
            <a:custGeom>
              <a:avLst/>
              <a:gdLst>
                <a:gd name="T0" fmla="*/ 7 w 7"/>
                <a:gd name="T1" fmla="*/ 2 h 4"/>
                <a:gd name="T2" fmla="*/ 7 w 7"/>
                <a:gd name="T3" fmla="*/ 0 h 4"/>
                <a:gd name="T4" fmla="*/ 0 w 7"/>
                <a:gd name="T5" fmla="*/ 4 h 4"/>
                <a:gd name="T6" fmla="*/ 7 w 7"/>
                <a:gd name="T7" fmla="*/ 2 h 4"/>
              </a:gdLst>
              <a:ahLst/>
              <a:cxnLst>
                <a:cxn ang="0">
                  <a:pos x="T0" y="T1"/>
                </a:cxn>
                <a:cxn ang="0">
                  <a:pos x="T2" y="T3"/>
                </a:cxn>
                <a:cxn ang="0">
                  <a:pos x="T4" y="T5"/>
                </a:cxn>
                <a:cxn ang="0">
                  <a:pos x="T6" y="T7"/>
                </a:cxn>
              </a:cxnLst>
              <a:rect l="0" t="0" r="r" b="b"/>
              <a:pathLst>
                <a:path w="7" h="4">
                  <a:moveTo>
                    <a:pt x="7" y="2"/>
                  </a:moveTo>
                  <a:lnTo>
                    <a:pt x="7" y="0"/>
                  </a:lnTo>
                  <a:lnTo>
                    <a:pt x="0" y="4"/>
                  </a:lnTo>
                  <a:lnTo>
                    <a:pt x="7"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199" name="Freeform 1006"/>
            <p:cNvSpPr>
              <a:spLocks/>
            </p:cNvSpPr>
            <p:nvPr/>
          </p:nvSpPr>
          <p:spPr bwMode="auto">
            <a:xfrm>
              <a:off x="828675" y="6007100"/>
              <a:ext cx="98425" cy="46038"/>
            </a:xfrm>
            <a:custGeom>
              <a:avLst/>
              <a:gdLst>
                <a:gd name="T0" fmla="*/ 2 w 62"/>
                <a:gd name="T1" fmla="*/ 15 h 29"/>
                <a:gd name="T2" fmla="*/ 0 w 62"/>
                <a:gd name="T3" fmla="*/ 19 h 29"/>
                <a:gd name="T4" fmla="*/ 0 w 62"/>
                <a:gd name="T5" fmla="*/ 25 h 29"/>
                <a:gd name="T6" fmla="*/ 6 w 62"/>
                <a:gd name="T7" fmla="*/ 27 h 29"/>
                <a:gd name="T8" fmla="*/ 11 w 62"/>
                <a:gd name="T9" fmla="*/ 29 h 29"/>
                <a:gd name="T10" fmla="*/ 15 w 62"/>
                <a:gd name="T11" fmla="*/ 29 h 29"/>
                <a:gd name="T12" fmla="*/ 19 w 62"/>
                <a:gd name="T13" fmla="*/ 25 h 29"/>
                <a:gd name="T14" fmla="*/ 26 w 62"/>
                <a:gd name="T15" fmla="*/ 21 h 29"/>
                <a:gd name="T16" fmla="*/ 30 w 62"/>
                <a:gd name="T17" fmla="*/ 21 h 29"/>
                <a:gd name="T18" fmla="*/ 36 w 62"/>
                <a:gd name="T19" fmla="*/ 23 h 29"/>
                <a:gd name="T20" fmla="*/ 45 w 62"/>
                <a:gd name="T21" fmla="*/ 27 h 29"/>
                <a:gd name="T22" fmla="*/ 51 w 62"/>
                <a:gd name="T23" fmla="*/ 25 h 29"/>
                <a:gd name="T24" fmla="*/ 53 w 62"/>
                <a:gd name="T25" fmla="*/ 21 h 29"/>
                <a:gd name="T26" fmla="*/ 58 w 62"/>
                <a:gd name="T27" fmla="*/ 25 h 29"/>
                <a:gd name="T28" fmla="*/ 62 w 62"/>
                <a:gd name="T29" fmla="*/ 29 h 29"/>
                <a:gd name="T30" fmla="*/ 62 w 62"/>
                <a:gd name="T31" fmla="*/ 23 h 29"/>
                <a:gd name="T32" fmla="*/ 58 w 62"/>
                <a:gd name="T33" fmla="*/ 21 h 29"/>
                <a:gd name="T34" fmla="*/ 55 w 62"/>
                <a:gd name="T35" fmla="*/ 17 h 29"/>
                <a:gd name="T36" fmla="*/ 55 w 62"/>
                <a:gd name="T37" fmla="*/ 10 h 29"/>
                <a:gd name="T38" fmla="*/ 53 w 62"/>
                <a:gd name="T39" fmla="*/ 6 h 29"/>
                <a:gd name="T40" fmla="*/ 49 w 62"/>
                <a:gd name="T41" fmla="*/ 2 h 29"/>
                <a:gd name="T42" fmla="*/ 45 w 62"/>
                <a:gd name="T43" fmla="*/ 0 h 29"/>
                <a:gd name="T44" fmla="*/ 34 w 62"/>
                <a:gd name="T45" fmla="*/ 2 h 29"/>
                <a:gd name="T46" fmla="*/ 28 w 62"/>
                <a:gd name="T47" fmla="*/ 4 h 29"/>
                <a:gd name="T48" fmla="*/ 23 w 62"/>
                <a:gd name="T49" fmla="*/ 2 h 29"/>
                <a:gd name="T50" fmla="*/ 19 w 62"/>
                <a:gd name="T51" fmla="*/ 4 h 29"/>
                <a:gd name="T52" fmla="*/ 11 w 62"/>
                <a:gd name="T53" fmla="*/ 12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0" y="19"/>
                  </a:lnTo>
                  <a:lnTo>
                    <a:pt x="0" y="25"/>
                  </a:lnTo>
                  <a:lnTo>
                    <a:pt x="6" y="27"/>
                  </a:lnTo>
                  <a:lnTo>
                    <a:pt x="11" y="29"/>
                  </a:lnTo>
                  <a:lnTo>
                    <a:pt x="15" y="29"/>
                  </a:lnTo>
                  <a:lnTo>
                    <a:pt x="19" y="25"/>
                  </a:lnTo>
                  <a:lnTo>
                    <a:pt x="26" y="21"/>
                  </a:lnTo>
                  <a:lnTo>
                    <a:pt x="30" y="21"/>
                  </a:lnTo>
                  <a:lnTo>
                    <a:pt x="36" y="23"/>
                  </a:lnTo>
                  <a:lnTo>
                    <a:pt x="45" y="27"/>
                  </a:lnTo>
                  <a:lnTo>
                    <a:pt x="51" y="25"/>
                  </a:lnTo>
                  <a:lnTo>
                    <a:pt x="53" y="21"/>
                  </a:lnTo>
                  <a:lnTo>
                    <a:pt x="58" y="25"/>
                  </a:lnTo>
                  <a:lnTo>
                    <a:pt x="62" y="29"/>
                  </a:lnTo>
                  <a:lnTo>
                    <a:pt x="62" y="23"/>
                  </a:lnTo>
                  <a:lnTo>
                    <a:pt x="58" y="21"/>
                  </a:lnTo>
                  <a:lnTo>
                    <a:pt x="55" y="17"/>
                  </a:lnTo>
                  <a:lnTo>
                    <a:pt x="55" y="10"/>
                  </a:lnTo>
                  <a:lnTo>
                    <a:pt x="53" y="6"/>
                  </a:lnTo>
                  <a:lnTo>
                    <a:pt x="49" y="2"/>
                  </a:lnTo>
                  <a:lnTo>
                    <a:pt x="45" y="0"/>
                  </a:lnTo>
                  <a:lnTo>
                    <a:pt x="34" y="2"/>
                  </a:lnTo>
                  <a:lnTo>
                    <a:pt x="28" y="4"/>
                  </a:lnTo>
                  <a:lnTo>
                    <a:pt x="23" y="2"/>
                  </a:lnTo>
                  <a:lnTo>
                    <a:pt x="19" y="4"/>
                  </a:lnTo>
                  <a:lnTo>
                    <a:pt x="11" y="12"/>
                  </a:ln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0" name="Freeform 1007"/>
            <p:cNvSpPr>
              <a:spLocks/>
            </p:cNvSpPr>
            <p:nvPr/>
          </p:nvSpPr>
          <p:spPr bwMode="auto">
            <a:xfrm>
              <a:off x="828675" y="6007100"/>
              <a:ext cx="98425" cy="46038"/>
            </a:xfrm>
            <a:custGeom>
              <a:avLst/>
              <a:gdLst>
                <a:gd name="T0" fmla="*/ 2 w 62"/>
                <a:gd name="T1" fmla="*/ 15 h 29"/>
                <a:gd name="T2" fmla="*/ 0 w 62"/>
                <a:gd name="T3" fmla="*/ 19 h 29"/>
                <a:gd name="T4" fmla="*/ 0 w 62"/>
                <a:gd name="T5" fmla="*/ 25 h 29"/>
                <a:gd name="T6" fmla="*/ 6 w 62"/>
                <a:gd name="T7" fmla="*/ 27 h 29"/>
                <a:gd name="T8" fmla="*/ 11 w 62"/>
                <a:gd name="T9" fmla="*/ 29 h 29"/>
                <a:gd name="T10" fmla="*/ 15 w 62"/>
                <a:gd name="T11" fmla="*/ 29 h 29"/>
                <a:gd name="T12" fmla="*/ 19 w 62"/>
                <a:gd name="T13" fmla="*/ 25 h 29"/>
                <a:gd name="T14" fmla="*/ 26 w 62"/>
                <a:gd name="T15" fmla="*/ 21 h 29"/>
                <a:gd name="T16" fmla="*/ 30 w 62"/>
                <a:gd name="T17" fmla="*/ 21 h 29"/>
                <a:gd name="T18" fmla="*/ 36 w 62"/>
                <a:gd name="T19" fmla="*/ 23 h 29"/>
                <a:gd name="T20" fmla="*/ 45 w 62"/>
                <a:gd name="T21" fmla="*/ 27 h 29"/>
                <a:gd name="T22" fmla="*/ 51 w 62"/>
                <a:gd name="T23" fmla="*/ 25 h 29"/>
                <a:gd name="T24" fmla="*/ 53 w 62"/>
                <a:gd name="T25" fmla="*/ 21 h 29"/>
                <a:gd name="T26" fmla="*/ 58 w 62"/>
                <a:gd name="T27" fmla="*/ 25 h 29"/>
                <a:gd name="T28" fmla="*/ 62 w 62"/>
                <a:gd name="T29" fmla="*/ 29 h 29"/>
                <a:gd name="T30" fmla="*/ 62 w 62"/>
                <a:gd name="T31" fmla="*/ 23 h 29"/>
                <a:gd name="T32" fmla="*/ 58 w 62"/>
                <a:gd name="T33" fmla="*/ 21 h 29"/>
                <a:gd name="T34" fmla="*/ 55 w 62"/>
                <a:gd name="T35" fmla="*/ 17 h 29"/>
                <a:gd name="T36" fmla="*/ 55 w 62"/>
                <a:gd name="T37" fmla="*/ 10 h 29"/>
                <a:gd name="T38" fmla="*/ 53 w 62"/>
                <a:gd name="T39" fmla="*/ 6 h 29"/>
                <a:gd name="T40" fmla="*/ 49 w 62"/>
                <a:gd name="T41" fmla="*/ 2 h 29"/>
                <a:gd name="T42" fmla="*/ 45 w 62"/>
                <a:gd name="T43" fmla="*/ 0 h 29"/>
                <a:gd name="T44" fmla="*/ 34 w 62"/>
                <a:gd name="T45" fmla="*/ 2 h 29"/>
                <a:gd name="T46" fmla="*/ 28 w 62"/>
                <a:gd name="T47" fmla="*/ 4 h 29"/>
                <a:gd name="T48" fmla="*/ 23 w 62"/>
                <a:gd name="T49" fmla="*/ 2 h 29"/>
                <a:gd name="T50" fmla="*/ 19 w 62"/>
                <a:gd name="T51" fmla="*/ 4 h 29"/>
                <a:gd name="T52" fmla="*/ 11 w 62"/>
                <a:gd name="T53" fmla="*/ 12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0" y="19"/>
                  </a:lnTo>
                  <a:lnTo>
                    <a:pt x="0" y="25"/>
                  </a:lnTo>
                  <a:lnTo>
                    <a:pt x="6" y="27"/>
                  </a:lnTo>
                  <a:lnTo>
                    <a:pt x="11" y="29"/>
                  </a:lnTo>
                  <a:lnTo>
                    <a:pt x="15" y="29"/>
                  </a:lnTo>
                  <a:lnTo>
                    <a:pt x="19" y="25"/>
                  </a:lnTo>
                  <a:lnTo>
                    <a:pt x="26" y="21"/>
                  </a:lnTo>
                  <a:lnTo>
                    <a:pt x="30" y="21"/>
                  </a:lnTo>
                  <a:lnTo>
                    <a:pt x="36" y="23"/>
                  </a:lnTo>
                  <a:lnTo>
                    <a:pt x="45" y="27"/>
                  </a:lnTo>
                  <a:lnTo>
                    <a:pt x="51" y="25"/>
                  </a:lnTo>
                  <a:lnTo>
                    <a:pt x="53" y="21"/>
                  </a:lnTo>
                  <a:lnTo>
                    <a:pt x="58" y="25"/>
                  </a:lnTo>
                  <a:lnTo>
                    <a:pt x="62" y="29"/>
                  </a:lnTo>
                  <a:lnTo>
                    <a:pt x="62" y="23"/>
                  </a:lnTo>
                  <a:lnTo>
                    <a:pt x="58" y="21"/>
                  </a:lnTo>
                  <a:lnTo>
                    <a:pt x="55" y="17"/>
                  </a:lnTo>
                  <a:lnTo>
                    <a:pt x="55" y="10"/>
                  </a:lnTo>
                  <a:lnTo>
                    <a:pt x="53" y="6"/>
                  </a:lnTo>
                  <a:lnTo>
                    <a:pt x="49" y="2"/>
                  </a:lnTo>
                  <a:lnTo>
                    <a:pt x="45" y="0"/>
                  </a:lnTo>
                  <a:lnTo>
                    <a:pt x="34" y="2"/>
                  </a:lnTo>
                  <a:lnTo>
                    <a:pt x="28" y="4"/>
                  </a:lnTo>
                  <a:lnTo>
                    <a:pt x="23" y="2"/>
                  </a:lnTo>
                  <a:lnTo>
                    <a:pt x="19" y="4"/>
                  </a:lnTo>
                  <a:lnTo>
                    <a:pt x="11" y="12"/>
                  </a:lnTo>
                  <a:lnTo>
                    <a:pt x="2"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1" name="Freeform 1008"/>
            <p:cNvSpPr>
              <a:spLocks/>
            </p:cNvSpPr>
            <p:nvPr/>
          </p:nvSpPr>
          <p:spPr bwMode="auto">
            <a:xfrm>
              <a:off x="936625" y="6070600"/>
              <a:ext cx="11113" cy="14288"/>
            </a:xfrm>
            <a:custGeom>
              <a:avLst/>
              <a:gdLst>
                <a:gd name="T0" fmla="*/ 2 w 7"/>
                <a:gd name="T1" fmla="*/ 2 h 9"/>
                <a:gd name="T2" fmla="*/ 0 w 7"/>
                <a:gd name="T3" fmla="*/ 0 h 9"/>
                <a:gd name="T4" fmla="*/ 0 w 7"/>
                <a:gd name="T5" fmla="*/ 6 h 9"/>
                <a:gd name="T6" fmla="*/ 4 w 7"/>
                <a:gd name="T7" fmla="*/ 9 h 9"/>
                <a:gd name="T8" fmla="*/ 7 w 7"/>
                <a:gd name="T9" fmla="*/ 4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0" y="0"/>
                  </a:lnTo>
                  <a:lnTo>
                    <a:pt x="0" y="6"/>
                  </a:lnTo>
                  <a:lnTo>
                    <a:pt x="4" y="9"/>
                  </a:lnTo>
                  <a:lnTo>
                    <a:pt x="7" y="4"/>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2" name="Freeform 1009"/>
            <p:cNvSpPr>
              <a:spLocks/>
            </p:cNvSpPr>
            <p:nvPr/>
          </p:nvSpPr>
          <p:spPr bwMode="auto">
            <a:xfrm>
              <a:off x="936625" y="6070600"/>
              <a:ext cx="11113" cy="14288"/>
            </a:xfrm>
            <a:custGeom>
              <a:avLst/>
              <a:gdLst>
                <a:gd name="T0" fmla="*/ 2 w 7"/>
                <a:gd name="T1" fmla="*/ 2 h 9"/>
                <a:gd name="T2" fmla="*/ 0 w 7"/>
                <a:gd name="T3" fmla="*/ 0 h 9"/>
                <a:gd name="T4" fmla="*/ 0 w 7"/>
                <a:gd name="T5" fmla="*/ 6 h 9"/>
                <a:gd name="T6" fmla="*/ 4 w 7"/>
                <a:gd name="T7" fmla="*/ 9 h 9"/>
                <a:gd name="T8" fmla="*/ 7 w 7"/>
                <a:gd name="T9" fmla="*/ 4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0" y="0"/>
                  </a:lnTo>
                  <a:lnTo>
                    <a:pt x="0" y="6"/>
                  </a:lnTo>
                  <a:lnTo>
                    <a:pt x="4" y="9"/>
                  </a:lnTo>
                  <a:lnTo>
                    <a:pt x="7" y="4"/>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3" name="Freeform 1010"/>
            <p:cNvSpPr>
              <a:spLocks/>
            </p:cNvSpPr>
            <p:nvPr/>
          </p:nvSpPr>
          <p:spPr bwMode="auto">
            <a:xfrm>
              <a:off x="966788" y="6037263"/>
              <a:ext cx="11113" cy="6350"/>
            </a:xfrm>
            <a:custGeom>
              <a:avLst/>
              <a:gdLst>
                <a:gd name="T0" fmla="*/ 7 w 7"/>
                <a:gd name="T1" fmla="*/ 0 h 4"/>
                <a:gd name="T2" fmla="*/ 3 w 7"/>
                <a:gd name="T3" fmla="*/ 0 h 4"/>
                <a:gd name="T4" fmla="*/ 0 w 7"/>
                <a:gd name="T5" fmla="*/ 4 h 4"/>
                <a:gd name="T6" fmla="*/ 5 w 7"/>
                <a:gd name="T7" fmla="*/ 4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3" y="0"/>
                  </a:lnTo>
                  <a:lnTo>
                    <a:pt x="0" y="4"/>
                  </a:lnTo>
                  <a:lnTo>
                    <a:pt x="5" y="4"/>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4" name="Freeform 1011"/>
            <p:cNvSpPr>
              <a:spLocks/>
            </p:cNvSpPr>
            <p:nvPr/>
          </p:nvSpPr>
          <p:spPr bwMode="auto">
            <a:xfrm>
              <a:off x="966788" y="6037263"/>
              <a:ext cx="11113" cy="6350"/>
            </a:xfrm>
            <a:custGeom>
              <a:avLst/>
              <a:gdLst>
                <a:gd name="T0" fmla="*/ 7 w 7"/>
                <a:gd name="T1" fmla="*/ 0 h 4"/>
                <a:gd name="T2" fmla="*/ 3 w 7"/>
                <a:gd name="T3" fmla="*/ 0 h 4"/>
                <a:gd name="T4" fmla="*/ 0 w 7"/>
                <a:gd name="T5" fmla="*/ 4 h 4"/>
                <a:gd name="T6" fmla="*/ 5 w 7"/>
                <a:gd name="T7" fmla="*/ 4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3" y="0"/>
                  </a:lnTo>
                  <a:lnTo>
                    <a:pt x="0" y="4"/>
                  </a:lnTo>
                  <a:lnTo>
                    <a:pt x="5" y="4"/>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5" name="Rectangle 1012"/>
            <p:cNvSpPr>
              <a:spLocks noChangeArrowheads="1"/>
            </p:cNvSpPr>
            <p:nvPr/>
          </p:nvSpPr>
          <p:spPr bwMode="auto">
            <a:xfrm>
              <a:off x="1173163" y="5259388"/>
              <a:ext cx="793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6" name="Rectangle 1013"/>
            <p:cNvSpPr>
              <a:spLocks noChangeArrowheads="1"/>
            </p:cNvSpPr>
            <p:nvPr/>
          </p:nvSpPr>
          <p:spPr bwMode="auto">
            <a:xfrm>
              <a:off x="1173163" y="5259388"/>
              <a:ext cx="7938" cy="6350"/>
            </a:xfrm>
            <a:prstGeom prst="rect">
              <a:avLst/>
            </a:pr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7" name="Freeform 1014"/>
            <p:cNvSpPr>
              <a:spLocks/>
            </p:cNvSpPr>
            <p:nvPr/>
          </p:nvSpPr>
          <p:spPr bwMode="auto">
            <a:xfrm>
              <a:off x="1004888" y="6026150"/>
              <a:ext cx="3175" cy="11113"/>
            </a:xfrm>
            <a:custGeom>
              <a:avLst/>
              <a:gdLst>
                <a:gd name="T0" fmla="*/ 2 w 2"/>
                <a:gd name="T1" fmla="*/ 0 h 7"/>
                <a:gd name="T2" fmla="*/ 0 w 2"/>
                <a:gd name="T3" fmla="*/ 0 h 7"/>
                <a:gd name="T4" fmla="*/ 2 w 2"/>
                <a:gd name="T5" fmla="*/ 7 h 7"/>
                <a:gd name="T6" fmla="*/ 2 w 2"/>
                <a:gd name="T7" fmla="*/ 0 h 7"/>
              </a:gdLst>
              <a:ahLst/>
              <a:cxnLst>
                <a:cxn ang="0">
                  <a:pos x="T0" y="T1"/>
                </a:cxn>
                <a:cxn ang="0">
                  <a:pos x="T2" y="T3"/>
                </a:cxn>
                <a:cxn ang="0">
                  <a:pos x="T4" y="T5"/>
                </a:cxn>
                <a:cxn ang="0">
                  <a:pos x="T6" y="T7"/>
                </a:cxn>
              </a:cxnLst>
              <a:rect l="0" t="0" r="r" b="b"/>
              <a:pathLst>
                <a:path w="2" h="7">
                  <a:moveTo>
                    <a:pt x="2" y="0"/>
                  </a:moveTo>
                  <a:lnTo>
                    <a:pt x="0" y="0"/>
                  </a:lnTo>
                  <a:lnTo>
                    <a:pt x="2"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08" name="Freeform 1015"/>
            <p:cNvSpPr>
              <a:spLocks/>
            </p:cNvSpPr>
            <p:nvPr/>
          </p:nvSpPr>
          <p:spPr bwMode="auto">
            <a:xfrm>
              <a:off x="1004888" y="6026150"/>
              <a:ext cx="3175" cy="11113"/>
            </a:xfrm>
            <a:custGeom>
              <a:avLst/>
              <a:gdLst>
                <a:gd name="T0" fmla="*/ 2 w 2"/>
                <a:gd name="T1" fmla="*/ 0 h 7"/>
                <a:gd name="T2" fmla="*/ 0 w 2"/>
                <a:gd name="T3" fmla="*/ 0 h 7"/>
                <a:gd name="T4" fmla="*/ 2 w 2"/>
                <a:gd name="T5" fmla="*/ 7 h 7"/>
                <a:gd name="T6" fmla="*/ 2 w 2"/>
                <a:gd name="T7" fmla="*/ 0 h 7"/>
              </a:gdLst>
              <a:ahLst/>
              <a:cxnLst>
                <a:cxn ang="0">
                  <a:pos x="T0" y="T1"/>
                </a:cxn>
                <a:cxn ang="0">
                  <a:pos x="T2" y="T3"/>
                </a:cxn>
                <a:cxn ang="0">
                  <a:pos x="T4" y="T5"/>
                </a:cxn>
                <a:cxn ang="0">
                  <a:pos x="T6" y="T7"/>
                </a:cxn>
              </a:cxnLst>
              <a:rect l="0" t="0" r="r" b="b"/>
              <a:pathLst>
                <a:path w="2" h="7">
                  <a:moveTo>
                    <a:pt x="2" y="0"/>
                  </a:moveTo>
                  <a:lnTo>
                    <a:pt x="0" y="0"/>
                  </a:lnTo>
                  <a:lnTo>
                    <a:pt x="2" y="7"/>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09" name="Freeform 1016"/>
            <p:cNvSpPr>
              <a:spLocks/>
            </p:cNvSpPr>
            <p:nvPr/>
          </p:nvSpPr>
          <p:spPr bwMode="auto">
            <a:xfrm>
              <a:off x="1119188" y="5711825"/>
              <a:ext cx="17463" cy="17463"/>
            </a:xfrm>
            <a:custGeom>
              <a:avLst/>
              <a:gdLst>
                <a:gd name="T0" fmla="*/ 0 w 11"/>
                <a:gd name="T1" fmla="*/ 7 h 11"/>
                <a:gd name="T2" fmla="*/ 0 w 11"/>
                <a:gd name="T3" fmla="*/ 11 h 11"/>
                <a:gd name="T4" fmla="*/ 7 w 11"/>
                <a:gd name="T5" fmla="*/ 11 h 11"/>
                <a:gd name="T6" fmla="*/ 9 w 11"/>
                <a:gd name="T7" fmla="*/ 7 h 11"/>
                <a:gd name="T8" fmla="*/ 11 w 11"/>
                <a:gd name="T9" fmla="*/ 0 h 11"/>
                <a:gd name="T10" fmla="*/ 7 w 11"/>
                <a:gd name="T11" fmla="*/ 2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0" y="11"/>
                  </a:lnTo>
                  <a:lnTo>
                    <a:pt x="7" y="11"/>
                  </a:lnTo>
                  <a:lnTo>
                    <a:pt x="9" y="7"/>
                  </a:lnTo>
                  <a:lnTo>
                    <a:pt x="11" y="0"/>
                  </a:lnTo>
                  <a:lnTo>
                    <a:pt x="7" y="2"/>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0" name="Freeform 1017"/>
            <p:cNvSpPr>
              <a:spLocks/>
            </p:cNvSpPr>
            <p:nvPr/>
          </p:nvSpPr>
          <p:spPr bwMode="auto">
            <a:xfrm>
              <a:off x="1119188" y="5711825"/>
              <a:ext cx="17463" cy="17463"/>
            </a:xfrm>
            <a:custGeom>
              <a:avLst/>
              <a:gdLst>
                <a:gd name="T0" fmla="*/ 0 w 11"/>
                <a:gd name="T1" fmla="*/ 7 h 11"/>
                <a:gd name="T2" fmla="*/ 0 w 11"/>
                <a:gd name="T3" fmla="*/ 11 h 11"/>
                <a:gd name="T4" fmla="*/ 7 w 11"/>
                <a:gd name="T5" fmla="*/ 11 h 11"/>
                <a:gd name="T6" fmla="*/ 9 w 11"/>
                <a:gd name="T7" fmla="*/ 7 h 11"/>
                <a:gd name="T8" fmla="*/ 11 w 11"/>
                <a:gd name="T9" fmla="*/ 0 h 11"/>
                <a:gd name="T10" fmla="*/ 7 w 11"/>
                <a:gd name="T11" fmla="*/ 2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0" y="11"/>
                  </a:lnTo>
                  <a:lnTo>
                    <a:pt x="7" y="11"/>
                  </a:lnTo>
                  <a:lnTo>
                    <a:pt x="9" y="7"/>
                  </a:lnTo>
                  <a:lnTo>
                    <a:pt x="11" y="0"/>
                  </a:lnTo>
                  <a:lnTo>
                    <a:pt x="7" y="2"/>
                  </a:lnTo>
                  <a:lnTo>
                    <a:pt x="0"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1" name="Freeform 1018"/>
            <p:cNvSpPr>
              <a:spLocks/>
            </p:cNvSpPr>
            <p:nvPr/>
          </p:nvSpPr>
          <p:spPr bwMode="auto">
            <a:xfrm>
              <a:off x="1055688" y="6019800"/>
              <a:ext cx="20638" cy="23813"/>
            </a:xfrm>
            <a:custGeom>
              <a:avLst/>
              <a:gdLst>
                <a:gd name="T0" fmla="*/ 8 w 13"/>
                <a:gd name="T1" fmla="*/ 0 h 15"/>
                <a:gd name="T2" fmla="*/ 4 w 13"/>
                <a:gd name="T3" fmla="*/ 0 h 15"/>
                <a:gd name="T4" fmla="*/ 0 w 13"/>
                <a:gd name="T5" fmla="*/ 4 h 15"/>
                <a:gd name="T6" fmla="*/ 0 w 13"/>
                <a:gd name="T7" fmla="*/ 9 h 15"/>
                <a:gd name="T8" fmla="*/ 0 w 13"/>
                <a:gd name="T9" fmla="*/ 15 h 15"/>
                <a:gd name="T10" fmla="*/ 10 w 13"/>
                <a:gd name="T11" fmla="*/ 11 h 15"/>
                <a:gd name="T12" fmla="*/ 8 w 13"/>
                <a:gd name="T13" fmla="*/ 7 h 15"/>
                <a:gd name="T14" fmla="*/ 13 w 13"/>
                <a:gd name="T15" fmla="*/ 2 h 15"/>
                <a:gd name="T16" fmla="*/ 6 w 13"/>
                <a:gd name="T17" fmla="*/ 4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4" y="0"/>
                  </a:lnTo>
                  <a:lnTo>
                    <a:pt x="0" y="4"/>
                  </a:lnTo>
                  <a:lnTo>
                    <a:pt x="0" y="9"/>
                  </a:lnTo>
                  <a:lnTo>
                    <a:pt x="0" y="15"/>
                  </a:lnTo>
                  <a:lnTo>
                    <a:pt x="10" y="11"/>
                  </a:lnTo>
                  <a:lnTo>
                    <a:pt x="8" y="7"/>
                  </a:lnTo>
                  <a:lnTo>
                    <a:pt x="13" y="2"/>
                  </a:lnTo>
                  <a:lnTo>
                    <a:pt x="6"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2" name="Freeform 1019"/>
            <p:cNvSpPr>
              <a:spLocks/>
            </p:cNvSpPr>
            <p:nvPr/>
          </p:nvSpPr>
          <p:spPr bwMode="auto">
            <a:xfrm>
              <a:off x="1055688" y="6019800"/>
              <a:ext cx="20638" cy="23813"/>
            </a:xfrm>
            <a:custGeom>
              <a:avLst/>
              <a:gdLst>
                <a:gd name="T0" fmla="*/ 8 w 13"/>
                <a:gd name="T1" fmla="*/ 0 h 15"/>
                <a:gd name="T2" fmla="*/ 4 w 13"/>
                <a:gd name="T3" fmla="*/ 0 h 15"/>
                <a:gd name="T4" fmla="*/ 0 w 13"/>
                <a:gd name="T5" fmla="*/ 4 h 15"/>
                <a:gd name="T6" fmla="*/ 0 w 13"/>
                <a:gd name="T7" fmla="*/ 9 h 15"/>
                <a:gd name="T8" fmla="*/ 0 w 13"/>
                <a:gd name="T9" fmla="*/ 15 h 15"/>
                <a:gd name="T10" fmla="*/ 10 w 13"/>
                <a:gd name="T11" fmla="*/ 11 h 15"/>
                <a:gd name="T12" fmla="*/ 8 w 13"/>
                <a:gd name="T13" fmla="*/ 7 h 15"/>
                <a:gd name="T14" fmla="*/ 13 w 13"/>
                <a:gd name="T15" fmla="*/ 2 h 15"/>
                <a:gd name="T16" fmla="*/ 6 w 13"/>
                <a:gd name="T17" fmla="*/ 4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4" y="0"/>
                  </a:lnTo>
                  <a:lnTo>
                    <a:pt x="0" y="4"/>
                  </a:lnTo>
                  <a:lnTo>
                    <a:pt x="0" y="9"/>
                  </a:lnTo>
                  <a:lnTo>
                    <a:pt x="0" y="15"/>
                  </a:lnTo>
                  <a:lnTo>
                    <a:pt x="10" y="11"/>
                  </a:lnTo>
                  <a:lnTo>
                    <a:pt x="8" y="7"/>
                  </a:lnTo>
                  <a:lnTo>
                    <a:pt x="13" y="2"/>
                  </a:lnTo>
                  <a:lnTo>
                    <a:pt x="6" y="4"/>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3" name="Freeform 1020"/>
            <p:cNvSpPr>
              <a:spLocks/>
            </p:cNvSpPr>
            <p:nvPr/>
          </p:nvSpPr>
          <p:spPr bwMode="auto">
            <a:xfrm>
              <a:off x="1076325" y="6026150"/>
              <a:ext cx="9525" cy="11113"/>
            </a:xfrm>
            <a:custGeom>
              <a:avLst/>
              <a:gdLst>
                <a:gd name="T0" fmla="*/ 6 w 6"/>
                <a:gd name="T1" fmla="*/ 0 h 7"/>
                <a:gd name="T2" fmla="*/ 6 w 6"/>
                <a:gd name="T3" fmla="*/ 0 h 7"/>
                <a:gd name="T4" fmla="*/ 0 w 6"/>
                <a:gd name="T5" fmla="*/ 3 h 7"/>
                <a:gd name="T6" fmla="*/ 4 w 6"/>
                <a:gd name="T7" fmla="*/ 7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6" y="0"/>
                  </a:lnTo>
                  <a:lnTo>
                    <a:pt x="0" y="3"/>
                  </a:lnTo>
                  <a:lnTo>
                    <a:pt x="4" y="7"/>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4" name="Freeform 1021"/>
            <p:cNvSpPr>
              <a:spLocks/>
            </p:cNvSpPr>
            <p:nvPr/>
          </p:nvSpPr>
          <p:spPr bwMode="auto">
            <a:xfrm>
              <a:off x="1076325" y="6026150"/>
              <a:ext cx="9525" cy="11113"/>
            </a:xfrm>
            <a:custGeom>
              <a:avLst/>
              <a:gdLst>
                <a:gd name="T0" fmla="*/ 6 w 6"/>
                <a:gd name="T1" fmla="*/ 0 h 7"/>
                <a:gd name="T2" fmla="*/ 6 w 6"/>
                <a:gd name="T3" fmla="*/ 0 h 7"/>
                <a:gd name="T4" fmla="*/ 0 w 6"/>
                <a:gd name="T5" fmla="*/ 3 h 7"/>
                <a:gd name="T6" fmla="*/ 4 w 6"/>
                <a:gd name="T7" fmla="*/ 7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6" y="0"/>
                  </a:lnTo>
                  <a:lnTo>
                    <a:pt x="0" y="3"/>
                  </a:lnTo>
                  <a:lnTo>
                    <a:pt x="4" y="7"/>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5" name="Freeform 1022"/>
            <p:cNvSpPr>
              <a:spLocks/>
            </p:cNvSpPr>
            <p:nvPr/>
          </p:nvSpPr>
          <p:spPr bwMode="auto">
            <a:xfrm>
              <a:off x="1082675" y="6040438"/>
              <a:ext cx="23813" cy="30163"/>
            </a:xfrm>
            <a:custGeom>
              <a:avLst/>
              <a:gdLst>
                <a:gd name="T0" fmla="*/ 8 w 15"/>
                <a:gd name="T1" fmla="*/ 11 h 19"/>
                <a:gd name="T2" fmla="*/ 13 w 15"/>
                <a:gd name="T3" fmla="*/ 4 h 19"/>
                <a:gd name="T4" fmla="*/ 15 w 15"/>
                <a:gd name="T5" fmla="*/ 0 h 19"/>
                <a:gd name="T6" fmla="*/ 10 w 15"/>
                <a:gd name="T7" fmla="*/ 4 h 19"/>
                <a:gd name="T8" fmla="*/ 6 w 15"/>
                <a:gd name="T9" fmla="*/ 4 h 19"/>
                <a:gd name="T10" fmla="*/ 4 w 15"/>
                <a:gd name="T11" fmla="*/ 8 h 19"/>
                <a:gd name="T12" fmla="*/ 2 w 15"/>
                <a:gd name="T13" fmla="*/ 15 h 19"/>
                <a:gd name="T14" fmla="*/ 0 w 15"/>
                <a:gd name="T15" fmla="*/ 19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13" y="4"/>
                  </a:lnTo>
                  <a:lnTo>
                    <a:pt x="15" y="0"/>
                  </a:lnTo>
                  <a:lnTo>
                    <a:pt x="10" y="4"/>
                  </a:lnTo>
                  <a:lnTo>
                    <a:pt x="6" y="4"/>
                  </a:lnTo>
                  <a:lnTo>
                    <a:pt x="4" y="8"/>
                  </a:lnTo>
                  <a:lnTo>
                    <a:pt x="2" y="15"/>
                  </a:lnTo>
                  <a:lnTo>
                    <a:pt x="0" y="19"/>
                  </a:lnTo>
                  <a:lnTo>
                    <a:pt x="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6" name="Freeform 1023"/>
            <p:cNvSpPr>
              <a:spLocks/>
            </p:cNvSpPr>
            <p:nvPr/>
          </p:nvSpPr>
          <p:spPr bwMode="auto">
            <a:xfrm>
              <a:off x="1082675" y="6040438"/>
              <a:ext cx="23813" cy="30163"/>
            </a:xfrm>
            <a:custGeom>
              <a:avLst/>
              <a:gdLst>
                <a:gd name="T0" fmla="*/ 8 w 15"/>
                <a:gd name="T1" fmla="*/ 11 h 19"/>
                <a:gd name="T2" fmla="*/ 13 w 15"/>
                <a:gd name="T3" fmla="*/ 4 h 19"/>
                <a:gd name="T4" fmla="*/ 15 w 15"/>
                <a:gd name="T5" fmla="*/ 0 h 19"/>
                <a:gd name="T6" fmla="*/ 10 w 15"/>
                <a:gd name="T7" fmla="*/ 4 h 19"/>
                <a:gd name="T8" fmla="*/ 6 w 15"/>
                <a:gd name="T9" fmla="*/ 4 h 19"/>
                <a:gd name="T10" fmla="*/ 4 w 15"/>
                <a:gd name="T11" fmla="*/ 8 h 19"/>
                <a:gd name="T12" fmla="*/ 2 w 15"/>
                <a:gd name="T13" fmla="*/ 15 h 19"/>
                <a:gd name="T14" fmla="*/ 0 w 15"/>
                <a:gd name="T15" fmla="*/ 19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13" y="4"/>
                  </a:lnTo>
                  <a:lnTo>
                    <a:pt x="15" y="0"/>
                  </a:lnTo>
                  <a:lnTo>
                    <a:pt x="10" y="4"/>
                  </a:lnTo>
                  <a:lnTo>
                    <a:pt x="6" y="4"/>
                  </a:lnTo>
                  <a:lnTo>
                    <a:pt x="4" y="8"/>
                  </a:lnTo>
                  <a:lnTo>
                    <a:pt x="2" y="15"/>
                  </a:lnTo>
                  <a:lnTo>
                    <a:pt x="0" y="19"/>
                  </a:lnTo>
                  <a:lnTo>
                    <a:pt x="8"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7" name="Freeform 1024"/>
            <p:cNvSpPr>
              <a:spLocks/>
            </p:cNvSpPr>
            <p:nvPr/>
          </p:nvSpPr>
          <p:spPr bwMode="auto">
            <a:xfrm>
              <a:off x="1119188" y="6046788"/>
              <a:ext cx="3175" cy="17463"/>
            </a:xfrm>
            <a:custGeom>
              <a:avLst/>
              <a:gdLst>
                <a:gd name="T0" fmla="*/ 2 w 2"/>
                <a:gd name="T1" fmla="*/ 0 h 11"/>
                <a:gd name="T2" fmla="*/ 2 w 2"/>
                <a:gd name="T3" fmla="*/ 0 h 11"/>
                <a:gd name="T4" fmla="*/ 0 w 2"/>
                <a:gd name="T5" fmla="*/ 4 h 11"/>
                <a:gd name="T6" fmla="*/ 0 w 2"/>
                <a:gd name="T7" fmla="*/ 11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2" y="0"/>
                  </a:lnTo>
                  <a:lnTo>
                    <a:pt x="0" y="4"/>
                  </a:lnTo>
                  <a:lnTo>
                    <a:pt x="0" y="11"/>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18" name="Freeform 1025"/>
            <p:cNvSpPr>
              <a:spLocks/>
            </p:cNvSpPr>
            <p:nvPr/>
          </p:nvSpPr>
          <p:spPr bwMode="auto">
            <a:xfrm>
              <a:off x="1119188" y="6046788"/>
              <a:ext cx="3175" cy="17463"/>
            </a:xfrm>
            <a:custGeom>
              <a:avLst/>
              <a:gdLst>
                <a:gd name="T0" fmla="*/ 2 w 2"/>
                <a:gd name="T1" fmla="*/ 0 h 11"/>
                <a:gd name="T2" fmla="*/ 2 w 2"/>
                <a:gd name="T3" fmla="*/ 0 h 11"/>
                <a:gd name="T4" fmla="*/ 0 w 2"/>
                <a:gd name="T5" fmla="*/ 4 h 11"/>
                <a:gd name="T6" fmla="*/ 0 w 2"/>
                <a:gd name="T7" fmla="*/ 11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2" y="0"/>
                  </a:lnTo>
                  <a:lnTo>
                    <a:pt x="0" y="4"/>
                  </a:lnTo>
                  <a:lnTo>
                    <a:pt x="0" y="11"/>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19" name="Freeform 1026"/>
            <p:cNvSpPr>
              <a:spLocks/>
            </p:cNvSpPr>
            <p:nvPr/>
          </p:nvSpPr>
          <p:spPr bwMode="auto">
            <a:xfrm>
              <a:off x="1122363" y="6064250"/>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0" name="Freeform 1027"/>
            <p:cNvSpPr>
              <a:spLocks/>
            </p:cNvSpPr>
            <p:nvPr/>
          </p:nvSpPr>
          <p:spPr bwMode="auto">
            <a:xfrm>
              <a:off x="1122363" y="6064250"/>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1" name="Freeform 1028"/>
            <p:cNvSpPr>
              <a:spLocks/>
            </p:cNvSpPr>
            <p:nvPr/>
          </p:nvSpPr>
          <p:spPr bwMode="auto">
            <a:xfrm>
              <a:off x="1169988" y="5995988"/>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2" name="Freeform 1029"/>
            <p:cNvSpPr>
              <a:spLocks/>
            </p:cNvSpPr>
            <p:nvPr/>
          </p:nvSpPr>
          <p:spPr bwMode="auto">
            <a:xfrm>
              <a:off x="1169988" y="5995988"/>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3" name="Freeform 1030"/>
            <p:cNvSpPr>
              <a:spLocks/>
            </p:cNvSpPr>
            <p:nvPr/>
          </p:nvSpPr>
          <p:spPr bwMode="auto">
            <a:xfrm>
              <a:off x="1262063" y="5948363"/>
              <a:ext cx="9525" cy="7938"/>
            </a:xfrm>
            <a:custGeom>
              <a:avLst/>
              <a:gdLst>
                <a:gd name="T0" fmla="*/ 2 w 6"/>
                <a:gd name="T1" fmla="*/ 0 h 5"/>
                <a:gd name="T2" fmla="*/ 0 w 6"/>
                <a:gd name="T3" fmla="*/ 5 h 5"/>
                <a:gd name="T4" fmla="*/ 6 w 6"/>
                <a:gd name="T5" fmla="*/ 3 h 5"/>
                <a:gd name="T6" fmla="*/ 2 w 6"/>
                <a:gd name="T7" fmla="*/ 0 h 5"/>
              </a:gdLst>
              <a:ahLst/>
              <a:cxnLst>
                <a:cxn ang="0">
                  <a:pos x="T0" y="T1"/>
                </a:cxn>
                <a:cxn ang="0">
                  <a:pos x="T2" y="T3"/>
                </a:cxn>
                <a:cxn ang="0">
                  <a:pos x="T4" y="T5"/>
                </a:cxn>
                <a:cxn ang="0">
                  <a:pos x="T6" y="T7"/>
                </a:cxn>
              </a:cxnLst>
              <a:rect l="0" t="0" r="r" b="b"/>
              <a:pathLst>
                <a:path w="6" h="5">
                  <a:moveTo>
                    <a:pt x="2" y="0"/>
                  </a:moveTo>
                  <a:lnTo>
                    <a:pt x="0" y="5"/>
                  </a:lnTo>
                  <a:lnTo>
                    <a:pt x="6" y="3"/>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4" name="Freeform 1031"/>
            <p:cNvSpPr>
              <a:spLocks/>
            </p:cNvSpPr>
            <p:nvPr/>
          </p:nvSpPr>
          <p:spPr bwMode="auto">
            <a:xfrm>
              <a:off x="1262063" y="5948363"/>
              <a:ext cx="9525" cy="7938"/>
            </a:xfrm>
            <a:custGeom>
              <a:avLst/>
              <a:gdLst>
                <a:gd name="T0" fmla="*/ 2 w 6"/>
                <a:gd name="T1" fmla="*/ 0 h 5"/>
                <a:gd name="T2" fmla="*/ 0 w 6"/>
                <a:gd name="T3" fmla="*/ 5 h 5"/>
                <a:gd name="T4" fmla="*/ 6 w 6"/>
                <a:gd name="T5" fmla="*/ 3 h 5"/>
                <a:gd name="T6" fmla="*/ 2 w 6"/>
                <a:gd name="T7" fmla="*/ 0 h 5"/>
              </a:gdLst>
              <a:ahLst/>
              <a:cxnLst>
                <a:cxn ang="0">
                  <a:pos x="T0" y="T1"/>
                </a:cxn>
                <a:cxn ang="0">
                  <a:pos x="T2" y="T3"/>
                </a:cxn>
                <a:cxn ang="0">
                  <a:pos x="T4" y="T5"/>
                </a:cxn>
                <a:cxn ang="0">
                  <a:pos x="T6" y="T7"/>
                </a:cxn>
              </a:cxnLst>
              <a:rect l="0" t="0" r="r" b="b"/>
              <a:pathLst>
                <a:path w="6" h="5">
                  <a:moveTo>
                    <a:pt x="2" y="0"/>
                  </a:moveTo>
                  <a:lnTo>
                    <a:pt x="0" y="5"/>
                  </a:lnTo>
                  <a:lnTo>
                    <a:pt x="6" y="3"/>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5" name="Freeform 1032"/>
            <p:cNvSpPr>
              <a:spLocks/>
            </p:cNvSpPr>
            <p:nvPr/>
          </p:nvSpPr>
          <p:spPr bwMode="auto">
            <a:xfrm>
              <a:off x="1328738" y="6026150"/>
              <a:ext cx="11113" cy="11113"/>
            </a:xfrm>
            <a:custGeom>
              <a:avLst/>
              <a:gdLst>
                <a:gd name="T0" fmla="*/ 7 w 7"/>
                <a:gd name="T1" fmla="*/ 0 h 7"/>
                <a:gd name="T2" fmla="*/ 2 w 7"/>
                <a:gd name="T3" fmla="*/ 3 h 7"/>
                <a:gd name="T4" fmla="*/ 0 w 7"/>
                <a:gd name="T5" fmla="*/ 7 h 7"/>
                <a:gd name="T6" fmla="*/ 4 w 7"/>
                <a:gd name="T7" fmla="*/ 5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2" y="3"/>
                  </a:lnTo>
                  <a:lnTo>
                    <a:pt x="0" y="7"/>
                  </a:lnTo>
                  <a:lnTo>
                    <a:pt x="4" y="5"/>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6" name="Freeform 1033"/>
            <p:cNvSpPr>
              <a:spLocks/>
            </p:cNvSpPr>
            <p:nvPr/>
          </p:nvSpPr>
          <p:spPr bwMode="auto">
            <a:xfrm>
              <a:off x="1328738" y="6026150"/>
              <a:ext cx="11113" cy="11113"/>
            </a:xfrm>
            <a:custGeom>
              <a:avLst/>
              <a:gdLst>
                <a:gd name="T0" fmla="*/ 7 w 7"/>
                <a:gd name="T1" fmla="*/ 0 h 7"/>
                <a:gd name="T2" fmla="*/ 2 w 7"/>
                <a:gd name="T3" fmla="*/ 3 h 7"/>
                <a:gd name="T4" fmla="*/ 0 w 7"/>
                <a:gd name="T5" fmla="*/ 7 h 7"/>
                <a:gd name="T6" fmla="*/ 4 w 7"/>
                <a:gd name="T7" fmla="*/ 5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2" y="3"/>
                  </a:lnTo>
                  <a:lnTo>
                    <a:pt x="0" y="7"/>
                  </a:lnTo>
                  <a:lnTo>
                    <a:pt x="4" y="5"/>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7" name="Freeform 1034"/>
            <p:cNvSpPr>
              <a:spLocks/>
            </p:cNvSpPr>
            <p:nvPr/>
          </p:nvSpPr>
          <p:spPr bwMode="auto">
            <a:xfrm>
              <a:off x="1397000" y="5851525"/>
              <a:ext cx="131763" cy="111125"/>
            </a:xfrm>
            <a:custGeom>
              <a:avLst/>
              <a:gdLst>
                <a:gd name="T0" fmla="*/ 49 w 83"/>
                <a:gd name="T1" fmla="*/ 44 h 70"/>
                <a:gd name="T2" fmla="*/ 49 w 83"/>
                <a:gd name="T3" fmla="*/ 40 h 70"/>
                <a:gd name="T4" fmla="*/ 59 w 83"/>
                <a:gd name="T5" fmla="*/ 42 h 70"/>
                <a:gd name="T6" fmla="*/ 68 w 83"/>
                <a:gd name="T7" fmla="*/ 40 h 70"/>
                <a:gd name="T8" fmla="*/ 59 w 83"/>
                <a:gd name="T9" fmla="*/ 32 h 70"/>
                <a:gd name="T10" fmla="*/ 70 w 83"/>
                <a:gd name="T11" fmla="*/ 34 h 70"/>
                <a:gd name="T12" fmla="*/ 83 w 83"/>
                <a:gd name="T13" fmla="*/ 27 h 70"/>
                <a:gd name="T14" fmla="*/ 74 w 83"/>
                <a:gd name="T15" fmla="*/ 19 h 70"/>
                <a:gd name="T16" fmla="*/ 76 w 83"/>
                <a:gd name="T17" fmla="*/ 8 h 70"/>
                <a:gd name="T18" fmla="*/ 68 w 83"/>
                <a:gd name="T19" fmla="*/ 10 h 70"/>
                <a:gd name="T20" fmla="*/ 62 w 83"/>
                <a:gd name="T21" fmla="*/ 4 h 70"/>
                <a:gd name="T22" fmla="*/ 53 w 83"/>
                <a:gd name="T23" fmla="*/ 0 h 70"/>
                <a:gd name="T24" fmla="*/ 53 w 83"/>
                <a:gd name="T25" fmla="*/ 10 h 70"/>
                <a:gd name="T26" fmla="*/ 49 w 83"/>
                <a:gd name="T27" fmla="*/ 10 h 70"/>
                <a:gd name="T28" fmla="*/ 45 w 83"/>
                <a:gd name="T29" fmla="*/ 12 h 70"/>
                <a:gd name="T30" fmla="*/ 42 w 83"/>
                <a:gd name="T31" fmla="*/ 12 h 70"/>
                <a:gd name="T32" fmla="*/ 34 w 83"/>
                <a:gd name="T33" fmla="*/ 6 h 70"/>
                <a:gd name="T34" fmla="*/ 32 w 83"/>
                <a:gd name="T35" fmla="*/ 15 h 70"/>
                <a:gd name="T36" fmla="*/ 32 w 83"/>
                <a:gd name="T37" fmla="*/ 21 h 70"/>
                <a:gd name="T38" fmla="*/ 32 w 83"/>
                <a:gd name="T39" fmla="*/ 21 h 70"/>
                <a:gd name="T40" fmla="*/ 32 w 83"/>
                <a:gd name="T41" fmla="*/ 38 h 70"/>
                <a:gd name="T42" fmla="*/ 27 w 83"/>
                <a:gd name="T43" fmla="*/ 27 h 70"/>
                <a:gd name="T44" fmla="*/ 27 w 83"/>
                <a:gd name="T45" fmla="*/ 19 h 70"/>
                <a:gd name="T46" fmla="*/ 17 w 83"/>
                <a:gd name="T47" fmla="*/ 17 h 70"/>
                <a:gd name="T48" fmla="*/ 0 w 83"/>
                <a:gd name="T49" fmla="*/ 32 h 70"/>
                <a:gd name="T50" fmla="*/ 6 w 83"/>
                <a:gd name="T51" fmla="*/ 42 h 70"/>
                <a:gd name="T52" fmla="*/ 4 w 83"/>
                <a:gd name="T53" fmla="*/ 53 h 70"/>
                <a:gd name="T54" fmla="*/ 10 w 83"/>
                <a:gd name="T55" fmla="*/ 61 h 70"/>
                <a:gd name="T56" fmla="*/ 19 w 83"/>
                <a:gd name="T57" fmla="*/ 46 h 70"/>
                <a:gd name="T58" fmla="*/ 8 w 83"/>
                <a:gd name="T59" fmla="*/ 49 h 70"/>
                <a:gd name="T60" fmla="*/ 17 w 83"/>
                <a:gd name="T61" fmla="*/ 44 h 70"/>
                <a:gd name="T62" fmla="*/ 19 w 83"/>
                <a:gd name="T63" fmla="*/ 53 h 70"/>
                <a:gd name="T64" fmla="*/ 30 w 83"/>
                <a:gd name="T65" fmla="*/ 46 h 70"/>
                <a:gd name="T66" fmla="*/ 27 w 83"/>
                <a:gd name="T67" fmla="*/ 55 h 70"/>
                <a:gd name="T68" fmla="*/ 15 w 83"/>
                <a:gd name="T69" fmla="*/ 68 h 70"/>
                <a:gd name="T70" fmla="*/ 30 w 83"/>
                <a:gd name="T71" fmla="*/ 61 h 70"/>
                <a:gd name="T72" fmla="*/ 32 w 83"/>
                <a:gd name="T73" fmla="*/ 53 h 70"/>
                <a:gd name="T74" fmla="*/ 38 w 83"/>
                <a:gd name="T7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49" y="44"/>
                  </a:lnTo>
                  <a:lnTo>
                    <a:pt x="53" y="46"/>
                  </a:lnTo>
                  <a:lnTo>
                    <a:pt x="49" y="40"/>
                  </a:lnTo>
                  <a:lnTo>
                    <a:pt x="55" y="40"/>
                  </a:lnTo>
                  <a:lnTo>
                    <a:pt x="59" y="42"/>
                  </a:lnTo>
                  <a:lnTo>
                    <a:pt x="64" y="44"/>
                  </a:lnTo>
                  <a:lnTo>
                    <a:pt x="68" y="40"/>
                  </a:lnTo>
                  <a:lnTo>
                    <a:pt x="64" y="34"/>
                  </a:lnTo>
                  <a:lnTo>
                    <a:pt x="59" y="32"/>
                  </a:lnTo>
                  <a:lnTo>
                    <a:pt x="66" y="29"/>
                  </a:lnTo>
                  <a:lnTo>
                    <a:pt x="70" y="34"/>
                  </a:lnTo>
                  <a:lnTo>
                    <a:pt x="74" y="36"/>
                  </a:lnTo>
                  <a:lnTo>
                    <a:pt x="83" y="27"/>
                  </a:lnTo>
                  <a:lnTo>
                    <a:pt x="79" y="25"/>
                  </a:lnTo>
                  <a:lnTo>
                    <a:pt x="74" y="19"/>
                  </a:lnTo>
                  <a:lnTo>
                    <a:pt x="79" y="15"/>
                  </a:lnTo>
                  <a:lnTo>
                    <a:pt x="76" y="8"/>
                  </a:lnTo>
                  <a:lnTo>
                    <a:pt x="72" y="6"/>
                  </a:lnTo>
                  <a:lnTo>
                    <a:pt x="68" y="10"/>
                  </a:lnTo>
                  <a:lnTo>
                    <a:pt x="64" y="15"/>
                  </a:lnTo>
                  <a:lnTo>
                    <a:pt x="62" y="4"/>
                  </a:lnTo>
                  <a:lnTo>
                    <a:pt x="57" y="4"/>
                  </a:lnTo>
                  <a:lnTo>
                    <a:pt x="53" y="0"/>
                  </a:lnTo>
                  <a:lnTo>
                    <a:pt x="55" y="6"/>
                  </a:lnTo>
                  <a:lnTo>
                    <a:pt x="53" y="10"/>
                  </a:lnTo>
                  <a:lnTo>
                    <a:pt x="53" y="17"/>
                  </a:lnTo>
                  <a:lnTo>
                    <a:pt x="49" y="10"/>
                  </a:lnTo>
                  <a:lnTo>
                    <a:pt x="49" y="17"/>
                  </a:lnTo>
                  <a:lnTo>
                    <a:pt x="45" y="12"/>
                  </a:lnTo>
                  <a:lnTo>
                    <a:pt x="42" y="17"/>
                  </a:lnTo>
                  <a:lnTo>
                    <a:pt x="42" y="12"/>
                  </a:lnTo>
                  <a:lnTo>
                    <a:pt x="40" y="6"/>
                  </a:lnTo>
                  <a:lnTo>
                    <a:pt x="34" y="6"/>
                  </a:lnTo>
                  <a:lnTo>
                    <a:pt x="30" y="8"/>
                  </a:lnTo>
                  <a:lnTo>
                    <a:pt x="32" y="15"/>
                  </a:lnTo>
                  <a:lnTo>
                    <a:pt x="36" y="17"/>
                  </a:lnTo>
                  <a:lnTo>
                    <a:pt x="32" y="21"/>
                  </a:lnTo>
                  <a:lnTo>
                    <a:pt x="36" y="25"/>
                  </a:lnTo>
                  <a:lnTo>
                    <a:pt x="32" y="21"/>
                  </a:lnTo>
                  <a:lnTo>
                    <a:pt x="32" y="32"/>
                  </a:lnTo>
                  <a:lnTo>
                    <a:pt x="32" y="38"/>
                  </a:lnTo>
                  <a:lnTo>
                    <a:pt x="30" y="32"/>
                  </a:lnTo>
                  <a:lnTo>
                    <a:pt x="27" y="27"/>
                  </a:lnTo>
                  <a:lnTo>
                    <a:pt x="23" y="23"/>
                  </a:lnTo>
                  <a:lnTo>
                    <a:pt x="27" y="19"/>
                  </a:lnTo>
                  <a:lnTo>
                    <a:pt x="23" y="17"/>
                  </a:lnTo>
                  <a:lnTo>
                    <a:pt x="17" y="17"/>
                  </a:lnTo>
                  <a:lnTo>
                    <a:pt x="6" y="23"/>
                  </a:lnTo>
                  <a:lnTo>
                    <a:pt x="0" y="32"/>
                  </a:lnTo>
                  <a:lnTo>
                    <a:pt x="4" y="36"/>
                  </a:lnTo>
                  <a:lnTo>
                    <a:pt x="6" y="42"/>
                  </a:lnTo>
                  <a:lnTo>
                    <a:pt x="6" y="46"/>
                  </a:lnTo>
                  <a:lnTo>
                    <a:pt x="4" y="53"/>
                  </a:lnTo>
                  <a:lnTo>
                    <a:pt x="10" y="55"/>
                  </a:lnTo>
                  <a:lnTo>
                    <a:pt x="10" y="61"/>
                  </a:lnTo>
                  <a:lnTo>
                    <a:pt x="17" y="57"/>
                  </a:lnTo>
                  <a:lnTo>
                    <a:pt x="19" y="46"/>
                  </a:lnTo>
                  <a:lnTo>
                    <a:pt x="15" y="46"/>
                  </a:lnTo>
                  <a:lnTo>
                    <a:pt x="8" y="49"/>
                  </a:lnTo>
                  <a:lnTo>
                    <a:pt x="10" y="44"/>
                  </a:lnTo>
                  <a:lnTo>
                    <a:pt x="17" y="44"/>
                  </a:lnTo>
                  <a:lnTo>
                    <a:pt x="21" y="46"/>
                  </a:lnTo>
                  <a:lnTo>
                    <a:pt x="19" y="53"/>
                  </a:lnTo>
                  <a:lnTo>
                    <a:pt x="23" y="51"/>
                  </a:lnTo>
                  <a:lnTo>
                    <a:pt x="30" y="46"/>
                  </a:lnTo>
                  <a:lnTo>
                    <a:pt x="23" y="55"/>
                  </a:lnTo>
                  <a:lnTo>
                    <a:pt x="27" y="55"/>
                  </a:lnTo>
                  <a:lnTo>
                    <a:pt x="17" y="64"/>
                  </a:lnTo>
                  <a:lnTo>
                    <a:pt x="15" y="68"/>
                  </a:lnTo>
                  <a:lnTo>
                    <a:pt x="21" y="70"/>
                  </a:lnTo>
                  <a:lnTo>
                    <a:pt x="30" y="61"/>
                  </a:lnTo>
                  <a:lnTo>
                    <a:pt x="36" y="57"/>
                  </a:lnTo>
                  <a:lnTo>
                    <a:pt x="32" y="53"/>
                  </a:lnTo>
                  <a:lnTo>
                    <a:pt x="36" y="53"/>
                  </a:lnTo>
                  <a:lnTo>
                    <a:pt x="38" y="46"/>
                  </a:ln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28" name="Freeform 1035"/>
            <p:cNvSpPr>
              <a:spLocks/>
            </p:cNvSpPr>
            <p:nvPr/>
          </p:nvSpPr>
          <p:spPr bwMode="auto">
            <a:xfrm>
              <a:off x="1397000" y="5851525"/>
              <a:ext cx="131763" cy="111125"/>
            </a:xfrm>
            <a:custGeom>
              <a:avLst/>
              <a:gdLst>
                <a:gd name="T0" fmla="*/ 49 w 83"/>
                <a:gd name="T1" fmla="*/ 44 h 70"/>
                <a:gd name="T2" fmla="*/ 49 w 83"/>
                <a:gd name="T3" fmla="*/ 40 h 70"/>
                <a:gd name="T4" fmla="*/ 59 w 83"/>
                <a:gd name="T5" fmla="*/ 42 h 70"/>
                <a:gd name="T6" fmla="*/ 68 w 83"/>
                <a:gd name="T7" fmla="*/ 40 h 70"/>
                <a:gd name="T8" fmla="*/ 59 w 83"/>
                <a:gd name="T9" fmla="*/ 32 h 70"/>
                <a:gd name="T10" fmla="*/ 70 w 83"/>
                <a:gd name="T11" fmla="*/ 34 h 70"/>
                <a:gd name="T12" fmla="*/ 83 w 83"/>
                <a:gd name="T13" fmla="*/ 27 h 70"/>
                <a:gd name="T14" fmla="*/ 74 w 83"/>
                <a:gd name="T15" fmla="*/ 19 h 70"/>
                <a:gd name="T16" fmla="*/ 76 w 83"/>
                <a:gd name="T17" fmla="*/ 8 h 70"/>
                <a:gd name="T18" fmla="*/ 68 w 83"/>
                <a:gd name="T19" fmla="*/ 10 h 70"/>
                <a:gd name="T20" fmla="*/ 62 w 83"/>
                <a:gd name="T21" fmla="*/ 4 h 70"/>
                <a:gd name="T22" fmla="*/ 53 w 83"/>
                <a:gd name="T23" fmla="*/ 0 h 70"/>
                <a:gd name="T24" fmla="*/ 53 w 83"/>
                <a:gd name="T25" fmla="*/ 10 h 70"/>
                <a:gd name="T26" fmla="*/ 49 w 83"/>
                <a:gd name="T27" fmla="*/ 10 h 70"/>
                <a:gd name="T28" fmla="*/ 45 w 83"/>
                <a:gd name="T29" fmla="*/ 12 h 70"/>
                <a:gd name="T30" fmla="*/ 42 w 83"/>
                <a:gd name="T31" fmla="*/ 12 h 70"/>
                <a:gd name="T32" fmla="*/ 34 w 83"/>
                <a:gd name="T33" fmla="*/ 6 h 70"/>
                <a:gd name="T34" fmla="*/ 32 w 83"/>
                <a:gd name="T35" fmla="*/ 15 h 70"/>
                <a:gd name="T36" fmla="*/ 32 w 83"/>
                <a:gd name="T37" fmla="*/ 21 h 70"/>
                <a:gd name="T38" fmla="*/ 32 w 83"/>
                <a:gd name="T39" fmla="*/ 21 h 70"/>
                <a:gd name="T40" fmla="*/ 32 w 83"/>
                <a:gd name="T41" fmla="*/ 38 h 70"/>
                <a:gd name="T42" fmla="*/ 27 w 83"/>
                <a:gd name="T43" fmla="*/ 27 h 70"/>
                <a:gd name="T44" fmla="*/ 27 w 83"/>
                <a:gd name="T45" fmla="*/ 19 h 70"/>
                <a:gd name="T46" fmla="*/ 17 w 83"/>
                <a:gd name="T47" fmla="*/ 17 h 70"/>
                <a:gd name="T48" fmla="*/ 0 w 83"/>
                <a:gd name="T49" fmla="*/ 32 h 70"/>
                <a:gd name="T50" fmla="*/ 6 w 83"/>
                <a:gd name="T51" fmla="*/ 42 h 70"/>
                <a:gd name="T52" fmla="*/ 4 w 83"/>
                <a:gd name="T53" fmla="*/ 53 h 70"/>
                <a:gd name="T54" fmla="*/ 10 w 83"/>
                <a:gd name="T55" fmla="*/ 61 h 70"/>
                <a:gd name="T56" fmla="*/ 19 w 83"/>
                <a:gd name="T57" fmla="*/ 46 h 70"/>
                <a:gd name="T58" fmla="*/ 8 w 83"/>
                <a:gd name="T59" fmla="*/ 49 h 70"/>
                <a:gd name="T60" fmla="*/ 17 w 83"/>
                <a:gd name="T61" fmla="*/ 44 h 70"/>
                <a:gd name="T62" fmla="*/ 19 w 83"/>
                <a:gd name="T63" fmla="*/ 53 h 70"/>
                <a:gd name="T64" fmla="*/ 30 w 83"/>
                <a:gd name="T65" fmla="*/ 46 h 70"/>
                <a:gd name="T66" fmla="*/ 27 w 83"/>
                <a:gd name="T67" fmla="*/ 55 h 70"/>
                <a:gd name="T68" fmla="*/ 15 w 83"/>
                <a:gd name="T69" fmla="*/ 68 h 70"/>
                <a:gd name="T70" fmla="*/ 30 w 83"/>
                <a:gd name="T71" fmla="*/ 61 h 70"/>
                <a:gd name="T72" fmla="*/ 32 w 83"/>
                <a:gd name="T73" fmla="*/ 53 h 70"/>
                <a:gd name="T74" fmla="*/ 38 w 83"/>
                <a:gd name="T75" fmla="*/ 46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49" y="44"/>
                  </a:lnTo>
                  <a:lnTo>
                    <a:pt x="53" y="46"/>
                  </a:lnTo>
                  <a:lnTo>
                    <a:pt x="49" y="40"/>
                  </a:lnTo>
                  <a:lnTo>
                    <a:pt x="55" y="40"/>
                  </a:lnTo>
                  <a:lnTo>
                    <a:pt x="59" y="42"/>
                  </a:lnTo>
                  <a:lnTo>
                    <a:pt x="64" y="44"/>
                  </a:lnTo>
                  <a:lnTo>
                    <a:pt x="68" y="40"/>
                  </a:lnTo>
                  <a:lnTo>
                    <a:pt x="64" y="34"/>
                  </a:lnTo>
                  <a:lnTo>
                    <a:pt x="59" y="32"/>
                  </a:lnTo>
                  <a:lnTo>
                    <a:pt x="66" y="29"/>
                  </a:lnTo>
                  <a:lnTo>
                    <a:pt x="70" y="34"/>
                  </a:lnTo>
                  <a:lnTo>
                    <a:pt x="74" y="36"/>
                  </a:lnTo>
                  <a:lnTo>
                    <a:pt x="83" y="27"/>
                  </a:lnTo>
                  <a:lnTo>
                    <a:pt x="79" y="25"/>
                  </a:lnTo>
                  <a:lnTo>
                    <a:pt x="74" y="19"/>
                  </a:lnTo>
                  <a:lnTo>
                    <a:pt x="79" y="15"/>
                  </a:lnTo>
                  <a:lnTo>
                    <a:pt x="76" y="8"/>
                  </a:lnTo>
                  <a:lnTo>
                    <a:pt x="72" y="6"/>
                  </a:lnTo>
                  <a:lnTo>
                    <a:pt x="68" y="10"/>
                  </a:lnTo>
                  <a:lnTo>
                    <a:pt x="64" y="15"/>
                  </a:lnTo>
                  <a:lnTo>
                    <a:pt x="62" y="4"/>
                  </a:lnTo>
                  <a:lnTo>
                    <a:pt x="57" y="4"/>
                  </a:lnTo>
                  <a:lnTo>
                    <a:pt x="53" y="0"/>
                  </a:lnTo>
                  <a:lnTo>
                    <a:pt x="55" y="6"/>
                  </a:lnTo>
                  <a:lnTo>
                    <a:pt x="53" y="10"/>
                  </a:lnTo>
                  <a:lnTo>
                    <a:pt x="53" y="17"/>
                  </a:lnTo>
                  <a:lnTo>
                    <a:pt x="49" y="10"/>
                  </a:lnTo>
                  <a:lnTo>
                    <a:pt x="49" y="17"/>
                  </a:lnTo>
                  <a:lnTo>
                    <a:pt x="45" y="12"/>
                  </a:lnTo>
                  <a:lnTo>
                    <a:pt x="42" y="17"/>
                  </a:lnTo>
                  <a:lnTo>
                    <a:pt x="42" y="12"/>
                  </a:lnTo>
                  <a:lnTo>
                    <a:pt x="40" y="6"/>
                  </a:lnTo>
                  <a:lnTo>
                    <a:pt x="34" y="6"/>
                  </a:lnTo>
                  <a:lnTo>
                    <a:pt x="30" y="8"/>
                  </a:lnTo>
                  <a:lnTo>
                    <a:pt x="32" y="15"/>
                  </a:lnTo>
                  <a:lnTo>
                    <a:pt x="36" y="17"/>
                  </a:lnTo>
                  <a:lnTo>
                    <a:pt x="32" y="21"/>
                  </a:lnTo>
                  <a:lnTo>
                    <a:pt x="36" y="25"/>
                  </a:lnTo>
                  <a:lnTo>
                    <a:pt x="32" y="21"/>
                  </a:lnTo>
                  <a:lnTo>
                    <a:pt x="32" y="32"/>
                  </a:lnTo>
                  <a:lnTo>
                    <a:pt x="32" y="38"/>
                  </a:lnTo>
                  <a:lnTo>
                    <a:pt x="30" y="32"/>
                  </a:lnTo>
                  <a:lnTo>
                    <a:pt x="27" y="27"/>
                  </a:lnTo>
                  <a:lnTo>
                    <a:pt x="23" y="23"/>
                  </a:lnTo>
                  <a:lnTo>
                    <a:pt x="27" y="19"/>
                  </a:lnTo>
                  <a:lnTo>
                    <a:pt x="23" y="17"/>
                  </a:lnTo>
                  <a:lnTo>
                    <a:pt x="17" y="17"/>
                  </a:lnTo>
                  <a:lnTo>
                    <a:pt x="6" y="23"/>
                  </a:lnTo>
                  <a:lnTo>
                    <a:pt x="0" y="32"/>
                  </a:lnTo>
                  <a:lnTo>
                    <a:pt x="4" y="36"/>
                  </a:lnTo>
                  <a:lnTo>
                    <a:pt x="6" y="42"/>
                  </a:lnTo>
                  <a:lnTo>
                    <a:pt x="6" y="46"/>
                  </a:lnTo>
                  <a:lnTo>
                    <a:pt x="4" y="53"/>
                  </a:lnTo>
                  <a:lnTo>
                    <a:pt x="10" y="55"/>
                  </a:lnTo>
                  <a:lnTo>
                    <a:pt x="10" y="61"/>
                  </a:lnTo>
                  <a:lnTo>
                    <a:pt x="17" y="57"/>
                  </a:lnTo>
                  <a:lnTo>
                    <a:pt x="19" y="46"/>
                  </a:lnTo>
                  <a:lnTo>
                    <a:pt x="15" y="46"/>
                  </a:lnTo>
                  <a:lnTo>
                    <a:pt x="8" y="49"/>
                  </a:lnTo>
                  <a:lnTo>
                    <a:pt x="10" y="44"/>
                  </a:lnTo>
                  <a:lnTo>
                    <a:pt x="17" y="44"/>
                  </a:lnTo>
                  <a:lnTo>
                    <a:pt x="21" y="46"/>
                  </a:lnTo>
                  <a:lnTo>
                    <a:pt x="19" y="53"/>
                  </a:lnTo>
                  <a:lnTo>
                    <a:pt x="23" y="51"/>
                  </a:lnTo>
                  <a:lnTo>
                    <a:pt x="30" y="46"/>
                  </a:lnTo>
                  <a:lnTo>
                    <a:pt x="23" y="55"/>
                  </a:lnTo>
                  <a:lnTo>
                    <a:pt x="27" y="55"/>
                  </a:lnTo>
                  <a:lnTo>
                    <a:pt x="17" y="64"/>
                  </a:lnTo>
                  <a:lnTo>
                    <a:pt x="15" y="68"/>
                  </a:lnTo>
                  <a:lnTo>
                    <a:pt x="21" y="70"/>
                  </a:lnTo>
                  <a:lnTo>
                    <a:pt x="30" y="61"/>
                  </a:lnTo>
                  <a:lnTo>
                    <a:pt x="36" y="57"/>
                  </a:lnTo>
                  <a:lnTo>
                    <a:pt x="32" y="53"/>
                  </a:lnTo>
                  <a:lnTo>
                    <a:pt x="36" y="53"/>
                  </a:lnTo>
                  <a:lnTo>
                    <a:pt x="38" y="46"/>
                  </a:lnTo>
                  <a:lnTo>
                    <a:pt x="42"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29" name="Freeform 1036"/>
            <p:cNvSpPr>
              <a:spLocks/>
            </p:cNvSpPr>
            <p:nvPr/>
          </p:nvSpPr>
          <p:spPr bwMode="auto">
            <a:xfrm>
              <a:off x="1390650" y="5969000"/>
              <a:ext cx="12700" cy="14288"/>
            </a:xfrm>
            <a:custGeom>
              <a:avLst/>
              <a:gdLst>
                <a:gd name="T0" fmla="*/ 8 w 8"/>
                <a:gd name="T1" fmla="*/ 2 h 9"/>
                <a:gd name="T2" fmla="*/ 6 w 8"/>
                <a:gd name="T3" fmla="*/ 0 h 9"/>
                <a:gd name="T4" fmla="*/ 2 w 8"/>
                <a:gd name="T5" fmla="*/ 4 h 9"/>
                <a:gd name="T6" fmla="*/ 0 w 8"/>
                <a:gd name="T7" fmla="*/ 9 h 9"/>
                <a:gd name="T8" fmla="*/ 6 w 8"/>
                <a:gd name="T9" fmla="*/ 7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0"/>
                  </a:lnTo>
                  <a:lnTo>
                    <a:pt x="2" y="4"/>
                  </a:lnTo>
                  <a:lnTo>
                    <a:pt x="0" y="9"/>
                  </a:lnTo>
                  <a:lnTo>
                    <a:pt x="6" y="7"/>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0" name="Freeform 1037"/>
            <p:cNvSpPr>
              <a:spLocks/>
            </p:cNvSpPr>
            <p:nvPr/>
          </p:nvSpPr>
          <p:spPr bwMode="auto">
            <a:xfrm>
              <a:off x="1390650" y="5969000"/>
              <a:ext cx="12700" cy="14288"/>
            </a:xfrm>
            <a:custGeom>
              <a:avLst/>
              <a:gdLst>
                <a:gd name="T0" fmla="*/ 8 w 8"/>
                <a:gd name="T1" fmla="*/ 2 h 9"/>
                <a:gd name="T2" fmla="*/ 6 w 8"/>
                <a:gd name="T3" fmla="*/ 0 h 9"/>
                <a:gd name="T4" fmla="*/ 2 w 8"/>
                <a:gd name="T5" fmla="*/ 4 h 9"/>
                <a:gd name="T6" fmla="*/ 0 w 8"/>
                <a:gd name="T7" fmla="*/ 9 h 9"/>
                <a:gd name="T8" fmla="*/ 6 w 8"/>
                <a:gd name="T9" fmla="*/ 7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0"/>
                  </a:lnTo>
                  <a:lnTo>
                    <a:pt x="2" y="4"/>
                  </a:lnTo>
                  <a:lnTo>
                    <a:pt x="0" y="9"/>
                  </a:lnTo>
                  <a:lnTo>
                    <a:pt x="6" y="7"/>
                  </a:lnTo>
                  <a:lnTo>
                    <a:pt x="8"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1" name="Freeform 1038"/>
            <p:cNvSpPr>
              <a:spLocks/>
            </p:cNvSpPr>
            <p:nvPr/>
          </p:nvSpPr>
          <p:spPr bwMode="auto">
            <a:xfrm>
              <a:off x="1409700" y="5972175"/>
              <a:ext cx="11113" cy="11113"/>
            </a:xfrm>
            <a:custGeom>
              <a:avLst/>
              <a:gdLst>
                <a:gd name="T0" fmla="*/ 7 w 7"/>
                <a:gd name="T1" fmla="*/ 0 h 7"/>
                <a:gd name="T2" fmla="*/ 7 w 7"/>
                <a:gd name="T3" fmla="*/ 0 h 7"/>
                <a:gd name="T4" fmla="*/ 0 w 7"/>
                <a:gd name="T5" fmla="*/ 0 h 7"/>
                <a:gd name="T6" fmla="*/ 0 w 7"/>
                <a:gd name="T7" fmla="*/ 5 h 7"/>
                <a:gd name="T8" fmla="*/ 5 w 7"/>
                <a:gd name="T9" fmla="*/ 7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7" y="0"/>
                  </a:lnTo>
                  <a:lnTo>
                    <a:pt x="0" y="0"/>
                  </a:lnTo>
                  <a:lnTo>
                    <a:pt x="0" y="5"/>
                  </a:lnTo>
                  <a:lnTo>
                    <a:pt x="5" y="7"/>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2" name="Freeform 1039"/>
            <p:cNvSpPr>
              <a:spLocks/>
            </p:cNvSpPr>
            <p:nvPr/>
          </p:nvSpPr>
          <p:spPr bwMode="auto">
            <a:xfrm>
              <a:off x="1409700" y="5972175"/>
              <a:ext cx="11113" cy="11113"/>
            </a:xfrm>
            <a:custGeom>
              <a:avLst/>
              <a:gdLst>
                <a:gd name="T0" fmla="*/ 7 w 7"/>
                <a:gd name="T1" fmla="*/ 0 h 7"/>
                <a:gd name="T2" fmla="*/ 7 w 7"/>
                <a:gd name="T3" fmla="*/ 0 h 7"/>
                <a:gd name="T4" fmla="*/ 0 w 7"/>
                <a:gd name="T5" fmla="*/ 0 h 7"/>
                <a:gd name="T6" fmla="*/ 0 w 7"/>
                <a:gd name="T7" fmla="*/ 5 h 7"/>
                <a:gd name="T8" fmla="*/ 5 w 7"/>
                <a:gd name="T9" fmla="*/ 7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7" y="0"/>
                  </a:lnTo>
                  <a:lnTo>
                    <a:pt x="0" y="0"/>
                  </a:lnTo>
                  <a:lnTo>
                    <a:pt x="0" y="5"/>
                  </a:lnTo>
                  <a:lnTo>
                    <a:pt x="5" y="7"/>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3" name="Freeform 1040"/>
            <p:cNvSpPr>
              <a:spLocks/>
            </p:cNvSpPr>
            <p:nvPr/>
          </p:nvSpPr>
          <p:spPr bwMode="auto">
            <a:xfrm>
              <a:off x="1468438" y="5854700"/>
              <a:ext cx="12700" cy="12700"/>
            </a:xfrm>
            <a:custGeom>
              <a:avLst/>
              <a:gdLst>
                <a:gd name="T0" fmla="*/ 2 w 8"/>
                <a:gd name="T1" fmla="*/ 0 h 8"/>
                <a:gd name="T2" fmla="*/ 0 w 8"/>
                <a:gd name="T3" fmla="*/ 2 h 8"/>
                <a:gd name="T4" fmla="*/ 2 w 8"/>
                <a:gd name="T5" fmla="*/ 6 h 8"/>
                <a:gd name="T6" fmla="*/ 8 w 8"/>
                <a:gd name="T7" fmla="*/ 8 h 8"/>
                <a:gd name="T8" fmla="*/ 6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0" y="2"/>
                  </a:lnTo>
                  <a:lnTo>
                    <a:pt x="2" y="6"/>
                  </a:lnTo>
                  <a:lnTo>
                    <a:pt x="8" y="8"/>
                  </a:lnTo>
                  <a:lnTo>
                    <a:pt x="6"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4" name="Freeform 1041"/>
            <p:cNvSpPr>
              <a:spLocks/>
            </p:cNvSpPr>
            <p:nvPr/>
          </p:nvSpPr>
          <p:spPr bwMode="auto">
            <a:xfrm>
              <a:off x="1468438" y="5854700"/>
              <a:ext cx="12700" cy="12700"/>
            </a:xfrm>
            <a:custGeom>
              <a:avLst/>
              <a:gdLst>
                <a:gd name="T0" fmla="*/ 2 w 8"/>
                <a:gd name="T1" fmla="*/ 0 h 8"/>
                <a:gd name="T2" fmla="*/ 0 w 8"/>
                <a:gd name="T3" fmla="*/ 2 h 8"/>
                <a:gd name="T4" fmla="*/ 2 w 8"/>
                <a:gd name="T5" fmla="*/ 6 h 8"/>
                <a:gd name="T6" fmla="*/ 8 w 8"/>
                <a:gd name="T7" fmla="*/ 8 h 8"/>
                <a:gd name="T8" fmla="*/ 6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0" y="2"/>
                  </a:lnTo>
                  <a:lnTo>
                    <a:pt x="2" y="6"/>
                  </a:lnTo>
                  <a:lnTo>
                    <a:pt x="8" y="8"/>
                  </a:lnTo>
                  <a:lnTo>
                    <a:pt x="6" y="2"/>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5" name="Freeform 1042"/>
            <p:cNvSpPr>
              <a:spLocks/>
            </p:cNvSpPr>
            <p:nvPr/>
          </p:nvSpPr>
          <p:spPr bwMode="auto">
            <a:xfrm>
              <a:off x="1481138" y="5813425"/>
              <a:ext cx="63500" cy="41275"/>
            </a:xfrm>
            <a:custGeom>
              <a:avLst/>
              <a:gdLst>
                <a:gd name="T0" fmla="*/ 0 w 40"/>
                <a:gd name="T1" fmla="*/ 15 h 26"/>
                <a:gd name="T2" fmla="*/ 0 w 40"/>
                <a:gd name="T3" fmla="*/ 19 h 26"/>
                <a:gd name="T4" fmla="*/ 4 w 40"/>
                <a:gd name="T5" fmla="*/ 24 h 26"/>
                <a:gd name="T6" fmla="*/ 9 w 40"/>
                <a:gd name="T7" fmla="*/ 24 h 26"/>
                <a:gd name="T8" fmla="*/ 6 w 40"/>
                <a:gd name="T9" fmla="*/ 21 h 26"/>
                <a:gd name="T10" fmla="*/ 13 w 40"/>
                <a:gd name="T11" fmla="*/ 26 h 26"/>
                <a:gd name="T12" fmla="*/ 15 w 40"/>
                <a:gd name="T13" fmla="*/ 21 h 26"/>
                <a:gd name="T14" fmla="*/ 19 w 40"/>
                <a:gd name="T15" fmla="*/ 19 h 26"/>
                <a:gd name="T16" fmla="*/ 21 w 40"/>
                <a:gd name="T17" fmla="*/ 15 h 26"/>
                <a:gd name="T18" fmla="*/ 21 w 40"/>
                <a:gd name="T19" fmla="*/ 19 h 26"/>
                <a:gd name="T20" fmla="*/ 26 w 40"/>
                <a:gd name="T21" fmla="*/ 19 h 26"/>
                <a:gd name="T22" fmla="*/ 30 w 40"/>
                <a:gd name="T23" fmla="*/ 15 h 26"/>
                <a:gd name="T24" fmla="*/ 34 w 40"/>
                <a:gd name="T25" fmla="*/ 19 h 26"/>
                <a:gd name="T26" fmla="*/ 40 w 40"/>
                <a:gd name="T27" fmla="*/ 15 h 26"/>
                <a:gd name="T28" fmla="*/ 40 w 40"/>
                <a:gd name="T29" fmla="*/ 9 h 26"/>
                <a:gd name="T30" fmla="*/ 36 w 40"/>
                <a:gd name="T31" fmla="*/ 13 h 26"/>
                <a:gd name="T32" fmla="*/ 36 w 40"/>
                <a:gd name="T33" fmla="*/ 9 h 26"/>
                <a:gd name="T34" fmla="*/ 32 w 40"/>
                <a:gd name="T35" fmla="*/ 7 h 26"/>
                <a:gd name="T36" fmla="*/ 28 w 40"/>
                <a:gd name="T37" fmla="*/ 4 h 26"/>
                <a:gd name="T38" fmla="*/ 23 w 40"/>
                <a:gd name="T39" fmla="*/ 0 h 26"/>
                <a:gd name="T40" fmla="*/ 17 w 40"/>
                <a:gd name="T41" fmla="*/ 0 h 26"/>
                <a:gd name="T42" fmla="*/ 17 w 40"/>
                <a:gd name="T43" fmla="*/ 11 h 26"/>
                <a:gd name="T44" fmla="*/ 11 w 40"/>
                <a:gd name="T45" fmla="*/ 9 h 26"/>
                <a:gd name="T46" fmla="*/ 6 w 40"/>
                <a:gd name="T47" fmla="*/ 9 h 26"/>
                <a:gd name="T48" fmla="*/ 11 w 40"/>
                <a:gd name="T49" fmla="*/ 13 h 26"/>
                <a:gd name="T50" fmla="*/ 6 w 40"/>
                <a:gd name="T51" fmla="*/ 13 h 26"/>
                <a:gd name="T52" fmla="*/ 2 w 40"/>
                <a:gd name="T53" fmla="*/ 17 h 26"/>
                <a:gd name="T54" fmla="*/ 0 w 40"/>
                <a:gd name="T55"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26">
                  <a:moveTo>
                    <a:pt x="0" y="15"/>
                  </a:moveTo>
                  <a:lnTo>
                    <a:pt x="0" y="19"/>
                  </a:lnTo>
                  <a:lnTo>
                    <a:pt x="4" y="24"/>
                  </a:lnTo>
                  <a:lnTo>
                    <a:pt x="9" y="24"/>
                  </a:lnTo>
                  <a:lnTo>
                    <a:pt x="6" y="21"/>
                  </a:lnTo>
                  <a:lnTo>
                    <a:pt x="13" y="26"/>
                  </a:lnTo>
                  <a:lnTo>
                    <a:pt x="15" y="21"/>
                  </a:lnTo>
                  <a:lnTo>
                    <a:pt x="19" y="19"/>
                  </a:lnTo>
                  <a:lnTo>
                    <a:pt x="21" y="15"/>
                  </a:lnTo>
                  <a:lnTo>
                    <a:pt x="21" y="19"/>
                  </a:lnTo>
                  <a:lnTo>
                    <a:pt x="26" y="19"/>
                  </a:lnTo>
                  <a:lnTo>
                    <a:pt x="30" y="15"/>
                  </a:lnTo>
                  <a:lnTo>
                    <a:pt x="34" y="19"/>
                  </a:lnTo>
                  <a:lnTo>
                    <a:pt x="40" y="15"/>
                  </a:lnTo>
                  <a:lnTo>
                    <a:pt x="40" y="9"/>
                  </a:lnTo>
                  <a:lnTo>
                    <a:pt x="36" y="13"/>
                  </a:lnTo>
                  <a:lnTo>
                    <a:pt x="36" y="9"/>
                  </a:lnTo>
                  <a:lnTo>
                    <a:pt x="32" y="7"/>
                  </a:lnTo>
                  <a:lnTo>
                    <a:pt x="28" y="4"/>
                  </a:lnTo>
                  <a:lnTo>
                    <a:pt x="23" y="0"/>
                  </a:lnTo>
                  <a:lnTo>
                    <a:pt x="17" y="0"/>
                  </a:lnTo>
                  <a:lnTo>
                    <a:pt x="17" y="11"/>
                  </a:lnTo>
                  <a:lnTo>
                    <a:pt x="11" y="9"/>
                  </a:lnTo>
                  <a:lnTo>
                    <a:pt x="6" y="9"/>
                  </a:lnTo>
                  <a:lnTo>
                    <a:pt x="11" y="13"/>
                  </a:lnTo>
                  <a:lnTo>
                    <a:pt x="6" y="13"/>
                  </a:lnTo>
                  <a:lnTo>
                    <a:pt x="2" y="17"/>
                  </a:lnTo>
                  <a:lnTo>
                    <a:pt x="0"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6" name="Freeform 1043"/>
            <p:cNvSpPr>
              <a:spLocks/>
            </p:cNvSpPr>
            <p:nvPr/>
          </p:nvSpPr>
          <p:spPr bwMode="auto">
            <a:xfrm>
              <a:off x="1481138" y="5813425"/>
              <a:ext cx="63500" cy="41275"/>
            </a:xfrm>
            <a:custGeom>
              <a:avLst/>
              <a:gdLst>
                <a:gd name="T0" fmla="*/ 0 w 40"/>
                <a:gd name="T1" fmla="*/ 15 h 26"/>
                <a:gd name="T2" fmla="*/ 0 w 40"/>
                <a:gd name="T3" fmla="*/ 19 h 26"/>
                <a:gd name="T4" fmla="*/ 4 w 40"/>
                <a:gd name="T5" fmla="*/ 24 h 26"/>
                <a:gd name="T6" fmla="*/ 9 w 40"/>
                <a:gd name="T7" fmla="*/ 24 h 26"/>
                <a:gd name="T8" fmla="*/ 6 w 40"/>
                <a:gd name="T9" fmla="*/ 21 h 26"/>
                <a:gd name="T10" fmla="*/ 13 w 40"/>
                <a:gd name="T11" fmla="*/ 26 h 26"/>
                <a:gd name="T12" fmla="*/ 15 w 40"/>
                <a:gd name="T13" fmla="*/ 21 h 26"/>
                <a:gd name="T14" fmla="*/ 19 w 40"/>
                <a:gd name="T15" fmla="*/ 19 h 26"/>
                <a:gd name="T16" fmla="*/ 21 w 40"/>
                <a:gd name="T17" fmla="*/ 15 h 26"/>
                <a:gd name="T18" fmla="*/ 21 w 40"/>
                <a:gd name="T19" fmla="*/ 19 h 26"/>
                <a:gd name="T20" fmla="*/ 26 w 40"/>
                <a:gd name="T21" fmla="*/ 19 h 26"/>
                <a:gd name="T22" fmla="*/ 30 w 40"/>
                <a:gd name="T23" fmla="*/ 15 h 26"/>
                <a:gd name="T24" fmla="*/ 34 w 40"/>
                <a:gd name="T25" fmla="*/ 19 h 26"/>
                <a:gd name="T26" fmla="*/ 40 w 40"/>
                <a:gd name="T27" fmla="*/ 15 h 26"/>
                <a:gd name="T28" fmla="*/ 40 w 40"/>
                <a:gd name="T29" fmla="*/ 9 h 26"/>
                <a:gd name="T30" fmla="*/ 36 w 40"/>
                <a:gd name="T31" fmla="*/ 13 h 26"/>
                <a:gd name="T32" fmla="*/ 36 w 40"/>
                <a:gd name="T33" fmla="*/ 9 h 26"/>
                <a:gd name="T34" fmla="*/ 32 w 40"/>
                <a:gd name="T35" fmla="*/ 7 h 26"/>
                <a:gd name="T36" fmla="*/ 28 w 40"/>
                <a:gd name="T37" fmla="*/ 4 h 26"/>
                <a:gd name="T38" fmla="*/ 23 w 40"/>
                <a:gd name="T39" fmla="*/ 0 h 26"/>
                <a:gd name="T40" fmla="*/ 17 w 40"/>
                <a:gd name="T41" fmla="*/ 0 h 26"/>
                <a:gd name="T42" fmla="*/ 17 w 40"/>
                <a:gd name="T43" fmla="*/ 11 h 26"/>
                <a:gd name="T44" fmla="*/ 11 w 40"/>
                <a:gd name="T45" fmla="*/ 9 h 26"/>
                <a:gd name="T46" fmla="*/ 6 w 40"/>
                <a:gd name="T47" fmla="*/ 9 h 26"/>
                <a:gd name="T48" fmla="*/ 11 w 40"/>
                <a:gd name="T49" fmla="*/ 13 h 26"/>
                <a:gd name="T50" fmla="*/ 6 w 40"/>
                <a:gd name="T51" fmla="*/ 13 h 26"/>
                <a:gd name="T52" fmla="*/ 2 w 40"/>
                <a:gd name="T53" fmla="*/ 17 h 26"/>
                <a:gd name="T54" fmla="*/ 0 w 40"/>
                <a:gd name="T55" fmla="*/ 1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 h="26">
                  <a:moveTo>
                    <a:pt x="0" y="15"/>
                  </a:moveTo>
                  <a:lnTo>
                    <a:pt x="0" y="19"/>
                  </a:lnTo>
                  <a:lnTo>
                    <a:pt x="4" y="24"/>
                  </a:lnTo>
                  <a:lnTo>
                    <a:pt x="9" y="24"/>
                  </a:lnTo>
                  <a:lnTo>
                    <a:pt x="6" y="21"/>
                  </a:lnTo>
                  <a:lnTo>
                    <a:pt x="13" y="26"/>
                  </a:lnTo>
                  <a:lnTo>
                    <a:pt x="15" y="21"/>
                  </a:lnTo>
                  <a:lnTo>
                    <a:pt x="19" y="19"/>
                  </a:lnTo>
                  <a:lnTo>
                    <a:pt x="21" y="15"/>
                  </a:lnTo>
                  <a:lnTo>
                    <a:pt x="21" y="19"/>
                  </a:lnTo>
                  <a:lnTo>
                    <a:pt x="26" y="19"/>
                  </a:lnTo>
                  <a:lnTo>
                    <a:pt x="30" y="15"/>
                  </a:lnTo>
                  <a:lnTo>
                    <a:pt x="34" y="19"/>
                  </a:lnTo>
                  <a:lnTo>
                    <a:pt x="40" y="15"/>
                  </a:lnTo>
                  <a:lnTo>
                    <a:pt x="40" y="9"/>
                  </a:lnTo>
                  <a:lnTo>
                    <a:pt x="36" y="13"/>
                  </a:lnTo>
                  <a:lnTo>
                    <a:pt x="36" y="9"/>
                  </a:lnTo>
                  <a:lnTo>
                    <a:pt x="32" y="7"/>
                  </a:lnTo>
                  <a:lnTo>
                    <a:pt x="28" y="4"/>
                  </a:lnTo>
                  <a:lnTo>
                    <a:pt x="23" y="0"/>
                  </a:lnTo>
                  <a:lnTo>
                    <a:pt x="17" y="0"/>
                  </a:lnTo>
                  <a:lnTo>
                    <a:pt x="17" y="11"/>
                  </a:lnTo>
                  <a:lnTo>
                    <a:pt x="11" y="9"/>
                  </a:lnTo>
                  <a:lnTo>
                    <a:pt x="6" y="9"/>
                  </a:lnTo>
                  <a:lnTo>
                    <a:pt x="11" y="13"/>
                  </a:lnTo>
                  <a:lnTo>
                    <a:pt x="6" y="13"/>
                  </a:lnTo>
                  <a:lnTo>
                    <a:pt x="2" y="17"/>
                  </a:lnTo>
                  <a:lnTo>
                    <a:pt x="0"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7" name="Freeform 1044"/>
            <p:cNvSpPr>
              <a:spLocks/>
            </p:cNvSpPr>
            <p:nvPr/>
          </p:nvSpPr>
          <p:spPr bwMode="auto">
            <a:xfrm>
              <a:off x="1463675" y="5929313"/>
              <a:ext cx="23813" cy="12700"/>
            </a:xfrm>
            <a:custGeom>
              <a:avLst/>
              <a:gdLst>
                <a:gd name="T0" fmla="*/ 15 w 15"/>
                <a:gd name="T1" fmla="*/ 2 h 8"/>
                <a:gd name="T2" fmla="*/ 11 w 15"/>
                <a:gd name="T3" fmla="*/ 0 h 8"/>
                <a:gd name="T4" fmla="*/ 7 w 15"/>
                <a:gd name="T5" fmla="*/ 0 h 8"/>
                <a:gd name="T6" fmla="*/ 3 w 15"/>
                <a:gd name="T7" fmla="*/ 0 h 8"/>
                <a:gd name="T8" fmla="*/ 0 w 15"/>
                <a:gd name="T9" fmla="*/ 4 h 8"/>
                <a:gd name="T10" fmla="*/ 5 w 15"/>
                <a:gd name="T11" fmla="*/ 8 h 8"/>
                <a:gd name="T12" fmla="*/ 9 w 15"/>
                <a:gd name="T13" fmla="*/ 4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11" y="0"/>
                  </a:lnTo>
                  <a:lnTo>
                    <a:pt x="7" y="0"/>
                  </a:lnTo>
                  <a:lnTo>
                    <a:pt x="3" y="0"/>
                  </a:lnTo>
                  <a:lnTo>
                    <a:pt x="0" y="4"/>
                  </a:lnTo>
                  <a:lnTo>
                    <a:pt x="5" y="8"/>
                  </a:lnTo>
                  <a:lnTo>
                    <a:pt x="9" y="4"/>
                  </a:ln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38" name="Freeform 1045"/>
            <p:cNvSpPr>
              <a:spLocks/>
            </p:cNvSpPr>
            <p:nvPr/>
          </p:nvSpPr>
          <p:spPr bwMode="auto">
            <a:xfrm>
              <a:off x="1463675" y="5929313"/>
              <a:ext cx="23813" cy="12700"/>
            </a:xfrm>
            <a:custGeom>
              <a:avLst/>
              <a:gdLst>
                <a:gd name="T0" fmla="*/ 15 w 15"/>
                <a:gd name="T1" fmla="*/ 2 h 8"/>
                <a:gd name="T2" fmla="*/ 11 w 15"/>
                <a:gd name="T3" fmla="*/ 0 h 8"/>
                <a:gd name="T4" fmla="*/ 7 w 15"/>
                <a:gd name="T5" fmla="*/ 0 h 8"/>
                <a:gd name="T6" fmla="*/ 3 w 15"/>
                <a:gd name="T7" fmla="*/ 0 h 8"/>
                <a:gd name="T8" fmla="*/ 0 w 15"/>
                <a:gd name="T9" fmla="*/ 4 h 8"/>
                <a:gd name="T10" fmla="*/ 5 w 15"/>
                <a:gd name="T11" fmla="*/ 8 h 8"/>
                <a:gd name="T12" fmla="*/ 9 w 15"/>
                <a:gd name="T13" fmla="*/ 4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11" y="0"/>
                  </a:lnTo>
                  <a:lnTo>
                    <a:pt x="7" y="0"/>
                  </a:lnTo>
                  <a:lnTo>
                    <a:pt x="3" y="0"/>
                  </a:lnTo>
                  <a:lnTo>
                    <a:pt x="0" y="4"/>
                  </a:lnTo>
                  <a:lnTo>
                    <a:pt x="5" y="8"/>
                  </a:lnTo>
                  <a:lnTo>
                    <a:pt x="9" y="4"/>
                  </a:lnTo>
                  <a:lnTo>
                    <a:pt x="1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39" name="Freeform 1046"/>
            <p:cNvSpPr>
              <a:spLocks/>
            </p:cNvSpPr>
            <p:nvPr/>
          </p:nvSpPr>
          <p:spPr bwMode="auto">
            <a:xfrm>
              <a:off x="1517650" y="5797550"/>
              <a:ext cx="14288" cy="12700"/>
            </a:xfrm>
            <a:custGeom>
              <a:avLst/>
              <a:gdLst>
                <a:gd name="T0" fmla="*/ 9 w 9"/>
                <a:gd name="T1" fmla="*/ 4 h 8"/>
                <a:gd name="T2" fmla="*/ 7 w 9"/>
                <a:gd name="T3" fmla="*/ 0 h 8"/>
                <a:gd name="T4" fmla="*/ 3 w 9"/>
                <a:gd name="T5" fmla="*/ 4 h 8"/>
                <a:gd name="T6" fmla="*/ 0 w 9"/>
                <a:gd name="T7" fmla="*/ 8 h 8"/>
                <a:gd name="T8" fmla="*/ 5 w 9"/>
                <a:gd name="T9" fmla="*/ 8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7" y="0"/>
                  </a:lnTo>
                  <a:lnTo>
                    <a:pt x="3" y="4"/>
                  </a:lnTo>
                  <a:lnTo>
                    <a:pt x="0" y="8"/>
                  </a:lnTo>
                  <a:lnTo>
                    <a:pt x="5" y="8"/>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0" name="Freeform 1047"/>
            <p:cNvSpPr>
              <a:spLocks/>
            </p:cNvSpPr>
            <p:nvPr/>
          </p:nvSpPr>
          <p:spPr bwMode="auto">
            <a:xfrm>
              <a:off x="1517650" y="5797550"/>
              <a:ext cx="14288" cy="12700"/>
            </a:xfrm>
            <a:custGeom>
              <a:avLst/>
              <a:gdLst>
                <a:gd name="T0" fmla="*/ 9 w 9"/>
                <a:gd name="T1" fmla="*/ 4 h 8"/>
                <a:gd name="T2" fmla="*/ 7 w 9"/>
                <a:gd name="T3" fmla="*/ 0 h 8"/>
                <a:gd name="T4" fmla="*/ 3 w 9"/>
                <a:gd name="T5" fmla="*/ 4 h 8"/>
                <a:gd name="T6" fmla="*/ 0 w 9"/>
                <a:gd name="T7" fmla="*/ 8 h 8"/>
                <a:gd name="T8" fmla="*/ 5 w 9"/>
                <a:gd name="T9" fmla="*/ 8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7" y="0"/>
                  </a:lnTo>
                  <a:lnTo>
                    <a:pt x="3" y="4"/>
                  </a:lnTo>
                  <a:lnTo>
                    <a:pt x="0" y="8"/>
                  </a:lnTo>
                  <a:lnTo>
                    <a:pt x="5" y="8"/>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1" name="Freeform 1048"/>
            <p:cNvSpPr>
              <a:spLocks/>
            </p:cNvSpPr>
            <p:nvPr/>
          </p:nvSpPr>
          <p:spPr bwMode="auto">
            <a:xfrm>
              <a:off x="1565275" y="5627688"/>
              <a:ext cx="7938" cy="9525"/>
            </a:xfrm>
            <a:custGeom>
              <a:avLst/>
              <a:gdLst>
                <a:gd name="T0" fmla="*/ 5 w 5"/>
                <a:gd name="T1" fmla="*/ 2 h 6"/>
                <a:gd name="T2" fmla="*/ 0 w 5"/>
                <a:gd name="T3" fmla="*/ 0 h 6"/>
                <a:gd name="T4" fmla="*/ 0 w 5"/>
                <a:gd name="T5" fmla="*/ 6 h 6"/>
                <a:gd name="T6" fmla="*/ 5 w 5"/>
                <a:gd name="T7" fmla="*/ 2 h 6"/>
              </a:gdLst>
              <a:ahLst/>
              <a:cxnLst>
                <a:cxn ang="0">
                  <a:pos x="T0" y="T1"/>
                </a:cxn>
                <a:cxn ang="0">
                  <a:pos x="T2" y="T3"/>
                </a:cxn>
                <a:cxn ang="0">
                  <a:pos x="T4" y="T5"/>
                </a:cxn>
                <a:cxn ang="0">
                  <a:pos x="T6" y="T7"/>
                </a:cxn>
              </a:cxnLst>
              <a:rect l="0" t="0" r="r" b="b"/>
              <a:pathLst>
                <a:path w="5" h="6">
                  <a:moveTo>
                    <a:pt x="5" y="2"/>
                  </a:moveTo>
                  <a:lnTo>
                    <a:pt x="0" y="0"/>
                  </a:lnTo>
                  <a:lnTo>
                    <a:pt x="0" y="6"/>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2" name="Freeform 1049"/>
            <p:cNvSpPr>
              <a:spLocks/>
            </p:cNvSpPr>
            <p:nvPr/>
          </p:nvSpPr>
          <p:spPr bwMode="auto">
            <a:xfrm>
              <a:off x="1565275" y="5627688"/>
              <a:ext cx="7938" cy="9525"/>
            </a:xfrm>
            <a:custGeom>
              <a:avLst/>
              <a:gdLst>
                <a:gd name="T0" fmla="*/ 5 w 5"/>
                <a:gd name="T1" fmla="*/ 2 h 6"/>
                <a:gd name="T2" fmla="*/ 0 w 5"/>
                <a:gd name="T3" fmla="*/ 0 h 6"/>
                <a:gd name="T4" fmla="*/ 0 w 5"/>
                <a:gd name="T5" fmla="*/ 6 h 6"/>
                <a:gd name="T6" fmla="*/ 5 w 5"/>
                <a:gd name="T7" fmla="*/ 2 h 6"/>
              </a:gdLst>
              <a:ahLst/>
              <a:cxnLst>
                <a:cxn ang="0">
                  <a:pos x="T0" y="T1"/>
                </a:cxn>
                <a:cxn ang="0">
                  <a:pos x="T2" y="T3"/>
                </a:cxn>
                <a:cxn ang="0">
                  <a:pos x="T4" y="T5"/>
                </a:cxn>
                <a:cxn ang="0">
                  <a:pos x="T6" y="T7"/>
                </a:cxn>
              </a:cxnLst>
              <a:rect l="0" t="0" r="r" b="b"/>
              <a:pathLst>
                <a:path w="5" h="6">
                  <a:moveTo>
                    <a:pt x="5" y="2"/>
                  </a:moveTo>
                  <a:lnTo>
                    <a:pt x="0" y="0"/>
                  </a:lnTo>
                  <a:lnTo>
                    <a:pt x="0" y="6"/>
                  </a:lnTo>
                  <a:lnTo>
                    <a:pt x="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3" name="Freeform 1050"/>
            <p:cNvSpPr>
              <a:spLocks/>
            </p:cNvSpPr>
            <p:nvPr/>
          </p:nvSpPr>
          <p:spPr bwMode="auto">
            <a:xfrm>
              <a:off x="1738313" y="5618163"/>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4" name="Freeform 1051"/>
            <p:cNvSpPr>
              <a:spLocks/>
            </p:cNvSpPr>
            <p:nvPr/>
          </p:nvSpPr>
          <p:spPr bwMode="auto">
            <a:xfrm>
              <a:off x="1738313" y="5618163"/>
              <a:ext cx="3175" cy="9525"/>
            </a:xfrm>
            <a:custGeom>
              <a:avLst/>
              <a:gdLst>
                <a:gd name="T0" fmla="*/ 2 w 2"/>
                <a:gd name="T1" fmla="*/ 0 h 6"/>
                <a:gd name="T2" fmla="*/ 0 w 2"/>
                <a:gd name="T3" fmla="*/ 0 h 6"/>
                <a:gd name="T4" fmla="*/ 2 w 2"/>
                <a:gd name="T5" fmla="*/ 6 h 6"/>
                <a:gd name="T6" fmla="*/ 2 w 2"/>
                <a:gd name="T7" fmla="*/ 0 h 6"/>
              </a:gdLst>
              <a:ahLst/>
              <a:cxnLst>
                <a:cxn ang="0">
                  <a:pos x="T0" y="T1"/>
                </a:cxn>
                <a:cxn ang="0">
                  <a:pos x="T2" y="T3"/>
                </a:cxn>
                <a:cxn ang="0">
                  <a:pos x="T4" y="T5"/>
                </a:cxn>
                <a:cxn ang="0">
                  <a:pos x="T6" y="T7"/>
                </a:cxn>
              </a:cxnLst>
              <a:rect l="0" t="0" r="r" b="b"/>
              <a:pathLst>
                <a:path w="2" h="6">
                  <a:moveTo>
                    <a:pt x="2" y="0"/>
                  </a:moveTo>
                  <a:lnTo>
                    <a:pt x="0" y="0"/>
                  </a:lnTo>
                  <a:lnTo>
                    <a:pt x="2" y="6"/>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5" name="Freeform 1052"/>
            <p:cNvSpPr>
              <a:spLocks/>
            </p:cNvSpPr>
            <p:nvPr/>
          </p:nvSpPr>
          <p:spPr bwMode="auto">
            <a:xfrm>
              <a:off x="1744663" y="5603875"/>
              <a:ext cx="6350" cy="11113"/>
            </a:xfrm>
            <a:custGeom>
              <a:avLst/>
              <a:gdLst>
                <a:gd name="T0" fmla="*/ 2 w 4"/>
                <a:gd name="T1" fmla="*/ 0 h 7"/>
                <a:gd name="T2" fmla="*/ 0 w 4"/>
                <a:gd name="T3" fmla="*/ 2 h 7"/>
                <a:gd name="T4" fmla="*/ 0 w 4"/>
                <a:gd name="T5" fmla="*/ 7 h 7"/>
                <a:gd name="T6" fmla="*/ 4 w 4"/>
                <a:gd name="T7" fmla="*/ 4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2"/>
                  </a:lnTo>
                  <a:lnTo>
                    <a:pt x="0" y="7"/>
                  </a:lnTo>
                  <a:lnTo>
                    <a:pt x="4"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6" name="Freeform 1053"/>
            <p:cNvSpPr>
              <a:spLocks/>
            </p:cNvSpPr>
            <p:nvPr/>
          </p:nvSpPr>
          <p:spPr bwMode="auto">
            <a:xfrm>
              <a:off x="1744663" y="5603875"/>
              <a:ext cx="6350" cy="11113"/>
            </a:xfrm>
            <a:custGeom>
              <a:avLst/>
              <a:gdLst>
                <a:gd name="T0" fmla="*/ 2 w 4"/>
                <a:gd name="T1" fmla="*/ 0 h 7"/>
                <a:gd name="T2" fmla="*/ 0 w 4"/>
                <a:gd name="T3" fmla="*/ 2 h 7"/>
                <a:gd name="T4" fmla="*/ 0 w 4"/>
                <a:gd name="T5" fmla="*/ 7 h 7"/>
                <a:gd name="T6" fmla="*/ 4 w 4"/>
                <a:gd name="T7" fmla="*/ 4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2"/>
                  </a:lnTo>
                  <a:lnTo>
                    <a:pt x="0" y="7"/>
                  </a:lnTo>
                  <a:lnTo>
                    <a:pt x="4" y="4"/>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7" name="Freeform 1054"/>
            <p:cNvSpPr>
              <a:spLocks/>
            </p:cNvSpPr>
            <p:nvPr/>
          </p:nvSpPr>
          <p:spPr bwMode="auto">
            <a:xfrm>
              <a:off x="1735138" y="5672138"/>
              <a:ext cx="9525" cy="12700"/>
            </a:xfrm>
            <a:custGeom>
              <a:avLst/>
              <a:gdLst>
                <a:gd name="T0" fmla="*/ 6 w 6"/>
                <a:gd name="T1" fmla="*/ 0 h 8"/>
                <a:gd name="T2" fmla="*/ 4 w 6"/>
                <a:gd name="T3" fmla="*/ 0 h 8"/>
                <a:gd name="T4" fmla="*/ 0 w 6"/>
                <a:gd name="T5" fmla="*/ 4 h 8"/>
                <a:gd name="T6" fmla="*/ 0 w 6"/>
                <a:gd name="T7" fmla="*/ 8 h 8"/>
                <a:gd name="T8" fmla="*/ 4 w 6"/>
                <a:gd name="T9" fmla="*/ 4 h 8"/>
                <a:gd name="T10" fmla="*/ 6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6" y="0"/>
                  </a:moveTo>
                  <a:lnTo>
                    <a:pt x="4" y="0"/>
                  </a:lnTo>
                  <a:lnTo>
                    <a:pt x="0" y="4"/>
                  </a:lnTo>
                  <a:lnTo>
                    <a:pt x="0" y="8"/>
                  </a:lnTo>
                  <a:lnTo>
                    <a:pt x="4" y="4"/>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48" name="Freeform 1055"/>
            <p:cNvSpPr>
              <a:spLocks/>
            </p:cNvSpPr>
            <p:nvPr/>
          </p:nvSpPr>
          <p:spPr bwMode="auto">
            <a:xfrm>
              <a:off x="1735138" y="5672138"/>
              <a:ext cx="9525" cy="12700"/>
            </a:xfrm>
            <a:custGeom>
              <a:avLst/>
              <a:gdLst>
                <a:gd name="T0" fmla="*/ 6 w 6"/>
                <a:gd name="T1" fmla="*/ 0 h 8"/>
                <a:gd name="T2" fmla="*/ 4 w 6"/>
                <a:gd name="T3" fmla="*/ 0 h 8"/>
                <a:gd name="T4" fmla="*/ 0 w 6"/>
                <a:gd name="T5" fmla="*/ 4 h 8"/>
                <a:gd name="T6" fmla="*/ 0 w 6"/>
                <a:gd name="T7" fmla="*/ 8 h 8"/>
                <a:gd name="T8" fmla="*/ 4 w 6"/>
                <a:gd name="T9" fmla="*/ 4 h 8"/>
                <a:gd name="T10" fmla="*/ 6 w 6"/>
                <a:gd name="T11" fmla="*/ 0 h 8"/>
              </a:gdLst>
              <a:ahLst/>
              <a:cxnLst>
                <a:cxn ang="0">
                  <a:pos x="T0" y="T1"/>
                </a:cxn>
                <a:cxn ang="0">
                  <a:pos x="T2" y="T3"/>
                </a:cxn>
                <a:cxn ang="0">
                  <a:pos x="T4" y="T5"/>
                </a:cxn>
                <a:cxn ang="0">
                  <a:pos x="T6" y="T7"/>
                </a:cxn>
                <a:cxn ang="0">
                  <a:pos x="T8" y="T9"/>
                </a:cxn>
                <a:cxn ang="0">
                  <a:pos x="T10" y="T11"/>
                </a:cxn>
              </a:cxnLst>
              <a:rect l="0" t="0" r="r" b="b"/>
              <a:pathLst>
                <a:path w="6" h="8">
                  <a:moveTo>
                    <a:pt x="6" y="0"/>
                  </a:moveTo>
                  <a:lnTo>
                    <a:pt x="4" y="0"/>
                  </a:lnTo>
                  <a:lnTo>
                    <a:pt x="0" y="4"/>
                  </a:lnTo>
                  <a:lnTo>
                    <a:pt x="0" y="8"/>
                  </a:lnTo>
                  <a:lnTo>
                    <a:pt x="4" y="4"/>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49" name="Freeform 1056"/>
            <p:cNvSpPr>
              <a:spLocks/>
            </p:cNvSpPr>
            <p:nvPr/>
          </p:nvSpPr>
          <p:spPr bwMode="auto">
            <a:xfrm>
              <a:off x="1731963" y="5688013"/>
              <a:ext cx="9525" cy="4763"/>
            </a:xfrm>
            <a:custGeom>
              <a:avLst/>
              <a:gdLst>
                <a:gd name="T0" fmla="*/ 6 w 6"/>
                <a:gd name="T1" fmla="*/ 0 h 3"/>
                <a:gd name="T2" fmla="*/ 0 w 6"/>
                <a:gd name="T3" fmla="*/ 3 h 3"/>
                <a:gd name="T4" fmla="*/ 6 w 6"/>
                <a:gd name="T5" fmla="*/ 0 h 3"/>
                <a:gd name="T6" fmla="*/ 6 w 6"/>
                <a:gd name="T7" fmla="*/ 0 h 3"/>
              </a:gdLst>
              <a:ahLst/>
              <a:cxnLst>
                <a:cxn ang="0">
                  <a:pos x="T0" y="T1"/>
                </a:cxn>
                <a:cxn ang="0">
                  <a:pos x="T2" y="T3"/>
                </a:cxn>
                <a:cxn ang="0">
                  <a:pos x="T4" y="T5"/>
                </a:cxn>
                <a:cxn ang="0">
                  <a:pos x="T6" y="T7"/>
                </a:cxn>
              </a:cxnLst>
              <a:rect l="0" t="0" r="r" b="b"/>
              <a:pathLst>
                <a:path w="6" h="3">
                  <a:moveTo>
                    <a:pt x="6" y="0"/>
                  </a:moveTo>
                  <a:lnTo>
                    <a:pt x="0" y="3"/>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0" name="Freeform 1057"/>
            <p:cNvSpPr>
              <a:spLocks/>
            </p:cNvSpPr>
            <p:nvPr/>
          </p:nvSpPr>
          <p:spPr bwMode="auto">
            <a:xfrm>
              <a:off x="1731963" y="5688013"/>
              <a:ext cx="9525" cy="4763"/>
            </a:xfrm>
            <a:custGeom>
              <a:avLst/>
              <a:gdLst>
                <a:gd name="T0" fmla="*/ 6 w 6"/>
                <a:gd name="T1" fmla="*/ 0 h 3"/>
                <a:gd name="T2" fmla="*/ 0 w 6"/>
                <a:gd name="T3" fmla="*/ 3 h 3"/>
                <a:gd name="T4" fmla="*/ 6 w 6"/>
                <a:gd name="T5" fmla="*/ 0 h 3"/>
                <a:gd name="T6" fmla="*/ 6 w 6"/>
                <a:gd name="T7" fmla="*/ 0 h 3"/>
              </a:gdLst>
              <a:ahLst/>
              <a:cxnLst>
                <a:cxn ang="0">
                  <a:pos x="T0" y="T1"/>
                </a:cxn>
                <a:cxn ang="0">
                  <a:pos x="T2" y="T3"/>
                </a:cxn>
                <a:cxn ang="0">
                  <a:pos x="T4" y="T5"/>
                </a:cxn>
                <a:cxn ang="0">
                  <a:pos x="T6" y="T7"/>
                </a:cxn>
              </a:cxnLst>
              <a:rect l="0" t="0" r="r" b="b"/>
              <a:pathLst>
                <a:path w="6" h="3">
                  <a:moveTo>
                    <a:pt x="6" y="0"/>
                  </a:moveTo>
                  <a:lnTo>
                    <a:pt x="0" y="3"/>
                  </a:lnTo>
                  <a:lnTo>
                    <a:pt x="6" y="0"/>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1" name="Freeform 1058"/>
            <p:cNvSpPr>
              <a:spLocks/>
            </p:cNvSpPr>
            <p:nvPr/>
          </p:nvSpPr>
          <p:spPr bwMode="auto">
            <a:xfrm>
              <a:off x="1744663" y="5654675"/>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2" name="Freeform 1059"/>
            <p:cNvSpPr>
              <a:spLocks/>
            </p:cNvSpPr>
            <p:nvPr/>
          </p:nvSpPr>
          <p:spPr bwMode="auto">
            <a:xfrm>
              <a:off x="1744663" y="5654675"/>
              <a:ext cx="3175" cy="6350"/>
            </a:xfrm>
            <a:custGeom>
              <a:avLst/>
              <a:gdLst>
                <a:gd name="T0" fmla="*/ 2 w 2"/>
                <a:gd name="T1" fmla="*/ 0 h 4"/>
                <a:gd name="T2" fmla="*/ 0 w 2"/>
                <a:gd name="T3" fmla="*/ 0 h 4"/>
                <a:gd name="T4" fmla="*/ 0 w 2"/>
                <a:gd name="T5" fmla="*/ 4 h 4"/>
                <a:gd name="T6" fmla="*/ 2 w 2"/>
                <a:gd name="T7" fmla="*/ 0 h 4"/>
              </a:gdLst>
              <a:ahLst/>
              <a:cxnLst>
                <a:cxn ang="0">
                  <a:pos x="T0" y="T1"/>
                </a:cxn>
                <a:cxn ang="0">
                  <a:pos x="T2" y="T3"/>
                </a:cxn>
                <a:cxn ang="0">
                  <a:pos x="T4" y="T5"/>
                </a:cxn>
                <a:cxn ang="0">
                  <a:pos x="T6" y="T7"/>
                </a:cxn>
              </a:cxnLst>
              <a:rect l="0" t="0" r="r" b="b"/>
              <a:pathLst>
                <a:path w="2" h="4">
                  <a:moveTo>
                    <a:pt x="2" y="0"/>
                  </a:moveTo>
                  <a:lnTo>
                    <a:pt x="0" y="0"/>
                  </a:lnTo>
                  <a:lnTo>
                    <a:pt x="0" y="4"/>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3" name="Freeform 1060"/>
            <p:cNvSpPr>
              <a:spLocks/>
            </p:cNvSpPr>
            <p:nvPr/>
          </p:nvSpPr>
          <p:spPr bwMode="auto">
            <a:xfrm>
              <a:off x="1738313" y="5678488"/>
              <a:ext cx="12700" cy="9525"/>
            </a:xfrm>
            <a:custGeom>
              <a:avLst/>
              <a:gdLst>
                <a:gd name="T0" fmla="*/ 0 w 8"/>
                <a:gd name="T1" fmla="*/ 6 h 6"/>
                <a:gd name="T2" fmla="*/ 2 w 8"/>
                <a:gd name="T3" fmla="*/ 4 h 6"/>
                <a:gd name="T4" fmla="*/ 8 w 8"/>
                <a:gd name="T5" fmla="*/ 0 h 6"/>
                <a:gd name="T6" fmla="*/ 2 w 8"/>
                <a:gd name="T7" fmla="*/ 2 h 6"/>
                <a:gd name="T8" fmla="*/ 0 w 8"/>
                <a:gd name="T9" fmla="*/ 6 h 6"/>
              </a:gdLst>
              <a:ahLst/>
              <a:cxnLst>
                <a:cxn ang="0">
                  <a:pos x="T0" y="T1"/>
                </a:cxn>
                <a:cxn ang="0">
                  <a:pos x="T2" y="T3"/>
                </a:cxn>
                <a:cxn ang="0">
                  <a:pos x="T4" y="T5"/>
                </a:cxn>
                <a:cxn ang="0">
                  <a:pos x="T6" y="T7"/>
                </a:cxn>
                <a:cxn ang="0">
                  <a:pos x="T8" y="T9"/>
                </a:cxn>
              </a:cxnLst>
              <a:rect l="0" t="0" r="r" b="b"/>
              <a:pathLst>
                <a:path w="8" h="6">
                  <a:moveTo>
                    <a:pt x="0" y="6"/>
                  </a:moveTo>
                  <a:lnTo>
                    <a:pt x="2" y="4"/>
                  </a:lnTo>
                  <a:lnTo>
                    <a:pt x="8" y="0"/>
                  </a:lnTo>
                  <a:lnTo>
                    <a:pt x="2" y="2"/>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4" name="Freeform 1061"/>
            <p:cNvSpPr>
              <a:spLocks/>
            </p:cNvSpPr>
            <p:nvPr/>
          </p:nvSpPr>
          <p:spPr bwMode="auto">
            <a:xfrm>
              <a:off x="1738313" y="5678488"/>
              <a:ext cx="12700" cy="9525"/>
            </a:xfrm>
            <a:custGeom>
              <a:avLst/>
              <a:gdLst>
                <a:gd name="T0" fmla="*/ 0 w 8"/>
                <a:gd name="T1" fmla="*/ 6 h 6"/>
                <a:gd name="T2" fmla="*/ 2 w 8"/>
                <a:gd name="T3" fmla="*/ 4 h 6"/>
                <a:gd name="T4" fmla="*/ 8 w 8"/>
                <a:gd name="T5" fmla="*/ 0 h 6"/>
                <a:gd name="T6" fmla="*/ 2 w 8"/>
                <a:gd name="T7" fmla="*/ 2 h 6"/>
                <a:gd name="T8" fmla="*/ 0 w 8"/>
                <a:gd name="T9" fmla="*/ 6 h 6"/>
              </a:gdLst>
              <a:ahLst/>
              <a:cxnLst>
                <a:cxn ang="0">
                  <a:pos x="T0" y="T1"/>
                </a:cxn>
                <a:cxn ang="0">
                  <a:pos x="T2" y="T3"/>
                </a:cxn>
                <a:cxn ang="0">
                  <a:pos x="T4" y="T5"/>
                </a:cxn>
                <a:cxn ang="0">
                  <a:pos x="T6" y="T7"/>
                </a:cxn>
                <a:cxn ang="0">
                  <a:pos x="T8" y="T9"/>
                </a:cxn>
              </a:cxnLst>
              <a:rect l="0" t="0" r="r" b="b"/>
              <a:pathLst>
                <a:path w="8" h="6">
                  <a:moveTo>
                    <a:pt x="0" y="6"/>
                  </a:moveTo>
                  <a:lnTo>
                    <a:pt x="2" y="4"/>
                  </a:lnTo>
                  <a:lnTo>
                    <a:pt x="8" y="0"/>
                  </a:lnTo>
                  <a:lnTo>
                    <a:pt x="2" y="2"/>
                  </a:lnTo>
                  <a:lnTo>
                    <a:pt x="0" y="6"/>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5" name="Freeform 1062"/>
            <p:cNvSpPr>
              <a:spLocks/>
            </p:cNvSpPr>
            <p:nvPr/>
          </p:nvSpPr>
          <p:spPr bwMode="auto">
            <a:xfrm>
              <a:off x="1744663" y="5681663"/>
              <a:ext cx="6350" cy="6350"/>
            </a:xfrm>
            <a:custGeom>
              <a:avLst/>
              <a:gdLst>
                <a:gd name="T0" fmla="*/ 0 w 4"/>
                <a:gd name="T1" fmla="*/ 4 h 4"/>
                <a:gd name="T2" fmla="*/ 2 w 4"/>
                <a:gd name="T3" fmla="*/ 4 h 4"/>
                <a:gd name="T4" fmla="*/ 4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2" y="4"/>
                  </a:lnTo>
                  <a:lnTo>
                    <a:pt x="4"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6" name="Freeform 1063"/>
            <p:cNvSpPr>
              <a:spLocks/>
            </p:cNvSpPr>
            <p:nvPr/>
          </p:nvSpPr>
          <p:spPr bwMode="auto">
            <a:xfrm>
              <a:off x="1744663" y="5681663"/>
              <a:ext cx="6350" cy="6350"/>
            </a:xfrm>
            <a:custGeom>
              <a:avLst/>
              <a:gdLst>
                <a:gd name="T0" fmla="*/ 0 w 4"/>
                <a:gd name="T1" fmla="*/ 4 h 4"/>
                <a:gd name="T2" fmla="*/ 2 w 4"/>
                <a:gd name="T3" fmla="*/ 4 h 4"/>
                <a:gd name="T4" fmla="*/ 4 w 4"/>
                <a:gd name="T5" fmla="*/ 0 h 4"/>
                <a:gd name="T6" fmla="*/ 0 w 4"/>
                <a:gd name="T7" fmla="*/ 4 h 4"/>
              </a:gdLst>
              <a:ahLst/>
              <a:cxnLst>
                <a:cxn ang="0">
                  <a:pos x="T0" y="T1"/>
                </a:cxn>
                <a:cxn ang="0">
                  <a:pos x="T2" y="T3"/>
                </a:cxn>
                <a:cxn ang="0">
                  <a:pos x="T4" y="T5"/>
                </a:cxn>
                <a:cxn ang="0">
                  <a:pos x="T6" y="T7"/>
                </a:cxn>
              </a:cxnLst>
              <a:rect l="0" t="0" r="r" b="b"/>
              <a:pathLst>
                <a:path w="4" h="4">
                  <a:moveTo>
                    <a:pt x="0" y="4"/>
                  </a:moveTo>
                  <a:lnTo>
                    <a:pt x="2" y="4"/>
                  </a:lnTo>
                  <a:lnTo>
                    <a:pt x="4" y="0"/>
                  </a:lnTo>
                  <a:lnTo>
                    <a:pt x="0"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7" name="Freeform 1064"/>
            <p:cNvSpPr>
              <a:spLocks/>
            </p:cNvSpPr>
            <p:nvPr/>
          </p:nvSpPr>
          <p:spPr bwMode="auto">
            <a:xfrm>
              <a:off x="1747838" y="5645150"/>
              <a:ext cx="14288" cy="26988"/>
            </a:xfrm>
            <a:custGeom>
              <a:avLst/>
              <a:gdLst>
                <a:gd name="T0" fmla="*/ 9 w 9"/>
                <a:gd name="T1" fmla="*/ 4 h 17"/>
                <a:gd name="T2" fmla="*/ 7 w 9"/>
                <a:gd name="T3" fmla="*/ 0 h 17"/>
                <a:gd name="T4" fmla="*/ 5 w 9"/>
                <a:gd name="T5" fmla="*/ 8 h 17"/>
                <a:gd name="T6" fmla="*/ 0 w 9"/>
                <a:gd name="T7" fmla="*/ 15 h 17"/>
                <a:gd name="T8" fmla="*/ 5 w 9"/>
                <a:gd name="T9" fmla="*/ 17 h 17"/>
                <a:gd name="T10" fmla="*/ 7 w 9"/>
                <a:gd name="T11" fmla="*/ 12 h 17"/>
                <a:gd name="T12" fmla="*/ 9 w 9"/>
                <a:gd name="T13" fmla="*/ 8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7" y="0"/>
                  </a:lnTo>
                  <a:lnTo>
                    <a:pt x="5" y="8"/>
                  </a:lnTo>
                  <a:lnTo>
                    <a:pt x="0" y="15"/>
                  </a:lnTo>
                  <a:lnTo>
                    <a:pt x="5" y="17"/>
                  </a:lnTo>
                  <a:lnTo>
                    <a:pt x="7" y="12"/>
                  </a:lnTo>
                  <a:lnTo>
                    <a:pt x="9" y="8"/>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58" name="Freeform 1065"/>
            <p:cNvSpPr>
              <a:spLocks/>
            </p:cNvSpPr>
            <p:nvPr/>
          </p:nvSpPr>
          <p:spPr bwMode="auto">
            <a:xfrm>
              <a:off x="1747838" y="5645150"/>
              <a:ext cx="14288" cy="26988"/>
            </a:xfrm>
            <a:custGeom>
              <a:avLst/>
              <a:gdLst>
                <a:gd name="T0" fmla="*/ 9 w 9"/>
                <a:gd name="T1" fmla="*/ 4 h 17"/>
                <a:gd name="T2" fmla="*/ 7 w 9"/>
                <a:gd name="T3" fmla="*/ 0 h 17"/>
                <a:gd name="T4" fmla="*/ 5 w 9"/>
                <a:gd name="T5" fmla="*/ 8 h 17"/>
                <a:gd name="T6" fmla="*/ 0 w 9"/>
                <a:gd name="T7" fmla="*/ 15 h 17"/>
                <a:gd name="T8" fmla="*/ 5 w 9"/>
                <a:gd name="T9" fmla="*/ 17 h 17"/>
                <a:gd name="T10" fmla="*/ 7 w 9"/>
                <a:gd name="T11" fmla="*/ 12 h 17"/>
                <a:gd name="T12" fmla="*/ 9 w 9"/>
                <a:gd name="T13" fmla="*/ 8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7" y="0"/>
                  </a:lnTo>
                  <a:lnTo>
                    <a:pt x="5" y="8"/>
                  </a:lnTo>
                  <a:lnTo>
                    <a:pt x="0" y="15"/>
                  </a:lnTo>
                  <a:lnTo>
                    <a:pt x="5" y="17"/>
                  </a:lnTo>
                  <a:lnTo>
                    <a:pt x="7" y="12"/>
                  </a:lnTo>
                  <a:lnTo>
                    <a:pt x="9" y="8"/>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59" name="Freeform 1066"/>
            <p:cNvSpPr>
              <a:spLocks/>
            </p:cNvSpPr>
            <p:nvPr/>
          </p:nvSpPr>
          <p:spPr bwMode="auto">
            <a:xfrm>
              <a:off x="1751013" y="5654675"/>
              <a:ext cx="38100" cy="53975"/>
            </a:xfrm>
            <a:custGeom>
              <a:avLst/>
              <a:gdLst>
                <a:gd name="T0" fmla="*/ 5 w 24"/>
                <a:gd name="T1" fmla="*/ 21 h 34"/>
                <a:gd name="T2" fmla="*/ 0 w 24"/>
                <a:gd name="T3" fmla="*/ 30 h 34"/>
                <a:gd name="T4" fmla="*/ 0 w 24"/>
                <a:gd name="T5" fmla="*/ 34 h 34"/>
                <a:gd name="T6" fmla="*/ 7 w 24"/>
                <a:gd name="T7" fmla="*/ 30 h 34"/>
                <a:gd name="T8" fmla="*/ 11 w 24"/>
                <a:gd name="T9" fmla="*/ 26 h 34"/>
                <a:gd name="T10" fmla="*/ 13 w 24"/>
                <a:gd name="T11" fmla="*/ 21 h 34"/>
                <a:gd name="T12" fmla="*/ 17 w 24"/>
                <a:gd name="T13" fmla="*/ 15 h 34"/>
                <a:gd name="T14" fmla="*/ 24 w 24"/>
                <a:gd name="T15" fmla="*/ 11 h 34"/>
                <a:gd name="T16" fmla="*/ 22 w 24"/>
                <a:gd name="T17" fmla="*/ 0 h 34"/>
                <a:gd name="T18" fmla="*/ 15 w 24"/>
                <a:gd name="T19" fmla="*/ 13 h 34"/>
                <a:gd name="T20" fmla="*/ 11 w 24"/>
                <a:gd name="T21" fmla="*/ 17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0" y="30"/>
                  </a:lnTo>
                  <a:lnTo>
                    <a:pt x="0" y="34"/>
                  </a:lnTo>
                  <a:lnTo>
                    <a:pt x="7" y="30"/>
                  </a:lnTo>
                  <a:lnTo>
                    <a:pt x="11" y="26"/>
                  </a:lnTo>
                  <a:lnTo>
                    <a:pt x="13" y="21"/>
                  </a:lnTo>
                  <a:lnTo>
                    <a:pt x="17" y="15"/>
                  </a:lnTo>
                  <a:lnTo>
                    <a:pt x="24" y="11"/>
                  </a:lnTo>
                  <a:lnTo>
                    <a:pt x="22" y="0"/>
                  </a:lnTo>
                  <a:lnTo>
                    <a:pt x="15" y="13"/>
                  </a:lnTo>
                  <a:lnTo>
                    <a:pt x="11" y="17"/>
                  </a:lnTo>
                  <a:lnTo>
                    <a:pt x="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0" name="Freeform 1067"/>
            <p:cNvSpPr>
              <a:spLocks/>
            </p:cNvSpPr>
            <p:nvPr/>
          </p:nvSpPr>
          <p:spPr bwMode="auto">
            <a:xfrm>
              <a:off x="1751013" y="5654675"/>
              <a:ext cx="38100" cy="53975"/>
            </a:xfrm>
            <a:custGeom>
              <a:avLst/>
              <a:gdLst>
                <a:gd name="T0" fmla="*/ 5 w 24"/>
                <a:gd name="T1" fmla="*/ 21 h 34"/>
                <a:gd name="T2" fmla="*/ 0 w 24"/>
                <a:gd name="T3" fmla="*/ 30 h 34"/>
                <a:gd name="T4" fmla="*/ 0 w 24"/>
                <a:gd name="T5" fmla="*/ 34 h 34"/>
                <a:gd name="T6" fmla="*/ 7 w 24"/>
                <a:gd name="T7" fmla="*/ 30 h 34"/>
                <a:gd name="T8" fmla="*/ 11 w 24"/>
                <a:gd name="T9" fmla="*/ 26 h 34"/>
                <a:gd name="T10" fmla="*/ 13 w 24"/>
                <a:gd name="T11" fmla="*/ 21 h 34"/>
                <a:gd name="T12" fmla="*/ 17 w 24"/>
                <a:gd name="T13" fmla="*/ 15 h 34"/>
                <a:gd name="T14" fmla="*/ 24 w 24"/>
                <a:gd name="T15" fmla="*/ 11 h 34"/>
                <a:gd name="T16" fmla="*/ 22 w 24"/>
                <a:gd name="T17" fmla="*/ 0 h 34"/>
                <a:gd name="T18" fmla="*/ 15 w 24"/>
                <a:gd name="T19" fmla="*/ 13 h 34"/>
                <a:gd name="T20" fmla="*/ 11 w 24"/>
                <a:gd name="T21" fmla="*/ 17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0" y="30"/>
                  </a:lnTo>
                  <a:lnTo>
                    <a:pt x="0" y="34"/>
                  </a:lnTo>
                  <a:lnTo>
                    <a:pt x="7" y="30"/>
                  </a:lnTo>
                  <a:lnTo>
                    <a:pt x="11" y="26"/>
                  </a:lnTo>
                  <a:lnTo>
                    <a:pt x="13" y="21"/>
                  </a:lnTo>
                  <a:lnTo>
                    <a:pt x="17" y="15"/>
                  </a:lnTo>
                  <a:lnTo>
                    <a:pt x="24" y="11"/>
                  </a:lnTo>
                  <a:lnTo>
                    <a:pt x="22" y="0"/>
                  </a:lnTo>
                  <a:lnTo>
                    <a:pt x="15" y="13"/>
                  </a:lnTo>
                  <a:lnTo>
                    <a:pt x="11" y="17"/>
                  </a:lnTo>
                  <a:lnTo>
                    <a:pt x="5" y="2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1" name="Freeform 1068"/>
            <p:cNvSpPr>
              <a:spLocks/>
            </p:cNvSpPr>
            <p:nvPr/>
          </p:nvSpPr>
          <p:spPr bwMode="auto">
            <a:xfrm>
              <a:off x="1804988" y="5648325"/>
              <a:ext cx="26988" cy="15875"/>
            </a:xfrm>
            <a:custGeom>
              <a:avLst/>
              <a:gdLst>
                <a:gd name="T0" fmla="*/ 17 w 17"/>
                <a:gd name="T1" fmla="*/ 4 h 10"/>
                <a:gd name="T2" fmla="*/ 17 w 17"/>
                <a:gd name="T3" fmla="*/ 2 h 10"/>
                <a:gd name="T4" fmla="*/ 11 w 17"/>
                <a:gd name="T5" fmla="*/ 2 h 10"/>
                <a:gd name="T6" fmla="*/ 7 w 17"/>
                <a:gd name="T7" fmla="*/ 0 h 10"/>
                <a:gd name="T8" fmla="*/ 0 w 17"/>
                <a:gd name="T9" fmla="*/ 2 h 10"/>
                <a:gd name="T10" fmla="*/ 0 w 17"/>
                <a:gd name="T11" fmla="*/ 6 h 10"/>
                <a:gd name="T12" fmla="*/ 5 w 17"/>
                <a:gd name="T13" fmla="*/ 6 h 10"/>
                <a:gd name="T14" fmla="*/ 0 w 17"/>
                <a:gd name="T15" fmla="*/ 10 h 10"/>
                <a:gd name="T16" fmla="*/ 5 w 17"/>
                <a:gd name="T17" fmla="*/ 10 h 10"/>
                <a:gd name="T18" fmla="*/ 11 w 17"/>
                <a:gd name="T19" fmla="*/ 6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7" y="2"/>
                  </a:lnTo>
                  <a:lnTo>
                    <a:pt x="11" y="2"/>
                  </a:lnTo>
                  <a:lnTo>
                    <a:pt x="7" y="0"/>
                  </a:lnTo>
                  <a:lnTo>
                    <a:pt x="0" y="2"/>
                  </a:lnTo>
                  <a:lnTo>
                    <a:pt x="0" y="6"/>
                  </a:lnTo>
                  <a:lnTo>
                    <a:pt x="5" y="6"/>
                  </a:lnTo>
                  <a:lnTo>
                    <a:pt x="0" y="10"/>
                  </a:lnTo>
                  <a:lnTo>
                    <a:pt x="5" y="10"/>
                  </a:lnTo>
                  <a:lnTo>
                    <a:pt x="11" y="6"/>
                  </a:lnTo>
                  <a:lnTo>
                    <a:pt x="1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62" name="Freeform 1069"/>
            <p:cNvSpPr>
              <a:spLocks/>
            </p:cNvSpPr>
            <p:nvPr/>
          </p:nvSpPr>
          <p:spPr bwMode="auto">
            <a:xfrm>
              <a:off x="1804988" y="5648325"/>
              <a:ext cx="26988" cy="15875"/>
            </a:xfrm>
            <a:custGeom>
              <a:avLst/>
              <a:gdLst>
                <a:gd name="T0" fmla="*/ 17 w 17"/>
                <a:gd name="T1" fmla="*/ 4 h 10"/>
                <a:gd name="T2" fmla="*/ 17 w 17"/>
                <a:gd name="T3" fmla="*/ 2 h 10"/>
                <a:gd name="T4" fmla="*/ 11 w 17"/>
                <a:gd name="T5" fmla="*/ 2 h 10"/>
                <a:gd name="T6" fmla="*/ 7 w 17"/>
                <a:gd name="T7" fmla="*/ 0 h 10"/>
                <a:gd name="T8" fmla="*/ 0 w 17"/>
                <a:gd name="T9" fmla="*/ 2 h 10"/>
                <a:gd name="T10" fmla="*/ 0 w 17"/>
                <a:gd name="T11" fmla="*/ 6 h 10"/>
                <a:gd name="T12" fmla="*/ 5 w 17"/>
                <a:gd name="T13" fmla="*/ 6 h 10"/>
                <a:gd name="T14" fmla="*/ 0 w 17"/>
                <a:gd name="T15" fmla="*/ 10 h 10"/>
                <a:gd name="T16" fmla="*/ 5 w 17"/>
                <a:gd name="T17" fmla="*/ 10 h 10"/>
                <a:gd name="T18" fmla="*/ 11 w 17"/>
                <a:gd name="T19" fmla="*/ 6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7" y="2"/>
                  </a:lnTo>
                  <a:lnTo>
                    <a:pt x="11" y="2"/>
                  </a:lnTo>
                  <a:lnTo>
                    <a:pt x="7" y="0"/>
                  </a:lnTo>
                  <a:lnTo>
                    <a:pt x="0" y="2"/>
                  </a:lnTo>
                  <a:lnTo>
                    <a:pt x="0" y="6"/>
                  </a:lnTo>
                  <a:lnTo>
                    <a:pt x="5" y="6"/>
                  </a:lnTo>
                  <a:lnTo>
                    <a:pt x="0" y="10"/>
                  </a:lnTo>
                  <a:lnTo>
                    <a:pt x="5" y="10"/>
                  </a:lnTo>
                  <a:lnTo>
                    <a:pt x="11" y="6"/>
                  </a:lnTo>
                  <a:lnTo>
                    <a:pt x="17"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263" name="Freeform 1070"/>
            <p:cNvSpPr>
              <a:spLocks/>
            </p:cNvSpPr>
            <p:nvPr/>
          </p:nvSpPr>
          <p:spPr bwMode="auto">
            <a:xfrm>
              <a:off x="1828800" y="5637213"/>
              <a:ext cx="17463" cy="11113"/>
            </a:xfrm>
            <a:custGeom>
              <a:avLst/>
              <a:gdLst>
                <a:gd name="T0" fmla="*/ 11 w 11"/>
                <a:gd name="T1" fmla="*/ 0 h 7"/>
                <a:gd name="T2" fmla="*/ 9 w 11"/>
                <a:gd name="T3" fmla="*/ 0 h 7"/>
                <a:gd name="T4" fmla="*/ 2 w 11"/>
                <a:gd name="T5" fmla="*/ 3 h 7"/>
                <a:gd name="T6" fmla="*/ 0 w 11"/>
                <a:gd name="T7" fmla="*/ 7 h 7"/>
                <a:gd name="T8" fmla="*/ 11 w 11"/>
                <a:gd name="T9" fmla="*/ 0 h 7"/>
              </a:gdLst>
              <a:ahLst/>
              <a:cxnLst>
                <a:cxn ang="0">
                  <a:pos x="T0" y="T1"/>
                </a:cxn>
                <a:cxn ang="0">
                  <a:pos x="T2" y="T3"/>
                </a:cxn>
                <a:cxn ang="0">
                  <a:pos x="T4" y="T5"/>
                </a:cxn>
                <a:cxn ang="0">
                  <a:pos x="T6" y="T7"/>
                </a:cxn>
                <a:cxn ang="0">
                  <a:pos x="T8" y="T9"/>
                </a:cxn>
              </a:cxnLst>
              <a:rect l="0" t="0" r="r" b="b"/>
              <a:pathLst>
                <a:path w="11" h="7">
                  <a:moveTo>
                    <a:pt x="11" y="0"/>
                  </a:moveTo>
                  <a:lnTo>
                    <a:pt x="9" y="0"/>
                  </a:lnTo>
                  <a:lnTo>
                    <a:pt x="2" y="3"/>
                  </a:lnTo>
                  <a:lnTo>
                    <a:pt x="0" y="7"/>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679" name="Group 1272"/>
            <p:cNvGrpSpPr>
              <a:grpSpLocks/>
            </p:cNvGrpSpPr>
            <p:nvPr/>
          </p:nvGrpSpPr>
          <p:grpSpPr bwMode="auto">
            <a:xfrm>
              <a:off x="642937" y="4610100"/>
              <a:ext cx="2017713" cy="1514475"/>
              <a:chOff x="306" y="3054"/>
              <a:chExt cx="1271" cy="954"/>
            </a:xfrm>
            <a:grpFill/>
          </p:grpSpPr>
          <p:sp>
            <p:nvSpPr>
              <p:cNvPr id="864" name="Freeform 1072"/>
              <p:cNvSpPr>
                <a:spLocks/>
              </p:cNvSpPr>
              <p:nvPr/>
            </p:nvSpPr>
            <p:spPr bwMode="auto">
              <a:xfrm>
                <a:off x="1053" y="3701"/>
                <a:ext cx="11" cy="7"/>
              </a:xfrm>
              <a:custGeom>
                <a:avLst/>
                <a:gdLst>
                  <a:gd name="T0" fmla="*/ 11 w 11"/>
                  <a:gd name="T1" fmla="*/ 0 h 7"/>
                  <a:gd name="T2" fmla="*/ 9 w 11"/>
                  <a:gd name="T3" fmla="*/ 0 h 7"/>
                  <a:gd name="T4" fmla="*/ 2 w 11"/>
                  <a:gd name="T5" fmla="*/ 3 h 7"/>
                  <a:gd name="T6" fmla="*/ 0 w 11"/>
                  <a:gd name="T7" fmla="*/ 7 h 7"/>
                  <a:gd name="T8" fmla="*/ 11 w 11"/>
                  <a:gd name="T9" fmla="*/ 0 h 7"/>
                </a:gdLst>
                <a:ahLst/>
                <a:cxnLst>
                  <a:cxn ang="0">
                    <a:pos x="T0" y="T1"/>
                  </a:cxn>
                  <a:cxn ang="0">
                    <a:pos x="T2" y="T3"/>
                  </a:cxn>
                  <a:cxn ang="0">
                    <a:pos x="T4" y="T5"/>
                  </a:cxn>
                  <a:cxn ang="0">
                    <a:pos x="T6" y="T7"/>
                  </a:cxn>
                  <a:cxn ang="0">
                    <a:pos x="T8" y="T9"/>
                  </a:cxn>
                </a:cxnLst>
                <a:rect l="0" t="0" r="r" b="b"/>
                <a:pathLst>
                  <a:path w="11" h="7">
                    <a:moveTo>
                      <a:pt x="11" y="0"/>
                    </a:moveTo>
                    <a:lnTo>
                      <a:pt x="9" y="0"/>
                    </a:lnTo>
                    <a:lnTo>
                      <a:pt x="2" y="3"/>
                    </a:lnTo>
                    <a:lnTo>
                      <a:pt x="0" y="7"/>
                    </a:lnTo>
                    <a:lnTo>
                      <a:pt x="11"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5" name="Freeform 1073"/>
              <p:cNvSpPr>
                <a:spLocks/>
              </p:cNvSpPr>
              <p:nvPr/>
            </p:nvSpPr>
            <p:spPr bwMode="auto">
              <a:xfrm>
                <a:off x="1083" y="3712"/>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6" name="Freeform 1074"/>
              <p:cNvSpPr>
                <a:spLocks/>
              </p:cNvSpPr>
              <p:nvPr/>
            </p:nvSpPr>
            <p:spPr bwMode="auto">
              <a:xfrm>
                <a:off x="1083" y="3712"/>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7" name="Freeform 1075"/>
              <p:cNvSpPr>
                <a:spLocks/>
              </p:cNvSpPr>
              <p:nvPr/>
            </p:nvSpPr>
            <p:spPr bwMode="auto">
              <a:xfrm>
                <a:off x="1100" y="3736"/>
                <a:ext cx="9" cy="8"/>
              </a:xfrm>
              <a:custGeom>
                <a:avLst/>
                <a:gdLst>
                  <a:gd name="T0" fmla="*/ 7 w 9"/>
                  <a:gd name="T1" fmla="*/ 0 h 8"/>
                  <a:gd name="T2" fmla="*/ 2 w 9"/>
                  <a:gd name="T3" fmla="*/ 4 h 8"/>
                  <a:gd name="T4" fmla="*/ 0 w 9"/>
                  <a:gd name="T5" fmla="*/ 8 h 8"/>
                  <a:gd name="T6" fmla="*/ 9 w 9"/>
                  <a:gd name="T7" fmla="*/ 0 h 8"/>
                  <a:gd name="T8" fmla="*/ 7 w 9"/>
                  <a:gd name="T9" fmla="*/ 0 h 8"/>
                </a:gdLst>
                <a:ahLst/>
                <a:cxnLst>
                  <a:cxn ang="0">
                    <a:pos x="T0" y="T1"/>
                  </a:cxn>
                  <a:cxn ang="0">
                    <a:pos x="T2" y="T3"/>
                  </a:cxn>
                  <a:cxn ang="0">
                    <a:pos x="T4" y="T5"/>
                  </a:cxn>
                  <a:cxn ang="0">
                    <a:pos x="T6" y="T7"/>
                  </a:cxn>
                  <a:cxn ang="0">
                    <a:pos x="T8" y="T9"/>
                  </a:cxn>
                </a:cxnLst>
                <a:rect l="0" t="0" r="r" b="b"/>
                <a:pathLst>
                  <a:path w="9" h="8">
                    <a:moveTo>
                      <a:pt x="7" y="0"/>
                    </a:moveTo>
                    <a:lnTo>
                      <a:pt x="2" y="4"/>
                    </a:lnTo>
                    <a:lnTo>
                      <a:pt x="0" y="8"/>
                    </a:lnTo>
                    <a:lnTo>
                      <a:pt x="9"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8" name="Freeform 1076"/>
              <p:cNvSpPr>
                <a:spLocks/>
              </p:cNvSpPr>
              <p:nvPr/>
            </p:nvSpPr>
            <p:spPr bwMode="auto">
              <a:xfrm>
                <a:off x="1100" y="3736"/>
                <a:ext cx="9" cy="8"/>
              </a:xfrm>
              <a:custGeom>
                <a:avLst/>
                <a:gdLst>
                  <a:gd name="T0" fmla="*/ 7 w 9"/>
                  <a:gd name="T1" fmla="*/ 0 h 8"/>
                  <a:gd name="T2" fmla="*/ 2 w 9"/>
                  <a:gd name="T3" fmla="*/ 4 h 8"/>
                  <a:gd name="T4" fmla="*/ 0 w 9"/>
                  <a:gd name="T5" fmla="*/ 8 h 8"/>
                  <a:gd name="T6" fmla="*/ 9 w 9"/>
                  <a:gd name="T7" fmla="*/ 0 h 8"/>
                  <a:gd name="T8" fmla="*/ 7 w 9"/>
                  <a:gd name="T9" fmla="*/ 0 h 8"/>
                </a:gdLst>
                <a:ahLst/>
                <a:cxnLst>
                  <a:cxn ang="0">
                    <a:pos x="T0" y="T1"/>
                  </a:cxn>
                  <a:cxn ang="0">
                    <a:pos x="T2" y="T3"/>
                  </a:cxn>
                  <a:cxn ang="0">
                    <a:pos x="T4" y="T5"/>
                  </a:cxn>
                  <a:cxn ang="0">
                    <a:pos x="T6" y="T7"/>
                  </a:cxn>
                  <a:cxn ang="0">
                    <a:pos x="T8" y="T9"/>
                  </a:cxn>
                </a:cxnLst>
                <a:rect l="0" t="0" r="r" b="b"/>
                <a:pathLst>
                  <a:path w="9" h="8">
                    <a:moveTo>
                      <a:pt x="7" y="0"/>
                    </a:moveTo>
                    <a:lnTo>
                      <a:pt x="2" y="4"/>
                    </a:lnTo>
                    <a:lnTo>
                      <a:pt x="0" y="8"/>
                    </a:lnTo>
                    <a:lnTo>
                      <a:pt x="9" y="0"/>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69" name="Freeform 1077"/>
              <p:cNvSpPr>
                <a:spLocks/>
              </p:cNvSpPr>
              <p:nvPr/>
            </p:nvSpPr>
            <p:spPr bwMode="auto">
              <a:xfrm>
                <a:off x="1345" y="3831"/>
                <a:ext cx="6" cy="13"/>
              </a:xfrm>
              <a:custGeom>
                <a:avLst/>
                <a:gdLst>
                  <a:gd name="T0" fmla="*/ 2 w 6"/>
                  <a:gd name="T1" fmla="*/ 0 h 13"/>
                  <a:gd name="T2" fmla="*/ 0 w 6"/>
                  <a:gd name="T3" fmla="*/ 0 h 13"/>
                  <a:gd name="T4" fmla="*/ 0 w 6"/>
                  <a:gd name="T5" fmla="*/ 11 h 13"/>
                  <a:gd name="T6" fmla="*/ 4 w 6"/>
                  <a:gd name="T7" fmla="*/ 13 h 13"/>
                  <a:gd name="T8" fmla="*/ 6 w 6"/>
                  <a:gd name="T9" fmla="*/ 9 h 13"/>
                  <a:gd name="T10" fmla="*/ 6 w 6"/>
                  <a:gd name="T11" fmla="*/ 5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0" y="0"/>
                    </a:lnTo>
                    <a:lnTo>
                      <a:pt x="0" y="11"/>
                    </a:lnTo>
                    <a:lnTo>
                      <a:pt x="4" y="13"/>
                    </a:lnTo>
                    <a:lnTo>
                      <a:pt x="6" y="9"/>
                    </a:lnTo>
                    <a:lnTo>
                      <a:pt x="6"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0" name="Freeform 1078"/>
              <p:cNvSpPr>
                <a:spLocks/>
              </p:cNvSpPr>
              <p:nvPr/>
            </p:nvSpPr>
            <p:spPr bwMode="auto">
              <a:xfrm>
                <a:off x="1345" y="3831"/>
                <a:ext cx="6" cy="13"/>
              </a:xfrm>
              <a:custGeom>
                <a:avLst/>
                <a:gdLst>
                  <a:gd name="T0" fmla="*/ 2 w 6"/>
                  <a:gd name="T1" fmla="*/ 0 h 13"/>
                  <a:gd name="T2" fmla="*/ 0 w 6"/>
                  <a:gd name="T3" fmla="*/ 0 h 13"/>
                  <a:gd name="T4" fmla="*/ 0 w 6"/>
                  <a:gd name="T5" fmla="*/ 11 h 13"/>
                  <a:gd name="T6" fmla="*/ 4 w 6"/>
                  <a:gd name="T7" fmla="*/ 13 h 13"/>
                  <a:gd name="T8" fmla="*/ 6 w 6"/>
                  <a:gd name="T9" fmla="*/ 9 h 13"/>
                  <a:gd name="T10" fmla="*/ 6 w 6"/>
                  <a:gd name="T11" fmla="*/ 5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0" y="0"/>
                    </a:lnTo>
                    <a:lnTo>
                      <a:pt x="0" y="11"/>
                    </a:lnTo>
                    <a:lnTo>
                      <a:pt x="4" y="13"/>
                    </a:lnTo>
                    <a:lnTo>
                      <a:pt x="6" y="9"/>
                    </a:lnTo>
                    <a:lnTo>
                      <a:pt x="6"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1" name="Freeform 1079"/>
              <p:cNvSpPr>
                <a:spLocks/>
              </p:cNvSpPr>
              <p:nvPr/>
            </p:nvSpPr>
            <p:spPr bwMode="auto">
              <a:xfrm>
                <a:off x="1349" y="3819"/>
                <a:ext cx="51" cy="51"/>
              </a:xfrm>
              <a:custGeom>
                <a:avLst/>
                <a:gdLst>
                  <a:gd name="T0" fmla="*/ 24 w 51"/>
                  <a:gd name="T1" fmla="*/ 49 h 51"/>
                  <a:gd name="T2" fmla="*/ 19 w 51"/>
                  <a:gd name="T3" fmla="*/ 44 h 51"/>
                  <a:gd name="T4" fmla="*/ 22 w 51"/>
                  <a:gd name="T5" fmla="*/ 51 h 51"/>
                  <a:gd name="T6" fmla="*/ 28 w 51"/>
                  <a:gd name="T7" fmla="*/ 51 h 51"/>
                  <a:gd name="T8" fmla="*/ 30 w 51"/>
                  <a:gd name="T9" fmla="*/ 42 h 51"/>
                  <a:gd name="T10" fmla="*/ 26 w 51"/>
                  <a:gd name="T11" fmla="*/ 36 h 51"/>
                  <a:gd name="T12" fmla="*/ 24 w 51"/>
                  <a:gd name="T13" fmla="*/ 29 h 51"/>
                  <a:gd name="T14" fmla="*/ 28 w 51"/>
                  <a:gd name="T15" fmla="*/ 32 h 51"/>
                  <a:gd name="T16" fmla="*/ 45 w 51"/>
                  <a:gd name="T17" fmla="*/ 42 h 51"/>
                  <a:gd name="T18" fmla="*/ 51 w 51"/>
                  <a:gd name="T19" fmla="*/ 42 h 51"/>
                  <a:gd name="T20" fmla="*/ 51 w 51"/>
                  <a:gd name="T21" fmla="*/ 38 h 51"/>
                  <a:gd name="T22" fmla="*/ 47 w 51"/>
                  <a:gd name="T23" fmla="*/ 25 h 51"/>
                  <a:gd name="T24" fmla="*/ 43 w 51"/>
                  <a:gd name="T25" fmla="*/ 25 h 51"/>
                  <a:gd name="T26" fmla="*/ 37 w 51"/>
                  <a:gd name="T27" fmla="*/ 27 h 51"/>
                  <a:gd name="T28" fmla="*/ 32 w 51"/>
                  <a:gd name="T29" fmla="*/ 23 h 51"/>
                  <a:gd name="T30" fmla="*/ 19 w 51"/>
                  <a:gd name="T31" fmla="*/ 17 h 51"/>
                  <a:gd name="T32" fmla="*/ 24 w 51"/>
                  <a:gd name="T33" fmla="*/ 19 h 51"/>
                  <a:gd name="T34" fmla="*/ 34 w 51"/>
                  <a:gd name="T35" fmla="*/ 23 h 51"/>
                  <a:gd name="T36" fmla="*/ 39 w 51"/>
                  <a:gd name="T37" fmla="*/ 25 h 51"/>
                  <a:gd name="T38" fmla="*/ 43 w 51"/>
                  <a:gd name="T39" fmla="*/ 23 h 51"/>
                  <a:gd name="T40" fmla="*/ 41 w 51"/>
                  <a:gd name="T41" fmla="*/ 19 h 51"/>
                  <a:gd name="T42" fmla="*/ 45 w 51"/>
                  <a:gd name="T43" fmla="*/ 19 h 51"/>
                  <a:gd name="T44" fmla="*/ 45 w 51"/>
                  <a:gd name="T45" fmla="*/ 14 h 51"/>
                  <a:gd name="T46" fmla="*/ 43 w 51"/>
                  <a:gd name="T47" fmla="*/ 8 h 51"/>
                  <a:gd name="T48" fmla="*/ 39 w 51"/>
                  <a:gd name="T49" fmla="*/ 6 h 51"/>
                  <a:gd name="T50" fmla="*/ 32 w 51"/>
                  <a:gd name="T51" fmla="*/ 6 h 51"/>
                  <a:gd name="T52" fmla="*/ 28 w 51"/>
                  <a:gd name="T53" fmla="*/ 6 h 51"/>
                  <a:gd name="T54" fmla="*/ 24 w 51"/>
                  <a:gd name="T55" fmla="*/ 14 h 51"/>
                  <a:gd name="T56" fmla="*/ 19 w 51"/>
                  <a:gd name="T57" fmla="*/ 12 h 51"/>
                  <a:gd name="T58" fmla="*/ 26 w 51"/>
                  <a:gd name="T59" fmla="*/ 8 h 51"/>
                  <a:gd name="T60" fmla="*/ 26 w 51"/>
                  <a:gd name="T61" fmla="*/ 4 h 51"/>
                  <a:gd name="T62" fmla="*/ 22 w 51"/>
                  <a:gd name="T63" fmla="*/ 2 h 51"/>
                  <a:gd name="T64" fmla="*/ 17 w 51"/>
                  <a:gd name="T65" fmla="*/ 0 h 51"/>
                  <a:gd name="T66" fmla="*/ 13 w 51"/>
                  <a:gd name="T67" fmla="*/ 4 h 51"/>
                  <a:gd name="T68" fmla="*/ 7 w 51"/>
                  <a:gd name="T69" fmla="*/ 4 h 51"/>
                  <a:gd name="T70" fmla="*/ 7 w 51"/>
                  <a:gd name="T71" fmla="*/ 8 h 51"/>
                  <a:gd name="T72" fmla="*/ 2 w 51"/>
                  <a:gd name="T73" fmla="*/ 4 h 51"/>
                  <a:gd name="T74" fmla="*/ 2 w 51"/>
                  <a:gd name="T75" fmla="*/ 10 h 51"/>
                  <a:gd name="T76" fmla="*/ 0 w 51"/>
                  <a:gd name="T77" fmla="*/ 14 h 51"/>
                  <a:gd name="T78" fmla="*/ 9 w 51"/>
                  <a:gd name="T79" fmla="*/ 21 h 51"/>
                  <a:gd name="T80" fmla="*/ 5 w 51"/>
                  <a:gd name="T81" fmla="*/ 19 h 51"/>
                  <a:gd name="T82" fmla="*/ 2 w 51"/>
                  <a:gd name="T83" fmla="*/ 23 h 51"/>
                  <a:gd name="T84" fmla="*/ 5 w 51"/>
                  <a:gd name="T85" fmla="*/ 29 h 51"/>
                  <a:gd name="T86" fmla="*/ 9 w 51"/>
                  <a:gd name="T87" fmla="*/ 32 h 51"/>
                  <a:gd name="T88" fmla="*/ 11 w 51"/>
                  <a:gd name="T89" fmla="*/ 38 h 51"/>
                  <a:gd name="T90" fmla="*/ 17 w 51"/>
                  <a:gd name="T91" fmla="*/ 38 h 51"/>
                  <a:gd name="T92" fmla="*/ 19 w 51"/>
                  <a:gd name="T93" fmla="*/ 42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4"/>
                    </a:lnTo>
                    <a:lnTo>
                      <a:pt x="22" y="51"/>
                    </a:lnTo>
                    <a:lnTo>
                      <a:pt x="28" y="51"/>
                    </a:lnTo>
                    <a:lnTo>
                      <a:pt x="30" y="42"/>
                    </a:lnTo>
                    <a:lnTo>
                      <a:pt x="26" y="36"/>
                    </a:lnTo>
                    <a:lnTo>
                      <a:pt x="24" y="29"/>
                    </a:lnTo>
                    <a:lnTo>
                      <a:pt x="28" y="32"/>
                    </a:lnTo>
                    <a:lnTo>
                      <a:pt x="45" y="42"/>
                    </a:lnTo>
                    <a:lnTo>
                      <a:pt x="51" y="42"/>
                    </a:lnTo>
                    <a:lnTo>
                      <a:pt x="51" y="38"/>
                    </a:lnTo>
                    <a:lnTo>
                      <a:pt x="47" y="25"/>
                    </a:lnTo>
                    <a:lnTo>
                      <a:pt x="43" y="25"/>
                    </a:lnTo>
                    <a:lnTo>
                      <a:pt x="37" y="27"/>
                    </a:lnTo>
                    <a:lnTo>
                      <a:pt x="32" y="23"/>
                    </a:lnTo>
                    <a:lnTo>
                      <a:pt x="19" y="17"/>
                    </a:lnTo>
                    <a:lnTo>
                      <a:pt x="24" y="19"/>
                    </a:lnTo>
                    <a:lnTo>
                      <a:pt x="34" y="23"/>
                    </a:lnTo>
                    <a:lnTo>
                      <a:pt x="39" y="25"/>
                    </a:lnTo>
                    <a:lnTo>
                      <a:pt x="43" y="23"/>
                    </a:lnTo>
                    <a:lnTo>
                      <a:pt x="41" y="19"/>
                    </a:lnTo>
                    <a:lnTo>
                      <a:pt x="45" y="19"/>
                    </a:lnTo>
                    <a:lnTo>
                      <a:pt x="45" y="14"/>
                    </a:lnTo>
                    <a:lnTo>
                      <a:pt x="43" y="8"/>
                    </a:lnTo>
                    <a:lnTo>
                      <a:pt x="39" y="6"/>
                    </a:lnTo>
                    <a:lnTo>
                      <a:pt x="32" y="6"/>
                    </a:lnTo>
                    <a:lnTo>
                      <a:pt x="28" y="6"/>
                    </a:lnTo>
                    <a:lnTo>
                      <a:pt x="24" y="14"/>
                    </a:lnTo>
                    <a:lnTo>
                      <a:pt x="19" y="12"/>
                    </a:lnTo>
                    <a:lnTo>
                      <a:pt x="26" y="8"/>
                    </a:lnTo>
                    <a:lnTo>
                      <a:pt x="26" y="4"/>
                    </a:lnTo>
                    <a:lnTo>
                      <a:pt x="22" y="2"/>
                    </a:lnTo>
                    <a:lnTo>
                      <a:pt x="17" y="0"/>
                    </a:lnTo>
                    <a:lnTo>
                      <a:pt x="13" y="4"/>
                    </a:lnTo>
                    <a:lnTo>
                      <a:pt x="7" y="4"/>
                    </a:lnTo>
                    <a:lnTo>
                      <a:pt x="7" y="8"/>
                    </a:lnTo>
                    <a:lnTo>
                      <a:pt x="2" y="4"/>
                    </a:lnTo>
                    <a:lnTo>
                      <a:pt x="2" y="10"/>
                    </a:lnTo>
                    <a:lnTo>
                      <a:pt x="0" y="14"/>
                    </a:lnTo>
                    <a:lnTo>
                      <a:pt x="9" y="21"/>
                    </a:lnTo>
                    <a:lnTo>
                      <a:pt x="5" y="19"/>
                    </a:lnTo>
                    <a:lnTo>
                      <a:pt x="2" y="23"/>
                    </a:lnTo>
                    <a:lnTo>
                      <a:pt x="5" y="29"/>
                    </a:lnTo>
                    <a:lnTo>
                      <a:pt x="9" y="32"/>
                    </a:lnTo>
                    <a:lnTo>
                      <a:pt x="11" y="38"/>
                    </a:lnTo>
                    <a:lnTo>
                      <a:pt x="17" y="38"/>
                    </a:lnTo>
                    <a:lnTo>
                      <a:pt x="19" y="42"/>
                    </a:lnTo>
                    <a:lnTo>
                      <a:pt x="24"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2" name="Freeform 1080"/>
              <p:cNvSpPr>
                <a:spLocks/>
              </p:cNvSpPr>
              <p:nvPr/>
            </p:nvSpPr>
            <p:spPr bwMode="auto">
              <a:xfrm>
                <a:off x="1349" y="3819"/>
                <a:ext cx="51" cy="51"/>
              </a:xfrm>
              <a:custGeom>
                <a:avLst/>
                <a:gdLst>
                  <a:gd name="T0" fmla="*/ 24 w 51"/>
                  <a:gd name="T1" fmla="*/ 49 h 51"/>
                  <a:gd name="T2" fmla="*/ 19 w 51"/>
                  <a:gd name="T3" fmla="*/ 44 h 51"/>
                  <a:gd name="T4" fmla="*/ 22 w 51"/>
                  <a:gd name="T5" fmla="*/ 51 h 51"/>
                  <a:gd name="T6" fmla="*/ 28 w 51"/>
                  <a:gd name="T7" fmla="*/ 51 h 51"/>
                  <a:gd name="T8" fmla="*/ 30 w 51"/>
                  <a:gd name="T9" fmla="*/ 42 h 51"/>
                  <a:gd name="T10" fmla="*/ 26 w 51"/>
                  <a:gd name="T11" fmla="*/ 36 h 51"/>
                  <a:gd name="T12" fmla="*/ 24 w 51"/>
                  <a:gd name="T13" fmla="*/ 29 h 51"/>
                  <a:gd name="T14" fmla="*/ 28 w 51"/>
                  <a:gd name="T15" fmla="*/ 32 h 51"/>
                  <a:gd name="T16" fmla="*/ 45 w 51"/>
                  <a:gd name="T17" fmla="*/ 42 h 51"/>
                  <a:gd name="T18" fmla="*/ 51 w 51"/>
                  <a:gd name="T19" fmla="*/ 42 h 51"/>
                  <a:gd name="T20" fmla="*/ 51 w 51"/>
                  <a:gd name="T21" fmla="*/ 38 h 51"/>
                  <a:gd name="T22" fmla="*/ 47 w 51"/>
                  <a:gd name="T23" fmla="*/ 25 h 51"/>
                  <a:gd name="T24" fmla="*/ 43 w 51"/>
                  <a:gd name="T25" fmla="*/ 25 h 51"/>
                  <a:gd name="T26" fmla="*/ 37 w 51"/>
                  <a:gd name="T27" fmla="*/ 27 h 51"/>
                  <a:gd name="T28" fmla="*/ 32 w 51"/>
                  <a:gd name="T29" fmla="*/ 23 h 51"/>
                  <a:gd name="T30" fmla="*/ 19 w 51"/>
                  <a:gd name="T31" fmla="*/ 17 h 51"/>
                  <a:gd name="T32" fmla="*/ 24 w 51"/>
                  <a:gd name="T33" fmla="*/ 19 h 51"/>
                  <a:gd name="T34" fmla="*/ 34 w 51"/>
                  <a:gd name="T35" fmla="*/ 23 h 51"/>
                  <a:gd name="T36" fmla="*/ 39 w 51"/>
                  <a:gd name="T37" fmla="*/ 25 h 51"/>
                  <a:gd name="T38" fmla="*/ 43 w 51"/>
                  <a:gd name="T39" fmla="*/ 23 h 51"/>
                  <a:gd name="T40" fmla="*/ 41 w 51"/>
                  <a:gd name="T41" fmla="*/ 19 h 51"/>
                  <a:gd name="T42" fmla="*/ 45 w 51"/>
                  <a:gd name="T43" fmla="*/ 19 h 51"/>
                  <a:gd name="T44" fmla="*/ 45 w 51"/>
                  <a:gd name="T45" fmla="*/ 14 h 51"/>
                  <a:gd name="T46" fmla="*/ 43 w 51"/>
                  <a:gd name="T47" fmla="*/ 8 h 51"/>
                  <a:gd name="T48" fmla="*/ 39 w 51"/>
                  <a:gd name="T49" fmla="*/ 6 h 51"/>
                  <a:gd name="T50" fmla="*/ 32 w 51"/>
                  <a:gd name="T51" fmla="*/ 6 h 51"/>
                  <a:gd name="T52" fmla="*/ 28 w 51"/>
                  <a:gd name="T53" fmla="*/ 6 h 51"/>
                  <a:gd name="T54" fmla="*/ 24 w 51"/>
                  <a:gd name="T55" fmla="*/ 14 h 51"/>
                  <a:gd name="T56" fmla="*/ 19 w 51"/>
                  <a:gd name="T57" fmla="*/ 12 h 51"/>
                  <a:gd name="T58" fmla="*/ 26 w 51"/>
                  <a:gd name="T59" fmla="*/ 8 h 51"/>
                  <a:gd name="T60" fmla="*/ 26 w 51"/>
                  <a:gd name="T61" fmla="*/ 4 h 51"/>
                  <a:gd name="T62" fmla="*/ 22 w 51"/>
                  <a:gd name="T63" fmla="*/ 2 h 51"/>
                  <a:gd name="T64" fmla="*/ 17 w 51"/>
                  <a:gd name="T65" fmla="*/ 0 h 51"/>
                  <a:gd name="T66" fmla="*/ 13 w 51"/>
                  <a:gd name="T67" fmla="*/ 4 h 51"/>
                  <a:gd name="T68" fmla="*/ 7 w 51"/>
                  <a:gd name="T69" fmla="*/ 4 h 51"/>
                  <a:gd name="T70" fmla="*/ 7 w 51"/>
                  <a:gd name="T71" fmla="*/ 8 h 51"/>
                  <a:gd name="T72" fmla="*/ 2 w 51"/>
                  <a:gd name="T73" fmla="*/ 4 h 51"/>
                  <a:gd name="T74" fmla="*/ 2 w 51"/>
                  <a:gd name="T75" fmla="*/ 10 h 51"/>
                  <a:gd name="T76" fmla="*/ 0 w 51"/>
                  <a:gd name="T77" fmla="*/ 14 h 51"/>
                  <a:gd name="T78" fmla="*/ 9 w 51"/>
                  <a:gd name="T79" fmla="*/ 21 h 51"/>
                  <a:gd name="T80" fmla="*/ 5 w 51"/>
                  <a:gd name="T81" fmla="*/ 19 h 51"/>
                  <a:gd name="T82" fmla="*/ 2 w 51"/>
                  <a:gd name="T83" fmla="*/ 23 h 51"/>
                  <a:gd name="T84" fmla="*/ 5 w 51"/>
                  <a:gd name="T85" fmla="*/ 29 h 51"/>
                  <a:gd name="T86" fmla="*/ 9 w 51"/>
                  <a:gd name="T87" fmla="*/ 32 h 51"/>
                  <a:gd name="T88" fmla="*/ 11 w 51"/>
                  <a:gd name="T89" fmla="*/ 38 h 51"/>
                  <a:gd name="T90" fmla="*/ 17 w 51"/>
                  <a:gd name="T91" fmla="*/ 38 h 51"/>
                  <a:gd name="T92" fmla="*/ 19 w 51"/>
                  <a:gd name="T93" fmla="*/ 42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4"/>
                    </a:lnTo>
                    <a:lnTo>
                      <a:pt x="22" y="51"/>
                    </a:lnTo>
                    <a:lnTo>
                      <a:pt x="28" y="51"/>
                    </a:lnTo>
                    <a:lnTo>
                      <a:pt x="30" y="42"/>
                    </a:lnTo>
                    <a:lnTo>
                      <a:pt x="26" y="36"/>
                    </a:lnTo>
                    <a:lnTo>
                      <a:pt x="24" y="29"/>
                    </a:lnTo>
                    <a:lnTo>
                      <a:pt x="28" y="32"/>
                    </a:lnTo>
                    <a:lnTo>
                      <a:pt x="45" y="42"/>
                    </a:lnTo>
                    <a:lnTo>
                      <a:pt x="51" y="42"/>
                    </a:lnTo>
                    <a:lnTo>
                      <a:pt x="51" y="38"/>
                    </a:lnTo>
                    <a:lnTo>
                      <a:pt x="47" y="25"/>
                    </a:lnTo>
                    <a:lnTo>
                      <a:pt x="43" y="25"/>
                    </a:lnTo>
                    <a:lnTo>
                      <a:pt x="37" y="27"/>
                    </a:lnTo>
                    <a:lnTo>
                      <a:pt x="32" y="23"/>
                    </a:lnTo>
                    <a:lnTo>
                      <a:pt x="19" y="17"/>
                    </a:lnTo>
                    <a:lnTo>
                      <a:pt x="24" y="19"/>
                    </a:lnTo>
                    <a:lnTo>
                      <a:pt x="34" y="23"/>
                    </a:lnTo>
                    <a:lnTo>
                      <a:pt x="39" y="25"/>
                    </a:lnTo>
                    <a:lnTo>
                      <a:pt x="43" y="23"/>
                    </a:lnTo>
                    <a:lnTo>
                      <a:pt x="41" y="19"/>
                    </a:lnTo>
                    <a:lnTo>
                      <a:pt x="45" y="19"/>
                    </a:lnTo>
                    <a:lnTo>
                      <a:pt x="45" y="14"/>
                    </a:lnTo>
                    <a:lnTo>
                      <a:pt x="43" y="8"/>
                    </a:lnTo>
                    <a:lnTo>
                      <a:pt x="39" y="6"/>
                    </a:lnTo>
                    <a:lnTo>
                      <a:pt x="32" y="6"/>
                    </a:lnTo>
                    <a:lnTo>
                      <a:pt x="28" y="6"/>
                    </a:lnTo>
                    <a:lnTo>
                      <a:pt x="24" y="14"/>
                    </a:lnTo>
                    <a:lnTo>
                      <a:pt x="19" y="12"/>
                    </a:lnTo>
                    <a:lnTo>
                      <a:pt x="26" y="8"/>
                    </a:lnTo>
                    <a:lnTo>
                      <a:pt x="26" y="4"/>
                    </a:lnTo>
                    <a:lnTo>
                      <a:pt x="22" y="2"/>
                    </a:lnTo>
                    <a:lnTo>
                      <a:pt x="17" y="0"/>
                    </a:lnTo>
                    <a:lnTo>
                      <a:pt x="13" y="4"/>
                    </a:lnTo>
                    <a:lnTo>
                      <a:pt x="7" y="4"/>
                    </a:lnTo>
                    <a:lnTo>
                      <a:pt x="7" y="8"/>
                    </a:lnTo>
                    <a:lnTo>
                      <a:pt x="2" y="4"/>
                    </a:lnTo>
                    <a:lnTo>
                      <a:pt x="2" y="10"/>
                    </a:lnTo>
                    <a:lnTo>
                      <a:pt x="0" y="14"/>
                    </a:lnTo>
                    <a:lnTo>
                      <a:pt x="9" y="21"/>
                    </a:lnTo>
                    <a:lnTo>
                      <a:pt x="5" y="19"/>
                    </a:lnTo>
                    <a:lnTo>
                      <a:pt x="2" y="23"/>
                    </a:lnTo>
                    <a:lnTo>
                      <a:pt x="5" y="29"/>
                    </a:lnTo>
                    <a:lnTo>
                      <a:pt x="9" y="32"/>
                    </a:lnTo>
                    <a:lnTo>
                      <a:pt x="11" y="38"/>
                    </a:lnTo>
                    <a:lnTo>
                      <a:pt x="17" y="38"/>
                    </a:lnTo>
                    <a:lnTo>
                      <a:pt x="19" y="42"/>
                    </a:lnTo>
                    <a:lnTo>
                      <a:pt x="24"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3" name="Freeform 1081"/>
              <p:cNvSpPr>
                <a:spLocks/>
              </p:cNvSpPr>
              <p:nvPr/>
            </p:nvSpPr>
            <p:spPr bwMode="auto">
              <a:xfrm>
                <a:off x="1371" y="3872"/>
                <a:ext cx="10" cy="19"/>
              </a:xfrm>
              <a:custGeom>
                <a:avLst/>
                <a:gdLst>
                  <a:gd name="T0" fmla="*/ 4 w 10"/>
                  <a:gd name="T1" fmla="*/ 0 h 19"/>
                  <a:gd name="T2" fmla="*/ 0 w 10"/>
                  <a:gd name="T3" fmla="*/ 0 h 19"/>
                  <a:gd name="T4" fmla="*/ 6 w 10"/>
                  <a:gd name="T5" fmla="*/ 13 h 19"/>
                  <a:gd name="T6" fmla="*/ 4 w 10"/>
                  <a:gd name="T7" fmla="*/ 17 h 19"/>
                  <a:gd name="T8" fmla="*/ 8 w 10"/>
                  <a:gd name="T9" fmla="*/ 19 h 19"/>
                  <a:gd name="T10" fmla="*/ 10 w 10"/>
                  <a:gd name="T11" fmla="*/ 15 h 19"/>
                  <a:gd name="T12" fmla="*/ 10 w 10"/>
                  <a:gd name="T13" fmla="*/ 4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0" y="0"/>
                    </a:lnTo>
                    <a:lnTo>
                      <a:pt x="6" y="13"/>
                    </a:lnTo>
                    <a:lnTo>
                      <a:pt x="4" y="17"/>
                    </a:lnTo>
                    <a:lnTo>
                      <a:pt x="8" y="19"/>
                    </a:lnTo>
                    <a:lnTo>
                      <a:pt x="10" y="15"/>
                    </a:lnTo>
                    <a:lnTo>
                      <a:pt x="10"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4" name="Freeform 1082"/>
              <p:cNvSpPr>
                <a:spLocks/>
              </p:cNvSpPr>
              <p:nvPr/>
            </p:nvSpPr>
            <p:spPr bwMode="auto">
              <a:xfrm>
                <a:off x="1371" y="3872"/>
                <a:ext cx="10" cy="19"/>
              </a:xfrm>
              <a:custGeom>
                <a:avLst/>
                <a:gdLst>
                  <a:gd name="T0" fmla="*/ 4 w 10"/>
                  <a:gd name="T1" fmla="*/ 0 h 19"/>
                  <a:gd name="T2" fmla="*/ 0 w 10"/>
                  <a:gd name="T3" fmla="*/ 0 h 19"/>
                  <a:gd name="T4" fmla="*/ 6 w 10"/>
                  <a:gd name="T5" fmla="*/ 13 h 19"/>
                  <a:gd name="T6" fmla="*/ 4 w 10"/>
                  <a:gd name="T7" fmla="*/ 17 h 19"/>
                  <a:gd name="T8" fmla="*/ 8 w 10"/>
                  <a:gd name="T9" fmla="*/ 19 h 19"/>
                  <a:gd name="T10" fmla="*/ 10 w 10"/>
                  <a:gd name="T11" fmla="*/ 15 h 19"/>
                  <a:gd name="T12" fmla="*/ 10 w 10"/>
                  <a:gd name="T13" fmla="*/ 4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0" y="0"/>
                    </a:lnTo>
                    <a:lnTo>
                      <a:pt x="6" y="13"/>
                    </a:lnTo>
                    <a:lnTo>
                      <a:pt x="4" y="17"/>
                    </a:lnTo>
                    <a:lnTo>
                      <a:pt x="8" y="19"/>
                    </a:lnTo>
                    <a:lnTo>
                      <a:pt x="10" y="15"/>
                    </a:lnTo>
                    <a:lnTo>
                      <a:pt x="10" y="4"/>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5" name="Freeform 1083"/>
              <p:cNvSpPr>
                <a:spLocks/>
              </p:cNvSpPr>
              <p:nvPr/>
            </p:nvSpPr>
            <p:spPr bwMode="auto">
              <a:xfrm>
                <a:off x="1392" y="3810"/>
                <a:ext cx="40" cy="72"/>
              </a:xfrm>
              <a:custGeom>
                <a:avLst/>
                <a:gdLst>
                  <a:gd name="T0" fmla="*/ 17 w 40"/>
                  <a:gd name="T1" fmla="*/ 47 h 72"/>
                  <a:gd name="T2" fmla="*/ 23 w 40"/>
                  <a:gd name="T3" fmla="*/ 43 h 72"/>
                  <a:gd name="T4" fmla="*/ 19 w 40"/>
                  <a:gd name="T5" fmla="*/ 47 h 72"/>
                  <a:gd name="T6" fmla="*/ 23 w 40"/>
                  <a:gd name="T7" fmla="*/ 53 h 72"/>
                  <a:gd name="T8" fmla="*/ 19 w 40"/>
                  <a:gd name="T9" fmla="*/ 68 h 72"/>
                  <a:gd name="T10" fmla="*/ 21 w 40"/>
                  <a:gd name="T11" fmla="*/ 72 h 72"/>
                  <a:gd name="T12" fmla="*/ 25 w 40"/>
                  <a:gd name="T13" fmla="*/ 70 h 72"/>
                  <a:gd name="T14" fmla="*/ 28 w 40"/>
                  <a:gd name="T15" fmla="*/ 66 h 72"/>
                  <a:gd name="T16" fmla="*/ 32 w 40"/>
                  <a:gd name="T17" fmla="*/ 62 h 72"/>
                  <a:gd name="T18" fmla="*/ 34 w 40"/>
                  <a:gd name="T19" fmla="*/ 58 h 72"/>
                  <a:gd name="T20" fmla="*/ 30 w 40"/>
                  <a:gd name="T21" fmla="*/ 51 h 72"/>
                  <a:gd name="T22" fmla="*/ 36 w 40"/>
                  <a:gd name="T23" fmla="*/ 55 h 72"/>
                  <a:gd name="T24" fmla="*/ 40 w 40"/>
                  <a:gd name="T25" fmla="*/ 51 h 72"/>
                  <a:gd name="T26" fmla="*/ 36 w 40"/>
                  <a:gd name="T27" fmla="*/ 47 h 72"/>
                  <a:gd name="T28" fmla="*/ 36 w 40"/>
                  <a:gd name="T29" fmla="*/ 43 h 72"/>
                  <a:gd name="T30" fmla="*/ 36 w 40"/>
                  <a:gd name="T31" fmla="*/ 36 h 72"/>
                  <a:gd name="T32" fmla="*/ 30 w 40"/>
                  <a:gd name="T33" fmla="*/ 32 h 72"/>
                  <a:gd name="T34" fmla="*/ 23 w 40"/>
                  <a:gd name="T35" fmla="*/ 23 h 72"/>
                  <a:gd name="T36" fmla="*/ 21 w 40"/>
                  <a:gd name="T37" fmla="*/ 17 h 72"/>
                  <a:gd name="T38" fmla="*/ 19 w 40"/>
                  <a:gd name="T39" fmla="*/ 13 h 72"/>
                  <a:gd name="T40" fmla="*/ 25 w 40"/>
                  <a:gd name="T41" fmla="*/ 15 h 72"/>
                  <a:gd name="T42" fmla="*/ 28 w 40"/>
                  <a:gd name="T43" fmla="*/ 21 h 72"/>
                  <a:gd name="T44" fmla="*/ 32 w 40"/>
                  <a:gd name="T45" fmla="*/ 26 h 72"/>
                  <a:gd name="T46" fmla="*/ 34 w 40"/>
                  <a:gd name="T47" fmla="*/ 32 h 72"/>
                  <a:gd name="T48" fmla="*/ 38 w 40"/>
                  <a:gd name="T49" fmla="*/ 36 h 72"/>
                  <a:gd name="T50" fmla="*/ 36 w 40"/>
                  <a:gd name="T51" fmla="*/ 30 h 72"/>
                  <a:gd name="T52" fmla="*/ 30 w 40"/>
                  <a:gd name="T53" fmla="*/ 19 h 72"/>
                  <a:gd name="T54" fmla="*/ 25 w 40"/>
                  <a:gd name="T55" fmla="*/ 13 h 72"/>
                  <a:gd name="T56" fmla="*/ 23 w 40"/>
                  <a:gd name="T57" fmla="*/ 9 h 72"/>
                  <a:gd name="T58" fmla="*/ 19 w 40"/>
                  <a:gd name="T59" fmla="*/ 9 h 72"/>
                  <a:gd name="T60" fmla="*/ 13 w 40"/>
                  <a:gd name="T61" fmla="*/ 9 h 72"/>
                  <a:gd name="T62" fmla="*/ 8 w 40"/>
                  <a:gd name="T63" fmla="*/ 9 h 72"/>
                  <a:gd name="T64" fmla="*/ 4 w 40"/>
                  <a:gd name="T65" fmla="*/ 4 h 72"/>
                  <a:gd name="T66" fmla="*/ 0 w 40"/>
                  <a:gd name="T67" fmla="*/ 0 h 72"/>
                  <a:gd name="T68" fmla="*/ 0 w 40"/>
                  <a:gd name="T69" fmla="*/ 4 h 72"/>
                  <a:gd name="T70" fmla="*/ 2 w 40"/>
                  <a:gd name="T71" fmla="*/ 9 h 72"/>
                  <a:gd name="T72" fmla="*/ 6 w 40"/>
                  <a:gd name="T73" fmla="*/ 15 h 72"/>
                  <a:gd name="T74" fmla="*/ 13 w 40"/>
                  <a:gd name="T75" fmla="*/ 38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23" y="43"/>
                    </a:lnTo>
                    <a:lnTo>
                      <a:pt x="19" y="47"/>
                    </a:lnTo>
                    <a:lnTo>
                      <a:pt x="23" y="53"/>
                    </a:lnTo>
                    <a:lnTo>
                      <a:pt x="19" y="68"/>
                    </a:lnTo>
                    <a:lnTo>
                      <a:pt x="21" y="72"/>
                    </a:lnTo>
                    <a:lnTo>
                      <a:pt x="25" y="70"/>
                    </a:lnTo>
                    <a:lnTo>
                      <a:pt x="28" y="66"/>
                    </a:lnTo>
                    <a:lnTo>
                      <a:pt x="32" y="62"/>
                    </a:lnTo>
                    <a:lnTo>
                      <a:pt x="34" y="58"/>
                    </a:lnTo>
                    <a:lnTo>
                      <a:pt x="30" y="51"/>
                    </a:lnTo>
                    <a:lnTo>
                      <a:pt x="36" y="55"/>
                    </a:lnTo>
                    <a:lnTo>
                      <a:pt x="40" y="51"/>
                    </a:lnTo>
                    <a:lnTo>
                      <a:pt x="36" y="47"/>
                    </a:lnTo>
                    <a:lnTo>
                      <a:pt x="36" y="43"/>
                    </a:lnTo>
                    <a:lnTo>
                      <a:pt x="36" y="36"/>
                    </a:lnTo>
                    <a:lnTo>
                      <a:pt x="30" y="32"/>
                    </a:lnTo>
                    <a:lnTo>
                      <a:pt x="23" y="23"/>
                    </a:lnTo>
                    <a:lnTo>
                      <a:pt x="21" y="17"/>
                    </a:lnTo>
                    <a:lnTo>
                      <a:pt x="19" y="13"/>
                    </a:lnTo>
                    <a:lnTo>
                      <a:pt x="25" y="15"/>
                    </a:lnTo>
                    <a:lnTo>
                      <a:pt x="28" y="21"/>
                    </a:lnTo>
                    <a:lnTo>
                      <a:pt x="32" y="26"/>
                    </a:lnTo>
                    <a:lnTo>
                      <a:pt x="34" y="32"/>
                    </a:lnTo>
                    <a:lnTo>
                      <a:pt x="38" y="36"/>
                    </a:lnTo>
                    <a:lnTo>
                      <a:pt x="36" y="30"/>
                    </a:lnTo>
                    <a:lnTo>
                      <a:pt x="30" y="19"/>
                    </a:lnTo>
                    <a:lnTo>
                      <a:pt x="25" y="13"/>
                    </a:lnTo>
                    <a:lnTo>
                      <a:pt x="23" y="9"/>
                    </a:lnTo>
                    <a:lnTo>
                      <a:pt x="19" y="9"/>
                    </a:lnTo>
                    <a:lnTo>
                      <a:pt x="13" y="9"/>
                    </a:lnTo>
                    <a:lnTo>
                      <a:pt x="8" y="9"/>
                    </a:lnTo>
                    <a:lnTo>
                      <a:pt x="4" y="4"/>
                    </a:lnTo>
                    <a:lnTo>
                      <a:pt x="0" y="0"/>
                    </a:lnTo>
                    <a:lnTo>
                      <a:pt x="0" y="4"/>
                    </a:lnTo>
                    <a:lnTo>
                      <a:pt x="2" y="9"/>
                    </a:lnTo>
                    <a:lnTo>
                      <a:pt x="6" y="15"/>
                    </a:lnTo>
                    <a:lnTo>
                      <a:pt x="13" y="38"/>
                    </a:lnTo>
                    <a:lnTo>
                      <a:pt x="1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6" name="Freeform 1084"/>
              <p:cNvSpPr>
                <a:spLocks/>
              </p:cNvSpPr>
              <p:nvPr/>
            </p:nvSpPr>
            <p:spPr bwMode="auto">
              <a:xfrm>
                <a:off x="1392" y="3810"/>
                <a:ext cx="40" cy="72"/>
              </a:xfrm>
              <a:custGeom>
                <a:avLst/>
                <a:gdLst>
                  <a:gd name="T0" fmla="*/ 17 w 40"/>
                  <a:gd name="T1" fmla="*/ 47 h 72"/>
                  <a:gd name="T2" fmla="*/ 23 w 40"/>
                  <a:gd name="T3" fmla="*/ 43 h 72"/>
                  <a:gd name="T4" fmla="*/ 19 w 40"/>
                  <a:gd name="T5" fmla="*/ 47 h 72"/>
                  <a:gd name="T6" fmla="*/ 23 w 40"/>
                  <a:gd name="T7" fmla="*/ 53 h 72"/>
                  <a:gd name="T8" fmla="*/ 19 w 40"/>
                  <a:gd name="T9" fmla="*/ 68 h 72"/>
                  <a:gd name="T10" fmla="*/ 21 w 40"/>
                  <a:gd name="T11" fmla="*/ 72 h 72"/>
                  <a:gd name="T12" fmla="*/ 25 w 40"/>
                  <a:gd name="T13" fmla="*/ 70 h 72"/>
                  <a:gd name="T14" fmla="*/ 28 w 40"/>
                  <a:gd name="T15" fmla="*/ 66 h 72"/>
                  <a:gd name="T16" fmla="*/ 32 w 40"/>
                  <a:gd name="T17" fmla="*/ 62 h 72"/>
                  <a:gd name="T18" fmla="*/ 34 w 40"/>
                  <a:gd name="T19" fmla="*/ 58 h 72"/>
                  <a:gd name="T20" fmla="*/ 30 w 40"/>
                  <a:gd name="T21" fmla="*/ 51 h 72"/>
                  <a:gd name="T22" fmla="*/ 36 w 40"/>
                  <a:gd name="T23" fmla="*/ 55 h 72"/>
                  <a:gd name="T24" fmla="*/ 40 w 40"/>
                  <a:gd name="T25" fmla="*/ 51 h 72"/>
                  <a:gd name="T26" fmla="*/ 36 w 40"/>
                  <a:gd name="T27" fmla="*/ 47 h 72"/>
                  <a:gd name="T28" fmla="*/ 36 w 40"/>
                  <a:gd name="T29" fmla="*/ 43 h 72"/>
                  <a:gd name="T30" fmla="*/ 36 w 40"/>
                  <a:gd name="T31" fmla="*/ 36 h 72"/>
                  <a:gd name="T32" fmla="*/ 30 w 40"/>
                  <a:gd name="T33" fmla="*/ 32 h 72"/>
                  <a:gd name="T34" fmla="*/ 23 w 40"/>
                  <a:gd name="T35" fmla="*/ 23 h 72"/>
                  <a:gd name="T36" fmla="*/ 21 w 40"/>
                  <a:gd name="T37" fmla="*/ 17 h 72"/>
                  <a:gd name="T38" fmla="*/ 19 w 40"/>
                  <a:gd name="T39" fmla="*/ 13 h 72"/>
                  <a:gd name="T40" fmla="*/ 25 w 40"/>
                  <a:gd name="T41" fmla="*/ 15 h 72"/>
                  <a:gd name="T42" fmla="*/ 28 w 40"/>
                  <a:gd name="T43" fmla="*/ 21 h 72"/>
                  <a:gd name="T44" fmla="*/ 32 w 40"/>
                  <a:gd name="T45" fmla="*/ 26 h 72"/>
                  <a:gd name="T46" fmla="*/ 34 w 40"/>
                  <a:gd name="T47" fmla="*/ 32 h 72"/>
                  <a:gd name="T48" fmla="*/ 38 w 40"/>
                  <a:gd name="T49" fmla="*/ 36 h 72"/>
                  <a:gd name="T50" fmla="*/ 36 w 40"/>
                  <a:gd name="T51" fmla="*/ 30 h 72"/>
                  <a:gd name="T52" fmla="*/ 30 w 40"/>
                  <a:gd name="T53" fmla="*/ 19 h 72"/>
                  <a:gd name="T54" fmla="*/ 25 w 40"/>
                  <a:gd name="T55" fmla="*/ 13 h 72"/>
                  <a:gd name="T56" fmla="*/ 23 w 40"/>
                  <a:gd name="T57" fmla="*/ 9 h 72"/>
                  <a:gd name="T58" fmla="*/ 19 w 40"/>
                  <a:gd name="T59" fmla="*/ 9 h 72"/>
                  <a:gd name="T60" fmla="*/ 13 w 40"/>
                  <a:gd name="T61" fmla="*/ 9 h 72"/>
                  <a:gd name="T62" fmla="*/ 8 w 40"/>
                  <a:gd name="T63" fmla="*/ 9 h 72"/>
                  <a:gd name="T64" fmla="*/ 4 w 40"/>
                  <a:gd name="T65" fmla="*/ 4 h 72"/>
                  <a:gd name="T66" fmla="*/ 0 w 40"/>
                  <a:gd name="T67" fmla="*/ 0 h 72"/>
                  <a:gd name="T68" fmla="*/ 0 w 40"/>
                  <a:gd name="T69" fmla="*/ 4 h 72"/>
                  <a:gd name="T70" fmla="*/ 2 w 40"/>
                  <a:gd name="T71" fmla="*/ 9 h 72"/>
                  <a:gd name="T72" fmla="*/ 6 w 40"/>
                  <a:gd name="T73" fmla="*/ 15 h 72"/>
                  <a:gd name="T74" fmla="*/ 13 w 40"/>
                  <a:gd name="T75" fmla="*/ 38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23" y="43"/>
                    </a:lnTo>
                    <a:lnTo>
                      <a:pt x="19" y="47"/>
                    </a:lnTo>
                    <a:lnTo>
                      <a:pt x="23" y="53"/>
                    </a:lnTo>
                    <a:lnTo>
                      <a:pt x="19" y="68"/>
                    </a:lnTo>
                    <a:lnTo>
                      <a:pt x="21" y="72"/>
                    </a:lnTo>
                    <a:lnTo>
                      <a:pt x="25" y="70"/>
                    </a:lnTo>
                    <a:lnTo>
                      <a:pt x="28" y="66"/>
                    </a:lnTo>
                    <a:lnTo>
                      <a:pt x="32" y="62"/>
                    </a:lnTo>
                    <a:lnTo>
                      <a:pt x="34" y="58"/>
                    </a:lnTo>
                    <a:lnTo>
                      <a:pt x="30" y="51"/>
                    </a:lnTo>
                    <a:lnTo>
                      <a:pt x="36" y="55"/>
                    </a:lnTo>
                    <a:lnTo>
                      <a:pt x="40" y="51"/>
                    </a:lnTo>
                    <a:lnTo>
                      <a:pt x="36" y="47"/>
                    </a:lnTo>
                    <a:lnTo>
                      <a:pt x="36" y="43"/>
                    </a:lnTo>
                    <a:lnTo>
                      <a:pt x="36" y="36"/>
                    </a:lnTo>
                    <a:lnTo>
                      <a:pt x="30" y="32"/>
                    </a:lnTo>
                    <a:lnTo>
                      <a:pt x="23" y="23"/>
                    </a:lnTo>
                    <a:lnTo>
                      <a:pt x="21" y="17"/>
                    </a:lnTo>
                    <a:lnTo>
                      <a:pt x="19" y="13"/>
                    </a:lnTo>
                    <a:lnTo>
                      <a:pt x="25" y="15"/>
                    </a:lnTo>
                    <a:lnTo>
                      <a:pt x="28" y="21"/>
                    </a:lnTo>
                    <a:lnTo>
                      <a:pt x="32" y="26"/>
                    </a:lnTo>
                    <a:lnTo>
                      <a:pt x="34" y="32"/>
                    </a:lnTo>
                    <a:lnTo>
                      <a:pt x="38" y="36"/>
                    </a:lnTo>
                    <a:lnTo>
                      <a:pt x="36" y="30"/>
                    </a:lnTo>
                    <a:lnTo>
                      <a:pt x="30" y="19"/>
                    </a:lnTo>
                    <a:lnTo>
                      <a:pt x="25" y="13"/>
                    </a:lnTo>
                    <a:lnTo>
                      <a:pt x="23" y="9"/>
                    </a:lnTo>
                    <a:lnTo>
                      <a:pt x="19" y="9"/>
                    </a:lnTo>
                    <a:lnTo>
                      <a:pt x="13" y="9"/>
                    </a:lnTo>
                    <a:lnTo>
                      <a:pt x="8" y="9"/>
                    </a:lnTo>
                    <a:lnTo>
                      <a:pt x="4" y="4"/>
                    </a:lnTo>
                    <a:lnTo>
                      <a:pt x="0" y="0"/>
                    </a:lnTo>
                    <a:lnTo>
                      <a:pt x="0" y="4"/>
                    </a:lnTo>
                    <a:lnTo>
                      <a:pt x="2" y="9"/>
                    </a:lnTo>
                    <a:lnTo>
                      <a:pt x="6" y="15"/>
                    </a:lnTo>
                    <a:lnTo>
                      <a:pt x="13" y="38"/>
                    </a:lnTo>
                    <a:lnTo>
                      <a:pt x="17" y="4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7" name="Freeform 1085"/>
              <p:cNvSpPr>
                <a:spLocks/>
              </p:cNvSpPr>
              <p:nvPr/>
            </p:nvSpPr>
            <p:spPr bwMode="auto">
              <a:xfrm>
                <a:off x="1377" y="3857"/>
                <a:ext cx="40" cy="74"/>
              </a:xfrm>
              <a:custGeom>
                <a:avLst/>
                <a:gdLst>
                  <a:gd name="T0" fmla="*/ 23 w 40"/>
                  <a:gd name="T1" fmla="*/ 55 h 74"/>
                  <a:gd name="T2" fmla="*/ 26 w 40"/>
                  <a:gd name="T3" fmla="*/ 49 h 74"/>
                  <a:gd name="T4" fmla="*/ 26 w 40"/>
                  <a:gd name="T5" fmla="*/ 55 h 74"/>
                  <a:gd name="T6" fmla="*/ 28 w 40"/>
                  <a:gd name="T7" fmla="*/ 62 h 74"/>
                  <a:gd name="T8" fmla="*/ 32 w 40"/>
                  <a:gd name="T9" fmla="*/ 66 h 74"/>
                  <a:gd name="T10" fmla="*/ 36 w 40"/>
                  <a:gd name="T11" fmla="*/ 70 h 74"/>
                  <a:gd name="T12" fmla="*/ 40 w 40"/>
                  <a:gd name="T13" fmla="*/ 74 h 74"/>
                  <a:gd name="T14" fmla="*/ 40 w 40"/>
                  <a:gd name="T15" fmla="*/ 68 h 74"/>
                  <a:gd name="T16" fmla="*/ 38 w 40"/>
                  <a:gd name="T17" fmla="*/ 57 h 74"/>
                  <a:gd name="T18" fmla="*/ 40 w 40"/>
                  <a:gd name="T19" fmla="*/ 53 h 74"/>
                  <a:gd name="T20" fmla="*/ 36 w 40"/>
                  <a:gd name="T21" fmla="*/ 43 h 74"/>
                  <a:gd name="T22" fmla="*/ 28 w 40"/>
                  <a:gd name="T23" fmla="*/ 19 h 74"/>
                  <a:gd name="T24" fmla="*/ 23 w 40"/>
                  <a:gd name="T25" fmla="*/ 15 h 74"/>
                  <a:gd name="T26" fmla="*/ 21 w 40"/>
                  <a:gd name="T27" fmla="*/ 11 h 74"/>
                  <a:gd name="T28" fmla="*/ 13 w 40"/>
                  <a:gd name="T29" fmla="*/ 4 h 74"/>
                  <a:gd name="T30" fmla="*/ 6 w 40"/>
                  <a:gd name="T31" fmla="*/ 6 h 74"/>
                  <a:gd name="T32" fmla="*/ 11 w 40"/>
                  <a:gd name="T33" fmla="*/ 2 h 74"/>
                  <a:gd name="T34" fmla="*/ 6 w 40"/>
                  <a:gd name="T35" fmla="*/ 0 h 74"/>
                  <a:gd name="T36" fmla="*/ 2 w 40"/>
                  <a:gd name="T37" fmla="*/ 11 h 74"/>
                  <a:gd name="T38" fmla="*/ 0 w 40"/>
                  <a:gd name="T39" fmla="*/ 15 h 74"/>
                  <a:gd name="T40" fmla="*/ 4 w 40"/>
                  <a:gd name="T41" fmla="*/ 19 h 74"/>
                  <a:gd name="T42" fmla="*/ 11 w 40"/>
                  <a:gd name="T43" fmla="*/ 17 h 74"/>
                  <a:gd name="T44" fmla="*/ 9 w 40"/>
                  <a:gd name="T45" fmla="*/ 23 h 74"/>
                  <a:gd name="T46" fmla="*/ 13 w 40"/>
                  <a:gd name="T47" fmla="*/ 28 h 74"/>
                  <a:gd name="T48" fmla="*/ 17 w 40"/>
                  <a:gd name="T49" fmla="*/ 30 h 74"/>
                  <a:gd name="T50" fmla="*/ 13 w 40"/>
                  <a:gd name="T51" fmla="*/ 34 h 74"/>
                  <a:gd name="T52" fmla="*/ 15 w 40"/>
                  <a:gd name="T53" fmla="*/ 45 h 74"/>
                  <a:gd name="T54" fmla="*/ 21 w 40"/>
                  <a:gd name="T55" fmla="*/ 45 h 74"/>
                  <a:gd name="T56" fmla="*/ 19 w 40"/>
                  <a:gd name="T57" fmla="*/ 49 h 74"/>
                  <a:gd name="T58" fmla="*/ 23 w 40"/>
                  <a:gd name="T59" fmla="*/ 47 h 74"/>
                  <a:gd name="T60" fmla="*/ 23 w 40"/>
                  <a:gd name="T61" fmla="*/ 51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6" y="49"/>
                    </a:lnTo>
                    <a:lnTo>
                      <a:pt x="26" y="55"/>
                    </a:lnTo>
                    <a:lnTo>
                      <a:pt x="28" y="62"/>
                    </a:lnTo>
                    <a:lnTo>
                      <a:pt x="32" y="66"/>
                    </a:lnTo>
                    <a:lnTo>
                      <a:pt x="36" y="70"/>
                    </a:lnTo>
                    <a:lnTo>
                      <a:pt x="40" y="74"/>
                    </a:lnTo>
                    <a:lnTo>
                      <a:pt x="40" y="68"/>
                    </a:lnTo>
                    <a:lnTo>
                      <a:pt x="38" y="57"/>
                    </a:lnTo>
                    <a:lnTo>
                      <a:pt x="40" y="53"/>
                    </a:lnTo>
                    <a:lnTo>
                      <a:pt x="36" y="43"/>
                    </a:lnTo>
                    <a:lnTo>
                      <a:pt x="28" y="19"/>
                    </a:lnTo>
                    <a:lnTo>
                      <a:pt x="23" y="15"/>
                    </a:lnTo>
                    <a:lnTo>
                      <a:pt x="21" y="11"/>
                    </a:lnTo>
                    <a:lnTo>
                      <a:pt x="13" y="4"/>
                    </a:lnTo>
                    <a:lnTo>
                      <a:pt x="6" y="6"/>
                    </a:lnTo>
                    <a:lnTo>
                      <a:pt x="11" y="2"/>
                    </a:lnTo>
                    <a:lnTo>
                      <a:pt x="6" y="0"/>
                    </a:lnTo>
                    <a:lnTo>
                      <a:pt x="2" y="11"/>
                    </a:lnTo>
                    <a:lnTo>
                      <a:pt x="0" y="15"/>
                    </a:lnTo>
                    <a:lnTo>
                      <a:pt x="4" y="19"/>
                    </a:lnTo>
                    <a:lnTo>
                      <a:pt x="11" y="17"/>
                    </a:lnTo>
                    <a:lnTo>
                      <a:pt x="9" y="23"/>
                    </a:lnTo>
                    <a:lnTo>
                      <a:pt x="13" y="28"/>
                    </a:lnTo>
                    <a:lnTo>
                      <a:pt x="17" y="30"/>
                    </a:lnTo>
                    <a:lnTo>
                      <a:pt x="13" y="34"/>
                    </a:lnTo>
                    <a:lnTo>
                      <a:pt x="15" y="45"/>
                    </a:lnTo>
                    <a:lnTo>
                      <a:pt x="21" y="45"/>
                    </a:lnTo>
                    <a:lnTo>
                      <a:pt x="19" y="49"/>
                    </a:lnTo>
                    <a:lnTo>
                      <a:pt x="23" y="47"/>
                    </a:lnTo>
                    <a:lnTo>
                      <a:pt x="23" y="51"/>
                    </a:lnTo>
                    <a:lnTo>
                      <a:pt x="23"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78" name="Freeform 1086"/>
              <p:cNvSpPr>
                <a:spLocks/>
              </p:cNvSpPr>
              <p:nvPr/>
            </p:nvSpPr>
            <p:spPr bwMode="auto">
              <a:xfrm>
                <a:off x="1377" y="3857"/>
                <a:ext cx="40" cy="74"/>
              </a:xfrm>
              <a:custGeom>
                <a:avLst/>
                <a:gdLst>
                  <a:gd name="T0" fmla="*/ 23 w 40"/>
                  <a:gd name="T1" fmla="*/ 55 h 74"/>
                  <a:gd name="T2" fmla="*/ 26 w 40"/>
                  <a:gd name="T3" fmla="*/ 49 h 74"/>
                  <a:gd name="T4" fmla="*/ 26 w 40"/>
                  <a:gd name="T5" fmla="*/ 55 h 74"/>
                  <a:gd name="T6" fmla="*/ 28 w 40"/>
                  <a:gd name="T7" fmla="*/ 62 h 74"/>
                  <a:gd name="T8" fmla="*/ 32 w 40"/>
                  <a:gd name="T9" fmla="*/ 66 h 74"/>
                  <a:gd name="T10" fmla="*/ 36 w 40"/>
                  <a:gd name="T11" fmla="*/ 70 h 74"/>
                  <a:gd name="T12" fmla="*/ 40 w 40"/>
                  <a:gd name="T13" fmla="*/ 74 h 74"/>
                  <a:gd name="T14" fmla="*/ 40 w 40"/>
                  <a:gd name="T15" fmla="*/ 68 h 74"/>
                  <a:gd name="T16" fmla="*/ 38 w 40"/>
                  <a:gd name="T17" fmla="*/ 57 h 74"/>
                  <a:gd name="T18" fmla="*/ 40 w 40"/>
                  <a:gd name="T19" fmla="*/ 53 h 74"/>
                  <a:gd name="T20" fmla="*/ 36 w 40"/>
                  <a:gd name="T21" fmla="*/ 43 h 74"/>
                  <a:gd name="T22" fmla="*/ 28 w 40"/>
                  <a:gd name="T23" fmla="*/ 19 h 74"/>
                  <a:gd name="T24" fmla="*/ 23 w 40"/>
                  <a:gd name="T25" fmla="*/ 15 h 74"/>
                  <a:gd name="T26" fmla="*/ 21 w 40"/>
                  <a:gd name="T27" fmla="*/ 11 h 74"/>
                  <a:gd name="T28" fmla="*/ 13 w 40"/>
                  <a:gd name="T29" fmla="*/ 4 h 74"/>
                  <a:gd name="T30" fmla="*/ 6 w 40"/>
                  <a:gd name="T31" fmla="*/ 6 h 74"/>
                  <a:gd name="T32" fmla="*/ 11 w 40"/>
                  <a:gd name="T33" fmla="*/ 2 h 74"/>
                  <a:gd name="T34" fmla="*/ 6 w 40"/>
                  <a:gd name="T35" fmla="*/ 0 h 74"/>
                  <a:gd name="T36" fmla="*/ 2 w 40"/>
                  <a:gd name="T37" fmla="*/ 11 h 74"/>
                  <a:gd name="T38" fmla="*/ 0 w 40"/>
                  <a:gd name="T39" fmla="*/ 15 h 74"/>
                  <a:gd name="T40" fmla="*/ 4 w 40"/>
                  <a:gd name="T41" fmla="*/ 19 h 74"/>
                  <a:gd name="T42" fmla="*/ 11 w 40"/>
                  <a:gd name="T43" fmla="*/ 17 h 74"/>
                  <a:gd name="T44" fmla="*/ 9 w 40"/>
                  <a:gd name="T45" fmla="*/ 23 h 74"/>
                  <a:gd name="T46" fmla="*/ 13 w 40"/>
                  <a:gd name="T47" fmla="*/ 28 h 74"/>
                  <a:gd name="T48" fmla="*/ 17 w 40"/>
                  <a:gd name="T49" fmla="*/ 30 h 74"/>
                  <a:gd name="T50" fmla="*/ 13 w 40"/>
                  <a:gd name="T51" fmla="*/ 34 h 74"/>
                  <a:gd name="T52" fmla="*/ 15 w 40"/>
                  <a:gd name="T53" fmla="*/ 45 h 74"/>
                  <a:gd name="T54" fmla="*/ 21 w 40"/>
                  <a:gd name="T55" fmla="*/ 45 h 74"/>
                  <a:gd name="T56" fmla="*/ 19 w 40"/>
                  <a:gd name="T57" fmla="*/ 49 h 74"/>
                  <a:gd name="T58" fmla="*/ 23 w 40"/>
                  <a:gd name="T59" fmla="*/ 47 h 74"/>
                  <a:gd name="T60" fmla="*/ 23 w 40"/>
                  <a:gd name="T61" fmla="*/ 51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6" y="49"/>
                    </a:lnTo>
                    <a:lnTo>
                      <a:pt x="26" y="55"/>
                    </a:lnTo>
                    <a:lnTo>
                      <a:pt x="28" y="62"/>
                    </a:lnTo>
                    <a:lnTo>
                      <a:pt x="32" y="66"/>
                    </a:lnTo>
                    <a:lnTo>
                      <a:pt x="36" y="70"/>
                    </a:lnTo>
                    <a:lnTo>
                      <a:pt x="40" y="74"/>
                    </a:lnTo>
                    <a:lnTo>
                      <a:pt x="40" y="68"/>
                    </a:lnTo>
                    <a:lnTo>
                      <a:pt x="38" y="57"/>
                    </a:lnTo>
                    <a:lnTo>
                      <a:pt x="40" y="53"/>
                    </a:lnTo>
                    <a:lnTo>
                      <a:pt x="36" y="43"/>
                    </a:lnTo>
                    <a:lnTo>
                      <a:pt x="28" y="19"/>
                    </a:lnTo>
                    <a:lnTo>
                      <a:pt x="23" y="15"/>
                    </a:lnTo>
                    <a:lnTo>
                      <a:pt x="21" y="11"/>
                    </a:lnTo>
                    <a:lnTo>
                      <a:pt x="13" y="4"/>
                    </a:lnTo>
                    <a:lnTo>
                      <a:pt x="6" y="6"/>
                    </a:lnTo>
                    <a:lnTo>
                      <a:pt x="11" y="2"/>
                    </a:lnTo>
                    <a:lnTo>
                      <a:pt x="6" y="0"/>
                    </a:lnTo>
                    <a:lnTo>
                      <a:pt x="2" y="11"/>
                    </a:lnTo>
                    <a:lnTo>
                      <a:pt x="0" y="15"/>
                    </a:lnTo>
                    <a:lnTo>
                      <a:pt x="4" y="19"/>
                    </a:lnTo>
                    <a:lnTo>
                      <a:pt x="11" y="17"/>
                    </a:lnTo>
                    <a:lnTo>
                      <a:pt x="9" y="23"/>
                    </a:lnTo>
                    <a:lnTo>
                      <a:pt x="13" y="28"/>
                    </a:lnTo>
                    <a:lnTo>
                      <a:pt x="17" y="30"/>
                    </a:lnTo>
                    <a:lnTo>
                      <a:pt x="13" y="34"/>
                    </a:lnTo>
                    <a:lnTo>
                      <a:pt x="15" y="45"/>
                    </a:lnTo>
                    <a:lnTo>
                      <a:pt x="21" y="45"/>
                    </a:lnTo>
                    <a:lnTo>
                      <a:pt x="19" y="49"/>
                    </a:lnTo>
                    <a:lnTo>
                      <a:pt x="23" y="47"/>
                    </a:lnTo>
                    <a:lnTo>
                      <a:pt x="23" y="51"/>
                    </a:lnTo>
                    <a:lnTo>
                      <a:pt x="23" y="5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79" name="Freeform 1087"/>
              <p:cNvSpPr>
                <a:spLocks/>
              </p:cNvSpPr>
              <p:nvPr/>
            </p:nvSpPr>
            <p:spPr bwMode="auto">
              <a:xfrm>
                <a:off x="1400" y="3863"/>
                <a:ext cx="5" cy="7"/>
              </a:xfrm>
              <a:custGeom>
                <a:avLst/>
                <a:gdLst>
                  <a:gd name="T0" fmla="*/ 3 w 5"/>
                  <a:gd name="T1" fmla="*/ 0 h 7"/>
                  <a:gd name="T2" fmla="*/ 0 w 5"/>
                  <a:gd name="T3" fmla="*/ 2 h 7"/>
                  <a:gd name="T4" fmla="*/ 5 w 5"/>
                  <a:gd name="T5" fmla="*/ 7 h 7"/>
                  <a:gd name="T6" fmla="*/ 3 w 5"/>
                  <a:gd name="T7" fmla="*/ 0 h 7"/>
                </a:gdLst>
                <a:ahLst/>
                <a:cxnLst>
                  <a:cxn ang="0">
                    <a:pos x="T0" y="T1"/>
                  </a:cxn>
                  <a:cxn ang="0">
                    <a:pos x="T2" y="T3"/>
                  </a:cxn>
                  <a:cxn ang="0">
                    <a:pos x="T4" y="T5"/>
                  </a:cxn>
                  <a:cxn ang="0">
                    <a:pos x="T6" y="T7"/>
                  </a:cxn>
                </a:cxnLst>
                <a:rect l="0" t="0" r="r" b="b"/>
                <a:pathLst>
                  <a:path w="5" h="7">
                    <a:moveTo>
                      <a:pt x="3" y="0"/>
                    </a:moveTo>
                    <a:lnTo>
                      <a:pt x="0" y="2"/>
                    </a:lnTo>
                    <a:lnTo>
                      <a:pt x="5" y="7"/>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0" name="Freeform 1088"/>
              <p:cNvSpPr>
                <a:spLocks/>
              </p:cNvSpPr>
              <p:nvPr/>
            </p:nvSpPr>
            <p:spPr bwMode="auto">
              <a:xfrm>
                <a:off x="1400" y="3863"/>
                <a:ext cx="5" cy="7"/>
              </a:xfrm>
              <a:custGeom>
                <a:avLst/>
                <a:gdLst>
                  <a:gd name="T0" fmla="*/ 3 w 5"/>
                  <a:gd name="T1" fmla="*/ 0 h 7"/>
                  <a:gd name="T2" fmla="*/ 0 w 5"/>
                  <a:gd name="T3" fmla="*/ 2 h 7"/>
                  <a:gd name="T4" fmla="*/ 5 w 5"/>
                  <a:gd name="T5" fmla="*/ 7 h 7"/>
                  <a:gd name="T6" fmla="*/ 3 w 5"/>
                  <a:gd name="T7" fmla="*/ 0 h 7"/>
                </a:gdLst>
                <a:ahLst/>
                <a:cxnLst>
                  <a:cxn ang="0">
                    <a:pos x="T0" y="T1"/>
                  </a:cxn>
                  <a:cxn ang="0">
                    <a:pos x="T2" y="T3"/>
                  </a:cxn>
                  <a:cxn ang="0">
                    <a:pos x="T4" y="T5"/>
                  </a:cxn>
                  <a:cxn ang="0">
                    <a:pos x="T6" y="T7"/>
                  </a:cxn>
                </a:cxnLst>
                <a:rect l="0" t="0" r="r" b="b"/>
                <a:pathLst>
                  <a:path w="5" h="7">
                    <a:moveTo>
                      <a:pt x="3" y="0"/>
                    </a:moveTo>
                    <a:lnTo>
                      <a:pt x="0" y="2"/>
                    </a:lnTo>
                    <a:lnTo>
                      <a:pt x="5" y="7"/>
                    </a:lnTo>
                    <a:lnTo>
                      <a:pt x="3"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1" name="Freeform 1089"/>
              <p:cNvSpPr>
                <a:spLocks/>
              </p:cNvSpPr>
              <p:nvPr/>
            </p:nvSpPr>
            <p:spPr bwMode="auto">
              <a:xfrm>
                <a:off x="1417" y="3833"/>
                <a:ext cx="5" cy="5"/>
              </a:xfrm>
              <a:custGeom>
                <a:avLst/>
                <a:gdLst>
                  <a:gd name="T0" fmla="*/ 0 w 5"/>
                  <a:gd name="T1" fmla="*/ 0 h 5"/>
                  <a:gd name="T2" fmla="*/ 0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0" y="0"/>
                    </a:lnTo>
                    <a:lnTo>
                      <a:pt x="5"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2" name="Freeform 1090"/>
              <p:cNvSpPr>
                <a:spLocks/>
              </p:cNvSpPr>
              <p:nvPr/>
            </p:nvSpPr>
            <p:spPr bwMode="auto">
              <a:xfrm>
                <a:off x="1417" y="3833"/>
                <a:ext cx="5" cy="5"/>
              </a:xfrm>
              <a:custGeom>
                <a:avLst/>
                <a:gdLst>
                  <a:gd name="T0" fmla="*/ 0 w 5"/>
                  <a:gd name="T1" fmla="*/ 0 h 5"/>
                  <a:gd name="T2" fmla="*/ 0 w 5"/>
                  <a:gd name="T3" fmla="*/ 0 h 5"/>
                  <a:gd name="T4" fmla="*/ 5 w 5"/>
                  <a:gd name="T5" fmla="*/ 5 h 5"/>
                  <a:gd name="T6" fmla="*/ 0 w 5"/>
                  <a:gd name="T7" fmla="*/ 0 h 5"/>
                </a:gdLst>
                <a:ahLst/>
                <a:cxnLst>
                  <a:cxn ang="0">
                    <a:pos x="T0" y="T1"/>
                  </a:cxn>
                  <a:cxn ang="0">
                    <a:pos x="T2" y="T3"/>
                  </a:cxn>
                  <a:cxn ang="0">
                    <a:pos x="T4" y="T5"/>
                  </a:cxn>
                  <a:cxn ang="0">
                    <a:pos x="T6" y="T7"/>
                  </a:cxn>
                </a:cxnLst>
                <a:rect l="0" t="0" r="r" b="b"/>
                <a:pathLst>
                  <a:path w="5" h="5">
                    <a:moveTo>
                      <a:pt x="0" y="0"/>
                    </a:moveTo>
                    <a:lnTo>
                      <a:pt x="0" y="0"/>
                    </a:lnTo>
                    <a:lnTo>
                      <a:pt x="5"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3" name="Freeform 1091"/>
              <p:cNvSpPr>
                <a:spLocks/>
              </p:cNvSpPr>
              <p:nvPr/>
            </p:nvSpPr>
            <p:spPr bwMode="auto">
              <a:xfrm>
                <a:off x="1422" y="3889"/>
                <a:ext cx="21" cy="51"/>
              </a:xfrm>
              <a:custGeom>
                <a:avLst/>
                <a:gdLst>
                  <a:gd name="T0" fmla="*/ 15 w 21"/>
                  <a:gd name="T1" fmla="*/ 51 h 51"/>
                  <a:gd name="T2" fmla="*/ 15 w 21"/>
                  <a:gd name="T3" fmla="*/ 47 h 51"/>
                  <a:gd name="T4" fmla="*/ 10 w 21"/>
                  <a:gd name="T5" fmla="*/ 42 h 51"/>
                  <a:gd name="T6" fmla="*/ 15 w 21"/>
                  <a:gd name="T7" fmla="*/ 38 h 51"/>
                  <a:gd name="T8" fmla="*/ 17 w 21"/>
                  <a:gd name="T9" fmla="*/ 42 h 51"/>
                  <a:gd name="T10" fmla="*/ 19 w 21"/>
                  <a:gd name="T11" fmla="*/ 38 h 51"/>
                  <a:gd name="T12" fmla="*/ 17 w 21"/>
                  <a:gd name="T13" fmla="*/ 32 h 51"/>
                  <a:gd name="T14" fmla="*/ 19 w 21"/>
                  <a:gd name="T15" fmla="*/ 28 h 51"/>
                  <a:gd name="T16" fmla="*/ 19 w 21"/>
                  <a:gd name="T17" fmla="*/ 17 h 51"/>
                  <a:gd name="T18" fmla="*/ 21 w 21"/>
                  <a:gd name="T19" fmla="*/ 13 h 51"/>
                  <a:gd name="T20" fmla="*/ 21 w 21"/>
                  <a:gd name="T21" fmla="*/ 8 h 51"/>
                  <a:gd name="T22" fmla="*/ 15 w 21"/>
                  <a:gd name="T23" fmla="*/ 4 h 51"/>
                  <a:gd name="T24" fmla="*/ 17 w 21"/>
                  <a:gd name="T25" fmla="*/ 11 h 51"/>
                  <a:gd name="T26" fmla="*/ 15 w 21"/>
                  <a:gd name="T27" fmla="*/ 15 h 51"/>
                  <a:gd name="T28" fmla="*/ 15 w 21"/>
                  <a:gd name="T29" fmla="*/ 8 h 51"/>
                  <a:gd name="T30" fmla="*/ 13 w 21"/>
                  <a:gd name="T31" fmla="*/ 4 h 51"/>
                  <a:gd name="T32" fmla="*/ 8 w 21"/>
                  <a:gd name="T33" fmla="*/ 0 h 51"/>
                  <a:gd name="T34" fmla="*/ 4 w 21"/>
                  <a:gd name="T35" fmla="*/ 0 h 51"/>
                  <a:gd name="T36" fmla="*/ 8 w 21"/>
                  <a:gd name="T37" fmla="*/ 2 h 51"/>
                  <a:gd name="T38" fmla="*/ 2 w 21"/>
                  <a:gd name="T39" fmla="*/ 2 h 51"/>
                  <a:gd name="T40" fmla="*/ 4 w 21"/>
                  <a:gd name="T41" fmla="*/ 6 h 51"/>
                  <a:gd name="T42" fmla="*/ 0 w 21"/>
                  <a:gd name="T43" fmla="*/ 11 h 51"/>
                  <a:gd name="T44" fmla="*/ 4 w 21"/>
                  <a:gd name="T45" fmla="*/ 15 h 51"/>
                  <a:gd name="T46" fmla="*/ 8 w 21"/>
                  <a:gd name="T47" fmla="*/ 15 h 51"/>
                  <a:gd name="T48" fmla="*/ 6 w 21"/>
                  <a:gd name="T49" fmla="*/ 19 h 51"/>
                  <a:gd name="T50" fmla="*/ 15 w 21"/>
                  <a:gd name="T51" fmla="*/ 28 h 51"/>
                  <a:gd name="T52" fmla="*/ 8 w 21"/>
                  <a:gd name="T53" fmla="*/ 30 h 51"/>
                  <a:gd name="T54" fmla="*/ 8 w 21"/>
                  <a:gd name="T55" fmla="*/ 34 h 51"/>
                  <a:gd name="T56" fmla="*/ 10 w 21"/>
                  <a:gd name="T57" fmla="*/ 45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5" y="47"/>
                    </a:lnTo>
                    <a:lnTo>
                      <a:pt x="10" y="42"/>
                    </a:lnTo>
                    <a:lnTo>
                      <a:pt x="15" y="38"/>
                    </a:lnTo>
                    <a:lnTo>
                      <a:pt x="17" y="42"/>
                    </a:lnTo>
                    <a:lnTo>
                      <a:pt x="19" y="38"/>
                    </a:lnTo>
                    <a:lnTo>
                      <a:pt x="17" y="32"/>
                    </a:lnTo>
                    <a:lnTo>
                      <a:pt x="19" y="28"/>
                    </a:lnTo>
                    <a:lnTo>
                      <a:pt x="19" y="17"/>
                    </a:lnTo>
                    <a:lnTo>
                      <a:pt x="21" y="13"/>
                    </a:lnTo>
                    <a:lnTo>
                      <a:pt x="21" y="8"/>
                    </a:lnTo>
                    <a:lnTo>
                      <a:pt x="15" y="4"/>
                    </a:lnTo>
                    <a:lnTo>
                      <a:pt x="17" y="11"/>
                    </a:lnTo>
                    <a:lnTo>
                      <a:pt x="15" y="15"/>
                    </a:lnTo>
                    <a:lnTo>
                      <a:pt x="15" y="8"/>
                    </a:lnTo>
                    <a:lnTo>
                      <a:pt x="13" y="4"/>
                    </a:lnTo>
                    <a:lnTo>
                      <a:pt x="8" y="0"/>
                    </a:lnTo>
                    <a:lnTo>
                      <a:pt x="4" y="0"/>
                    </a:lnTo>
                    <a:lnTo>
                      <a:pt x="8" y="2"/>
                    </a:lnTo>
                    <a:lnTo>
                      <a:pt x="2" y="2"/>
                    </a:lnTo>
                    <a:lnTo>
                      <a:pt x="4" y="6"/>
                    </a:lnTo>
                    <a:lnTo>
                      <a:pt x="0" y="11"/>
                    </a:lnTo>
                    <a:lnTo>
                      <a:pt x="4" y="15"/>
                    </a:lnTo>
                    <a:lnTo>
                      <a:pt x="8" y="15"/>
                    </a:lnTo>
                    <a:lnTo>
                      <a:pt x="6" y="19"/>
                    </a:lnTo>
                    <a:lnTo>
                      <a:pt x="15" y="28"/>
                    </a:lnTo>
                    <a:lnTo>
                      <a:pt x="8" y="30"/>
                    </a:lnTo>
                    <a:lnTo>
                      <a:pt x="8" y="34"/>
                    </a:lnTo>
                    <a:lnTo>
                      <a:pt x="10" y="45"/>
                    </a:lnTo>
                    <a:lnTo>
                      <a:pt x="15"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4" name="Freeform 1092"/>
              <p:cNvSpPr>
                <a:spLocks/>
              </p:cNvSpPr>
              <p:nvPr/>
            </p:nvSpPr>
            <p:spPr bwMode="auto">
              <a:xfrm>
                <a:off x="1422" y="3889"/>
                <a:ext cx="21" cy="51"/>
              </a:xfrm>
              <a:custGeom>
                <a:avLst/>
                <a:gdLst>
                  <a:gd name="T0" fmla="*/ 15 w 21"/>
                  <a:gd name="T1" fmla="*/ 51 h 51"/>
                  <a:gd name="T2" fmla="*/ 15 w 21"/>
                  <a:gd name="T3" fmla="*/ 47 h 51"/>
                  <a:gd name="T4" fmla="*/ 10 w 21"/>
                  <a:gd name="T5" fmla="*/ 42 h 51"/>
                  <a:gd name="T6" fmla="*/ 15 w 21"/>
                  <a:gd name="T7" fmla="*/ 38 h 51"/>
                  <a:gd name="T8" fmla="*/ 17 w 21"/>
                  <a:gd name="T9" fmla="*/ 42 h 51"/>
                  <a:gd name="T10" fmla="*/ 19 w 21"/>
                  <a:gd name="T11" fmla="*/ 38 h 51"/>
                  <a:gd name="T12" fmla="*/ 17 w 21"/>
                  <a:gd name="T13" fmla="*/ 32 h 51"/>
                  <a:gd name="T14" fmla="*/ 19 w 21"/>
                  <a:gd name="T15" fmla="*/ 28 h 51"/>
                  <a:gd name="T16" fmla="*/ 19 w 21"/>
                  <a:gd name="T17" fmla="*/ 17 h 51"/>
                  <a:gd name="T18" fmla="*/ 21 w 21"/>
                  <a:gd name="T19" fmla="*/ 13 h 51"/>
                  <a:gd name="T20" fmla="*/ 21 w 21"/>
                  <a:gd name="T21" fmla="*/ 8 h 51"/>
                  <a:gd name="T22" fmla="*/ 15 w 21"/>
                  <a:gd name="T23" fmla="*/ 4 h 51"/>
                  <a:gd name="T24" fmla="*/ 17 w 21"/>
                  <a:gd name="T25" fmla="*/ 11 h 51"/>
                  <a:gd name="T26" fmla="*/ 15 w 21"/>
                  <a:gd name="T27" fmla="*/ 15 h 51"/>
                  <a:gd name="T28" fmla="*/ 15 w 21"/>
                  <a:gd name="T29" fmla="*/ 8 h 51"/>
                  <a:gd name="T30" fmla="*/ 13 w 21"/>
                  <a:gd name="T31" fmla="*/ 4 h 51"/>
                  <a:gd name="T32" fmla="*/ 8 w 21"/>
                  <a:gd name="T33" fmla="*/ 0 h 51"/>
                  <a:gd name="T34" fmla="*/ 4 w 21"/>
                  <a:gd name="T35" fmla="*/ 0 h 51"/>
                  <a:gd name="T36" fmla="*/ 8 w 21"/>
                  <a:gd name="T37" fmla="*/ 2 h 51"/>
                  <a:gd name="T38" fmla="*/ 2 w 21"/>
                  <a:gd name="T39" fmla="*/ 2 h 51"/>
                  <a:gd name="T40" fmla="*/ 4 w 21"/>
                  <a:gd name="T41" fmla="*/ 6 h 51"/>
                  <a:gd name="T42" fmla="*/ 0 w 21"/>
                  <a:gd name="T43" fmla="*/ 11 h 51"/>
                  <a:gd name="T44" fmla="*/ 4 w 21"/>
                  <a:gd name="T45" fmla="*/ 15 h 51"/>
                  <a:gd name="T46" fmla="*/ 8 w 21"/>
                  <a:gd name="T47" fmla="*/ 15 h 51"/>
                  <a:gd name="T48" fmla="*/ 6 w 21"/>
                  <a:gd name="T49" fmla="*/ 19 h 51"/>
                  <a:gd name="T50" fmla="*/ 15 w 21"/>
                  <a:gd name="T51" fmla="*/ 28 h 51"/>
                  <a:gd name="T52" fmla="*/ 8 w 21"/>
                  <a:gd name="T53" fmla="*/ 30 h 51"/>
                  <a:gd name="T54" fmla="*/ 8 w 21"/>
                  <a:gd name="T55" fmla="*/ 34 h 51"/>
                  <a:gd name="T56" fmla="*/ 10 w 21"/>
                  <a:gd name="T57" fmla="*/ 45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5" y="47"/>
                    </a:lnTo>
                    <a:lnTo>
                      <a:pt x="10" y="42"/>
                    </a:lnTo>
                    <a:lnTo>
                      <a:pt x="15" y="38"/>
                    </a:lnTo>
                    <a:lnTo>
                      <a:pt x="17" y="42"/>
                    </a:lnTo>
                    <a:lnTo>
                      <a:pt x="19" y="38"/>
                    </a:lnTo>
                    <a:lnTo>
                      <a:pt x="17" y="32"/>
                    </a:lnTo>
                    <a:lnTo>
                      <a:pt x="19" y="28"/>
                    </a:lnTo>
                    <a:lnTo>
                      <a:pt x="19" y="17"/>
                    </a:lnTo>
                    <a:lnTo>
                      <a:pt x="21" y="13"/>
                    </a:lnTo>
                    <a:lnTo>
                      <a:pt x="21" y="8"/>
                    </a:lnTo>
                    <a:lnTo>
                      <a:pt x="15" y="4"/>
                    </a:lnTo>
                    <a:lnTo>
                      <a:pt x="17" y="11"/>
                    </a:lnTo>
                    <a:lnTo>
                      <a:pt x="15" y="15"/>
                    </a:lnTo>
                    <a:lnTo>
                      <a:pt x="15" y="8"/>
                    </a:lnTo>
                    <a:lnTo>
                      <a:pt x="13" y="4"/>
                    </a:lnTo>
                    <a:lnTo>
                      <a:pt x="8" y="0"/>
                    </a:lnTo>
                    <a:lnTo>
                      <a:pt x="4" y="0"/>
                    </a:lnTo>
                    <a:lnTo>
                      <a:pt x="8" y="2"/>
                    </a:lnTo>
                    <a:lnTo>
                      <a:pt x="2" y="2"/>
                    </a:lnTo>
                    <a:lnTo>
                      <a:pt x="4" y="6"/>
                    </a:lnTo>
                    <a:lnTo>
                      <a:pt x="0" y="11"/>
                    </a:lnTo>
                    <a:lnTo>
                      <a:pt x="4" y="15"/>
                    </a:lnTo>
                    <a:lnTo>
                      <a:pt x="8" y="15"/>
                    </a:lnTo>
                    <a:lnTo>
                      <a:pt x="6" y="19"/>
                    </a:lnTo>
                    <a:lnTo>
                      <a:pt x="15" y="28"/>
                    </a:lnTo>
                    <a:lnTo>
                      <a:pt x="8" y="30"/>
                    </a:lnTo>
                    <a:lnTo>
                      <a:pt x="8" y="34"/>
                    </a:lnTo>
                    <a:lnTo>
                      <a:pt x="10" y="45"/>
                    </a:lnTo>
                    <a:lnTo>
                      <a:pt x="15" y="5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5" name="Freeform 1093"/>
              <p:cNvSpPr>
                <a:spLocks/>
              </p:cNvSpPr>
              <p:nvPr/>
            </p:nvSpPr>
            <p:spPr bwMode="auto">
              <a:xfrm>
                <a:off x="1430" y="3878"/>
                <a:ext cx="39" cy="34"/>
              </a:xfrm>
              <a:custGeom>
                <a:avLst/>
                <a:gdLst>
                  <a:gd name="T0" fmla="*/ 22 w 39"/>
                  <a:gd name="T1" fmla="*/ 34 h 34"/>
                  <a:gd name="T2" fmla="*/ 24 w 39"/>
                  <a:gd name="T3" fmla="*/ 32 h 34"/>
                  <a:gd name="T4" fmla="*/ 30 w 39"/>
                  <a:gd name="T5" fmla="*/ 30 h 34"/>
                  <a:gd name="T6" fmla="*/ 34 w 39"/>
                  <a:gd name="T7" fmla="*/ 28 h 34"/>
                  <a:gd name="T8" fmla="*/ 28 w 39"/>
                  <a:gd name="T9" fmla="*/ 15 h 34"/>
                  <a:gd name="T10" fmla="*/ 24 w 39"/>
                  <a:gd name="T11" fmla="*/ 13 h 34"/>
                  <a:gd name="T12" fmla="*/ 28 w 39"/>
                  <a:gd name="T13" fmla="*/ 15 h 34"/>
                  <a:gd name="T14" fmla="*/ 32 w 39"/>
                  <a:gd name="T15" fmla="*/ 19 h 34"/>
                  <a:gd name="T16" fmla="*/ 39 w 39"/>
                  <a:gd name="T17" fmla="*/ 22 h 34"/>
                  <a:gd name="T18" fmla="*/ 36 w 39"/>
                  <a:gd name="T19" fmla="*/ 17 h 34"/>
                  <a:gd name="T20" fmla="*/ 34 w 39"/>
                  <a:gd name="T21" fmla="*/ 11 h 34"/>
                  <a:gd name="T22" fmla="*/ 36 w 39"/>
                  <a:gd name="T23" fmla="*/ 7 h 34"/>
                  <a:gd name="T24" fmla="*/ 32 w 39"/>
                  <a:gd name="T25" fmla="*/ 2 h 34"/>
                  <a:gd name="T26" fmla="*/ 28 w 39"/>
                  <a:gd name="T27" fmla="*/ 0 h 34"/>
                  <a:gd name="T28" fmla="*/ 26 w 39"/>
                  <a:gd name="T29" fmla="*/ 4 h 34"/>
                  <a:gd name="T30" fmla="*/ 22 w 39"/>
                  <a:gd name="T31" fmla="*/ 2 h 34"/>
                  <a:gd name="T32" fmla="*/ 17 w 39"/>
                  <a:gd name="T33" fmla="*/ 0 h 34"/>
                  <a:gd name="T34" fmla="*/ 7 w 39"/>
                  <a:gd name="T35" fmla="*/ 0 h 34"/>
                  <a:gd name="T36" fmla="*/ 0 w 39"/>
                  <a:gd name="T37" fmla="*/ 2 h 34"/>
                  <a:gd name="T38" fmla="*/ 5 w 39"/>
                  <a:gd name="T39" fmla="*/ 7 h 34"/>
                  <a:gd name="T40" fmla="*/ 9 w 39"/>
                  <a:gd name="T41" fmla="*/ 9 h 34"/>
                  <a:gd name="T42" fmla="*/ 11 w 39"/>
                  <a:gd name="T43" fmla="*/ 15 h 34"/>
                  <a:gd name="T44" fmla="*/ 17 w 39"/>
                  <a:gd name="T45" fmla="*/ 26 h 34"/>
                  <a:gd name="T46" fmla="*/ 17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24" y="32"/>
                    </a:lnTo>
                    <a:lnTo>
                      <a:pt x="30" y="30"/>
                    </a:lnTo>
                    <a:lnTo>
                      <a:pt x="34" y="28"/>
                    </a:lnTo>
                    <a:lnTo>
                      <a:pt x="28" y="15"/>
                    </a:lnTo>
                    <a:lnTo>
                      <a:pt x="24" y="13"/>
                    </a:lnTo>
                    <a:lnTo>
                      <a:pt x="28" y="15"/>
                    </a:lnTo>
                    <a:lnTo>
                      <a:pt x="32" y="19"/>
                    </a:lnTo>
                    <a:lnTo>
                      <a:pt x="39" y="22"/>
                    </a:lnTo>
                    <a:lnTo>
                      <a:pt x="36" y="17"/>
                    </a:lnTo>
                    <a:lnTo>
                      <a:pt x="34" y="11"/>
                    </a:lnTo>
                    <a:lnTo>
                      <a:pt x="36" y="7"/>
                    </a:lnTo>
                    <a:lnTo>
                      <a:pt x="32" y="2"/>
                    </a:lnTo>
                    <a:lnTo>
                      <a:pt x="28" y="0"/>
                    </a:lnTo>
                    <a:lnTo>
                      <a:pt x="26" y="4"/>
                    </a:lnTo>
                    <a:lnTo>
                      <a:pt x="22" y="2"/>
                    </a:lnTo>
                    <a:lnTo>
                      <a:pt x="17" y="0"/>
                    </a:lnTo>
                    <a:lnTo>
                      <a:pt x="7" y="0"/>
                    </a:lnTo>
                    <a:lnTo>
                      <a:pt x="0" y="2"/>
                    </a:lnTo>
                    <a:lnTo>
                      <a:pt x="5" y="7"/>
                    </a:lnTo>
                    <a:lnTo>
                      <a:pt x="9" y="9"/>
                    </a:lnTo>
                    <a:lnTo>
                      <a:pt x="11" y="15"/>
                    </a:lnTo>
                    <a:lnTo>
                      <a:pt x="17" y="26"/>
                    </a:lnTo>
                    <a:lnTo>
                      <a:pt x="17" y="32"/>
                    </a:lnTo>
                    <a:lnTo>
                      <a:pt x="2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6" name="Freeform 1094"/>
              <p:cNvSpPr>
                <a:spLocks/>
              </p:cNvSpPr>
              <p:nvPr/>
            </p:nvSpPr>
            <p:spPr bwMode="auto">
              <a:xfrm>
                <a:off x="1430" y="3878"/>
                <a:ext cx="39" cy="34"/>
              </a:xfrm>
              <a:custGeom>
                <a:avLst/>
                <a:gdLst>
                  <a:gd name="T0" fmla="*/ 22 w 39"/>
                  <a:gd name="T1" fmla="*/ 34 h 34"/>
                  <a:gd name="T2" fmla="*/ 24 w 39"/>
                  <a:gd name="T3" fmla="*/ 32 h 34"/>
                  <a:gd name="T4" fmla="*/ 30 w 39"/>
                  <a:gd name="T5" fmla="*/ 30 h 34"/>
                  <a:gd name="T6" fmla="*/ 34 w 39"/>
                  <a:gd name="T7" fmla="*/ 28 h 34"/>
                  <a:gd name="T8" fmla="*/ 28 w 39"/>
                  <a:gd name="T9" fmla="*/ 15 h 34"/>
                  <a:gd name="T10" fmla="*/ 24 w 39"/>
                  <a:gd name="T11" fmla="*/ 13 h 34"/>
                  <a:gd name="T12" fmla="*/ 28 w 39"/>
                  <a:gd name="T13" fmla="*/ 15 h 34"/>
                  <a:gd name="T14" fmla="*/ 32 w 39"/>
                  <a:gd name="T15" fmla="*/ 19 h 34"/>
                  <a:gd name="T16" fmla="*/ 39 w 39"/>
                  <a:gd name="T17" fmla="*/ 22 h 34"/>
                  <a:gd name="T18" fmla="*/ 36 w 39"/>
                  <a:gd name="T19" fmla="*/ 17 h 34"/>
                  <a:gd name="T20" fmla="*/ 34 w 39"/>
                  <a:gd name="T21" fmla="*/ 11 h 34"/>
                  <a:gd name="T22" fmla="*/ 36 w 39"/>
                  <a:gd name="T23" fmla="*/ 7 h 34"/>
                  <a:gd name="T24" fmla="*/ 32 w 39"/>
                  <a:gd name="T25" fmla="*/ 2 h 34"/>
                  <a:gd name="T26" fmla="*/ 28 w 39"/>
                  <a:gd name="T27" fmla="*/ 0 h 34"/>
                  <a:gd name="T28" fmla="*/ 26 w 39"/>
                  <a:gd name="T29" fmla="*/ 4 h 34"/>
                  <a:gd name="T30" fmla="*/ 22 w 39"/>
                  <a:gd name="T31" fmla="*/ 2 h 34"/>
                  <a:gd name="T32" fmla="*/ 17 w 39"/>
                  <a:gd name="T33" fmla="*/ 0 h 34"/>
                  <a:gd name="T34" fmla="*/ 7 w 39"/>
                  <a:gd name="T35" fmla="*/ 0 h 34"/>
                  <a:gd name="T36" fmla="*/ 0 w 39"/>
                  <a:gd name="T37" fmla="*/ 2 h 34"/>
                  <a:gd name="T38" fmla="*/ 5 w 39"/>
                  <a:gd name="T39" fmla="*/ 7 h 34"/>
                  <a:gd name="T40" fmla="*/ 9 w 39"/>
                  <a:gd name="T41" fmla="*/ 9 h 34"/>
                  <a:gd name="T42" fmla="*/ 11 w 39"/>
                  <a:gd name="T43" fmla="*/ 15 h 34"/>
                  <a:gd name="T44" fmla="*/ 17 w 39"/>
                  <a:gd name="T45" fmla="*/ 26 h 34"/>
                  <a:gd name="T46" fmla="*/ 17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24" y="32"/>
                    </a:lnTo>
                    <a:lnTo>
                      <a:pt x="30" y="30"/>
                    </a:lnTo>
                    <a:lnTo>
                      <a:pt x="34" y="28"/>
                    </a:lnTo>
                    <a:lnTo>
                      <a:pt x="28" y="15"/>
                    </a:lnTo>
                    <a:lnTo>
                      <a:pt x="24" y="13"/>
                    </a:lnTo>
                    <a:lnTo>
                      <a:pt x="28" y="15"/>
                    </a:lnTo>
                    <a:lnTo>
                      <a:pt x="32" y="19"/>
                    </a:lnTo>
                    <a:lnTo>
                      <a:pt x="39" y="22"/>
                    </a:lnTo>
                    <a:lnTo>
                      <a:pt x="36" y="17"/>
                    </a:lnTo>
                    <a:lnTo>
                      <a:pt x="34" y="11"/>
                    </a:lnTo>
                    <a:lnTo>
                      <a:pt x="36" y="7"/>
                    </a:lnTo>
                    <a:lnTo>
                      <a:pt x="32" y="2"/>
                    </a:lnTo>
                    <a:lnTo>
                      <a:pt x="28" y="0"/>
                    </a:lnTo>
                    <a:lnTo>
                      <a:pt x="26" y="4"/>
                    </a:lnTo>
                    <a:lnTo>
                      <a:pt x="22" y="2"/>
                    </a:lnTo>
                    <a:lnTo>
                      <a:pt x="17" y="0"/>
                    </a:lnTo>
                    <a:lnTo>
                      <a:pt x="7" y="0"/>
                    </a:lnTo>
                    <a:lnTo>
                      <a:pt x="0" y="2"/>
                    </a:lnTo>
                    <a:lnTo>
                      <a:pt x="5" y="7"/>
                    </a:lnTo>
                    <a:lnTo>
                      <a:pt x="9" y="9"/>
                    </a:lnTo>
                    <a:lnTo>
                      <a:pt x="11" y="15"/>
                    </a:lnTo>
                    <a:lnTo>
                      <a:pt x="17" y="26"/>
                    </a:lnTo>
                    <a:lnTo>
                      <a:pt x="17" y="32"/>
                    </a:lnTo>
                    <a:lnTo>
                      <a:pt x="22" y="3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7" name="Freeform 1095"/>
              <p:cNvSpPr>
                <a:spLocks/>
              </p:cNvSpPr>
              <p:nvPr/>
            </p:nvSpPr>
            <p:spPr bwMode="auto">
              <a:xfrm>
                <a:off x="1430" y="3946"/>
                <a:ext cx="9" cy="5"/>
              </a:xfrm>
              <a:custGeom>
                <a:avLst/>
                <a:gdLst>
                  <a:gd name="T0" fmla="*/ 9 w 9"/>
                  <a:gd name="T1" fmla="*/ 0 h 5"/>
                  <a:gd name="T2" fmla="*/ 0 w 9"/>
                  <a:gd name="T3" fmla="*/ 0 h 5"/>
                  <a:gd name="T4" fmla="*/ 5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0"/>
                    </a:lnTo>
                    <a:lnTo>
                      <a:pt x="5" y="5"/>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88" name="Freeform 1096"/>
              <p:cNvSpPr>
                <a:spLocks/>
              </p:cNvSpPr>
              <p:nvPr/>
            </p:nvSpPr>
            <p:spPr bwMode="auto">
              <a:xfrm>
                <a:off x="1430" y="3946"/>
                <a:ext cx="9" cy="5"/>
              </a:xfrm>
              <a:custGeom>
                <a:avLst/>
                <a:gdLst>
                  <a:gd name="T0" fmla="*/ 9 w 9"/>
                  <a:gd name="T1" fmla="*/ 0 h 5"/>
                  <a:gd name="T2" fmla="*/ 0 w 9"/>
                  <a:gd name="T3" fmla="*/ 0 h 5"/>
                  <a:gd name="T4" fmla="*/ 5 w 9"/>
                  <a:gd name="T5" fmla="*/ 5 h 5"/>
                  <a:gd name="T6" fmla="*/ 9 w 9"/>
                  <a:gd name="T7" fmla="*/ 0 h 5"/>
                </a:gdLst>
                <a:ahLst/>
                <a:cxnLst>
                  <a:cxn ang="0">
                    <a:pos x="T0" y="T1"/>
                  </a:cxn>
                  <a:cxn ang="0">
                    <a:pos x="T2" y="T3"/>
                  </a:cxn>
                  <a:cxn ang="0">
                    <a:pos x="T4" y="T5"/>
                  </a:cxn>
                  <a:cxn ang="0">
                    <a:pos x="T6" y="T7"/>
                  </a:cxn>
                </a:cxnLst>
                <a:rect l="0" t="0" r="r" b="b"/>
                <a:pathLst>
                  <a:path w="9" h="5">
                    <a:moveTo>
                      <a:pt x="9" y="0"/>
                    </a:moveTo>
                    <a:lnTo>
                      <a:pt x="0" y="0"/>
                    </a:lnTo>
                    <a:lnTo>
                      <a:pt x="5" y="5"/>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89" name="Freeform 1097"/>
              <p:cNvSpPr>
                <a:spLocks/>
              </p:cNvSpPr>
              <p:nvPr/>
            </p:nvSpPr>
            <p:spPr bwMode="auto">
              <a:xfrm>
                <a:off x="1449" y="3919"/>
                <a:ext cx="71" cy="85"/>
              </a:xfrm>
              <a:custGeom>
                <a:avLst/>
                <a:gdLst>
                  <a:gd name="T0" fmla="*/ 7 w 71"/>
                  <a:gd name="T1" fmla="*/ 12 h 85"/>
                  <a:gd name="T2" fmla="*/ 0 w 71"/>
                  <a:gd name="T3" fmla="*/ 21 h 85"/>
                  <a:gd name="T4" fmla="*/ 7 w 71"/>
                  <a:gd name="T5" fmla="*/ 21 h 85"/>
                  <a:gd name="T6" fmla="*/ 15 w 71"/>
                  <a:gd name="T7" fmla="*/ 15 h 85"/>
                  <a:gd name="T8" fmla="*/ 15 w 71"/>
                  <a:gd name="T9" fmla="*/ 15 h 85"/>
                  <a:gd name="T10" fmla="*/ 20 w 71"/>
                  <a:gd name="T11" fmla="*/ 25 h 85"/>
                  <a:gd name="T12" fmla="*/ 17 w 71"/>
                  <a:gd name="T13" fmla="*/ 34 h 85"/>
                  <a:gd name="T14" fmla="*/ 22 w 71"/>
                  <a:gd name="T15" fmla="*/ 42 h 85"/>
                  <a:gd name="T16" fmla="*/ 26 w 71"/>
                  <a:gd name="T17" fmla="*/ 42 h 85"/>
                  <a:gd name="T18" fmla="*/ 28 w 71"/>
                  <a:gd name="T19" fmla="*/ 53 h 85"/>
                  <a:gd name="T20" fmla="*/ 24 w 71"/>
                  <a:gd name="T21" fmla="*/ 57 h 85"/>
                  <a:gd name="T22" fmla="*/ 34 w 71"/>
                  <a:gd name="T23" fmla="*/ 57 h 85"/>
                  <a:gd name="T24" fmla="*/ 37 w 71"/>
                  <a:gd name="T25" fmla="*/ 57 h 85"/>
                  <a:gd name="T26" fmla="*/ 43 w 71"/>
                  <a:gd name="T27" fmla="*/ 57 h 85"/>
                  <a:gd name="T28" fmla="*/ 52 w 71"/>
                  <a:gd name="T29" fmla="*/ 68 h 85"/>
                  <a:gd name="T30" fmla="*/ 54 w 71"/>
                  <a:gd name="T31" fmla="*/ 72 h 85"/>
                  <a:gd name="T32" fmla="*/ 60 w 71"/>
                  <a:gd name="T33" fmla="*/ 85 h 85"/>
                  <a:gd name="T34" fmla="*/ 71 w 71"/>
                  <a:gd name="T35" fmla="*/ 81 h 85"/>
                  <a:gd name="T36" fmla="*/ 69 w 71"/>
                  <a:gd name="T37" fmla="*/ 66 h 85"/>
                  <a:gd name="T38" fmla="*/ 62 w 71"/>
                  <a:gd name="T39" fmla="*/ 64 h 85"/>
                  <a:gd name="T40" fmla="*/ 66 w 71"/>
                  <a:gd name="T41" fmla="*/ 55 h 85"/>
                  <a:gd name="T42" fmla="*/ 60 w 71"/>
                  <a:gd name="T43" fmla="*/ 51 h 85"/>
                  <a:gd name="T44" fmla="*/ 52 w 71"/>
                  <a:gd name="T45" fmla="*/ 47 h 85"/>
                  <a:gd name="T46" fmla="*/ 43 w 71"/>
                  <a:gd name="T47" fmla="*/ 44 h 85"/>
                  <a:gd name="T48" fmla="*/ 49 w 71"/>
                  <a:gd name="T49" fmla="*/ 40 h 85"/>
                  <a:gd name="T50" fmla="*/ 52 w 71"/>
                  <a:gd name="T51" fmla="*/ 36 h 85"/>
                  <a:gd name="T52" fmla="*/ 45 w 71"/>
                  <a:gd name="T53" fmla="*/ 27 h 85"/>
                  <a:gd name="T54" fmla="*/ 37 w 71"/>
                  <a:gd name="T55" fmla="*/ 19 h 85"/>
                  <a:gd name="T56" fmla="*/ 24 w 71"/>
                  <a:gd name="T57" fmla="*/ 12 h 85"/>
                  <a:gd name="T58" fmla="*/ 20 w 71"/>
                  <a:gd name="T59" fmla="*/ 6 h 85"/>
                  <a:gd name="T60" fmla="*/ 0 w 71"/>
                  <a:gd name="T61" fmla="*/ 0 h 85"/>
                  <a:gd name="T62" fmla="*/ 7 w 71"/>
                  <a:gd name="T63" fmla="*/ 8 h 85"/>
                  <a:gd name="T64" fmla="*/ 11 w 71"/>
                  <a:gd name="T65"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85">
                    <a:moveTo>
                      <a:pt x="11" y="10"/>
                    </a:moveTo>
                    <a:lnTo>
                      <a:pt x="7" y="12"/>
                    </a:lnTo>
                    <a:lnTo>
                      <a:pt x="3" y="15"/>
                    </a:lnTo>
                    <a:lnTo>
                      <a:pt x="0" y="21"/>
                    </a:lnTo>
                    <a:lnTo>
                      <a:pt x="0" y="25"/>
                    </a:lnTo>
                    <a:lnTo>
                      <a:pt x="7" y="21"/>
                    </a:lnTo>
                    <a:lnTo>
                      <a:pt x="9" y="17"/>
                    </a:lnTo>
                    <a:lnTo>
                      <a:pt x="15" y="15"/>
                    </a:lnTo>
                    <a:lnTo>
                      <a:pt x="13" y="12"/>
                    </a:lnTo>
                    <a:lnTo>
                      <a:pt x="15" y="15"/>
                    </a:lnTo>
                    <a:lnTo>
                      <a:pt x="17" y="19"/>
                    </a:lnTo>
                    <a:lnTo>
                      <a:pt x="20" y="25"/>
                    </a:lnTo>
                    <a:lnTo>
                      <a:pt x="20" y="30"/>
                    </a:lnTo>
                    <a:lnTo>
                      <a:pt x="17" y="34"/>
                    </a:lnTo>
                    <a:lnTo>
                      <a:pt x="15" y="40"/>
                    </a:lnTo>
                    <a:lnTo>
                      <a:pt x="22" y="42"/>
                    </a:lnTo>
                    <a:lnTo>
                      <a:pt x="26" y="38"/>
                    </a:lnTo>
                    <a:lnTo>
                      <a:pt x="26" y="42"/>
                    </a:lnTo>
                    <a:lnTo>
                      <a:pt x="34" y="53"/>
                    </a:lnTo>
                    <a:lnTo>
                      <a:pt x="28" y="53"/>
                    </a:lnTo>
                    <a:lnTo>
                      <a:pt x="24" y="53"/>
                    </a:lnTo>
                    <a:lnTo>
                      <a:pt x="24" y="57"/>
                    </a:lnTo>
                    <a:lnTo>
                      <a:pt x="30" y="57"/>
                    </a:lnTo>
                    <a:lnTo>
                      <a:pt x="34" y="57"/>
                    </a:lnTo>
                    <a:lnTo>
                      <a:pt x="30" y="61"/>
                    </a:lnTo>
                    <a:lnTo>
                      <a:pt x="37" y="57"/>
                    </a:lnTo>
                    <a:lnTo>
                      <a:pt x="41" y="61"/>
                    </a:lnTo>
                    <a:lnTo>
                      <a:pt x="43" y="57"/>
                    </a:lnTo>
                    <a:lnTo>
                      <a:pt x="45" y="64"/>
                    </a:lnTo>
                    <a:lnTo>
                      <a:pt x="52" y="68"/>
                    </a:lnTo>
                    <a:lnTo>
                      <a:pt x="47" y="72"/>
                    </a:lnTo>
                    <a:lnTo>
                      <a:pt x="54" y="72"/>
                    </a:lnTo>
                    <a:lnTo>
                      <a:pt x="62" y="78"/>
                    </a:lnTo>
                    <a:lnTo>
                      <a:pt x="60" y="85"/>
                    </a:lnTo>
                    <a:lnTo>
                      <a:pt x="64" y="85"/>
                    </a:lnTo>
                    <a:lnTo>
                      <a:pt x="71" y="81"/>
                    </a:lnTo>
                    <a:lnTo>
                      <a:pt x="71" y="76"/>
                    </a:lnTo>
                    <a:lnTo>
                      <a:pt x="69" y="66"/>
                    </a:lnTo>
                    <a:lnTo>
                      <a:pt x="64" y="70"/>
                    </a:lnTo>
                    <a:lnTo>
                      <a:pt x="62" y="64"/>
                    </a:lnTo>
                    <a:lnTo>
                      <a:pt x="64" y="59"/>
                    </a:lnTo>
                    <a:lnTo>
                      <a:pt x="66" y="55"/>
                    </a:lnTo>
                    <a:lnTo>
                      <a:pt x="60" y="55"/>
                    </a:lnTo>
                    <a:lnTo>
                      <a:pt x="60" y="51"/>
                    </a:lnTo>
                    <a:lnTo>
                      <a:pt x="56" y="47"/>
                    </a:lnTo>
                    <a:lnTo>
                      <a:pt x="52" y="47"/>
                    </a:lnTo>
                    <a:lnTo>
                      <a:pt x="49" y="40"/>
                    </a:lnTo>
                    <a:lnTo>
                      <a:pt x="43" y="44"/>
                    </a:lnTo>
                    <a:lnTo>
                      <a:pt x="45" y="40"/>
                    </a:lnTo>
                    <a:lnTo>
                      <a:pt x="49" y="40"/>
                    </a:lnTo>
                    <a:lnTo>
                      <a:pt x="54" y="40"/>
                    </a:lnTo>
                    <a:lnTo>
                      <a:pt x="52" y="36"/>
                    </a:lnTo>
                    <a:lnTo>
                      <a:pt x="45" y="34"/>
                    </a:lnTo>
                    <a:lnTo>
                      <a:pt x="45" y="27"/>
                    </a:lnTo>
                    <a:lnTo>
                      <a:pt x="41" y="23"/>
                    </a:lnTo>
                    <a:lnTo>
                      <a:pt x="37" y="19"/>
                    </a:lnTo>
                    <a:lnTo>
                      <a:pt x="32" y="15"/>
                    </a:lnTo>
                    <a:lnTo>
                      <a:pt x="24" y="12"/>
                    </a:lnTo>
                    <a:lnTo>
                      <a:pt x="17" y="10"/>
                    </a:lnTo>
                    <a:lnTo>
                      <a:pt x="20" y="6"/>
                    </a:lnTo>
                    <a:lnTo>
                      <a:pt x="17" y="0"/>
                    </a:lnTo>
                    <a:lnTo>
                      <a:pt x="0" y="0"/>
                    </a:lnTo>
                    <a:lnTo>
                      <a:pt x="3" y="4"/>
                    </a:lnTo>
                    <a:lnTo>
                      <a:pt x="7" y="8"/>
                    </a:lnTo>
                    <a:lnTo>
                      <a:pt x="11" y="8"/>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0" name="Freeform 1098"/>
              <p:cNvSpPr>
                <a:spLocks/>
              </p:cNvSpPr>
              <p:nvPr/>
            </p:nvSpPr>
            <p:spPr bwMode="auto">
              <a:xfrm>
                <a:off x="1449" y="3919"/>
                <a:ext cx="71" cy="85"/>
              </a:xfrm>
              <a:custGeom>
                <a:avLst/>
                <a:gdLst>
                  <a:gd name="T0" fmla="*/ 7 w 71"/>
                  <a:gd name="T1" fmla="*/ 12 h 85"/>
                  <a:gd name="T2" fmla="*/ 0 w 71"/>
                  <a:gd name="T3" fmla="*/ 21 h 85"/>
                  <a:gd name="T4" fmla="*/ 7 w 71"/>
                  <a:gd name="T5" fmla="*/ 21 h 85"/>
                  <a:gd name="T6" fmla="*/ 15 w 71"/>
                  <a:gd name="T7" fmla="*/ 15 h 85"/>
                  <a:gd name="T8" fmla="*/ 15 w 71"/>
                  <a:gd name="T9" fmla="*/ 15 h 85"/>
                  <a:gd name="T10" fmla="*/ 20 w 71"/>
                  <a:gd name="T11" fmla="*/ 25 h 85"/>
                  <a:gd name="T12" fmla="*/ 17 w 71"/>
                  <a:gd name="T13" fmla="*/ 34 h 85"/>
                  <a:gd name="T14" fmla="*/ 22 w 71"/>
                  <a:gd name="T15" fmla="*/ 42 h 85"/>
                  <a:gd name="T16" fmla="*/ 26 w 71"/>
                  <a:gd name="T17" fmla="*/ 42 h 85"/>
                  <a:gd name="T18" fmla="*/ 28 w 71"/>
                  <a:gd name="T19" fmla="*/ 53 h 85"/>
                  <a:gd name="T20" fmla="*/ 24 w 71"/>
                  <a:gd name="T21" fmla="*/ 57 h 85"/>
                  <a:gd name="T22" fmla="*/ 34 w 71"/>
                  <a:gd name="T23" fmla="*/ 57 h 85"/>
                  <a:gd name="T24" fmla="*/ 37 w 71"/>
                  <a:gd name="T25" fmla="*/ 57 h 85"/>
                  <a:gd name="T26" fmla="*/ 43 w 71"/>
                  <a:gd name="T27" fmla="*/ 57 h 85"/>
                  <a:gd name="T28" fmla="*/ 52 w 71"/>
                  <a:gd name="T29" fmla="*/ 68 h 85"/>
                  <a:gd name="T30" fmla="*/ 54 w 71"/>
                  <a:gd name="T31" fmla="*/ 72 h 85"/>
                  <a:gd name="T32" fmla="*/ 60 w 71"/>
                  <a:gd name="T33" fmla="*/ 85 h 85"/>
                  <a:gd name="T34" fmla="*/ 71 w 71"/>
                  <a:gd name="T35" fmla="*/ 81 h 85"/>
                  <a:gd name="T36" fmla="*/ 69 w 71"/>
                  <a:gd name="T37" fmla="*/ 66 h 85"/>
                  <a:gd name="T38" fmla="*/ 62 w 71"/>
                  <a:gd name="T39" fmla="*/ 64 h 85"/>
                  <a:gd name="T40" fmla="*/ 66 w 71"/>
                  <a:gd name="T41" fmla="*/ 55 h 85"/>
                  <a:gd name="T42" fmla="*/ 60 w 71"/>
                  <a:gd name="T43" fmla="*/ 51 h 85"/>
                  <a:gd name="T44" fmla="*/ 52 w 71"/>
                  <a:gd name="T45" fmla="*/ 47 h 85"/>
                  <a:gd name="T46" fmla="*/ 43 w 71"/>
                  <a:gd name="T47" fmla="*/ 44 h 85"/>
                  <a:gd name="T48" fmla="*/ 49 w 71"/>
                  <a:gd name="T49" fmla="*/ 40 h 85"/>
                  <a:gd name="T50" fmla="*/ 52 w 71"/>
                  <a:gd name="T51" fmla="*/ 36 h 85"/>
                  <a:gd name="T52" fmla="*/ 45 w 71"/>
                  <a:gd name="T53" fmla="*/ 27 h 85"/>
                  <a:gd name="T54" fmla="*/ 37 w 71"/>
                  <a:gd name="T55" fmla="*/ 19 h 85"/>
                  <a:gd name="T56" fmla="*/ 24 w 71"/>
                  <a:gd name="T57" fmla="*/ 12 h 85"/>
                  <a:gd name="T58" fmla="*/ 20 w 71"/>
                  <a:gd name="T59" fmla="*/ 6 h 85"/>
                  <a:gd name="T60" fmla="*/ 0 w 71"/>
                  <a:gd name="T61" fmla="*/ 0 h 85"/>
                  <a:gd name="T62" fmla="*/ 7 w 71"/>
                  <a:gd name="T63" fmla="*/ 8 h 85"/>
                  <a:gd name="T64" fmla="*/ 11 w 71"/>
                  <a:gd name="T65"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1" h="85">
                    <a:moveTo>
                      <a:pt x="11" y="10"/>
                    </a:moveTo>
                    <a:lnTo>
                      <a:pt x="7" y="12"/>
                    </a:lnTo>
                    <a:lnTo>
                      <a:pt x="3" y="15"/>
                    </a:lnTo>
                    <a:lnTo>
                      <a:pt x="0" y="21"/>
                    </a:lnTo>
                    <a:lnTo>
                      <a:pt x="0" y="25"/>
                    </a:lnTo>
                    <a:lnTo>
                      <a:pt x="7" y="21"/>
                    </a:lnTo>
                    <a:lnTo>
                      <a:pt x="9" y="17"/>
                    </a:lnTo>
                    <a:lnTo>
                      <a:pt x="15" y="15"/>
                    </a:lnTo>
                    <a:lnTo>
                      <a:pt x="13" y="12"/>
                    </a:lnTo>
                    <a:lnTo>
                      <a:pt x="15" y="15"/>
                    </a:lnTo>
                    <a:lnTo>
                      <a:pt x="17" y="19"/>
                    </a:lnTo>
                    <a:lnTo>
                      <a:pt x="20" y="25"/>
                    </a:lnTo>
                    <a:lnTo>
                      <a:pt x="20" y="30"/>
                    </a:lnTo>
                    <a:lnTo>
                      <a:pt x="17" y="34"/>
                    </a:lnTo>
                    <a:lnTo>
                      <a:pt x="15" y="40"/>
                    </a:lnTo>
                    <a:lnTo>
                      <a:pt x="22" y="42"/>
                    </a:lnTo>
                    <a:lnTo>
                      <a:pt x="26" y="38"/>
                    </a:lnTo>
                    <a:lnTo>
                      <a:pt x="26" y="42"/>
                    </a:lnTo>
                    <a:lnTo>
                      <a:pt x="34" y="53"/>
                    </a:lnTo>
                    <a:lnTo>
                      <a:pt x="28" y="53"/>
                    </a:lnTo>
                    <a:lnTo>
                      <a:pt x="24" y="53"/>
                    </a:lnTo>
                    <a:lnTo>
                      <a:pt x="24" y="57"/>
                    </a:lnTo>
                    <a:lnTo>
                      <a:pt x="30" y="57"/>
                    </a:lnTo>
                    <a:lnTo>
                      <a:pt x="34" y="57"/>
                    </a:lnTo>
                    <a:lnTo>
                      <a:pt x="30" y="61"/>
                    </a:lnTo>
                    <a:lnTo>
                      <a:pt x="37" y="57"/>
                    </a:lnTo>
                    <a:lnTo>
                      <a:pt x="41" y="61"/>
                    </a:lnTo>
                    <a:lnTo>
                      <a:pt x="43" y="57"/>
                    </a:lnTo>
                    <a:lnTo>
                      <a:pt x="45" y="64"/>
                    </a:lnTo>
                    <a:lnTo>
                      <a:pt x="52" y="68"/>
                    </a:lnTo>
                    <a:lnTo>
                      <a:pt x="47" y="72"/>
                    </a:lnTo>
                    <a:lnTo>
                      <a:pt x="54" y="72"/>
                    </a:lnTo>
                    <a:lnTo>
                      <a:pt x="62" y="78"/>
                    </a:lnTo>
                    <a:lnTo>
                      <a:pt x="60" y="85"/>
                    </a:lnTo>
                    <a:lnTo>
                      <a:pt x="64" y="85"/>
                    </a:lnTo>
                    <a:lnTo>
                      <a:pt x="71" y="81"/>
                    </a:lnTo>
                    <a:lnTo>
                      <a:pt x="71" y="76"/>
                    </a:lnTo>
                    <a:lnTo>
                      <a:pt x="69" y="66"/>
                    </a:lnTo>
                    <a:lnTo>
                      <a:pt x="64" y="70"/>
                    </a:lnTo>
                    <a:lnTo>
                      <a:pt x="62" y="64"/>
                    </a:lnTo>
                    <a:lnTo>
                      <a:pt x="64" y="59"/>
                    </a:lnTo>
                    <a:lnTo>
                      <a:pt x="66" y="55"/>
                    </a:lnTo>
                    <a:lnTo>
                      <a:pt x="60" y="55"/>
                    </a:lnTo>
                    <a:lnTo>
                      <a:pt x="60" y="51"/>
                    </a:lnTo>
                    <a:lnTo>
                      <a:pt x="56" y="47"/>
                    </a:lnTo>
                    <a:lnTo>
                      <a:pt x="52" y="47"/>
                    </a:lnTo>
                    <a:lnTo>
                      <a:pt x="49" y="40"/>
                    </a:lnTo>
                    <a:lnTo>
                      <a:pt x="43" y="44"/>
                    </a:lnTo>
                    <a:lnTo>
                      <a:pt x="45" y="40"/>
                    </a:lnTo>
                    <a:lnTo>
                      <a:pt x="49" y="40"/>
                    </a:lnTo>
                    <a:lnTo>
                      <a:pt x="54" y="40"/>
                    </a:lnTo>
                    <a:lnTo>
                      <a:pt x="52" y="36"/>
                    </a:lnTo>
                    <a:lnTo>
                      <a:pt x="45" y="34"/>
                    </a:lnTo>
                    <a:lnTo>
                      <a:pt x="45" y="27"/>
                    </a:lnTo>
                    <a:lnTo>
                      <a:pt x="41" y="23"/>
                    </a:lnTo>
                    <a:lnTo>
                      <a:pt x="37" y="19"/>
                    </a:lnTo>
                    <a:lnTo>
                      <a:pt x="32" y="15"/>
                    </a:lnTo>
                    <a:lnTo>
                      <a:pt x="24" y="12"/>
                    </a:lnTo>
                    <a:lnTo>
                      <a:pt x="17" y="10"/>
                    </a:lnTo>
                    <a:lnTo>
                      <a:pt x="20" y="6"/>
                    </a:lnTo>
                    <a:lnTo>
                      <a:pt x="17" y="0"/>
                    </a:lnTo>
                    <a:lnTo>
                      <a:pt x="0" y="0"/>
                    </a:lnTo>
                    <a:lnTo>
                      <a:pt x="3" y="4"/>
                    </a:lnTo>
                    <a:lnTo>
                      <a:pt x="7" y="8"/>
                    </a:lnTo>
                    <a:lnTo>
                      <a:pt x="11" y="8"/>
                    </a:lnTo>
                    <a:lnTo>
                      <a:pt x="11" y="1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1" name="Freeform 1099"/>
              <p:cNvSpPr>
                <a:spLocks/>
              </p:cNvSpPr>
              <p:nvPr/>
            </p:nvSpPr>
            <p:spPr bwMode="auto">
              <a:xfrm>
                <a:off x="1445"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2" name="Freeform 1100"/>
              <p:cNvSpPr>
                <a:spLocks/>
              </p:cNvSpPr>
              <p:nvPr/>
            </p:nvSpPr>
            <p:spPr bwMode="auto">
              <a:xfrm>
                <a:off x="1445"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3" name="Freeform 1101"/>
              <p:cNvSpPr>
                <a:spLocks/>
              </p:cNvSpPr>
              <p:nvPr/>
            </p:nvSpPr>
            <p:spPr bwMode="auto">
              <a:xfrm>
                <a:off x="1466" y="3889"/>
                <a:ext cx="13" cy="17"/>
              </a:xfrm>
              <a:custGeom>
                <a:avLst/>
                <a:gdLst>
                  <a:gd name="T0" fmla="*/ 5 w 13"/>
                  <a:gd name="T1" fmla="*/ 0 h 17"/>
                  <a:gd name="T2" fmla="*/ 0 w 13"/>
                  <a:gd name="T3" fmla="*/ 2 h 17"/>
                  <a:gd name="T4" fmla="*/ 3 w 13"/>
                  <a:gd name="T5" fmla="*/ 6 h 17"/>
                  <a:gd name="T6" fmla="*/ 3 w 13"/>
                  <a:gd name="T7" fmla="*/ 13 h 17"/>
                  <a:gd name="T8" fmla="*/ 7 w 13"/>
                  <a:gd name="T9" fmla="*/ 17 h 17"/>
                  <a:gd name="T10" fmla="*/ 13 w 13"/>
                  <a:gd name="T11" fmla="*/ 13 h 17"/>
                  <a:gd name="T12" fmla="*/ 13 w 13"/>
                  <a:gd name="T13" fmla="*/ 8 h 17"/>
                  <a:gd name="T14" fmla="*/ 5 w 13"/>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7">
                    <a:moveTo>
                      <a:pt x="5" y="0"/>
                    </a:moveTo>
                    <a:lnTo>
                      <a:pt x="0" y="2"/>
                    </a:lnTo>
                    <a:lnTo>
                      <a:pt x="3" y="6"/>
                    </a:lnTo>
                    <a:lnTo>
                      <a:pt x="3" y="13"/>
                    </a:lnTo>
                    <a:lnTo>
                      <a:pt x="7" y="17"/>
                    </a:lnTo>
                    <a:lnTo>
                      <a:pt x="13" y="13"/>
                    </a:lnTo>
                    <a:lnTo>
                      <a:pt x="13" y="8"/>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4" name="Freeform 1102"/>
              <p:cNvSpPr>
                <a:spLocks/>
              </p:cNvSpPr>
              <p:nvPr/>
            </p:nvSpPr>
            <p:spPr bwMode="auto">
              <a:xfrm>
                <a:off x="1466" y="3889"/>
                <a:ext cx="13" cy="17"/>
              </a:xfrm>
              <a:custGeom>
                <a:avLst/>
                <a:gdLst>
                  <a:gd name="T0" fmla="*/ 5 w 13"/>
                  <a:gd name="T1" fmla="*/ 0 h 17"/>
                  <a:gd name="T2" fmla="*/ 0 w 13"/>
                  <a:gd name="T3" fmla="*/ 2 h 17"/>
                  <a:gd name="T4" fmla="*/ 3 w 13"/>
                  <a:gd name="T5" fmla="*/ 6 h 17"/>
                  <a:gd name="T6" fmla="*/ 3 w 13"/>
                  <a:gd name="T7" fmla="*/ 13 h 17"/>
                  <a:gd name="T8" fmla="*/ 7 w 13"/>
                  <a:gd name="T9" fmla="*/ 17 h 17"/>
                  <a:gd name="T10" fmla="*/ 13 w 13"/>
                  <a:gd name="T11" fmla="*/ 13 h 17"/>
                  <a:gd name="T12" fmla="*/ 13 w 13"/>
                  <a:gd name="T13" fmla="*/ 8 h 17"/>
                  <a:gd name="T14" fmla="*/ 5 w 13"/>
                  <a:gd name="T15" fmla="*/ 0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 h="17">
                    <a:moveTo>
                      <a:pt x="5" y="0"/>
                    </a:moveTo>
                    <a:lnTo>
                      <a:pt x="0" y="2"/>
                    </a:lnTo>
                    <a:lnTo>
                      <a:pt x="3" y="6"/>
                    </a:lnTo>
                    <a:lnTo>
                      <a:pt x="3" y="13"/>
                    </a:lnTo>
                    <a:lnTo>
                      <a:pt x="7" y="17"/>
                    </a:lnTo>
                    <a:lnTo>
                      <a:pt x="13" y="13"/>
                    </a:lnTo>
                    <a:lnTo>
                      <a:pt x="13" y="8"/>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5" name="Freeform 1103"/>
              <p:cNvSpPr>
                <a:spLocks/>
              </p:cNvSpPr>
              <p:nvPr/>
            </p:nvSpPr>
            <p:spPr bwMode="auto">
              <a:xfrm>
                <a:off x="1456" y="3949"/>
                <a:ext cx="10" cy="6"/>
              </a:xfrm>
              <a:custGeom>
                <a:avLst/>
                <a:gdLst>
                  <a:gd name="T0" fmla="*/ 10 w 10"/>
                  <a:gd name="T1" fmla="*/ 0 h 6"/>
                  <a:gd name="T2" fmla="*/ 6 w 10"/>
                  <a:gd name="T3" fmla="*/ 2 h 6"/>
                  <a:gd name="T4" fmla="*/ 0 w 10"/>
                  <a:gd name="T5" fmla="*/ 0 h 6"/>
                  <a:gd name="T6" fmla="*/ 0 w 10"/>
                  <a:gd name="T7" fmla="*/ 4 h 6"/>
                  <a:gd name="T8" fmla="*/ 4 w 10"/>
                  <a:gd name="T9" fmla="*/ 6 h 6"/>
                  <a:gd name="T10" fmla="*/ 4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6" y="2"/>
                    </a:lnTo>
                    <a:lnTo>
                      <a:pt x="0" y="0"/>
                    </a:lnTo>
                    <a:lnTo>
                      <a:pt x="0" y="4"/>
                    </a:lnTo>
                    <a:lnTo>
                      <a:pt x="4" y="6"/>
                    </a:lnTo>
                    <a:lnTo>
                      <a:pt x="4" y="2"/>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6" name="Freeform 1104"/>
              <p:cNvSpPr>
                <a:spLocks/>
              </p:cNvSpPr>
              <p:nvPr/>
            </p:nvSpPr>
            <p:spPr bwMode="auto">
              <a:xfrm>
                <a:off x="1456" y="3949"/>
                <a:ext cx="10" cy="6"/>
              </a:xfrm>
              <a:custGeom>
                <a:avLst/>
                <a:gdLst>
                  <a:gd name="T0" fmla="*/ 10 w 10"/>
                  <a:gd name="T1" fmla="*/ 0 h 6"/>
                  <a:gd name="T2" fmla="*/ 6 w 10"/>
                  <a:gd name="T3" fmla="*/ 2 h 6"/>
                  <a:gd name="T4" fmla="*/ 0 w 10"/>
                  <a:gd name="T5" fmla="*/ 0 h 6"/>
                  <a:gd name="T6" fmla="*/ 0 w 10"/>
                  <a:gd name="T7" fmla="*/ 4 h 6"/>
                  <a:gd name="T8" fmla="*/ 4 w 10"/>
                  <a:gd name="T9" fmla="*/ 6 h 6"/>
                  <a:gd name="T10" fmla="*/ 4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6" y="2"/>
                    </a:lnTo>
                    <a:lnTo>
                      <a:pt x="0" y="0"/>
                    </a:lnTo>
                    <a:lnTo>
                      <a:pt x="0" y="4"/>
                    </a:lnTo>
                    <a:lnTo>
                      <a:pt x="4" y="6"/>
                    </a:lnTo>
                    <a:lnTo>
                      <a:pt x="4" y="2"/>
                    </a:lnTo>
                    <a:lnTo>
                      <a:pt x="1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7" name="Freeform 1105"/>
              <p:cNvSpPr>
                <a:spLocks/>
              </p:cNvSpPr>
              <p:nvPr/>
            </p:nvSpPr>
            <p:spPr bwMode="auto">
              <a:xfrm>
                <a:off x="1454" y="3966"/>
                <a:ext cx="6" cy="4"/>
              </a:xfrm>
              <a:custGeom>
                <a:avLst/>
                <a:gdLst>
                  <a:gd name="T0" fmla="*/ 4 w 6"/>
                  <a:gd name="T1" fmla="*/ 4 h 4"/>
                  <a:gd name="T2" fmla="*/ 6 w 6"/>
                  <a:gd name="T3" fmla="*/ 0 h 4"/>
                  <a:gd name="T4" fmla="*/ 0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6" y="0"/>
                    </a:lnTo>
                    <a:lnTo>
                      <a:pt x="0"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98" name="Freeform 1106"/>
              <p:cNvSpPr>
                <a:spLocks/>
              </p:cNvSpPr>
              <p:nvPr/>
            </p:nvSpPr>
            <p:spPr bwMode="auto">
              <a:xfrm>
                <a:off x="1454" y="3966"/>
                <a:ext cx="6" cy="4"/>
              </a:xfrm>
              <a:custGeom>
                <a:avLst/>
                <a:gdLst>
                  <a:gd name="T0" fmla="*/ 4 w 6"/>
                  <a:gd name="T1" fmla="*/ 4 h 4"/>
                  <a:gd name="T2" fmla="*/ 6 w 6"/>
                  <a:gd name="T3" fmla="*/ 0 h 4"/>
                  <a:gd name="T4" fmla="*/ 0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6" y="0"/>
                    </a:lnTo>
                    <a:lnTo>
                      <a:pt x="0" y="0"/>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899" name="Freeform 1107"/>
              <p:cNvSpPr>
                <a:spLocks/>
              </p:cNvSpPr>
              <p:nvPr/>
            </p:nvSpPr>
            <p:spPr bwMode="auto">
              <a:xfrm>
                <a:off x="1469" y="3908"/>
                <a:ext cx="12" cy="13"/>
              </a:xfrm>
              <a:custGeom>
                <a:avLst/>
                <a:gdLst>
                  <a:gd name="T0" fmla="*/ 8 w 12"/>
                  <a:gd name="T1" fmla="*/ 0 h 13"/>
                  <a:gd name="T2" fmla="*/ 0 w 12"/>
                  <a:gd name="T3" fmla="*/ 4 h 13"/>
                  <a:gd name="T4" fmla="*/ 2 w 12"/>
                  <a:gd name="T5" fmla="*/ 9 h 13"/>
                  <a:gd name="T6" fmla="*/ 6 w 12"/>
                  <a:gd name="T7" fmla="*/ 13 h 13"/>
                  <a:gd name="T8" fmla="*/ 10 w 12"/>
                  <a:gd name="T9" fmla="*/ 11 h 13"/>
                  <a:gd name="T10" fmla="*/ 12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0" y="4"/>
                    </a:lnTo>
                    <a:lnTo>
                      <a:pt x="2" y="9"/>
                    </a:lnTo>
                    <a:lnTo>
                      <a:pt x="6" y="13"/>
                    </a:lnTo>
                    <a:lnTo>
                      <a:pt x="10" y="11"/>
                    </a:lnTo>
                    <a:lnTo>
                      <a:pt x="12"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0" name="Freeform 1108"/>
              <p:cNvSpPr>
                <a:spLocks/>
              </p:cNvSpPr>
              <p:nvPr/>
            </p:nvSpPr>
            <p:spPr bwMode="auto">
              <a:xfrm>
                <a:off x="1469" y="3908"/>
                <a:ext cx="12" cy="13"/>
              </a:xfrm>
              <a:custGeom>
                <a:avLst/>
                <a:gdLst>
                  <a:gd name="T0" fmla="*/ 8 w 12"/>
                  <a:gd name="T1" fmla="*/ 0 h 13"/>
                  <a:gd name="T2" fmla="*/ 0 w 12"/>
                  <a:gd name="T3" fmla="*/ 4 h 13"/>
                  <a:gd name="T4" fmla="*/ 2 w 12"/>
                  <a:gd name="T5" fmla="*/ 9 h 13"/>
                  <a:gd name="T6" fmla="*/ 6 w 12"/>
                  <a:gd name="T7" fmla="*/ 13 h 13"/>
                  <a:gd name="T8" fmla="*/ 10 w 12"/>
                  <a:gd name="T9" fmla="*/ 11 h 13"/>
                  <a:gd name="T10" fmla="*/ 12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0" y="4"/>
                    </a:lnTo>
                    <a:lnTo>
                      <a:pt x="2" y="9"/>
                    </a:lnTo>
                    <a:lnTo>
                      <a:pt x="6" y="13"/>
                    </a:lnTo>
                    <a:lnTo>
                      <a:pt x="10" y="11"/>
                    </a:lnTo>
                    <a:lnTo>
                      <a:pt x="12" y="4"/>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1" name="Freeform 1109"/>
              <p:cNvSpPr>
                <a:spLocks/>
              </p:cNvSpPr>
              <p:nvPr/>
            </p:nvSpPr>
            <p:spPr bwMode="auto">
              <a:xfrm>
                <a:off x="1464"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2" name="Freeform 1110"/>
              <p:cNvSpPr>
                <a:spLocks/>
              </p:cNvSpPr>
              <p:nvPr/>
            </p:nvSpPr>
            <p:spPr bwMode="auto">
              <a:xfrm>
                <a:off x="1464" y="3944"/>
                <a:ext cx="2" cy="5"/>
              </a:xfrm>
              <a:custGeom>
                <a:avLst/>
                <a:gdLst>
                  <a:gd name="T0" fmla="*/ 2 w 2"/>
                  <a:gd name="T1" fmla="*/ 0 h 5"/>
                  <a:gd name="T2" fmla="*/ 0 w 2"/>
                  <a:gd name="T3" fmla="*/ 0 h 5"/>
                  <a:gd name="T4" fmla="*/ 2 w 2"/>
                  <a:gd name="T5" fmla="*/ 5 h 5"/>
                  <a:gd name="T6" fmla="*/ 2 w 2"/>
                  <a:gd name="T7" fmla="*/ 0 h 5"/>
                </a:gdLst>
                <a:ahLst/>
                <a:cxnLst>
                  <a:cxn ang="0">
                    <a:pos x="T0" y="T1"/>
                  </a:cxn>
                  <a:cxn ang="0">
                    <a:pos x="T2" y="T3"/>
                  </a:cxn>
                  <a:cxn ang="0">
                    <a:pos x="T4" y="T5"/>
                  </a:cxn>
                  <a:cxn ang="0">
                    <a:pos x="T6" y="T7"/>
                  </a:cxn>
                </a:cxnLst>
                <a:rect l="0" t="0" r="r" b="b"/>
                <a:pathLst>
                  <a:path w="2" h="5">
                    <a:moveTo>
                      <a:pt x="2" y="0"/>
                    </a:moveTo>
                    <a:lnTo>
                      <a:pt x="0" y="0"/>
                    </a:lnTo>
                    <a:lnTo>
                      <a:pt x="2"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3" name="Freeform 1111"/>
              <p:cNvSpPr>
                <a:spLocks/>
              </p:cNvSpPr>
              <p:nvPr/>
            </p:nvSpPr>
            <p:spPr bwMode="auto">
              <a:xfrm>
                <a:off x="1462" y="3966"/>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4" name="Freeform 1112"/>
              <p:cNvSpPr>
                <a:spLocks/>
              </p:cNvSpPr>
              <p:nvPr/>
            </p:nvSpPr>
            <p:spPr bwMode="auto">
              <a:xfrm>
                <a:off x="1462" y="3966"/>
                <a:ext cx="0" cy="4"/>
              </a:xfrm>
              <a:custGeom>
                <a:avLst/>
                <a:gdLst>
                  <a:gd name="T0" fmla="*/ 0 h 4"/>
                  <a:gd name="T1" fmla="*/ 0 h 4"/>
                  <a:gd name="T2" fmla="*/ 4 h 4"/>
                  <a:gd name="T3" fmla="*/ 0 h 4"/>
                </a:gdLst>
                <a:ahLst/>
                <a:cxnLst>
                  <a:cxn ang="0">
                    <a:pos x="0" y="T0"/>
                  </a:cxn>
                  <a:cxn ang="0">
                    <a:pos x="0" y="T1"/>
                  </a:cxn>
                  <a:cxn ang="0">
                    <a:pos x="0" y="T2"/>
                  </a:cxn>
                  <a:cxn ang="0">
                    <a:pos x="0" y="T3"/>
                  </a:cxn>
                </a:cxnLst>
                <a:rect l="0" t="0" r="r" b="b"/>
                <a:pathLst>
                  <a:path h="4">
                    <a:moveTo>
                      <a:pt x="0" y="0"/>
                    </a:moveTo>
                    <a:lnTo>
                      <a:pt x="0" y="0"/>
                    </a:lnTo>
                    <a:lnTo>
                      <a:pt x="0"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5" name="Freeform 1113"/>
              <p:cNvSpPr>
                <a:spLocks/>
              </p:cNvSpPr>
              <p:nvPr/>
            </p:nvSpPr>
            <p:spPr bwMode="auto">
              <a:xfrm>
                <a:off x="1460" y="3972"/>
                <a:ext cx="4" cy="8"/>
              </a:xfrm>
              <a:custGeom>
                <a:avLst/>
                <a:gdLst>
                  <a:gd name="T0" fmla="*/ 4 w 4"/>
                  <a:gd name="T1" fmla="*/ 0 h 8"/>
                  <a:gd name="T2" fmla="*/ 2 w 4"/>
                  <a:gd name="T3" fmla="*/ 0 h 8"/>
                  <a:gd name="T4" fmla="*/ 0 w 4"/>
                  <a:gd name="T5" fmla="*/ 4 h 8"/>
                  <a:gd name="T6" fmla="*/ 2 w 4"/>
                  <a:gd name="T7" fmla="*/ 8 h 8"/>
                  <a:gd name="T8" fmla="*/ 0 w 4"/>
                  <a:gd name="T9" fmla="*/ 4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2" y="0"/>
                    </a:lnTo>
                    <a:lnTo>
                      <a:pt x="0" y="4"/>
                    </a:lnTo>
                    <a:lnTo>
                      <a:pt x="2" y="8"/>
                    </a:lnTo>
                    <a:lnTo>
                      <a:pt x="0"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6" name="Freeform 1114"/>
              <p:cNvSpPr>
                <a:spLocks/>
              </p:cNvSpPr>
              <p:nvPr/>
            </p:nvSpPr>
            <p:spPr bwMode="auto">
              <a:xfrm>
                <a:off x="1460" y="3972"/>
                <a:ext cx="4" cy="8"/>
              </a:xfrm>
              <a:custGeom>
                <a:avLst/>
                <a:gdLst>
                  <a:gd name="T0" fmla="*/ 4 w 4"/>
                  <a:gd name="T1" fmla="*/ 0 h 8"/>
                  <a:gd name="T2" fmla="*/ 2 w 4"/>
                  <a:gd name="T3" fmla="*/ 0 h 8"/>
                  <a:gd name="T4" fmla="*/ 0 w 4"/>
                  <a:gd name="T5" fmla="*/ 4 h 8"/>
                  <a:gd name="T6" fmla="*/ 2 w 4"/>
                  <a:gd name="T7" fmla="*/ 8 h 8"/>
                  <a:gd name="T8" fmla="*/ 0 w 4"/>
                  <a:gd name="T9" fmla="*/ 4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2" y="0"/>
                    </a:lnTo>
                    <a:lnTo>
                      <a:pt x="0" y="4"/>
                    </a:lnTo>
                    <a:lnTo>
                      <a:pt x="2" y="8"/>
                    </a:lnTo>
                    <a:lnTo>
                      <a:pt x="0" y="4"/>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7" name="Freeform 1115"/>
              <p:cNvSpPr>
                <a:spLocks/>
              </p:cNvSpPr>
              <p:nvPr/>
            </p:nvSpPr>
            <p:spPr bwMode="auto">
              <a:xfrm>
                <a:off x="1464" y="3963"/>
                <a:ext cx="5" cy="5"/>
              </a:xfrm>
              <a:custGeom>
                <a:avLst/>
                <a:gdLst>
                  <a:gd name="T0" fmla="*/ 5 w 5"/>
                  <a:gd name="T1" fmla="*/ 0 h 5"/>
                  <a:gd name="T2" fmla="*/ 0 w 5"/>
                  <a:gd name="T3" fmla="*/ 0 h 5"/>
                  <a:gd name="T4" fmla="*/ 5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0"/>
                    </a:lnTo>
                    <a:lnTo>
                      <a:pt x="5" y="5"/>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08" name="Freeform 1116"/>
              <p:cNvSpPr>
                <a:spLocks/>
              </p:cNvSpPr>
              <p:nvPr/>
            </p:nvSpPr>
            <p:spPr bwMode="auto">
              <a:xfrm>
                <a:off x="1464" y="3963"/>
                <a:ext cx="5" cy="5"/>
              </a:xfrm>
              <a:custGeom>
                <a:avLst/>
                <a:gdLst>
                  <a:gd name="T0" fmla="*/ 5 w 5"/>
                  <a:gd name="T1" fmla="*/ 0 h 5"/>
                  <a:gd name="T2" fmla="*/ 0 w 5"/>
                  <a:gd name="T3" fmla="*/ 0 h 5"/>
                  <a:gd name="T4" fmla="*/ 5 w 5"/>
                  <a:gd name="T5" fmla="*/ 5 h 5"/>
                  <a:gd name="T6" fmla="*/ 5 w 5"/>
                  <a:gd name="T7" fmla="*/ 0 h 5"/>
                </a:gdLst>
                <a:ahLst/>
                <a:cxnLst>
                  <a:cxn ang="0">
                    <a:pos x="T0" y="T1"/>
                  </a:cxn>
                  <a:cxn ang="0">
                    <a:pos x="T2" y="T3"/>
                  </a:cxn>
                  <a:cxn ang="0">
                    <a:pos x="T4" y="T5"/>
                  </a:cxn>
                  <a:cxn ang="0">
                    <a:pos x="T6" y="T7"/>
                  </a:cxn>
                </a:cxnLst>
                <a:rect l="0" t="0" r="r" b="b"/>
                <a:pathLst>
                  <a:path w="5" h="5">
                    <a:moveTo>
                      <a:pt x="5" y="0"/>
                    </a:moveTo>
                    <a:lnTo>
                      <a:pt x="0" y="0"/>
                    </a:lnTo>
                    <a:lnTo>
                      <a:pt x="5" y="5"/>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09" name="Freeform 1117"/>
              <p:cNvSpPr>
                <a:spLocks/>
              </p:cNvSpPr>
              <p:nvPr/>
            </p:nvSpPr>
            <p:spPr bwMode="auto">
              <a:xfrm>
                <a:off x="1466" y="3974"/>
                <a:ext cx="7" cy="9"/>
              </a:xfrm>
              <a:custGeom>
                <a:avLst/>
                <a:gdLst>
                  <a:gd name="T0" fmla="*/ 5 w 7"/>
                  <a:gd name="T1" fmla="*/ 0 h 9"/>
                  <a:gd name="T2" fmla="*/ 0 w 7"/>
                  <a:gd name="T3" fmla="*/ 4 h 9"/>
                  <a:gd name="T4" fmla="*/ 0 w 7"/>
                  <a:gd name="T5" fmla="*/ 9 h 9"/>
                  <a:gd name="T6" fmla="*/ 7 w 7"/>
                  <a:gd name="T7" fmla="*/ 6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0" y="4"/>
                    </a:lnTo>
                    <a:lnTo>
                      <a:pt x="0" y="9"/>
                    </a:lnTo>
                    <a:lnTo>
                      <a:pt x="7" y="6"/>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0" name="Freeform 1118"/>
              <p:cNvSpPr>
                <a:spLocks/>
              </p:cNvSpPr>
              <p:nvPr/>
            </p:nvSpPr>
            <p:spPr bwMode="auto">
              <a:xfrm>
                <a:off x="1466" y="3974"/>
                <a:ext cx="7" cy="9"/>
              </a:xfrm>
              <a:custGeom>
                <a:avLst/>
                <a:gdLst>
                  <a:gd name="T0" fmla="*/ 5 w 7"/>
                  <a:gd name="T1" fmla="*/ 0 h 9"/>
                  <a:gd name="T2" fmla="*/ 0 w 7"/>
                  <a:gd name="T3" fmla="*/ 4 h 9"/>
                  <a:gd name="T4" fmla="*/ 0 w 7"/>
                  <a:gd name="T5" fmla="*/ 9 h 9"/>
                  <a:gd name="T6" fmla="*/ 7 w 7"/>
                  <a:gd name="T7" fmla="*/ 6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0" y="4"/>
                    </a:lnTo>
                    <a:lnTo>
                      <a:pt x="0" y="9"/>
                    </a:lnTo>
                    <a:lnTo>
                      <a:pt x="7" y="6"/>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1" name="Freeform 1119"/>
              <p:cNvSpPr>
                <a:spLocks/>
              </p:cNvSpPr>
              <p:nvPr/>
            </p:nvSpPr>
            <p:spPr bwMode="auto">
              <a:xfrm>
                <a:off x="1481" y="3912"/>
                <a:ext cx="22" cy="24"/>
              </a:xfrm>
              <a:custGeom>
                <a:avLst/>
                <a:gdLst>
                  <a:gd name="T0" fmla="*/ 9 w 22"/>
                  <a:gd name="T1" fmla="*/ 0 h 24"/>
                  <a:gd name="T2" fmla="*/ 2 w 22"/>
                  <a:gd name="T3" fmla="*/ 0 h 24"/>
                  <a:gd name="T4" fmla="*/ 2 w 22"/>
                  <a:gd name="T5" fmla="*/ 7 h 24"/>
                  <a:gd name="T6" fmla="*/ 0 w 22"/>
                  <a:gd name="T7" fmla="*/ 11 h 24"/>
                  <a:gd name="T8" fmla="*/ 2 w 22"/>
                  <a:gd name="T9" fmla="*/ 15 h 24"/>
                  <a:gd name="T10" fmla="*/ 7 w 22"/>
                  <a:gd name="T11" fmla="*/ 17 h 24"/>
                  <a:gd name="T12" fmla="*/ 15 w 22"/>
                  <a:gd name="T13" fmla="*/ 24 h 24"/>
                  <a:gd name="T14" fmla="*/ 22 w 22"/>
                  <a:gd name="T15" fmla="*/ 22 h 24"/>
                  <a:gd name="T16" fmla="*/ 17 w 22"/>
                  <a:gd name="T17" fmla="*/ 15 h 24"/>
                  <a:gd name="T18" fmla="*/ 17 w 22"/>
                  <a:gd name="T19" fmla="*/ 11 h 24"/>
                  <a:gd name="T20" fmla="*/ 9 w 22"/>
                  <a:gd name="T21" fmla="*/ 5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2" y="0"/>
                    </a:lnTo>
                    <a:lnTo>
                      <a:pt x="2" y="7"/>
                    </a:lnTo>
                    <a:lnTo>
                      <a:pt x="0" y="11"/>
                    </a:lnTo>
                    <a:lnTo>
                      <a:pt x="2" y="15"/>
                    </a:lnTo>
                    <a:lnTo>
                      <a:pt x="7" y="17"/>
                    </a:lnTo>
                    <a:lnTo>
                      <a:pt x="15" y="24"/>
                    </a:lnTo>
                    <a:lnTo>
                      <a:pt x="22" y="22"/>
                    </a:lnTo>
                    <a:lnTo>
                      <a:pt x="17" y="15"/>
                    </a:lnTo>
                    <a:lnTo>
                      <a:pt x="17" y="11"/>
                    </a:lnTo>
                    <a:lnTo>
                      <a:pt x="9" y="5"/>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2" name="Freeform 1120"/>
              <p:cNvSpPr>
                <a:spLocks/>
              </p:cNvSpPr>
              <p:nvPr/>
            </p:nvSpPr>
            <p:spPr bwMode="auto">
              <a:xfrm>
                <a:off x="1481" y="3912"/>
                <a:ext cx="22" cy="24"/>
              </a:xfrm>
              <a:custGeom>
                <a:avLst/>
                <a:gdLst>
                  <a:gd name="T0" fmla="*/ 9 w 22"/>
                  <a:gd name="T1" fmla="*/ 0 h 24"/>
                  <a:gd name="T2" fmla="*/ 2 w 22"/>
                  <a:gd name="T3" fmla="*/ 0 h 24"/>
                  <a:gd name="T4" fmla="*/ 2 w 22"/>
                  <a:gd name="T5" fmla="*/ 7 h 24"/>
                  <a:gd name="T6" fmla="*/ 0 w 22"/>
                  <a:gd name="T7" fmla="*/ 11 h 24"/>
                  <a:gd name="T8" fmla="*/ 2 w 22"/>
                  <a:gd name="T9" fmla="*/ 15 h 24"/>
                  <a:gd name="T10" fmla="*/ 7 w 22"/>
                  <a:gd name="T11" fmla="*/ 17 h 24"/>
                  <a:gd name="T12" fmla="*/ 15 w 22"/>
                  <a:gd name="T13" fmla="*/ 24 h 24"/>
                  <a:gd name="T14" fmla="*/ 22 w 22"/>
                  <a:gd name="T15" fmla="*/ 22 h 24"/>
                  <a:gd name="T16" fmla="*/ 17 w 22"/>
                  <a:gd name="T17" fmla="*/ 15 h 24"/>
                  <a:gd name="T18" fmla="*/ 17 w 22"/>
                  <a:gd name="T19" fmla="*/ 11 h 24"/>
                  <a:gd name="T20" fmla="*/ 9 w 22"/>
                  <a:gd name="T21" fmla="*/ 5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2" y="0"/>
                    </a:lnTo>
                    <a:lnTo>
                      <a:pt x="2" y="7"/>
                    </a:lnTo>
                    <a:lnTo>
                      <a:pt x="0" y="11"/>
                    </a:lnTo>
                    <a:lnTo>
                      <a:pt x="2" y="15"/>
                    </a:lnTo>
                    <a:lnTo>
                      <a:pt x="7" y="17"/>
                    </a:lnTo>
                    <a:lnTo>
                      <a:pt x="15" y="24"/>
                    </a:lnTo>
                    <a:lnTo>
                      <a:pt x="22" y="22"/>
                    </a:lnTo>
                    <a:lnTo>
                      <a:pt x="17" y="15"/>
                    </a:lnTo>
                    <a:lnTo>
                      <a:pt x="17" y="11"/>
                    </a:lnTo>
                    <a:lnTo>
                      <a:pt x="9" y="5"/>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3" name="Freeform 1121"/>
              <p:cNvSpPr>
                <a:spLocks/>
              </p:cNvSpPr>
              <p:nvPr/>
            </p:nvSpPr>
            <p:spPr bwMode="auto">
              <a:xfrm>
                <a:off x="1490" y="3904"/>
                <a:ext cx="13" cy="19"/>
              </a:xfrm>
              <a:custGeom>
                <a:avLst/>
                <a:gdLst>
                  <a:gd name="T0" fmla="*/ 0 w 13"/>
                  <a:gd name="T1" fmla="*/ 0 h 19"/>
                  <a:gd name="T2" fmla="*/ 2 w 13"/>
                  <a:gd name="T3" fmla="*/ 15 h 19"/>
                  <a:gd name="T4" fmla="*/ 8 w 13"/>
                  <a:gd name="T5" fmla="*/ 15 h 19"/>
                  <a:gd name="T6" fmla="*/ 13 w 13"/>
                  <a:gd name="T7" fmla="*/ 19 h 19"/>
                  <a:gd name="T8" fmla="*/ 13 w 13"/>
                  <a:gd name="T9" fmla="*/ 15 h 19"/>
                  <a:gd name="T10" fmla="*/ 13 w 13"/>
                  <a:gd name="T11" fmla="*/ 8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2" y="15"/>
                    </a:lnTo>
                    <a:lnTo>
                      <a:pt x="8" y="15"/>
                    </a:lnTo>
                    <a:lnTo>
                      <a:pt x="13" y="19"/>
                    </a:lnTo>
                    <a:lnTo>
                      <a:pt x="13" y="15"/>
                    </a:lnTo>
                    <a:lnTo>
                      <a:pt x="13" y="8"/>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4" name="Freeform 1122"/>
              <p:cNvSpPr>
                <a:spLocks/>
              </p:cNvSpPr>
              <p:nvPr/>
            </p:nvSpPr>
            <p:spPr bwMode="auto">
              <a:xfrm>
                <a:off x="1490" y="3904"/>
                <a:ext cx="13" cy="19"/>
              </a:xfrm>
              <a:custGeom>
                <a:avLst/>
                <a:gdLst>
                  <a:gd name="T0" fmla="*/ 0 w 13"/>
                  <a:gd name="T1" fmla="*/ 0 h 19"/>
                  <a:gd name="T2" fmla="*/ 2 w 13"/>
                  <a:gd name="T3" fmla="*/ 15 h 19"/>
                  <a:gd name="T4" fmla="*/ 8 w 13"/>
                  <a:gd name="T5" fmla="*/ 15 h 19"/>
                  <a:gd name="T6" fmla="*/ 13 w 13"/>
                  <a:gd name="T7" fmla="*/ 19 h 19"/>
                  <a:gd name="T8" fmla="*/ 13 w 13"/>
                  <a:gd name="T9" fmla="*/ 15 h 19"/>
                  <a:gd name="T10" fmla="*/ 13 w 13"/>
                  <a:gd name="T11" fmla="*/ 8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2" y="15"/>
                    </a:lnTo>
                    <a:lnTo>
                      <a:pt x="8" y="15"/>
                    </a:lnTo>
                    <a:lnTo>
                      <a:pt x="13" y="19"/>
                    </a:lnTo>
                    <a:lnTo>
                      <a:pt x="13" y="15"/>
                    </a:lnTo>
                    <a:lnTo>
                      <a:pt x="13" y="8"/>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5" name="Freeform 1123"/>
              <p:cNvSpPr>
                <a:spLocks/>
              </p:cNvSpPr>
              <p:nvPr/>
            </p:nvSpPr>
            <p:spPr bwMode="auto">
              <a:xfrm>
                <a:off x="1475" y="3978"/>
                <a:ext cx="21" cy="30"/>
              </a:xfrm>
              <a:custGeom>
                <a:avLst/>
                <a:gdLst>
                  <a:gd name="T0" fmla="*/ 2 w 21"/>
                  <a:gd name="T1" fmla="*/ 0 h 30"/>
                  <a:gd name="T2" fmla="*/ 2 w 21"/>
                  <a:gd name="T3" fmla="*/ 0 h 30"/>
                  <a:gd name="T4" fmla="*/ 0 w 21"/>
                  <a:gd name="T5" fmla="*/ 11 h 30"/>
                  <a:gd name="T6" fmla="*/ 4 w 21"/>
                  <a:gd name="T7" fmla="*/ 17 h 30"/>
                  <a:gd name="T8" fmla="*/ 17 w 21"/>
                  <a:gd name="T9" fmla="*/ 30 h 30"/>
                  <a:gd name="T10" fmla="*/ 21 w 21"/>
                  <a:gd name="T11" fmla="*/ 30 h 30"/>
                  <a:gd name="T12" fmla="*/ 19 w 21"/>
                  <a:gd name="T13" fmla="*/ 24 h 30"/>
                  <a:gd name="T14" fmla="*/ 11 w 21"/>
                  <a:gd name="T15" fmla="*/ 15 h 30"/>
                  <a:gd name="T16" fmla="*/ 8 w 21"/>
                  <a:gd name="T17" fmla="*/ 11 h 30"/>
                  <a:gd name="T18" fmla="*/ 4 w 21"/>
                  <a:gd name="T19" fmla="*/ 7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2" y="0"/>
                    </a:lnTo>
                    <a:lnTo>
                      <a:pt x="0" y="11"/>
                    </a:lnTo>
                    <a:lnTo>
                      <a:pt x="4" y="17"/>
                    </a:lnTo>
                    <a:lnTo>
                      <a:pt x="17" y="30"/>
                    </a:lnTo>
                    <a:lnTo>
                      <a:pt x="21" y="30"/>
                    </a:lnTo>
                    <a:lnTo>
                      <a:pt x="19" y="24"/>
                    </a:lnTo>
                    <a:lnTo>
                      <a:pt x="11" y="15"/>
                    </a:lnTo>
                    <a:lnTo>
                      <a:pt x="8" y="11"/>
                    </a:lnTo>
                    <a:lnTo>
                      <a:pt x="4"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6" name="Freeform 1124"/>
              <p:cNvSpPr>
                <a:spLocks/>
              </p:cNvSpPr>
              <p:nvPr/>
            </p:nvSpPr>
            <p:spPr bwMode="auto">
              <a:xfrm>
                <a:off x="1475" y="3978"/>
                <a:ext cx="21" cy="30"/>
              </a:xfrm>
              <a:custGeom>
                <a:avLst/>
                <a:gdLst>
                  <a:gd name="T0" fmla="*/ 2 w 21"/>
                  <a:gd name="T1" fmla="*/ 0 h 30"/>
                  <a:gd name="T2" fmla="*/ 2 w 21"/>
                  <a:gd name="T3" fmla="*/ 0 h 30"/>
                  <a:gd name="T4" fmla="*/ 0 w 21"/>
                  <a:gd name="T5" fmla="*/ 11 h 30"/>
                  <a:gd name="T6" fmla="*/ 4 w 21"/>
                  <a:gd name="T7" fmla="*/ 17 h 30"/>
                  <a:gd name="T8" fmla="*/ 17 w 21"/>
                  <a:gd name="T9" fmla="*/ 30 h 30"/>
                  <a:gd name="T10" fmla="*/ 21 w 21"/>
                  <a:gd name="T11" fmla="*/ 30 h 30"/>
                  <a:gd name="T12" fmla="*/ 19 w 21"/>
                  <a:gd name="T13" fmla="*/ 24 h 30"/>
                  <a:gd name="T14" fmla="*/ 11 w 21"/>
                  <a:gd name="T15" fmla="*/ 15 h 30"/>
                  <a:gd name="T16" fmla="*/ 8 w 21"/>
                  <a:gd name="T17" fmla="*/ 11 h 30"/>
                  <a:gd name="T18" fmla="*/ 4 w 21"/>
                  <a:gd name="T19" fmla="*/ 7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2" y="0"/>
                    </a:lnTo>
                    <a:lnTo>
                      <a:pt x="0" y="11"/>
                    </a:lnTo>
                    <a:lnTo>
                      <a:pt x="4" y="17"/>
                    </a:lnTo>
                    <a:lnTo>
                      <a:pt x="17" y="30"/>
                    </a:lnTo>
                    <a:lnTo>
                      <a:pt x="21" y="30"/>
                    </a:lnTo>
                    <a:lnTo>
                      <a:pt x="19" y="24"/>
                    </a:lnTo>
                    <a:lnTo>
                      <a:pt x="11" y="15"/>
                    </a:lnTo>
                    <a:lnTo>
                      <a:pt x="8" y="11"/>
                    </a:lnTo>
                    <a:lnTo>
                      <a:pt x="4" y="7"/>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7" name="Freeform 1125"/>
              <p:cNvSpPr>
                <a:spLocks/>
              </p:cNvSpPr>
              <p:nvPr/>
            </p:nvSpPr>
            <p:spPr bwMode="auto">
              <a:xfrm>
                <a:off x="1488" y="3980"/>
                <a:ext cx="4" cy="9"/>
              </a:xfrm>
              <a:custGeom>
                <a:avLst/>
                <a:gdLst>
                  <a:gd name="T0" fmla="*/ 0 w 4"/>
                  <a:gd name="T1" fmla="*/ 0 h 9"/>
                  <a:gd name="T2" fmla="*/ 0 w 4"/>
                  <a:gd name="T3" fmla="*/ 5 h 9"/>
                  <a:gd name="T4" fmla="*/ 0 w 4"/>
                  <a:gd name="T5" fmla="*/ 9 h 9"/>
                  <a:gd name="T6" fmla="*/ 4 w 4"/>
                  <a:gd name="T7" fmla="*/ 9 h 9"/>
                  <a:gd name="T8" fmla="*/ 4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0" y="5"/>
                    </a:lnTo>
                    <a:lnTo>
                      <a:pt x="0" y="9"/>
                    </a:lnTo>
                    <a:lnTo>
                      <a:pt x="4" y="9"/>
                    </a:lnTo>
                    <a:lnTo>
                      <a:pt x="4"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18" name="Freeform 1126"/>
              <p:cNvSpPr>
                <a:spLocks/>
              </p:cNvSpPr>
              <p:nvPr/>
            </p:nvSpPr>
            <p:spPr bwMode="auto">
              <a:xfrm>
                <a:off x="1488" y="3980"/>
                <a:ext cx="4" cy="9"/>
              </a:xfrm>
              <a:custGeom>
                <a:avLst/>
                <a:gdLst>
                  <a:gd name="T0" fmla="*/ 0 w 4"/>
                  <a:gd name="T1" fmla="*/ 0 h 9"/>
                  <a:gd name="T2" fmla="*/ 0 w 4"/>
                  <a:gd name="T3" fmla="*/ 5 h 9"/>
                  <a:gd name="T4" fmla="*/ 0 w 4"/>
                  <a:gd name="T5" fmla="*/ 9 h 9"/>
                  <a:gd name="T6" fmla="*/ 4 w 4"/>
                  <a:gd name="T7" fmla="*/ 9 h 9"/>
                  <a:gd name="T8" fmla="*/ 4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0" y="5"/>
                    </a:lnTo>
                    <a:lnTo>
                      <a:pt x="0" y="9"/>
                    </a:lnTo>
                    <a:lnTo>
                      <a:pt x="4" y="9"/>
                    </a:lnTo>
                    <a:lnTo>
                      <a:pt x="4"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19" name="Freeform 1127"/>
              <p:cNvSpPr>
                <a:spLocks/>
              </p:cNvSpPr>
              <p:nvPr/>
            </p:nvSpPr>
            <p:spPr bwMode="auto">
              <a:xfrm>
                <a:off x="1494" y="3995"/>
                <a:ext cx="4" cy="7"/>
              </a:xfrm>
              <a:custGeom>
                <a:avLst/>
                <a:gdLst>
                  <a:gd name="T0" fmla="*/ 2 w 4"/>
                  <a:gd name="T1" fmla="*/ 0 h 7"/>
                  <a:gd name="T2" fmla="*/ 0 w 4"/>
                  <a:gd name="T3" fmla="*/ 0 h 7"/>
                  <a:gd name="T4" fmla="*/ 0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0"/>
                    </a:lnTo>
                    <a:lnTo>
                      <a:pt x="0" y="5"/>
                    </a:lnTo>
                    <a:lnTo>
                      <a:pt x="4" y="7"/>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0" name="Freeform 1128"/>
              <p:cNvSpPr>
                <a:spLocks/>
              </p:cNvSpPr>
              <p:nvPr/>
            </p:nvSpPr>
            <p:spPr bwMode="auto">
              <a:xfrm>
                <a:off x="1494" y="3995"/>
                <a:ext cx="4" cy="7"/>
              </a:xfrm>
              <a:custGeom>
                <a:avLst/>
                <a:gdLst>
                  <a:gd name="T0" fmla="*/ 2 w 4"/>
                  <a:gd name="T1" fmla="*/ 0 h 7"/>
                  <a:gd name="T2" fmla="*/ 0 w 4"/>
                  <a:gd name="T3" fmla="*/ 0 h 7"/>
                  <a:gd name="T4" fmla="*/ 0 w 4"/>
                  <a:gd name="T5" fmla="*/ 5 h 7"/>
                  <a:gd name="T6" fmla="*/ 4 w 4"/>
                  <a:gd name="T7" fmla="*/ 7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0" y="0"/>
                    </a:lnTo>
                    <a:lnTo>
                      <a:pt x="0" y="5"/>
                    </a:lnTo>
                    <a:lnTo>
                      <a:pt x="4" y="7"/>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1" name="Freeform 1129"/>
              <p:cNvSpPr>
                <a:spLocks/>
              </p:cNvSpPr>
              <p:nvPr/>
            </p:nvSpPr>
            <p:spPr bwMode="auto">
              <a:xfrm>
                <a:off x="1518" y="3927"/>
                <a:ext cx="27" cy="43"/>
              </a:xfrm>
              <a:custGeom>
                <a:avLst/>
                <a:gdLst>
                  <a:gd name="T0" fmla="*/ 8 w 27"/>
                  <a:gd name="T1" fmla="*/ 39 h 43"/>
                  <a:gd name="T2" fmla="*/ 12 w 27"/>
                  <a:gd name="T3" fmla="*/ 34 h 43"/>
                  <a:gd name="T4" fmla="*/ 8 w 27"/>
                  <a:gd name="T5" fmla="*/ 28 h 43"/>
                  <a:gd name="T6" fmla="*/ 12 w 27"/>
                  <a:gd name="T7" fmla="*/ 32 h 43"/>
                  <a:gd name="T8" fmla="*/ 14 w 27"/>
                  <a:gd name="T9" fmla="*/ 28 h 43"/>
                  <a:gd name="T10" fmla="*/ 12 w 27"/>
                  <a:gd name="T11" fmla="*/ 24 h 43"/>
                  <a:gd name="T12" fmla="*/ 17 w 27"/>
                  <a:gd name="T13" fmla="*/ 28 h 43"/>
                  <a:gd name="T14" fmla="*/ 14 w 27"/>
                  <a:gd name="T15" fmla="*/ 34 h 43"/>
                  <a:gd name="T16" fmla="*/ 12 w 27"/>
                  <a:gd name="T17" fmla="*/ 39 h 43"/>
                  <a:gd name="T18" fmla="*/ 19 w 27"/>
                  <a:gd name="T19" fmla="*/ 39 h 43"/>
                  <a:gd name="T20" fmla="*/ 17 w 27"/>
                  <a:gd name="T21" fmla="*/ 34 h 43"/>
                  <a:gd name="T22" fmla="*/ 19 w 27"/>
                  <a:gd name="T23" fmla="*/ 41 h 43"/>
                  <a:gd name="T24" fmla="*/ 23 w 27"/>
                  <a:gd name="T25" fmla="*/ 43 h 43"/>
                  <a:gd name="T26" fmla="*/ 25 w 27"/>
                  <a:gd name="T27" fmla="*/ 39 h 43"/>
                  <a:gd name="T28" fmla="*/ 27 w 27"/>
                  <a:gd name="T29" fmla="*/ 28 h 43"/>
                  <a:gd name="T30" fmla="*/ 25 w 27"/>
                  <a:gd name="T31" fmla="*/ 22 h 43"/>
                  <a:gd name="T32" fmla="*/ 25 w 27"/>
                  <a:gd name="T33" fmla="*/ 17 h 43"/>
                  <a:gd name="T34" fmla="*/ 19 w 27"/>
                  <a:gd name="T35" fmla="*/ 4 h 43"/>
                  <a:gd name="T36" fmla="*/ 14 w 27"/>
                  <a:gd name="T37" fmla="*/ 0 h 43"/>
                  <a:gd name="T38" fmla="*/ 8 w 27"/>
                  <a:gd name="T39" fmla="*/ 0 h 43"/>
                  <a:gd name="T40" fmla="*/ 4 w 27"/>
                  <a:gd name="T41" fmla="*/ 4 h 43"/>
                  <a:gd name="T42" fmla="*/ 0 w 27"/>
                  <a:gd name="T43" fmla="*/ 9 h 43"/>
                  <a:gd name="T44" fmla="*/ 6 w 27"/>
                  <a:gd name="T45" fmla="*/ 11 h 43"/>
                  <a:gd name="T46" fmla="*/ 0 w 27"/>
                  <a:gd name="T47" fmla="*/ 15 h 43"/>
                  <a:gd name="T48" fmla="*/ 6 w 27"/>
                  <a:gd name="T49" fmla="*/ 15 h 43"/>
                  <a:gd name="T50" fmla="*/ 0 w 27"/>
                  <a:gd name="T51" fmla="*/ 19 h 43"/>
                  <a:gd name="T52" fmla="*/ 4 w 27"/>
                  <a:gd name="T53" fmla="*/ 24 h 43"/>
                  <a:gd name="T54" fmla="*/ 2 w 27"/>
                  <a:gd name="T55" fmla="*/ 28 h 43"/>
                  <a:gd name="T56" fmla="*/ 0 w 27"/>
                  <a:gd name="T57" fmla="*/ 34 h 43"/>
                  <a:gd name="T58" fmla="*/ 4 w 27"/>
                  <a:gd name="T59" fmla="*/ 36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12" y="34"/>
                    </a:lnTo>
                    <a:lnTo>
                      <a:pt x="8" y="28"/>
                    </a:lnTo>
                    <a:lnTo>
                      <a:pt x="12" y="32"/>
                    </a:lnTo>
                    <a:lnTo>
                      <a:pt x="14" y="28"/>
                    </a:lnTo>
                    <a:lnTo>
                      <a:pt x="12" y="24"/>
                    </a:lnTo>
                    <a:lnTo>
                      <a:pt x="17" y="28"/>
                    </a:lnTo>
                    <a:lnTo>
                      <a:pt x="14" y="34"/>
                    </a:lnTo>
                    <a:lnTo>
                      <a:pt x="12" y="39"/>
                    </a:lnTo>
                    <a:lnTo>
                      <a:pt x="19" y="39"/>
                    </a:lnTo>
                    <a:lnTo>
                      <a:pt x="17" y="34"/>
                    </a:lnTo>
                    <a:lnTo>
                      <a:pt x="19" y="41"/>
                    </a:lnTo>
                    <a:lnTo>
                      <a:pt x="23" y="43"/>
                    </a:lnTo>
                    <a:lnTo>
                      <a:pt x="25" y="39"/>
                    </a:lnTo>
                    <a:lnTo>
                      <a:pt x="27" y="28"/>
                    </a:lnTo>
                    <a:lnTo>
                      <a:pt x="25" y="22"/>
                    </a:lnTo>
                    <a:lnTo>
                      <a:pt x="25" y="17"/>
                    </a:lnTo>
                    <a:lnTo>
                      <a:pt x="19" y="4"/>
                    </a:lnTo>
                    <a:lnTo>
                      <a:pt x="14" y="0"/>
                    </a:lnTo>
                    <a:lnTo>
                      <a:pt x="8" y="0"/>
                    </a:lnTo>
                    <a:lnTo>
                      <a:pt x="4" y="4"/>
                    </a:lnTo>
                    <a:lnTo>
                      <a:pt x="0" y="9"/>
                    </a:lnTo>
                    <a:lnTo>
                      <a:pt x="6" y="11"/>
                    </a:lnTo>
                    <a:lnTo>
                      <a:pt x="0" y="15"/>
                    </a:lnTo>
                    <a:lnTo>
                      <a:pt x="6" y="15"/>
                    </a:lnTo>
                    <a:lnTo>
                      <a:pt x="0" y="19"/>
                    </a:lnTo>
                    <a:lnTo>
                      <a:pt x="4" y="24"/>
                    </a:lnTo>
                    <a:lnTo>
                      <a:pt x="2" y="28"/>
                    </a:lnTo>
                    <a:lnTo>
                      <a:pt x="0" y="34"/>
                    </a:lnTo>
                    <a:lnTo>
                      <a:pt x="4" y="36"/>
                    </a:lnTo>
                    <a:lnTo>
                      <a:pt x="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2" name="Freeform 1130"/>
              <p:cNvSpPr>
                <a:spLocks/>
              </p:cNvSpPr>
              <p:nvPr/>
            </p:nvSpPr>
            <p:spPr bwMode="auto">
              <a:xfrm>
                <a:off x="1518" y="3927"/>
                <a:ext cx="27" cy="43"/>
              </a:xfrm>
              <a:custGeom>
                <a:avLst/>
                <a:gdLst>
                  <a:gd name="T0" fmla="*/ 8 w 27"/>
                  <a:gd name="T1" fmla="*/ 39 h 43"/>
                  <a:gd name="T2" fmla="*/ 12 w 27"/>
                  <a:gd name="T3" fmla="*/ 34 h 43"/>
                  <a:gd name="T4" fmla="*/ 8 w 27"/>
                  <a:gd name="T5" fmla="*/ 28 h 43"/>
                  <a:gd name="T6" fmla="*/ 12 w 27"/>
                  <a:gd name="T7" fmla="*/ 32 h 43"/>
                  <a:gd name="T8" fmla="*/ 14 w 27"/>
                  <a:gd name="T9" fmla="*/ 28 h 43"/>
                  <a:gd name="T10" fmla="*/ 12 w 27"/>
                  <a:gd name="T11" fmla="*/ 24 h 43"/>
                  <a:gd name="T12" fmla="*/ 17 w 27"/>
                  <a:gd name="T13" fmla="*/ 28 h 43"/>
                  <a:gd name="T14" fmla="*/ 14 w 27"/>
                  <a:gd name="T15" fmla="*/ 34 h 43"/>
                  <a:gd name="T16" fmla="*/ 12 w 27"/>
                  <a:gd name="T17" fmla="*/ 39 h 43"/>
                  <a:gd name="T18" fmla="*/ 19 w 27"/>
                  <a:gd name="T19" fmla="*/ 39 h 43"/>
                  <a:gd name="T20" fmla="*/ 17 w 27"/>
                  <a:gd name="T21" fmla="*/ 34 h 43"/>
                  <a:gd name="T22" fmla="*/ 19 w 27"/>
                  <a:gd name="T23" fmla="*/ 41 h 43"/>
                  <a:gd name="T24" fmla="*/ 23 w 27"/>
                  <a:gd name="T25" fmla="*/ 43 h 43"/>
                  <a:gd name="T26" fmla="*/ 25 w 27"/>
                  <a:gd name="T27" fmla="*/ 39 h 43"/>
                  <a:gd name="T28" fmla="*/ 27 w 27"/>
                  <a:gd name="T29" fmla="*/ 28 h 43"/>
                  <a:gd name="T30" fmla="*/ 25 w 27"/>
                  <a:gd name="T31" fmla="*/ 22 h 43"/>
                  <a:gd name="T32" fmla="*/ 25 w 27"/>
                  <a:gd name="T33" fmla="*/ 17 h 43"/>
                  <a:gd name="T34" fmla="*/ 19 w 27"/>
                  <a:gd name="T35" fmla="*/ 4 h 43"/>
                  <a:gd name="T36" fmla="*/ 14 w 27"/>
                  <a:gd name="T37" fmla="*/ 0 h 43"/>
                  <a:gd name="T38" fmla="*/ 8 w 27"/>
                  <a:gd name="T39" fmla="*/ 0 h 43"/>
                  <a:gd name="T40" fmla="*/ 4 w 27"/>
                  <a:gd name="T41" fmla="*/ 4 h 43"/>
                  <a:gd name="T42" fmla="*/ 0 w 27"/>
                  <a:gd name="T43" fmla="*/ 9 h 43"/>
                  <a:gd name="T44" fmla="*/ 6 w 27"/>
                  <a:gd name="T45" fmla="*/ 11 h 43"/>
                  <a:gd name="T46" fmla="*/ 0 w 27"/>
                  <a:gd name="T47" fmla="*/ 15 h 43"/>
                  <a:gd name="T48" fmla="*/ 6 w 27"/>
                  <a:gd name="T49" fmla="*/ 15 h 43"/>
                  <a:gd name="T50" fmla="*/ 0 w 27"/>
                  <a:gd name="T51" fmla="*/ 19 h 43"/>
                  <a:gd name="T52" fmla="*/ 4 w 27"/>
                  <a:gd name="T53" fmla="*/ 24 h 43"/>
                  <a:gd name="T54" fmla="*/ 2 w 27"/>
                  <a:gd name="T55" fmla="*/ 28 h 43"/>
                  <a:gd name="T56" fmla="*/ 0 w 27"/>
                  <a:gd name="T57" fmla="*/ 34 h 43"/>
                  <a:gd name="T58" fmla="*/ 4 w 27"/>
                  <a:gd name="T59" fmla="*/ 36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12" y="34"/>
                    </a:lnTo>
                    <a:lnTo>
                      <a:pt x="8" y="28"/>
                    </a:lnTo>
                    <a:lnTo>
                      <a:pt x="12" y="32"/>
                    </a:lnTo>
                    <a:lnTo>
                      <a:pt x="14" y="28"/>
                    </a:lnTo>
                    <a:lnTo>
                      <a:pt x="12" y="24"/>
                    </a:lnTo>
                    <a:lnTo>
                      <a:pt x="17" y="28"/>
                    </a:lnTo>
                    <a:lnTo>
                      <a:pt x="14" y="34"/>
                    </a:lnTo>
                    <a:lnTo>
                      <a:pt x="12" y="39"/>
                    </a:lnTo>
                    <a:lnTo>
                      <a:pt x="19" y="39"/>
                    </a:lnTo>
                    <a:lnTo>
                      <a:pt x="17" y="34"/>
                    </a:lnTo>
                    <a:lnTo>
                      <a:pt x="19" y="41"/>
                    </a:lnTo>
                    <a:lnTo>
                      <a:pt x="23" y="43"/>
                    </a:lnTo>
                    <a:lnTo>
                      <a:pt x="25" y="39"/>
                    </a:lnTo>
                    <a:lnTo>
                      <a:pt x="27" y="28"/>
                    </a:lnTo>
                    <a:lnTo>
                      <a:pt x="25" y="22"/>
                    </a:lnTo>
                    <a:lnTo>
                      <a:pt x="25" y="17"/>
                    </a:lnTo>
                    <a:lnTo>
                      <a:pt x="19" y="4"/>
                    </a:lnTo>
                    <a:lnTo>
                      <a:pt x="14" y="0"/>
                    </a:lnTo>
                    <a:lnTo>
                      <a:pt x="8" y="0"/>
                    </a:lnTo>
                    <a:lnTo>
                      <a:pt x="4" y="4"/>
                    </a:lnTo>
                    <a:lnTo>
                      <a:pt x="0" y="9"/>
                    </a:lnTo>
                    <a:lnTo>
                      <a:pt x="6" y="11"/>
                    </a:lnTo>
                    <a:lnTo>
                      <a:pt x="0" y="15"/>
                    </a:lnTo>
                    <a:lnTo>
                      <a:pt x="6" y="15"/>
                    </a:lnTo>
                    <a:lnTo>
                      <a:pt x="0" y="19"/>
                    </a:lnTo>
                    <a:lnTo>
                      <a:pt x="4" y="24"/>
                    </a:lnTo>
                    <a:lnTo>
                      <a:pt x="2" y="28"/>
                    </a:lnTo>
                    <a:lnTo>
                      <a:pt x="0" y="34"/>
                    </a:lnTo>
                    <a:lnTo>
                      <a:pt x="4" y="36"/>
                    </a:lnTo>
                    <a:lnTo>
                      <a:pt x="8" y="3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3" name="Freeform 1131"/>
              <p:cNvSpPr>
                <a:spLocks/>
              </p:cNvSpPr>
              <p:nvPr/>
            </p:nvSpPr>
            <p:spPr bwMode="auto">
              <a:xfrm>
                <a:off x="1518" y="3961"/>
                <a:ext cx="6" cy="13"/>
              </a:xfrm>
              <a:custGeom>
                <a:avLst/>
                <a:gdLst>
                  <a:gd name="T0" fmla="*/ 0 w 6"/>
                  <a:gd name="T1" fmla="*/ 0 h 13"/>
                  <a:gd name="T2" fmla="*/ 0 w 6"/>
                  <a:gd name="T3" fmla="*/ 5 h 13"/>
                  <a:gd name="T4" fmla="*/ 2 w 6"/>
                  <a:gd name="T5" fmla="*/ 11 h 13"/>
                  <a:gd name="T6" fmla="*/ 6 w 6"/>
                  <a:gd name="T7" fmla="*/ 13 h 13"/>
                  <a:gd name="T8" fmla="*/ 6 w 6"/>
                  <a:gd name="T9" fmla="*/ 9 h 13"/>
                  <a:gd name="T10" fmla="*/ 4 w 6"/>
                  <a:gd name="T11" fmla="*/ 2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0" y="5"/>
                    </a:lnTo>
                    <a:lnTo>
                      <a:pt x="2" y="11"/>
                    </a:lnTo>
                    <a:lnTo>
                      <a:pt x="6" y="13"/>
                    </a:lnTo>
                    <a:lnTo>
                      <a:pt x="6" y="9"/>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4" name="Freeform 1132"/>
              <p:cNvSpPr>
                <a:spLocks/>
              </p:cNvSpPr>
              <p:nvPr/>
            </p:nvSpPr>
            <p:spPr bwMode="auto">
              <a:xfrm>
                <a:off x="1518" y="3961"/>
                <a:ext cx="6" cy="13"/>
              </a:xfrm>
              <a:custGeom>
                <a:avLst/>
                <a:gdLst>
                  <a:gd name="T0" fmla="*/ 0 w 6"/>
                  <a:gd name="T1" fmla="*/ 0 h 13"/>
                  <a:gd name="T2" fmla="*/ 0 w 6"/>
                  <a:gd name="T3" fmla="*/ 5 h 13"/>
                  <a:gd name="T4" fmla="*/ 2 w 6"/>
                  <a:gd name="T5" fmla="*/ 11 h 13"/>
                  <a:gd name="T6" fmla="*/ 6 w 6"/>
                  <a:gd name="T7" fmla="*/ 13 h 13"/>
                  <a:gd name="T8" fmla="*/ 6 w 6"/>
                  <a:gd name="T9" fmla="*/ 9 h 13"/>
                  <a:gd name="T10" fmla="*/ 4 w 6"/>
                  <a:gd name="T11" fmla="*/ 2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0" y="5"/>
                    </a:lnTo>
                    <a:lnTo>
                      <a:pt x="2" y="11"/>
                    </a:lnTo>
                    <a:lnTo>
                      <a:pt x="6" y="13"/>
                    </a:lnTo>
                    <a:lnTo>
                      <a:pt x="6" y="9"/>
                    </a:lnTo>
                    <a:lnTo>
                      <a:pt x="4" y="2"/>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5" name="Freeform 1133"/>
              <p:cNvSpPr>
                <a:spLocks/>
              </p:cNvSpPr>
              <p:nvPr/>
            </p:nvSpPr>
            <p:spPr bwMode="auto">
              <a:xfrm>
                <a:off x="1528" y="3968"/>
                <a:ext cx="9" cy="10"/>
              </a:xfrm>
              <a:custGeom>
                <a:avLst/>
                <a:gdLst>
                  <a:gd name="T0" fmla="*/ 2 w 9"/>
                  <a:gd name="T1" fmla="*/ 2 h 10"/>
                  <a:gd name="T2" fmla="*/ 0 w 9"/>
                  <a:gd name="T3" fmla="*/ 0 h 10"/>
                  <a:gd name="T4" fmla="*/ 0 w 9"/>
                  <a:gd name="T5" fmla="*/ 6 h 10"/>
                  <a:gd name="T6" fmla="*/ 4 w 9"/>
                  <a:gd name="T7" fmla="*/ 10 h 10"/>
                  <a:gd name="T8" fmla="*/ 9 w 9"/>
                  <a:gd name="T9" fmla="*/ 10 h 10"/>
                  <a:gd name="T10" fmla="*/ 7 w 9"/>
                  <a:gd name="T11" fmla="*/ 4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0" y="0"/>
                    </a:lnTo>
                    <a:lnTo>
                      <a:pt x="0" y="6"/>
                    </a:lnTo>
                    <a:lnTo>
                      <a:pt x="4" y="10"/>
                    </a:lnTo>
                    <a:lnTo>
                      <a:pt x="9" y="10"/>
                    </a:lnTo>
                    <a:lnTo>
                      <a:pt x="7" y="4"/>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6" name="Freeform 1134"/>
              <p:cNvSpPr>
                <a:spLocks/>
              </p:cNvSpPr>
              <p:nvPr/>
            </p:nvSpPr>
            <p:spPr bwMode="auto">
              <a:xfrm>
                <a:off x="1528" y="3968"/>
                <a:ext cx="9" cy="10"/>
              </a:xfrm>
              <a:custGeom>
                <a:avLst/>
                <a:gdLst>
                  <a:gd name="T0" fmla="*/ 2 w 9"/>
                  <a:gd name="T1" fmla="*/ 2 h 10"/>
                  <a:gd name="T2" fmla="*/ 0 w 9"/>
                  <a:gd name="T3" fmla="*/ 0 h 10"/>
                  <a:gd name="T4" fmla="*/ 0 w 9"/>
                  <a:gd name="T5" fmla="*/ 6 h 10"/>
                  <a:gd name="T6" fmla="*/ 4 w 9"/>
                  <a:gd name="T7" fmla="*/ 10 h 10"/>
                  <a:gd name="T8" fmla="*/ 9 w 9"/>
                  <a:gd name="T9" fmla="*/ 10 h 10"/>
                  <a:gd name="T10" fmla="*/ 7 w 9"/>
                  <a:gd name="T11" fmla="*/ 4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0" y="0"/>
                    </a:lnTo>
                    <a:lnTo>
                      <a:pt x="0" y="6"/>
                    </a:lnTo>
                    <a:lnTo>
                      <a:pt x="4" y="10"/>
                    </a:lnTo>
                    <a:lnTo>
                      <a:pt x="9" y="10"/>
                    </a:lnTo>
                    <a:lnTo>
                      <a:pt x="7" y="4"/>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7" name="Freeform 1135"/>
              <p:cNvSpPr>
                <a:spLocks/>
              </p:cNvSpPr>
              <p:nvPr/>
            </p:nvSpPr>
            <p:spPr bwMode="auto">
              <a:xfrm>
                <a:off x="1537" y="3983"/>
                <a:ext cx="6" cy="6"/>
              </a:xfrm>
              <a:custGeom>
                <a:avLst/>
                <a:gdLst>
                  <a:gd name="T0" fmla="*/ 4 w 6"/>
                  <a:gd name="T1" fmla="*/ 0 h 6"/>
                  <a:gd name="T2" fmla="*/ 2 w 6"/>
                  <a:gd name="T3" fmla="*/ 2 h 6"/>
                  <a:gd name="T4" fmla="*/ 0 w 6"/>
                  <a:gd name="T5" fmla="*/ 6 h 6"/>
                  <a:gd name="T6" fmla="*/ 6 w 6"/>
                  <a:gd name="T7" fmla="*/ 4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2" y="2"/>
                    </a:lnTo>
                    <a:lnTo>
                      <a:pt x="0" y="6"/>
                    </a:lnTo>
                    <a:lnTo>
                      <a:pt x="6" y="4"/>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28" name="Freeform 1136"/>
              <p:cNvSpPr>
                <a:spLocks/>
              </p:cNvSpPr>
              <p:nvPr/>
            </p:nvSpPr>
            <p:spPr bwMode="auto">
              <a:xfrm>
                <a:off x="1537" y="3983"/>
                <a:ext cx="6" cy="6"/>
              </a:xfrm>
              <a:custGeom>
                <a:avLst/>
                <a:gdLst>
                  <a:gd name="T0" fmla="*/ 4 w 6"/>
                  <a:gd name="T1" fmla="*/ 0 h 6"/>
                  <a:gd name="T2" fmla="*/ 2 w 6"/>
                  <a:gd name="T3" fmla="*/ 2 h 6"/>
                  <a:gd name="T4" fmla="*/ 0 w 6"/>
                  <a:gd name="T5" fmla="*/ 6 h 6"/>
                  <a:gd name="T6" fmla="*/ 6 w 6"/>
                  <a:gd name="T7" fmla="*/ 4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2" y="2"/>
                    </a:lnTo>
                    <a:lnTo>
                      <a:pt x="0" y="6"/>
                    </a:lnTo>
                    <a:lnTo>
                      <a:pt x="6" y="4"/>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29" name="Freeform 1137"/>
              <p:cNvSpPr>
                <a:spLocks/>
              </p:cNvSpPr>
              <p:nvPr/>
            </p:nvSpPr>
            <p:spPr bwMode="auto">
              <a:xfrm>
                <a:off x="549" y="3305"/>
                <a:ext cx="4" cy="2"/>
              </a:xfrm>
              <a:custGeom>
                <a:avLst/>
                <a:gdLst>
                  <a:gd name="T0" fmla="*/ 0 w 4"/>
                  <a:gd name="T1" fmla="*/ 2 h 2"/>
                  <a:gd name="T2" fmla="*/ 2 w 4"/>
                  <a:gd name="T3" fmla="*/ 0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0"/>
                    </a:lnTo>
                    <a:lnTo>
                      <a:pt x="4" y="0"/>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0" name="Freeform 1138"/>
              <p:cNvSpPr>
                <a:spLocks/>
              </p:cNvSpPr>
              <p:nvPr/>
            </p:nvSpPr>
            <p:spPr bwMode="auto">
              <a:xfrm>
                <a:off x="549" y="3305"/>
                <a:ext cx="4" cy="2"/>
              </a:xfrm>
              <a:custGeom>
                <a:avLst/>
                <a:gdLst>
                  <a:gd name="T0" fmla="*/ 0 w 4"/>
                  <a:gd name="T1" fmla="*/ 2 h 2"/>
                  <a:gd name="T2" fmla="*/ 2 w 4"/>
                  <a:gd name="T3" fmla="*/ 0 h 2"/>
                  <a:gd name="T4" fmla="*/ 4 w 4"/>
                  <a:gd name="T5" fmla="*/ 0 h 2"/>
                  <a:gd name="T6" fmla="*/ 0 w 4"/>
                  <a:gd name="T7" fmla="*/ 2 h 2"/>
                </a:gdLst>
                <a:ahLst/>
                <a:cxnLst>
                  <a:cxn ang="0">
                    <a:pos x="T0" y="T1"/>
                  </a:cxn>
                  <a:cxn ang="0">
                    <a:pos x="T2" y="T3"/>
                  </a:cxn>
                  <a:cxn ang="0">
                    <a:pos x="T4" y="T5"/>
                  </a:cxn>
                  <a:cxn ang="0">
                    <a:pos x="T6" y="T7"/>
                  </a:cxn>
                </a:cxnLst>
                <a:rect l="0" t="0" r="r" b="b"/>
                <a:pathLst>
                  <a:path w="4" h="2">
                    <a:moveTo>
                      <a:pt x="0" y="2"/>
                    </a:moveTo>
                    <a:lnTo>
                      <a:pt x="2" y="0"/>
                    </a:lnTo>
                    <a:lnTo>
                      <a:pt x="4" y="0"/>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1" name="Freeform 1139"/>
              <p:cNvSpPr>
                <a:spLocks/>
              </p:cNvSpPr>
              <p:nvPr/>
            </p:nvSpPr>
            <p:spPr bwMode="auto">
              <a:xfrm>
                <a:off x="481" y="3054"/>
                <a:ext cx="1096" cy="937"/>
              </a:xfrm>
              <a:custGeom>
                <a:avLst/>
                <a:gdLst>
                  <a:gd name="T0" fmla="*/ 161 w 1096"/>
                  <a:gd name="T1" fmla="*/ 230 h 937"/>
                  <a:gd name="T2" fmla="*/ 210 w 1096"/>
                  <a:gd name="T3" fmla="*/ 279 h 937"/>
                  <a:gd name="T4" fmla="*/ 219 w 1096"/>
                  <a:gd name="T5" fmla="*/ 230 h 937"/>
                  <a:gd name="T6" fmla="*/ 223 w 1096"/>
                  <a:gd name="T7" fmla="*/ 241 h 937"/>
                  <a:gd name="T8" fmla="*/ 170 w 1096"/>
                  <a:gd name="T9" fmla="*/ 143 h 937"/>
                  <a:gd name="T10" fmla="*/ 242 w 1096"/>
                  <a:gd name="T11" fmla="*/ 68 h 937"/>
                  <a:gd name="T12" fmla="*/ 313 w 1096"/>
                  <a:gd name="T13" fmla="*/ 43 h 937"/>
                  <a:gd name="T14" fmla="*/ 393 w 1096"/>
                  <a:gd name="T15" fmla="*/ 0 h 937"/>
                  <a:gd name="T16" fmla="*/ 423 w 1096"/>
                  <a:gd name="T17" fmla="*/ 36 h 937"/>
                  <a:gd name="T18" fmla="*/ 489 w 1096"/>
                  <a:gd name="T19" fmla="*/ 66 h 937"/>
                  <a:gd name="T20" fmla="*/ 577 w 1096"/>
                  <a:gd name="T21" fmla="*/ 87 h 937"/>
                  <a:gd name="T22" fmla="*/ 668 w 1096"/>
                  <a:gd name="T23" fmla="*/ 109 h 937"/>
                  <a:gd name="T24" fmla="*/ 777 w 1096"/>
                  <a:gd name="T25" fmla="*/ 673 h 937"/>
                  <a:gd name="T26" fmla="*/ 894 w 1096"/>
                  <a:gd name="T27" fmla="*/ 684 h 937"/>
                  <a:gd name="T28" fmla="*/ 996 w 1096"/>
                  <a:gd name="T29" fmla="*/ 799 h 937"/>
                  <a:gd name="T30" fmla="*/ 1083 w 1096"/>
                  <a:gd name="T31" fmla="*/ 856 h 937"/>
                  <a:gd name="T32" fmla="*/ 1075 w 1096"/>
                  <a:gd name="T33" fmla="*/ 918 h 937"/>
                  <a:gd name="T34" fmla="*/ 1030 w 1096"/>
                  <a:gd name="T35" fmla="*/ 882 h 937"/>
                  <a:gd name="T36" fmla="*/ 1007 w 1096"/>
                  <a:gd name="T37" fmla="*/ 848 h 937"/>
                  <a:gd name="T38" fmla="*/ 966 w 1096"/>
                  <a:gd name="T39" fmla="*/ 801 h 937"/>
                  <a:gd name="T40" fmla="*/ 945 w 1096"/>
                  <a:gd name="T41" fmla="*/ 771 h 937"/>
                  <a:gd name="T42" fmla="*/ 902 w 1096"/>
                  <a:gd name="T43" fmla="*/ 731 h 937"/>
                  <a:gd name="T44" fmla="*/ 900 w 1096"/>
                  <a:gd name="T45" fmla="*/ 765 h 937"/>
                  <a:gd name="T46" fmla="*/ 847 w 1096"/>
                  <a:gd name="T47" fmla="*/ 731 h 937"/>
                  <a:gd name="T48" fmla="*/ 828 w 1096"/>
                  <a:gd name="T49" fmla="*/ 752 h 937"/>
                  <a:gd name="T50" fmla="*/ 762 w 1096"/>
                  <a:gd name="T51" fmla="*/ 686 h 937"/>
                  <a:gd name="T52" fmla="*/ 713 w 1096"/>
                  <a:gd name="T53" fmla="*/ 682 h 937"/>
                  <a:gd name="T54" fmla="*/ 613 w 1096"/>
                  <a:gd name="T55" fmla="*/ 643 h 937"/>
                  <a:gd name="T56" fmla="*/ 574 w 1096"/>
                  <a:gd name="T57" fmla="*/ 633 h 937"/>
                  <a:gd name="T58" fmla="*/ 530 w 1096"/>
                  <a:gd name="T59" fmla="*/ 624 h 937"/>
                  <a:gd name="T60" fmla="*/ 508 w 1096"/>
                  <a:gd name="T61" fmla="*/ 635 h 937"/>
                  <a:gd name="T62" fmla="*/ 504 w 1096"/>
                  <a:gd name="T63" fmla="*/ 679 h 937"/>
                  <a:gd name="T64" fmla="*/ 453 w 1096"/>
                  <a:gd name="T65" fmla="*/ 699 h 937"/>
                  <a:gd name="T66" fmla="*/ 413 w 1096"/>
                  <a:gd name="T67" fmla="*/ 703 h 937"/>
                  <a:gd name="T68" fmla="*/ 453 w 1096"/>
                  <a:gd name="T69" fmla="*/ 615 h 937"/>
                  <a:gd name="T70" fmla="*/ 453 w 1096"/>
                  <a:gd name="T71" fmla="*/ 601 h 937"/>
                  <a:gd name="T72" fmla="*/ 379 w 1096"/>
                  <a:gd name="T73" fmla="*/ 654 h 937"/>
                  <a:gd name="T74" fmla="*/ 332 w 1096"/>
                  <a:gd name="T75" fmla="*/ 713 h 937"/>
                  <a:gd name="T76" fmla="*/ 319 w 1096"/>
                  <a:gd name="T77" fmla="*/ 771 h 937"/>
                  <a:gd name="T78" fmla="*/ 251 w 1096"/>
                  <a:gd name="T79" fmla="*/ 807 h 937"/>
                  <a:gd name="T80" fmla="*/ 181 w 1096"/>
                  <a:gd name="T81" fmla="*/ 843 h 937"/>
                  <a:gd name="T82" fmla="*/ 129 w 1096"/>
                  <a:gd name="T83" fmla="*/ 882 h 937"/>
                  <a:gd name="T84" fmla="*/ 76 w 1096"/>
                  <a:gd name="T85" fmla="*/ 875 h 937"/>
                  <a:gd name="T86" fmla="*/ 12 w 1096"/>
                  <a:gd name="T87" fmla="*/ 884 h 937"/>
                  <a:gd name="T88" fmla="*/ 85 w 1096"/>
                  <a:gd name="T89" fmla="*/ 852 h 937"/>
                  <a:gd name="T90" fmla="*/ 159 w 1096"/>
                  <a:gd name="T91" fmla="*/ 820 h 937"/>
                  <a:gd name="T92" fmla="*/ 234 w 1096"/>
                  <a:gd name="T93" fmla="*/ 752 h 937"/>
                  <a:gd name="T94" fmla="*/ 240 w 1096"/>
                  <a:gd name="T95" fmla="*/ 713 h 937"/>
                  <a:gd name="T96" fmla="*/ 191 w 1096"/>
                  <a:gd name="T97" fmla="*/ 711 h 937"/>
                  <a:gd name="T98" fmla="*/ 119 w 1096"/>
                  <a:gd name="T99" fmla="*/ 694 h 937"/>
                  <a:gd name="T100" fmla="*/ 121 w 1096"/>
                  <a:gd name="T101" fmla="*/ 586 h 937"/>
                  <a:gd name="T102" fmla="*/ 68 w 1096"/>
                  <a:gd name="T103" fmla="*/ 615 h 937"/>
                  <a:gd name="T104" fmla="*/ 59 w 1096"/>
                  <a:gd name="T105" fmla="*/ 549 h 937"/>
                  <a:gd name="T106" fmla="*/ 66 w 1096"/>
                  <a:gd name="T107" fmla="*/ 549 h 937"/>
                  <a:gd name="T108" fmla="*/ 42 w 1096"/>
                  <a:gd name="T109" fmla="*/ 528 h 937"/>
                  <a:gd name="T110" fmla="*/ 80 w 1096"/>
                  <a:gd name="T111" fmla="*/ 451 h 937"/>
                  <a:gd name="T112" fmla="*/ 102 w 1096"/>
                  <a:gd name="T113" fmla="*/ 424 h 937"/>
                  <a:gd name="T114" fmla="*/ 204 w 1096"/>
                  <a:gd name="T115" fmla="*/ 415 h 937"/>
                  <a:gd name="T116" fmla="*/ 191 w 1096"/>
                  <a:gd name="T117" fmla="*/ 349 h 937"/>
                  <a:gd name="T118" fmla="*/ 85 w 1096"/>
                  <a:gd name="T119" fmla="*/ 319 h 937"/>
                  <a:gd name="T120" fmla="*/ 74 w 1096"/>
                  <a:gd name="T121" fmla="*/ 27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6" h="937">
                    <a:moveTo>
                      <a:pt x="68" y="253"/>
                    </a:moveTo>
                    <a:lnTo>
                      <a:pt x="72" y="253"/>
                    </a:lnTo>
                    <a:lnTo>
                      <a:pt x="76" y="253"/>
                    </a:lnTo>
                    <a:lnTo>
                      <a:pt x="80" y="249"/>
                    </a:lnTo>
                    <a:lnTo>
                      <a:pt x="85" y="247"/>
                    </a:lnTo>
                    <a:lnTo>
                      <a:pt x="91" y="251"/>
                    </a:lnTo>
                    <a:lnTo>
                      <a:pt x="95" y="249"/>
                    </a:lnTo>
                    <a:lnTo>
                      <a:pt x="98" y="245"/>
                    </a:lnTo>
                    <a:lnTo>
                      <a:pt x="115" y="241"/>
                    </a:lnTo>
                    <a:lnTo>
                      <a:pt x="123" y="247"/>
                    </a:lnTo>
                    <a:lnTo>
                      <a:pt x="129" y="247"/>
                    </a:lnTo>
                    <a:lnTo>
                      <a:pt x="129" y="243"/>
                    </a:lnTo>
                    <a:lnTo>
                      <a:pt x="127" y="236"/>
                    </a:lnTo>
                    <a:lnTo>
                      <a:pt x="134" y="234"/>
                    </a:lnTo>
                    <a:lnTo>
                      <a:pt x="138" y="232"/>
                    </a:lnTo>
                    <a:lnTo>
                      <a:pt x="149" y="234"/>
                    </a:lnTo>
                    <a:lnTo>
                      <a:pt x="151" y="234"/>
                    </a:lnTo>
                    <a:lnTo>
                      <a:pt x="157" y="232"/>
                    </a:lnTo>
                    <a:lnTo>
                      <a:pt x="161" y="230"/>
                    </a:lnTo>
                    <a:lnTo>
                      <a:pt x="166" y="230"/>
                    </a:lnTo>
                    <a:lnTo>
                      <a:pt x="176" y="232"/>
                    </a:lnTo>
                    <a:lnTo>
                      <a:pt x="181" y="236"/>
                    </a:lnTo>
                    <a:lnTo>
                      <a:pt x="176" y="234"/>
                    </a:lnTo>
                    <a:lnTo>
                      <a:pt x="178" y="239"/>
                    </a:lnTo>
                    <a:lnTo>
                      <a:pt x="174" y="243"/>
                    </a:lnTo>
                    <a:lnTo>
                      <a:pt x="170" y="253"/>
                    </a:lnTo>
                    <a:lnTo>
                      <a:pt x="164" y="253"/>
                    </a:lnTo>
                    <a:lnTo>
                      <a:pt x="168" y="253"/>
                    </a:lnTo>
                    <a:lnTo>
                      <a:pt x="170" y="260"/>
                    </a:lnTo>
                    <a:lnTo>
                      <a:pt x="174" y="264"/>
                    </a:lnTo>
                    <a:lnTo>
                      <a:pt x="178" y="264"/>
                    </a:lnTo>
                    <a:lnTo>
                      <a:pt x="183" y="266"/>
                    </a:lnTo>
                    <a:lnTo>
                      <a:pt x="193" y="268"/>
                    </a:lnTo>
                    <a:lnTo>
                      <a:pt x="193" y="273"/>
                    </a:lnTo>
                    <a:lnTo>
                      <a:pt x="200" y="273"/>
                    </a:lnTo>
                    <a:lnTo>
                      <a:pt x="204" y="275"/>
                    </a:lnTo>
                    <a:lnTo>
                      <a:pt x="208" y="275"/>
                    </a:lnTo>
                    <a:lnTo>
                      <a:pt x="210" y="279"/>
                    </a:lnTo>
                    <a:lnTo>
                      <a:pt x="217" y="277"/>
                    </a:lnTo>
                    <a:lnTo>
                      <a:pt x="215" y="275"/>
                    </a:lnTo>
                    <a:lnTo>
                      <a:pt x="221" y="270"/>
                    </a:lnTo>
                    <a:lnTo>
                      <a:pt x="223" y="266"/>
                    </a:lnTo>
                    <a:lnTo>
                      <a:pt x="227" y="266"/>
                    </a:lnTo>
                    <a:lnTo>
                      <a:pt x="232" y="270"/>
                    </a:lnTo>
                    <a:lnTo>
                      <a:pt x="232" y="275"/>
                    </a:lnTo>
                    <a:lnTo>
                      <a:pt x="236" y="270"/>
                    </a:lnTo>
                    <a:lnTo>
                      <a:pt x="234" y="266"/>
                    </a:lnTo>
                    <a:lnTo>
                      <a:pt x="225" y="258"/>
                    </a:lnTo>
                    <a:lnTo>
                      <a:pt x="221" y="258"/>
                    </a:lnTo>
                    <a:lnTo>
                      <a:pt x="217" y="262"/>
                    </a:lnTo>
                    <a:lnTo>
                      <a:pt x="219" y="251"/>
                    </a:lnTo>
                    <a:lnTo>
                      <a:pt x="219" y="247"/>
                    </a:lnTo>
                    <a:lnTo>
                      <a:pt x="217" y="241"/>
                    </a:lnTo>
                    <a:lnTo>
                      <a:pt x="208" y="230"/>
                    </a:lnTo>
                    <a:lnTo>
                      <a:pt x="208" y="224"/>
                    </a:lnTo>
                    <a:lnTo>
                      <a:pt x="215" y="224"/>
                    </a:lnTo>
                    <a:lnTo>
                      <a:pt x="219" y="230"/>
                    </a:lnTo>
                    <a:lnTo>
                      <a:pt x="221" y="236"/>
                    </a:lnTo>
                    <a:lnTo>
                      <a:pt x="217" y="241"/>
                    </a:lnTo>
                    <a:lnTo>
                      <a:pt x="219" y="245"/>
                    </a:lnTo>
                    <a:lnTo>
                      <a:pt x="221" y="251"/>
                    </a:lnTo>
                    <a:lnTo>
                      <a:pt x="225" y="256"/>
                    </a:lnTo>
                    <a:lnTo>
                      <a:pt x="232" y="256"/>
                    </a:lnTo>
                    <a:lnTo>
                      <a:pt x="236" y="256"/>
                    </a:lnTo>
                    <a:lnTo>
                      <a:pt x="240" y="262"/>
                    </a:lnTo>
                    <a:lnTo>
                      <a:pt x="244" y="264"/>
                    </a:lnTo>
                    <a:lnTo>
                      <a:pt x="255" y="266"/>
                    </a:lnTo>
                    <a:lnTo>
                      <a:pt x="257" y="262"/>
                    </a:lnTo>
                    <a:lnTo>
                      <a:pt x="257" y="256"/>
                    </a:lnTo>
                    <a:lnTo>
                      <a:pt x="253" y="251"/>
                    </a:lnTo>
                    <a:lnTo>
                      <a:pt x="247" y="251"/>
                    </a:lnTo>
                    <a:lnTo>
                      <a:pt x="242" y="247"/>
                    </a:lnTo>
                    <a:lnTo>
                      <a:pt x="238" y="247"/>
                    </a:lnTo>
                    <a:lnTo>
                      <a:pt x="232" y="253"/>
                    </a:lnTo>
                    <a:lnTo>
                      <a:pt x="227" y="249"/>
                    </a:lnTo>
                    <a:lnTo>
                      <a:pt x="223" y="241"/>
                    </a:lnTo>
                    <a:lnTo>
                      <a:pt x="225" y="234"/>
                    </a:lnTo>
                    <a:lnTo>
                      <a:pt x="230" y="226"/>
                    </a:lnTo>
                    <a:lnTo>
                      <a:pt x="230" y="221"/>
                    </a:lnTo>
                    <a:lnTo>
                      <a:pt x="225" y="219"/>
                    </a:lnTo>
                    <a:lnTo>
                      <a:pt x="219" y="219"/>
                    </a:lnTo>
                    <a:lnTo>
                      <a:pt x="219" y="217"/>
                    </a:lnTo>
                    <a:lnTo>
                      <a:pt x="217" y="211"/>
                    </a:lnTo>
                    <a:lnTo>
                      <a:pt x="215" y="215"/>
                    </a:lnTo>
                    <a:lnTo>
                      <a:pt x="210" y="215"/>
                    </a:lnTo>
                    <a:lnTo>
                      <a:pt x="200" y="213"/>
                    </a:lnTo>
                    <a:lnTo>
                      <a:pt x="191" y="207"/>
                    </a:lnTo>
                    <a:lnTo>
                      <a:pt x="189" y="200"/>
                    </a:lnTo>
                    <a:lnTo>
                      <a:pt x="191" y="192"/>
                    </a:lnTo>
                    <a:lnTo>
                      <a:pt x="189" y="181"/>
                    </a:lnTo>
                    <a:lnTo>
                      <a:pt x="187" y="175"/>
                    </a:lnTo>
                    <a:lnTo>
                      <a:pt x="183" y="170"/>
                    </a:lnTo>
                    <a:lnTo>
                      <a:pt x="181" y="164"/>
                    </a:lnTo>
                    <a:lnTo>
                      <a:pt x="178" y="162"/>
                    </a:lnTo>
                    <a:lnTo>
                      <a:pt x="170" y="143"/>
                    </a:lnTo>
                    <a:lnTo>
                      <a:pt x="166" y="138"/>
                    </a:lnTo>
                    <a:lnTo>
                      <a:pt x="161" y="136"/>
                    </a:lnTo>
                    <a:lnTo>
                      <a:pt x="155" y="126"/>
                    </a:lnTo>
                    <a:lnTo>
                      <a:pt x="151" y="119"/>
                    </a:lnTo>
                    <a:lnTo>
                      <a:pt x="146" y="117"/>
                    </a:lnTo>
                    <a:lnTo>
                      <a:pt x="149" y="117"/>
                    </a:lnTo>
                    <a:lnTo>
                      <a:pt x="151" y="117"/>
                    </a:lnTo>
                    <a:lnTo>
                      <a:pt x="157" y="113"/>
                    </a:lnTo>
                    <a:lnTo>
                      <a:pt x="159" y="109"/>
                    </a:lnTo>
                    <a:lnTo>
                      <a:pt x="166" y="96"/>
                    </a:lnTo>
                    <a:lnTo>
                      <a:pt x="172" y="94"/>
                    </a:lnTo>
                    <a:lnTo>
                      <a:pt x="181" y="98"/>
                    </a:lnTo>
                    <a:lnTo>
                      <a:pt x="204" y="100"/>
                    </a:lnTo>
                    <a:lnTo>
                      <a:pt x="210" y="100"/>
                    </a:lnTo>
                    <a:lnTo>
                      <a:pt x="217" y="98"/>
                    </a:lnTo>
                    <a:lnTo>
                      <a:pt x="221" y="96"/>
                    </a:lnTo>
                    <a:lnTo>
                      <a:pt x="232" y="87"/>
                    </a:lnTo>
                    <a:lnTo>
                      <a:pt x="238" y="79"/>
                    </a:lnTo>
                    <a:lnTo>
                      <a:pt x="242" y="68"/>
                    </a:lnTo>
                    <a:lnTo>
                      <a:pt x="242" y="68"/>
                    </a:lnTo>
                    <a:lnTo>
                      <a:pt x="249" y="60"/>
                    </a:lnTo>
                    <a:lnTo>
                      <a:pt x="259" y="53"/>
                    </a:lnTo>
                    <a:lnTo>
                      <a:pt x="259" y="51"/>
                    </a:lnTo>
                    <a:lnTo>
                      <a:pt x="272" y="38"/>
                    </a:lnTo>
                    <a:lnTo>
                      <a:pt x="276" y="40"/>
                    </a:lnTo>
                    <a:lnTo>
                      <a:pt x="276" y="43"/>
                    </a:lnTo>
                    <a:lnTo>
                      <a:pt x="272" y="43"/>
                    </a:lnTo>
                    <a:lnTo>
                      <a:pt x="276" y="45"/>
                    </a:lnTo>
                    <a:lnTo>
                      <a:pt x="281" y="43"/>
                    </a:lnTo>
                    <a:lnTo>
                      <a:pt x="287" y="43"/>
                    </a:lnTo>
                    <a:lnTo>
                      <a:pt x="287" y="43"/>
                    </a:lnTo>
                    <a:lnTo>
                      <a:pt x="298" y="40"/>
                    </a:lnTo>
                    <a:lnTo>
                      <a:pt x="310" y="32"/>
                    </a:lnTo>
                    <a:lnTo>
                      <a:pt x="315" y="32"/>
                    </a:lnTo>
                    <a:lnTo>
                      <a:pt x="315" y="32"/>
                    </a:lnTo>
                    <a:lnTo>
                      <a:pt x="315" y="40"/>
                    </a:lnTo>
                    <a:lnTo>
                      <a:pt x="310" y="45"/>
                    </a:lnTo>
                    <a:lnTo>
                      <a:pt x="313" y="43"/>
                    </a:lnTo>
                    <a:lnTo>
                      <a:pt x="315" y="49"/>
                    </a:lnTo>
                    <a:lnTo>
                      <a:pt x="317" y="40"/>
                    </a:lnTo>
                    <a:lnTo>
                      <a:pt x="327" y="38"/>
                    </a:lnTo>
                    <a:lnTo>
                      <a:pt x="323" y="38"/>
                    </a:lnTo>
                    <a:lnTo>
                      <a:pt x="319" y="34"/>
                    </a:lnTo>
                    <a:lnTo>
                      <a:pt x="317" y="28"/>
                    </a:lnTo>
                    <a:lnTo>
                      <a:pt x="317" y="26"/>
                    </a:lnTo>
                    <a:lnTo>
                      <a:pt x="327" y="19"/>
                    </a:lnTo>
                    <a:lnTo>
                      <a:pt x="334" y="19"/>
                    </a:lnTo>
                    <a:lnTo>
                      <a:pt x="330" y="23"/>
                    </a:lnTo>
                    <a:lnTo>
                      <a:pt x="332" y="28"/>
                    </a:lnTo>
                    <a:lnTo>
                      <a:pt x="338" y="23"/>
                    </a:lnTo>
                    <a:lnTo>
                      <a:pt x="342" y="26"/>
                    </a:lnTo>
                    <a:lnTo>
                      <a:pt x="357" y="26"/>
                    </a:lnTo>
                    <a:lnTo>
                      <a:pt x="370" y="19"/>
                    </a:lnTo>
                    <a:lnTo>
                      <a:pt x="374" y="15"/>
                    </a:lnTo>
                    <a:lnTo>
                      <a:pt x="379" y="11"/>
                    </a:lnTo>
                    <a:lnTo>
                      <a:pt x="387" y="2"/>
                    </a:lnTo>
                    <a:lnTo>
                      <a:pt x="393" y="0"/>
                    </a:lnTo>
                    <a:lnTo>
                      <a:pt x="389" y="4"/>
                    </a:lnTo>
                    <a:lnTo>
                      <a:pt x="393" y="6"/>
                    </a:lnTo>
                    <a:lnTo>
                      <a:pt x="396" y="13"/>
                    </a:lnTo>
                    <a:lnTo>
                      <a:pt x="402" y="13"/>
                    </a:lnTo>
                    <a:lnTo>
                      <a:pt x="406" y="17"/>
                    </a:lnTo>
                    <a:lnTo>
                      <a:pt x="404" y="21"/>
                    </a:lnTo>
                    <a:lnTo>
                      <a:pt x="400" y="26"/>
                    </a:lnTo>
                    <a:lnTo>
                      <a:pt x="393" y="26"/>
                    </a:lnTo>
                    <a:lnTo>
                      <a:pt x="393" y="28"/>
                    </a:lnTo>
                    <a:lnTo>
                      <a:pt x="396" y="32"/>
                    </a:lnTo>
                    <a:lnTo>
                      <a:pt x="400" y="34"/>
                    </a:lnTo>
                    <a:lnTo>
                      <a:pt x="408" y="26"/>
                    </a:lnTo>
                    <a:lnTo>
                      <a:pt x="411" y="19"/>
                    </a:lnTo>
                    <a:lnTo>
                      <a:pt x="415" y="26"/>
                    </a:lnTo>
                    <a:lnTo>
                      <a:pt x="417" y="21"/>
                    </a:lnTo>
                    <a:lnTo>
                      <a:pt x="421" y="23"/>
                    </a:lnTo>
                    <a:lnTo>
                      <a:pt x="423" y="28"/>
                    </a:lnTo>
                    <a:lnTo>
                      <a:pt x="419" y="32"/>
                    </a:lnTo>
                    <a:lnTo>
                      <a:pt x="423" y="36"/>
                    </a:lnTo>
                    <a:lnTo>
                      <a:pt x="428" y="40"/>
                    </a:lnTo>
                    <a:lnTo>
                      <a:pt x="440" y="36"/>
                    </a:lnTo>
                    <a:lnTo>
                      <a:pt x="445" y="36"/>
                    </a:lnTo>
                    <a:lnTo>
                      <a:pt x="451" y="36"/>
                    </a:lnTo>
                    <a:lnTo>
                      <a:pt x="455" y="40"/>
                    </a:lnTo>
                    <a:lnTo>
                      <a:pt x="459" y="40"/>
                    </a:lnTo>
                    <a:lnTo>
                      <a:pt x="464" y="40"/>
                    </a:lnTo>
                    <a:lnTo>
                      <a:pt x="464" y="47"/>
                    </a:lnTo>
                    <a:lnTo>
                      <a:pt x="462" y="49"/>
                    </a:lnTo>
                    <a:lnTo>
                      <a:pt x="466" y="55"/>
                    </a:lnTo>
                    <a:lnTo>
                      <a:pt x="459" y="55"/>
                    </a:lnTo>
                    <a:lnTo>
                      <a:pt x="464" y="60"/>
                    </a:lnTo>
                    <a:lnTo>
                      <a:pt x="468" y="57"/>
                    </a:lnTo>
                    <a:lnTo>
                      <a:pt x="474" y="60"/>
                    </a:lnTo>
                    <a:lnTo>
                      <a:pt x="470" y="64"/>
                    </a:lnTo>
                    <a:lnTo>
                      <a:pt x="481" y="68"/>
                    </a:lnTo>
                    <a:lnTo>
                      <a:pt x="485" y="70"/>
                    </a:lnTo>
                    <a:lnTo>
                      <a:pt x="487" y="68"/>
                    </a:lnTo>
                    <a:lnTo>
                      <a:pt x="489" y="66"/>
                    </a:lnTo>
                    <a:lnTo>
                      <a:pt x="494" y="66"/>
                    </a:lnTo>
                    <a:lnTo>
                      <a:pt x="500" y="66"/>
                    </a:lnTo>
                    <a:lnTo>
                      <a:pt x="500" y="68"/>
                    </a:lnTo>
                    <a:lnTo>
                      <a:pt x="506" y="70"/>
                    </a:lnTo>
                    <a:lnTo>
                      <a:pt x="511" y="66"/>
                    </a:lnTo>
                    <a:lnTo>
                      <a:pt x="517" y="66"/>
                    </a:lnTo>
                    <a:lnTo>
                      <a:pt x="521" y="68"/>
                    </a:lnTo>
                    <a:lnTo>
                      <a:pt x="526" y="68"/>
                    </a:lnTo>
                    <a:lnTo>
                      <a:pt x="530" y="70"/>
                    </a:lnTo>
                    <a:lnTo>
                      <a:pt x="534" y="72"/>
                    </a:lnTo>
                    <a:lnTo>
                      <a:pt x="538" y="79"/>
                    </a:lnTo>
                    <a:lnTo>
                      <a:pt x="543" y="77"/>
                    </a:lnTo>
                    <a:lnTo>
                      <a:pt x="547" y="79"/>
                    </a:lnTo>
                    <a:lnTo>
                      <a:pt x="551" y="79"/>
                    </a:lnTo>
                    <a:lnTo>
                      <a:pt x="551" y="83"/>
                    </a:lnTo>
                    <a:lnTo>
                      <a:pt x="555" y="85"/>
                    </a:lnTo>
                    <a:lnTo>
                      <a:pt x="566" y="89"/>
                    </a:lnTo>
                    <a:lnTo>
                      <a:pt x="570" y="87"/>
                    </a:lnTo>
                    <a:lnTo>
                      <a:pt x="577" y="87"/>
                    </a:lnTo>
                    <a:lnTo>
                      <a:pt x="581" y="87"/>
                    </a:lnTo>
                    <a:lnTo>
                      <a:pt x="587" y="89"/>
                    </a:lnTo>
                    <a:lnTo>
                      <a:pt x="592" y="89"/>
                    </a:lnTo>
                    <a:lnTo>
                      <a:pt x="596" y="96"/>
                    </a:lnTo>
                    <a:lnTo>
                      <a:pt x="600" y="98"/>
                    </a:lnTo>
                    <a:lnTo>
                      <a:pt x="600" y="98"/>
                    </a:lnTo>
                    <a:lnTo>
                      <a:pt x="609" y="100"/>
                    </a:lnTo>
                    <a:lnTo>
                      <a:pt x="613" y="100"/>
                    </a:lnTo>
                    <a:lnTo>
                      <a:pt x="621" y="96"/>
                    </a:lnTo>
                    <a:lnTo>
                      <a:pt x="626" y="98"/>
                    </a:lnTo>
                    <a:lnTo>
                      <a:pt x="628" y="94"/>
                    </a:lnTo>
                    <a:lnTo>
                      <a:pt x="632" y="92"/>
                    </a:lnTo>
                    <a:lnTo>
                      <a:pt x="636" y="94"/>
                    </a:lnTo>
                    <a:lnTo>
                      <a:pt x="643" y="96"/>
                    </a:lnTo>
                    <a:lnTo>
                      <a:pt x="647" y="94"/>
                    </a:lnTo>
                    <a:lnTo>
                      <a:pt x="651" y="96"/>
                    </a:lnTo>
                    <a:lnTo>
                      <a:pt x="655" y="98"/>
                    </a:lnTo>
                    <a:lnTo>
                      <a:pt x="660" y="102"/>
                    </a:lnTo>
                    <a:lnTo>
                      <a:pt x="668" y="109"/>
                    </a:lnTo>
                    <a:lnTo>
                      <a:pt x="670" y="109"/>
                    </a:lnTo>
                    <a:lnTo>
                      <a:pt x="675" y="111"/>
                    </a:lnTo>
                    <a:lnTo>
                      <a:pt x="679" y="115"/>
                    </a:lnTo>
                    <a:lnTo>
                      <a:pt x="681" y="115"/>
                    </a:lnTo>
                    <a:lnTo>
                      <a:pt x="689" y="117"/>
                    </a:lnTo>
                    <a:lnTo>
                      <a:pt x="689" y="119"/>
                    </a:lnTo>
                    <a:lnTo>
                      <a:pt x="692" y="160"/>
                    </a:lnTo>
                    <a:lnTo>
                      <a:pt x="719" y="656"/>
                    </a:lnTo>
                    <a:lnTo>
                      <a:pt x="721" y="660"/>
                    </a:lnTo>
                    <a:lnTo>
                      <a:pt x="734" y="664"/>
                    </a:lnTo>
                    <a:lnTo>
                      <a:pt x="738" y="660"/>
                    </a:lnTo>
                    <a:lnTo>
                      <a:pt x="749" y="664"/>
                    </a:lnTo>
                    <a:lnTo>
                      <a:pt x="751" y="664"/>
                    </a:lnTo>
                    <a:lnTo>
                      <a:pt x="760" y="656"/>
                    </a:lnTo>
                    <a:lnTo>
                      <a:pt x="770" y="654"/>
                    </a:lnTo>
                    <a:lnTo>
                      <a:pt x="775" y="658"/>
                    </a:lnTo>
                    <a:lnTo>
                      <a:pt x="775" y="664"/>
                    </a:lnTo>
                    <a:lnTo>
                      <a:pt x="773" y="669"/>
                    </a:lnTo>
                    <a:lnTo>
                      <a:pt x="777" y="673"/>
                    </a:lnTo>
                    <a:lnTo>
                      <a:pt x="783" y="677"/>
                    </a:lnTo>
                    <a:lnTo>
                      <a:pt x="790" y="682"/>
                    </a:lnTo>
                    <a:lnTo>
                      <a:pt x="792" y="688"/>
                    </a:lnTo>
                    <a:lnTo>
                      <a:pt x="824" y="716"/>
                    </a:lnTo>
                    <a:lnTo>
                      <a:pt x="832" y="733"/>
                    </a:lnTo>
                    <a:lnTo>
                      <a:pt x="834" y="728"/>
                    </a:lnTo>
                    <a:lnTo>
                      <a:pt x="839" y="724"/>
                    </a:lnTo>
                    <a:lnTo>
                      <a:pt x="849" y="716"/>
                    </a:lnTo>
                    <a:lnTo>
                      <a:pt x="856" y="711"/>
                    </a:lnTo>
                    <a:lnTo>
                      <a:pt x="858" y="707"/>
                    </a:lnTo>
                    <a:lnTo>
                      <a:pt x="856" y="703"/>
                    </a:lnTo>
                    <a:lnTo>
                      <a:pt x="862" y="692"/>
                    </a:lnTo>
                    <a:lnTo>
                      <a:pt x="862" y="686"/>
                    </a:lnTo>
                    <a:lnTo>
                      <a:pt x="868" y="684"/>
                    </a:lnTo>
                    <a:lnTo>
                      <a:pt x="873" y="679"/>
                    </a:lnTo>
                    <a:lnTo>
                      <a:pt x="879" y="675"/>
                    </a:lnTo>
                    <a:lnTo>
                      <a:pt x="885" y="677"/>
                    </a:lnTo>
                    <a:lnTo>
                      <a:pt x="890" y="679"/>
                    </a:lnTo>
                    <a:lnTo>
                      <a:pt x="894" y="684"/>
                    </a:lnTo>
                    <a:lnTo>
                      <a:pt x="896" y="684"/>
                    </a:lnTo>
                    <a:lnTo>
                      <a:pt x="898" y="690"/>
                    </a:lnTo>
                    <a:lnTo>
                      <a:pt x="902" y="703"/>
                    </a:lnTo>
                    <a:lnTo>
                      <a:pt x="907" y="703"/>
                    </a:lnTo>
                    <a:lnTo>
                      <a:pt x="911" y="707"/>
                    </a:lnTo>
                    <a:lnTo>
                      <a:pt x="917" y="709"/>
                    </a:lnTo>
                    <a:lnTo>
                      <a:pt x="924" y="720"/>
                    </a:lnTo>
                    <a:lnTo>
                      <a:pt x="928" y="724"/>
                    </a:lnTo>
                    <a:lnTo>
                      <a:pt x="936" y="728"/>
                    </a:lnTo>
                    <a:lnTo>
                      <a:pt x="941" y="731"/>
                    </a:lnTo>
                    <a:lnTo>
                      <a:pt x="947" y="737"/>
                    </a:lnTo>
                    <a:lnTo>
                      <a:pt x="956" y="745"/>
                    </a:lnTo>
                    <a:lnTo>
                      <a:pt x="956" y="745"/>
                    </a:lnTo>
                    <a:lnTo>
                      <a:pt x="958" y="752"/>
                    </a:lnTo>
                    <a:lnTo>
                      <a:pt x="966" y="760"/>
                    </a:lnTo>
                    <a:lnTo>
                      <a:pt x="968" y="765"/>
                    </a:lnTo>
                    <a:lnTo>
                      <a:pt x="977" y="773"/>
                    </a:lnTo>
                    <a:lnTo>
                      <a:pt x="990" y="790"/>
                    </a:lnTo>
                    <a:lnTo>
                      <a:pt x="996" y="799"/>
                    </a:lnTo>
                    <a:lnTo>
                      <a:pt x="1000" y="803"/>
                    </a:lnTo>
                    <a:lnTo>
                      <a:pt x="1002" y="809"/>
                    </a:lnTo>
                    <a:lnTo>
                      <a:pt x="1002" y="814"/>
                    </a:lnTo>
                    <a:lnTo>
                      <a:pt x="1007" y="816"/>
                    </a:lnTo>
                    <a:lnTo>
                      <a:pt x="1011" y="820"/>
                    </a:lnTo>
                    <a:lnTo>
                      <a:pt x="1015" y="826"/>
                    </a:lnTo>
                    <a:lnTo>
                      <a:pt x="1020" y="831"/>
                    </a:lnTo>
                    <a:lnTo>
                      <a:pt x="1022" y="837"/>
                    </a:lnTo>
                    <a:lnTo>
                      <a:pt x="1024" y="839"/>
                    </a:lnTo>
                    <a:lnTo>
                      <a:pt x="1028" y="839"/>
                    </a:lnTo>
                    <a:lnTo>
                      <a:pt x="1034" y="839"/>
                    </a:lnTo>
                    <a:lnTo>
                      <a:pt x="1043" y="843"/>
                    </a:lnTo>
                    <a:lnTo>
                      <a:pt x="1047" y="846"/>
                    </a:lnTo>
                    <a:lnTo>
                      <a:pt x="1058" y="846"/>
                    </a:lnTo>
                    <a:lnTo>
                      <a:pt x="1062" y="850"/>
                    </a:lnTo>
                    <a:lnTo>
                      <a:pt x="1068" y="852"/>
                    </a:lnTo>
                    <a:lnTo>
                      <a:pt x="1073" y="856"/>
                    </a:lnTo>
                    <a:lnTo>
                      <a:pt x="1077" y="858"/>
                    </a:lnTo>
                    <a:lnTo>
                      <a:pt x="1083" y="856"/>
                    </a:lnTo>
                    <a:lnTo>
                      <a:pt x="1088" y="860"/>
                    </a:lnTo>
                    <a:lnTo>
                      <a:pt x="1088" y="867"/>
                    </a:lnTo>
                    <a:lnTo>
                      <a:pt x="1088" y="871"/>
                    </a:lnTo>
                    <a:lnTo>
                      <a:pt x="1086" y="875"/>
                    </a:lnTo>
                    <a:lnTo>
                      <a:pt x="1088" y="882"/>
                    </a:lnTo>
                    <a:lnTo>
                      <a:pt x="1088" y="888"/>
                    </a:lnTo>
                    <a:lnTo>
                      <a:pt x="1096" y="903"/>
                    </a:lnTo>
                    <a:lnTo>
                      <a:pt x="1094" y="907"/>
                    </a:lnTo>
                    <a:lnTo>
                      <a:pt x="1092" y="922"/>
                    </a:lnTo>
                    <a:lnTo>
                      <a:pt x="1090" y="926"/>
                    </a:lnTo>
                    <a:lnTo>
                      <a:pt x="1086" y="931"/>
                    </a:lnTo>
                    <a:lnTo>
                      <a:pt x="1081" y="935"/>
                    </a:lnTo>
                    <a:lnTo>
                      <a:pt x="1081" y="937"/>
                    </a:lnTo>
                    <a:lnTo>
                      <a:pt x="1077" y="926"/>
                    </a:lnTo>
                    <a:lnTo>
                      <a:pt x="1077" y="935"/>
                    </a:lnTo>
                    <a:lnTo>
                      <a:pt x="1073" y="935"/>
                    </a:lnTo>
                    <a:lnTo>
                      <a:pt x="1068" y="924"/>
                    </a:lnTo>
                    <a:lnTo>
                      <a:pt x="1071" y="920"/>
                    </a:lnTo>
                    <a:lnTo>
                      <a:pt x="1075" y="918"/>
                    </a:lnTo>
                    <a:lnTo>
                      <a:pt x="1077" y="914"/>
                    </a:lnTo>
                    <a:lnTo>
                      <a:pt x="1081" y="905"/>
                    </a:lnTo>
                    <a:lnTo>
                      <a:pt x="1077" y="914"/>
                    </a:lnTo>
                    <a:lnTo>
                      <a:pt x="1075" y="918"/>
                    </a:lnTo>
                    <a:lnTo>
                      <a:pt x="1068" y="920"/>
                    </a:lnTo>
                    <a:lnTo>
                      <a:pt x="1064" y="918"/>
                    </a:lnTo>
                    <a:lnTo>
                      <a:pt x="1064" y="914"/>
                    </a:lnTo>
                    <a:lnTo>
                      <a:pt x="1066" y="907"/>
                    </a:lnTo>
                    <a:lnTo>
                      <a:pt x="1073" y="907"/>
                    </a:lnTo>
                    <a:lnTo>
                      <a:pt x="1068" y="905"/>
                    </a:lnTo>
                    <a:lnTo>
                      <a:pt x="1066" y="899"/>
                    </a:lnTo>
                    <a:lnTo>
                      <a:pt x="1064" y="888"/>
                    </a:lnTo>
                    <a:lnTo>
                      <a:pt x="1060" y="882"/>
                    </a:lnTo>
                    <a:lnTo>
                      <a:pt x="1054" y="873"/>
                    </a:lnTo>
                    <a:lnTo>
                      <a:pt x="1051" y="869"/>
                    </a:lnTo>
                    <a:lnTo>
                      <a:pt x="1054" y="865"/>
                    </a:lnTo>
                    <a:lnTo>
                      <a:pt x="1045" y="873"/>
                    </a:lnTo>
                    <a:lnTo>
                      <a:pt x="1041" y="873"/>
                    </a:lnTo>
                    <a:lnTo>
                      <a:pt x="1030" y="882"/>
                    </a:lnTo>
                    <a:lnTo>
                      <a:pt x="1034" y="886"/>
                    </a:lnTo>
                    <a:lnTo>
                      <a:pt x="1032" y="897"/>
                    </a:lnTo>
                    <a:lnTo>
                      <a:pt x="1028" y="895"/>
                    </a:lnTo>
                    <a:lnTo>
                      <a:pt x="1032" y="901"/>
                    </a:lnTo>
                    <a:lnTo>
                      <a:pt x="1026" y="901"/>
                    </a:lnTo>
                    <a:lnTo>
                      <a:pt x="1022" y="897"/>
                    </a:lnTo>
                    <a:lnTo>
                      <a:pt x="1017" y="892"/>
                    </a:lnTo>
                    <a:lnTo>
                      <a:pt x="1022" y="886"/>
                    </a:lnTo>
                    <a:lnTo>
                      <a:pt x="1024" y="882"/>
                    </a:lnTo>
                    <a:lnTo>
                      <a:pt x="1026" y="873"/>
                    </a:lnTo>
                    <a:lnTo>
                      <a:pt x="1024" y="867"/>
                    </a:lnTo>
                    <a:lnTo>
                      <a:pt x="1028" y="863"/>
                    </a:lnTo>
                    <a:lnTo>
                      <a:pt x="1032" y="863"/>
                    </a:lnTo>
                    <a:lnTo>
                      <a:pt x="1030" y="860"/>
                    </a:lnTo>
                    <a:lnTo>
                      <a:pt x="1026" y="860"/>
                    </a:lnTo>
                    <a:lnTo>
                      <a:pt x="1022" y="856"/>
                    </a:lnTo>
                    <a:lnTo>
                      <a:pt x="1017" y="854"/>
                    </a:lnTo>
                    <a:lnTo>
                      <a:pt x="1011" y="850"/>
                    </a:lnTo>
                    <a:lnTo>
                      <a:pt x="1007" y="848"/>
                    </a:lnTo>
                    <a:lnTo>
                      <a:pt x="1007" y="841"/>
                    </a:lnTo>
                    <a:lnTo>
                      <a:pt x="1000" y="843"/>
                    </a:lnTo>
                    <a:lnTo>
                      <a:pt x="1000" y="837"/>
                    </a:lnTo>
                    <a:lnTo>
                      <a:pt x="1002" y="833"/>
                    </a:lnTo>
                    <a:lnTo>
                      <a:pt x="996" y="835"/>
                    </a:lnTo>
                    <a:lnTo>
                      <a:pt x="992" y="833"/>
                    </a:lnTo>
                    <a:lnTo>
                      <a:pt x="988" y="828"/>
                    </a:lnTo>
                    <a:lnTo>
                      <a:pt x="990" y="822"/>
                    </a:lnTo>
                    <a:lnTo>
                      <a:pt x="988" y="818"/>
                    </a:lnTo>
                    <a:lnTo>
                      <a:pt x="983" y="822"/>
                    </a:lnTo>
                    <a:lnTo>
                      <a:pt x="977" y="820"/>
                    </a:lnTo>
                    <a:lnTo>
                      <a:pt x="973" y="816"/>
                    </a:lnTo>
                    <a:lnTo>
                      <a:pt x="968" y="818"/>
                    </a:lnTo>
                    <a:lnTo>
                      <a:pt x="962" y="816"/>
                    </a:lnTo>
                    <a:lnTo>
                      <a:pt x="964" y="811"/>
                    </a:lnTo>
                    <a:lnTo>
                      <a:pt x="971" y="809"/>
                    </a:lnTo>
                    <a:lnTo>
                      <a:pt x="975" y="805"/>
                    </a:lnTo>
                    <a:lnTo>
                      <a:pt x="964" y="805"/>
                    </a:lnTo>
                    <a:lnTo>
                      <a:pt x="966" y="801"/>
                    </a:lnTo>
                    <a:lnTo>
                      <a:pt x="962" y="801"/>
                    </a:lnTo>
                    <a:lnTo>
                      <a:pt x="962" y="794"/>
                    </a:lnTo>
                    <a:lnTo>
                      <a:pt x="958" y="792"/>
                    </a:lnTo>
                    <a:lnTo>
                      <a:pt x="956" y="788"/>
                    </a:lnTo>
                    <a:lnTo>
                      <a:pt x="964" y="790"/>
                    </a:lnTo>
                    <a:lnTo>
                      <a:pt x="973" y="794"/>
                    </a:lnTo>
                    <a:lnTo>
                      <a:pt x="971" y="788"/>
                    </a:lnTo>
                    <a:lnTo>
                      <a:pt x="964" y="788"/>
                    </a:lnTo>
                    <a:lnTo>
                      <a:pt x="960" y="784"/>
                    </a:lnTo>
                    <a:lnTo>
                      <a:pt x="956" y="779"/>
                    </a:lnTo>
                    <a:lnTo>
                      <a:pt x="956" y="775"/>
                    </a:lnTo>
                    <a:lnTo>
                      <a:pt x="966" y="775"/>
                    </a:lnTo>
                    <a:lnTo>
                      <a:pt x="956" y="773"/>
                    </a:lnTo>
                    <a:lnTo>
                      <a:pt x="954" y="777"/>
                    </a:lnTo>
                    <a:lnTo>
                      <a:pt x="949" y="777"/>
                    </a:lnTo>
                    <a:lnTo>
                      <a:pt x="947" y="771"/>
                    </a:lnTo>
                    <a:lnTo>
                      <a:pt x="949" y="762"/>
                    </a:lnTo>
                    <a:lnTo>
                      <a:pt x="947" y="767"/>
                    </a:lnTo>
                    <a:lnTo>
                      <a:pt x="945" y="771"/>
                    </a:lnTo>
                    <a:lnTo>
                      <a:pt x="941" y="769"/>
                    </a:lnTo>
                    <a:lnTo>
                      <a:pt x="939" y="762"/>
                    </a:lnTo>
                    <a:lnTo>
                      <a:pt x="936" y="758"/>
                    </a:lnTo>
                    <a:lnTo>
                      <a:pt x="939" y="754"/>
                    </a:lnTo>
                    <a:lnTo>
                      <a:pt x="939" y="748"/>
                    </a:lnTo>
                    <a:lnTo>
                      <a:pt x="939" y="743"/>
                    </a:lnTo>
                    <a:lnTo>
                      <a:pt x="943" y="741"/>
                    </a:lnTo>
                    <a:lnTo>
                      <a:pt x="936" y="741"/>
                    </a:lnTo>
                    <a:lnTo>
                      <a:pt x="936" y="756"/>
                    </a:lnTo>
                    <a:lnTo>
                      <a:pt x="930" y="758"/>
                    </a:lnTo>
                    <a:lnTo>
                      <a:pt x="926" y="756"/>
                    </a:lnTo>
                    <a:lnTo>
                      <a:pt x="922" y="754"/>
                    </a:lnTo>
                    <a:lnTo>
                      <a:pt x="922" y="754"/>
                    </a:lnTo>
                    <a:lnTo>
                      <a:pt x="922" y="754"/>
                    </a:lnTo>
                    <a:lnTo>
                      <a:pt x="915" y="754"/>
                    </a:lnTo>
                    <a:lnTo>
                      <a:pt x="913" y="748"/>
                    </a:lnTo>
                    <a:lnTo>
                      <a:pt x="905" y="737"/>
                    </a:lnTo>
                    <a:lnTo>
                      <a:pt x="907" y="733"/>
                    </a:lnTo>
                    <a:lnTo>
                      <a:pt x="902" y="731"/>
                    </a:lnTo>
                    <a:lnTo>
                      <a:pt x="898" y="724"/>
                    </a:lnTo>
                    <a:lnTo>
                      <a:pt x="898" y="720"/>
                    </a:lnTo>
                    <a:lnTo>
                      <a:pt x="892" y="709"/>
                    </a:lnTo>
                    <a:lnTo>
                      <a:pt x="890" y="703"/>
                    </a:lnTo>
                    <a:lnTo>
                      <a:pt x="887" y="692"/>
                    </a:lnTo>
                    <a:lnTo>
                      <a:pt x="885" y="703"/>
                    </a:lnTo>
                    <a:lnTo>
                      <a:pt x="885" y="703"/>
                    </a:lnTo>
                    <a:lnTo>
                      <a:pt x="890" y="707"/>
                    </a:lnTo>
                    <a:lnTo>
                      <a:pt x="892" y="713"/>
                    </a:lnTo>
                    <a:lnTo>
                      <a:pt x="887" y="709"/>
                    </a:lnTo>
                    <a:lnTo>
                      <a:pt x="890" y="713"/>
                    </a:lnTo>
                    <a:lnTo>
                      <a:pt x="892" y="720"/>
                    </a:lnTo>
                    <a:lnTo>
                      <a:pt x="898" y="737"/>
                    </a:lnTo>
                    <a:lnTo>
                      <a:pt x="902" y="743"/>
                    </a:lnTo>
                    <a:lnTo>
                      <a:pt x="900" y="741"/>
                    </a:lnTo>
                    <a:lnTo>
                      <a:pt x="902" y="748"/>
                    </a:lnTo>
                    <a:lnTo>
                      <a:pt x="907" y="758"/>
                    </a:lnTo>
                    <a:lnTo>
                      <a:pt x="907" y="762"/>
                    </a:lnTo>
                    <a:lnTo>
                      <a:pt x="900" y="765"/>
                    </a:lnTo>
                    <a:lnTo>
                      <a:pt x="896" y="760"/>
                    </a:lnTo>
                    <a:lnTo>
                      <a:pt x="894" y="754"/>
                    </a:lnTo>
                    <a:lnTo>
                      <a:pt x="887" y="754"/>
                    </a:lnTo>
                    <a:lnTo>
                      <a:pt x="883" y="756"/>
                    </a:lnTo>
                    <a:lnTo>
                      <a:pt x="879" y="754"/>
                    </a:lnTo>
                    <a:lnTo>
                      <a:pt x="881" y="750"/>
                    </a:lnTo>
                    <a:lnTo>
                      <a:pt x="875" y="737"/>
                    </a:lnTo>
                    <a:lnTo>
                      <a:pt x="875" y="733"/>
                    </a:lnTo>
                    <a:lnTo>
                      <a:pt x="879" y="728"/>
                    </a:lnTo>
                    <a:lnTo>
                      <a:pt x="870" y="726"/>
                    </a:lnTo>
                    <a:lnTo>
                      <a:pt x="870" y="731"/>
                    </a:lnTo>
                    <a:lnTo>
                      <a:pt x="870" y="737"/>
                    </a:lnTo>
                    <a:lnTo>
                      <a:pt x="866" y="737"/>
                    </a:lnTo>
                    <a:lnTo>
                      <a:pt x="860" y="735"/>
                    </a:lnTo>
                    <a:lnTo>
                      <a:pt x="858" y="728"/>
                    </a:lnTo>
                    <a:lnTo>
                      <a:pt x="853" y="726"/>
                    </a:lnTo>
                    <a:lnTo>
                      <a:pt x="847" y="728"/>
                    </a:lnTo>
                    <a:lnTo>
                      <a:pt x="845" y="724"/>
                    </a:lnTo>
                    <a:lnTo>
                      <a:pt x="847" y="731"/>
                    </a:lnTo>
                    <a:lnTo>
                      <a:pt x="843" y="735"/>
                    </a:lnTo>
                    <a:lnTo>
                      <a:pt x="847" y="733"/>
                    </a:lnTo>
                    <a:lnTo>
                      <a:pt x="858" y="735"/>
                    </a:lnTo>
                    <a:lnTo>
                      <a:pt x="860" y="739"/>
                    </a:lnTo>
                    <a:lnTo>
                      <a:pt x="864" y="741"/>
                    </a:lnTo>
                    <a:lnTo>
                      <a:pt x="862" y="745"/>
                    </a:lnTo>
                    <a:lnTo>
                      <a:pt x="868" y="743"/>
                    </a:lnTo>
                    <a:lnTo>
                      <a:pt x="873" y="748"/>
                    </a:lnTo>
                    <a:lnTo>
                      <a:pt x="875" y="754"/>
                    </a:lnTo>
                    <a:lnTo>
                      <a:pt x="877" y="758"/>
                    </a:lnTo>
                    <a:lnTo>
                      <a:pt x="870" y="762"/>
                    </a:lnTo>
                    <a:lnTo>
                      <a:pt x="862" y="758"/>
                    </a:lnTo>
                    <a:lnTo>
                      <a:pt x="862" y="762"/>
                    </a:lnTo>
                    <a:lnTo>
                      <a:pt x="862" y="767"/>
                    </a:lnTo>
                    <a:lnTo>
                      <a:pt x="860" y="771"/>
                    </a:lnTo>
                    <a:lnTo>
                      <a:pt x="856" y="767"/>
                    </a:lnTo>
                    <a:lnTo>
                      <a:pt x="849" y="762"/>
                    </a:lnTo>
                    <a:lnTo>
                      <a:pt x="841" y="760"/>
                    </a:lnTo>
                    <a:lnTo>
                      <a:pt x="828" y="752"/>
                    </a:lnTo>
                    <a:lnTo>
                      <a:pt x="832" y="748"/>
                    </a:lnTo>
                    <a:lnTo>
                      <a:pt x="828" y="750"/>
                    </a:lnTo>
                    <a:lnTo>
                      <a:pt x="817" y="743"/>
                    </a:lnTo>
                    <a:lnTo>
                      <a:pt x="815" y="737"/>
                    </a:lnTo>
                    <a:lnTo>
                      <a:pt x="809" y="728"/>
                    </a:lnTo>
                    <a:lnTo>
                      <a:pt x="802" y="726"/>
                    </a:lnTo>
                    <a:lnTo>
                      <a:pt x="798" y="724"/>
                    </a:lnTo>
                    <a:lnTo>
                      <a:pt x="800" y="720"/>
                    </a:lnTo>
                    <a:lnTo>
                      <a:pt x="794" y="722"/>
                    </a:lnTo>
                    <a:lnTo>
                      <a:pt x="785" y="718"/>
                    </a:lnTo>
                    <a:lnTo>
                      <a:pt x="779" y="716"/>
                    </a:lnTo>
                    <a:lnTo>
                      <a:pt x="775" y="711"/>
                    </a:lnTo>
                    <a:lnTo>
                      <a:pt x="770" y="711"/>
                    </a:lnTo>
                    <a:lnTo>
                      <a:pt x="766" y="707"/>
                    </a:lnTo>
                    <a:lnTo>
                      <a:pt x="755" y="703"/>
                    </a:lnTo>
                    <a:lnTo>
                      <a:pt x="762" y="701"/>
                    </a:lnTo>
                    <a:lnTo>
                      <a:pt x="764" y="696"/>
                    </a:lnTo>
                    <a:lnTo>
                      <a:pt x="766" y="690"/>
                    </a:lnTo>
                    <a:lnTo>
                      <a:pt x="762" y="686"/>
                    </a:lnTo>
                    <a:lnTo>
                      <a:pt x="762" y="679"/>
                    </a:lnTo>
                    <a:lnTo>
                      <a:pt x="768" y="679"/>
                    </a:lnTo>
                    <a:lnTo>
                      <a:pt x="770" y="684"/>
                    </a:lnTo>
                    <a:lnTo>
                      <a:pt x="770" y="690"/>
                    </a:lnTo>
                    <a:lnTo>
                      <a:pt x="773" y="696"/>
                    </a:lnTo>
                    <a:lnTo>
                      <a:pt x="770" y="690"/>
                    </a:lnTo>
                    <a:lnTo>
                      <a:pt x="770" y="684"/>
                    </a:lnTo>
                    <a:lnTo>
                      <a:pt x="777" y="684"/>
                    </a:lnTo>
                    <a:lnTo>
                      <a:pt x="781" y="686"/>
                    </a:lnTo>
                    <a:lnTo>
                      <a:pt x="777" y="684"/>
                    </a:lnTo>
                    <a:lnTo>
                      <a:pt x="773" y="682"/>
                    </a:lnTo>
                    <a:lnTo>
                      <a:pt x="766" y="675"/>
                    </a:lnTo>
                    <a:lnTo>
                      <a:pt x="762" y="675"/>
                    </a:lnTo>
                    <a:lnTo>
                      <a:pt x="758" y="684"/>
                    </a:lnTo>
                    <a:lnTo>
                      <a:pt x="745" y="692"/>
                    </a:lnTo>
                    <a:lnTo>
                      <a:pt x="741" y="694"/>
                    </a:lnTo>
                    <a:lnTo>
                      <a:pt x="724" y="692"/>
                    </a:lnTo>
                    <a:lnTo>
                      <a:pt x="711" y="686"/>
                    </a:lnTo>
                    <a:lnTo>
                      <a:pt x="713" y="682"/>
                    </a:lnTo>
                    <a:lnTo>
                      <a:pt x="713" y="679"/>
                    </a:lnTo>
                    <a:lnTo>
                      <a:pt x="711" y="673"/>
                    </a:lnTo>
                    <a:lnTo>
                      <a:pt x="709" y="677"/>
                    </a:lnTo>
                    <a:lnTo>
                      <a:pt x="702" y="682"/>
                    </a:lnTo>
                    <a:lnTo>
                      <a:pt x="696" y="679"/>
                    </a:lnTo>
                    <a:lnTo>
                      <a:pt x="672" y="675"/>
                    </a:lnTo>
                    <a:lnTo>
                      <a:pt x="662" y="677"/>
                    </a:lnTo>
                    <a:lnTo>
                      <a:pt x="645" y="679"/>
                    </a:lnTo>
                    <a:lnTo>
                      <a:pt x="638" y="682"/>
                    </a:lnTo>
                    <a:lnTo>
                      <a:pt x="636" y="682"/>
                    </a:lnTo>
                    <a:lnTo>
                      <a:pt x="632" y="679"/>
                    </a:lnTo>
                    <a:lnTo>
                      <a:pt x="630" y="673"/>
                    </a:lnTo>
                    <a:lnTo>
                      <a:pt x="626" y="669"/>
                    </a:lnTo>
                    <a:lnTo>
                      <a:pt x="615" y="669"/>
                    </a:lnTo>
                    <a:lnTo>
                      <a:pt x="611" y="664"/>
                    </a:lnTo>
                    <a:lnTo>
                      <a:pt x="609" y="658"/>
                    </a:lnTo>
                    <a:lnTo>
                      <a:pt x="611" y="654"/>
                    </a:lnTo>
                    <a:lnTo>
                      <a:pt x="611" y="650"/>
                    </a:lnTo>
                    <a:lnTo>
                      <a:pt x="613" y="643"/>
                    </a:lnTo>
                    <a:lnTo>
                      <a:pt x="617" y="639"/>
                    </a:lnTo>
                    <a:lnTo>
                      <a:pt x="611" y="643"/>
                    </a:lnTo>
                    <a:lnTo>
                      <a:pt x="609" y="647"/>
                    </a:lnTo>
                    <a:lnTo>
                      <a:pt x="604" y="652"/>
                    </a:lnTo>
                    <a:lnTo>
                      <a:pt x="602" y="658"/>
                    </a:lnTo>
                    <a:lnTo>
                      <a:pt x="596" y="660"/>
                    </a:lnTo>
                    <a:lnTo>
                      <a:pt x="592" y="658"/>
                    </a:lnTo>
                    <a:lnTo>
                      <a:pt x="587" y="654"/>
                    </a:lnTo>
                    <a:lnTo>
                      <a:pt x="583" y="654"/>
                    </a:lnTo>
                    <a:lnTo>
                      <a:pt x="583" y="650"/>
                    </a:lnTo>
                    <a:lnTo>
                      <a:pt x="587" y="645"/>
                    </a:lnTo>
                    <a:lnTo>
                      <a:pt x="581" y="645"/>
                    </a:lnTo>
                    <a:lnTo>
                      <a:pt x="577" y="641"/>
                    </a:lnTo>
                    <a:lnTo>
                      <a:pt x="570" y="643"/>
                    </a:lnTo>
                    <a:lnTo>
                      <a:pt x="577" y="635"/>
                    </a:lnTo>
                    <a:lnTo>
                      <a:pt x="564" y="641"/>
                    </a:lnTo>
                    <a:lnTo>
                      <a:pt x="560" y="641"/>
                    </a:lnTo>
                    <a:lnTo>
                      <a:pt x="564" y="637"/>
                    </a:lnTo>
                    <a:lnTo>
                      <a:pt x="574" y="633"/>
                    </a:lnTo>
                    <a:lnTo>
                      <a:pt x="570" y="628"/>
                    </a:lnTo>
                    <a:lnTo>
                      <a:pt x="566" y="633"/>
                    </a:lnTo>
                    <a:lnTo>
                      <a:pt x="562" y="630"/>
                    </a:lnTo>
                    <a:lnTo>
                      <a:pt x="557" y="628"/>
                    </a:lnTo>
                    <a:lnTo>
                      <a:pt x="557" y="622"/>
                    </a:lnTo>
                    <a:lnTo>
                      <a:pt x="560" y="618"/>
                    </a:lnTo>
                    <a:lnTo>
                      <a:pt x="570" y="618"/>
                    </a:lnTo>
                    <a:lnTo>
                      <a:pt x="566" y="615"/>
                    </a:lnTo>
                    <a:lnTo>
                      <a:pt x="562" y="615"/>
                    </a:lnTo>
                    <a:lnTo>
                      <a:pt x="553" y="624"/>
                    </a:lnTo>
                    <a:lnTo>
                      <a:pt x="549" y="624"/>
                    </a:lnTo>
                    <a:lnTo>
                      <a:pt x="543" y="622"/>
                    </a:lnTo>
                    <a:lnTo>
                      <a:pt x="540" y="626"/>
                    </a:lnTo>
                    <a:lnTo>
                      <a:pt x="536" y="622"/>
                    </a:lnTo>
                    <a:lnTo>
                      <a:pt x="536" y="626"/>
                    </a:lnTo>
                    <a:lnTo>
                      <a:pt x="536" y="615"/>
                    </a:lnTo>
                    <a:lnTo>
                      <a:pt x="532" y="620"/>
                    </a:lnTo>
                    <a:lnTo>
                      <a:pt x="532" y="630"/>
                    </a:lnTo>
                    <a:lnTo>
                      <a:pt x="530" y="624"/>
                    </a:lnTo>
                    <a:lnTo>
                      <a:pt x="528" y="628"/>
                    </a:lnTo>
                    <a:lnTo>
                      <a:pt x="521" y="626"/>
                    </a:lnTo>
                    <a:lnTo>
                      <a:pt x="523" y="620"/>
                    </a:lnTo>
                    <a:lnTo>
                      <a:pt x="523" y="615"/>
                    </a:lnTo>
                    <a:lnTo>
                      <a:pt x="528" y="611"/>
                    </a:lnTo>
                    <a:lnTo>
                      <a:pt x="530" y="605"/>
                    </a:lnTo>
                    <a:lnTo>
                      <a:pt x="528" y="609"/>
                    </a:lnTo>
                    <a:lnTo>
                      <a:pt x="523" y="613"/>
                    </a:lnTo>
                    <a:lnTo>
                      <a:pt x="521" y="618"/>
                    </a:lnTo>
                    <a:lnTo>
                      <a:pt x="517" y="613"/>
                    </a:lnTo>
                    <a:lnTo>
                      <a:pt x="511" y="615"/>
                    </a:lnTo>
                    <a:lnTo>
                      <a:pt x="508" y="622"/>
                    </a:lnTo>
                    <a:lnTo>
                      <a:pt x="515" y="618"/>
                    </a:lnTo>
                    <a:lnTo>
                      <a:pt x="515" y="622"/>
                    </a:lnTo>
                    <a:lnTo>
                      <a:pt x="513" y="628"/>
                    </a:lnTo>
                    <a:lnTo>
                      <a:pt x="502" y="633"/>
                    </a:lnTo>
                    <a:lnTo>
                      <a:pt x="506" y="630"/>
                    </a:lnTo>
                    <a:lnTo>
                      <a:pt x="502" y="635"/>
                    </a:lnTo>
                    <a:lnTo>
                      <a:pt x="508" y="635"/>
                    </a:lnTo>
                    <a:lnTo>
                      <a:pt x="508" y="639"/>
                    </a:lnTo>
                    <a:lnTo>
                      <a:pt x="513" y="635"/>
                    </a:lnTo>
                    <a:lnTo>
                      <a:pt x="515" y="641"/>
                    </a:lnTo>
                    <a:lnTo>
                      <a:pt x="513" y="645"/>
                    </a:lnTo>
                    <a:lnTo>
                      <a:pt x="506" y="645"/>
                    </a:lnTo>
                    <a:lnTo>
                      <a:pt x="502" y="650"/>
                    </a:lnTo>
                    <a:lnTo>
                      <a:pt x="508" y="647"/>
                    </a:lnTo>
                    <a:lnTo>
                      <a:pt x="513" y="650"/>
                    </a:lnTo>
                    <a:lnTo>
                      <a:pt x="517" y="645"/>
                    </a:lnTo>
                    <a:lnTo>
                      <a:pt x="521" y="650"/>
                    </a:lnTo>
                    <a:lnTo>
                      <a:pt x="521" y="654"/>
                    </a:lnTo>
                    <a:lnTo>
                      <a:pt x="515" y="656"/>
                    </a:lnTo>
                    <a:lnTo>
                      <a:pt x="513" y="660"/>
                    </a:lnTo>
                    <a:lnTo>
                      <a:pt x="508" y="664"/>
                    </a:lnTo>
                    <a:lnTo>
                      <a:pt x="513" y="664"/>
                    </a:lnTo>
                    <a:lnTo>
                      <a:pt x="513" y="669"/>
                    </a:lnTo>
                    <a:lnTo>
                      <a:pt x="508" y="673"/>
                    </a:lnTo>
                    <a:lnTo>
                      <a:pt x="506" y="679"/>
                    </a:lnTo>
                    <a:lnTo>
                      <a:pt x="504" y="679"/>
                    </a:lnTo>
                    <a:lnTo>
                      <a:pt x="500" y="684"/>
                    </a:lnTo>
                    <a:lnTo>
                      <a:pt x="487" y="677"/>
                    </a:lnTo>
                    <a:lnTo>
                      <a:pt x="485" y="677"/>
                    </a:lnTo>
                    <a:lnTo>
                      <a:pt x="483" y="682"/>
                    </a:lnTo>
                    <a:lnTo>
                      <a:pt x="481" y="671"/>
                    </a:lnTo>
                    <a:lnTo>
                      <a:pt x="479" y="677"/>
                    </a:lnTo>
                    <a:lnTo>
                      <a:pt x="474" y="682"/>
                    </a:lnTo>
                    <a:lnTo>
                      <a:pt x="472" y="686"/>
                    </a:lnTo>
                    <a:lnTo>
                      <a:pt x="472" y="690"/>
                    </a:lnTo>
                    <a:lnTo>
                      <a:pt x="470" y="686"/>
                    </a:lnTo>
                    <a:lnTo>
                      <a:pt x="470" y="679"/>
                    </a:lnTo>
                    <a:lnTo>
                      <a:pt x="468" y="686"/>
                    </a:lnTo>
                    <a:lnTo>
                      <a:pt x="466" y="690"/>
                    </a:lnTo>
                    <a:lnTo>
                      <a:pt x="466" y="694"/>
                    </a:lnTo>
                    <a:lnTo>
                      <a:pt x="464" y="690"/>
                    </a:lnTo>
                    <a:lnTo>
                      <a:pt x="459" y="688"/>
                    </a:lnTo>
                    <a:lnTo>
                      <a:pt x="462" y="694"/>
                    </a:lnTo>
                    <a:lnTo>
                      <a:pt x="459" y="696"/>
                    </a:lnTo>
                    <a:lnTo>
                      <a:pt x="453" y="699"/>
                    </a:lnTo>
                    <a:lnTo>
                      <a:pt x="451" y="703"/>
                    </a:lnTo>
                    <a:lnTo>
                      <a:pt x="451" y="699"/>
                    </a:lnTo>
                    <a:lnTo>
                      <a:pt x="453" y="694"/>
                    </a:lnTo>
                    <a:lnTo>
                      <a:pt x="447" y="703"/>
                    </a:lnTo>
                    <a:lnTo>
                      <a:pt x="442" y="699"/>
                    </a:lnTo>
                    <a:lnTo>
                      <a:pt x="442" y="705"/>
                    </a:lnTo>
                    <a:lnTo>
                      <a:pt x="432" y="711"/>
                    </a:lnTo>
                    <a:lnTo>
                      <a:pt x="432" y="718"/>
                    </a:lnTo>
                    <a:lnTo>
                      <a:pt x="421" y="713"/>
                    </a:lnTo>
                    <a:lnTo>
                      <a:pt x="425" y="718"/>
                    </a:lnTo>
                    <a:lnTo>
                      <a:pt x="419" y="718"/>
                    </a:lnTo>
                    <a:lnTo>
                      <a:pt x="415" y="716"/>
                    </a:lnTo>
                    <a:lnTo>
                      <a:pt x="411" y="720"/>
                    </a:lnTo>
                    <a:lnTo>
                      <a:pt x="406" y="720"/>
                    </a:lnTo>
                    <a:lnTo>
                      <a:pt x="402" y="716"/>
                    </a:lnTo>
                    <a:lnTo>
                      <a:pt x="400" y="709"/>
                    </a:lnTo>
                    <a:lnTo>
                      <a:pt x="402" y="705"/>
                    </a:lnTo>
                    <a:lnTo>
                      <a:pt x="408" y="703"/>
                    </a:lnTo>
                    <a:lnTo>
                      <a:pt x="413" y="703"/>
                    </a:lnTo>
                    <a:lnTo>
                      <a:pt x="419" y="705"/>
                    </a:lnTo>
                    <a:lnTo>
                      <a:pt x="417" y="699"/>
                    </a:lnTo>
                    <a:lnTo>
                      <a:pt x="423" y="696"/>
                    </a:lnTo>
                    <a:lnTo>
                      <a:pt x="430" y="688"/>
                    </a:lnTo>
                    <a:lnTo>
                      <a:pt x="425" y="688"/>
                    </a:lnTo>
                    <a:lnTo>
                      <a:pt x="419" y="692"/>
                    </a:lnTo>
                    <a:lnTo>
                      <a:pt x="413" y="692"/>
                    </a:lnTo>
                    <a:lnTo>
                      <a:pt x="408" y="690"/>
                    </a:lnTo>
                    <a:lnTo>
                      <a:pt x="406" y="684"/>
                    </a:lnTo>
                    <a:lnTo>
                      <a:pt x="411" y="671"/>
                    </a:lnTo>
                    <a:lnTo>
                      <a:pt x="415" y="667"/>
                    </a:lnTo>
                    <a:lnTo>
                      <a:pt x="421" y="658"/>
                    </a:lnTo>
                    <a:lnTo>
                      <a:pt x="423" y="652"/>
                    </a:lnTo>
                    <a:lnTo>
                      <a:pt x="425" y="650"/>
                    </a:lnTo>
                    <a:lnTo>
                      <a:pt x="428" y="641"/>
                    </a:lnTo>
                    <a:lnTo>
                      <a:pt x="425" y="630"/>
                    </a:lnTo>
                    <a:lnTo>
                      <a:pt x="436" y="626"/>
                    </a:lnTo>
                    <a:lnTo>
                      <a:pt x="447" y="618"/>
                    </a:lnTo>
                    <a:lnTo>
                      <a:pt x="453" y="615"/>
                    </a:lnTo>
                    <a:lnTo>
                      <a:pt x="462" y="622"/>
                    </a:lnTo>
                    <a:lnTo>
                      <a:pt x="466" y="622"/>
                    </a:lnTo>
                    <a:lnTo>
                      <a:pt x="470" y="620"/>
                    </a:lnTo>
                    <a:lnTo>
                      <a:pt x="474" y="622"/>
                    </a:lnTo>
                    <a:lnTo>
                      <a:pt x="489" y="626"/>
                    </a:lnTo>
                    <a:lnTo>
                      <a:pt x="485" y="622"/>
                    </a:lnTo>
                    <a:lnTo>
                      <a:pt x="477" y="618"/>
                    </a:lnTo>
                    <a:lnTo>
                      <a:pt x="466" y="609"/>
                    </a:lnTo>
                    <a:lnTo>
                      <a:pt x="466" y="605"/>
                    </a:lnTo>
                    <a:lnTo>
                      <a:pt x="470" y="601"/>
                    </a:lnTo>
                    <a:lnTo>
                      <a:pt x="481" y="594"/>
                    </a:lnTo>
                    <a:lnTo>
                      <a:pt x="485" y="590"/>
                    </a:lnTo>
                    <a:lnTo>
                      <a:pt x="481" y="590"/>
                    </a:lnTo>
                    <a:lnTo>
                      <a:pt x="477" y="590"/>
                    </a:lnTo>
                    <a:lnTo>
                      <a:pt x="472" y="594"/>
                    </a:lnTo>
                    <a:lnTo>
                      <a:pt x="466" y="603"/>
                    </a:lnTo>
                    <a:lnTo>
                      <a:pt x="462" y="603"/>
                    </a:lnTo>
                    <a:lnTo>
                      <a:pt x="457" y="603"/>
                    </a:lnTo>
                    <a:lnTo>
                      <a:pt x="453" y="601"/>
                    </a:lnTo>
                    <a:lnTo>
                      <a:pt x="453" y="594"/>
                    </a:lnTo>
                    <a:lnTo>
                      <a:pt x="451" y="594"/>
                    </a:lnTo>
                    <a:lnTo>
                      <a:pt x="451" y="598"/>
                    </a:lnTo>
                    <a:lnTo>
                      <a:pt x="438" y="605"/>
                    </a:lnTo>
                    <a:lnTo>
                      <a:pt x="436" y="609"/>
                    </a:lnTo>
                    <a:lnTo>
                      <a:pt x="430" y="611"/>
                    </a:lnTo>
                    <a:lnTo>
                      <a:pt x="423" y="613"/>
                    </a:lnTo>
                    <a:lnTo>
                      <a:pt x="419" y="615"/>
                    </a:lnTo>
                    <a:lnTo>
                      <a:pt x="415" y="622"/>
                    </a:lnTo>
                    <a:lnTo>
                      <a:pt x="415" y="626"/>
                    </a:lnTo>
                    <a:lnTo>
                      <a:pt x="411" y="628"/>
                    </a:lnTo>
                    <a:lnTo>
                      <a:pt x="400" y="637"/>
                    </a:lnTo>
                    <a:lnTo>
                      <a:pt x="398" y="641"/>
                    </a:lnTo>
                    <a:lnTo>
                      <a:pt x="398" y="647"/>
                    </a:lnTo>
                    <a:lnTo>
                      <a:pt x="389" y="654"/>
                    </a:lnTo>
                    <a:lnTo>
                      <a:pt x="383" y="654"/>
                    </a:lnTo>
                    <a:lnTo>
                      <a:pt x="381" y="650"/>
                    </a:lnTo>
                    <a:lnTo>
                      <a:pt x="374" y="650"/>
                    </a:lnTo>
                    <a:lnTo>
                      <a:pt x="379" y="654"/>
                    </a:lnTo>
                    <a:lnTo>
                      <a:pt x="383" y="658"/>
                    </a:lnTo>
                    <a:lnTo>
                      <a:pt x="387" y="662"/>
                    </a:lnTo>
                    <a:lnTo>
                      <a:pt x="383" y="673"/>
                    </a:lnTo>
                    <a:lnTo>
                      <a:pt x="376" y="675"/>
                    </a:lnTo>
                    <a:lnTo>
                      <a:pt x="372" y="673"/>
                    </a:lnTo>
                    <a:lnTo>
                      <a:pt x="366" y="675"/>
                    </a:lnTo>
                    <a:lnTo>
                      <a:pt x="370" y="677"/>
                    </a:lnTo>
                    <a:lnTo>
                      <a:pt x="372" y="682"/>
                    </a:lnTo>
                    <a:lnTo>
                      <a:pt x="368" y="686"/>
                    </a:lnTo>
                    <a:lnTo>
                      <a:pt x="362" y="688"/>
                    </a:lnTo>
                    <a:lnTo>
                      <a:pt x="362" y="682"/>
                    </a:lnTo>
                    <a:lnTo>
                      <a:pt x="357" y="686"/>
                    </a:lnTo>
                    <a:lnTo>
                      <a:pt x="351" y="686"/>
                    </a:lnTo>
                    <a:lnTo>
                      <a:pt x="349" y="690"/>
                    </a:lnTo>
                    <a:lnTo>
                      <a:pt x="349" y="696"/>
                    </a:lnTo>
                    <a:lnTo>
                      <a:pt x="338" y="699"/>
                    </a:lnTo>
                    <a:lnTo>
                      <a:pt x="336" y="703"/>
                    </a:lnTo>
                    <a:lnTo>
                      <a:pt x="336" y="709"/>
                    </a:lnTo>
                    <a:lnTo>
                      <a:pt x="332" y="713"/>
                    </a:lnTo>
                    <a:lnTo>
                      <a:pt x="332" y="718"/>
                    </a:lnTo>
                    <a:lnTo>
                      <a:pt x="338" y="716"/>
                    </a:lnTo>
                    <a:lnTo>
                      <a:pt x="342" y="718"/>
                    </a:lnTo>
                    <a:lnTo>
                      <a:pt x="347" y="718"/>
                    </a:lnTo>
                    <a:lnTo>
                      <a:pt x="351" y="724"/>
                    </a:lnTo>
                    <a:lnTo>
                      <a:pt x="355" y="726"/>
                    </a:lnTo>
                    <a:lnTo>
                      <a:pt x="359" y="733"/>
                    </a:lnTo>
                    <a:lnTo>
                      <a:pt x="351" y="741"/>
                    </a:lnTo>
                    <a:lnTo>
                      <a:pt x="345" y="743"/>
                    </a:lnTo>
                    <a:lnTo>
                      <a:pt x="338" y="743"/>
                    </a:lnTo>
                    <a:lnTo>
                      <a:pt x="336" y="748"/>
                    </a:lnTo>
                    <a:lnTo>
                      <a:pt x="330" y="750"/>
                    </a:lnTo>
                    <a:lnTo>
                      <a:pt x="332" y="756"/>
                    </a:lnTo>
                    <a:lnTo>
                      <a:pt x="327" y="758"/>
                    </a:lnTo>
                    <a:lnTo>
                      <a:pt x="321" y="760"/>
                    </a:lnTo>
                    <a:lnTo>
                      <a:pt x="327" y="760"/>
                    </a:lnTo>
                    <a:lnTo>
                      <a:pt x="327" y="765"/>
                    </a:lnTo>
                    <a:lnTo>
                      <a:pt x="323" y="769"/>
                    </a:lnTo>
                    <a:lnTo>
                      <a:pt x="319" y="771"/>
                    </a:lnTo>
                    <a:lnTo>
                      <a:pt x="313" y="769"/>
                    </a:lnTo>
                    <a:lnTo>
                      <a:pt x="313" y="775"/>
                    </a:lnTo>
                    <a:lnTo>
                      <a:pt x="308" y="773"/>
                    </a:lnTo>
                    <a:lnTo>
                      <a:pt x="304" y="773"/>
                    </a:lnTo>
                    <a:lnTo>
                      <a:pt x="298" y="777"/>
                    </a:lnTo>
                    <a:lnTo>
                      <a:pt x="296" y="782"/>
                    </a:lnTo>
                    <a:lnTo>
                      <a:pt x="289" y="782"/>
                    </a:lnTo>
                    <a:lnTo>
                      <a:pt x="289" y="788"/>
                    </a:lnTo>
                    <a:lnTo>
                      <a:pt x="283" y="786"/>
                    </a:lnTo>
                    <a:lnTo>
                      <a:pt x="279" y="784"/>
                    </a:lnTo>
                    <a:lnTo>
                      <a:pt x="279" y="788"/>
                    </a:lnTo>
                    <a:lnTo>
                      <a:pt x="274" y="792"/>
                    </a:lnTo>
                    <a:lnTo>
                      <a:pt x="272" y="797"/>
                    </a:lnTo>
                    <a:lnTo>
                      <a:pt x="268" y="797"/>
                    </a:lnTo>
                    <a:lnTo>
                      <a:pt x="264" y="797"/>
                    </a:lnTo>
                    <a:lnTo>
                      <a:pt x="264" y="801"/>
                    </a:lnTo>
                    <a:lnTo>
                      <a:pt x="259" y="799"/>
                    </a:lnTo>
                    <a:lnTo>
                      <a:pt x="247" y="805"/>
                    </a:lnTo>
                    <a:lnTo>
                      <a:pt x="251" y="807"/>
                    </a:lnTo>
                    <a:lnTo>
                      <a:pt x="249" y="811"/>
                    </a:lnTo>
                    <a:lnTo>
                      <a:pt x="249" y="818"/>
                    </a:lnTo>
                    <a:lnTo>
                      <a:pt x="234" y="828"/>
                    </a:lnTo>
                    <a:lnTo>
                      <a:pt x="230" y="822"/>
                    </a:lnTo>
                    <a:lnTo>
                      <a:pt x="227" y="826"/>
                    </a:lnTo>
                    <a:lnTo>
                      <a:pt x="221" y="828"/>
                    </a:lnTo>
                    <a:lnTo>
                      <a:pt x="221" y="831"/>
                    </a:lnTo>
                    <a:lnTo>
                      <a:pt x="217" y="831"/>
                    </a:lnTo>
                    <a:lnTo>
                      <a:pt x="212" y="828"/>
                    </a:lnTo>
                    <a:lnTo>
                      <a:pt x="212" y="833"/>
                    </a:lnTo>
                    <a:lnTo>
                      <a:pt x="208" y="837"/>
                    </a:lnTo>
                    <a:lnTo>
                      <a:pt x="202" y="839"/>
                    </a:lnTo>
                    <a:lnTo>
                      <a:pt x="198" y="835"/>
                    </a:lnTo>
                    <a:lnTo>
                      <a:pt x="193" y="839"/>
                    </a:lnTo>
                    <a:lnTo>
                      <a:pt x="198" y="841"/>
                    </a:lnTo>
                    <a:lnTo>
                      <a:pt x="195" y="848"/>
                    </a:lnTo>
                    <a:lnTo>
                      <a:pt x="191" y="843"/>
                    </a:lnTo>
                    <a:lnTo>
                      <a:pt x="185" y="846"/>
                    </a:lnTo>
                    <a:lnTo>
                      <a:pt x="181" y="843"/>
                    </a:lnTo>
                    <a:lnTo>
                      <a:pt x="170" y="852"/>
                    </a:lnTo>
                    <a:lnTo>
                      <a:pt x="176" y="850"/>
                    </a:lnTo>
                    <a:lnTo>
                      <a:pt x="181" y="854"/>
                    </a:lnTo>
                    <a:lnTo>
                      <a:pt x="176" y="858"/>
                    </a:lnTo>
                    <a:lnTo>
                      <a:pt x="181" y="860"/>
                    </a:lnTo>
                    <a:lnTo>
                      <a:pt x="176" y="860"/>
                    </a:lnTo>
                    <a:lnTo>
                      <a:pt x="172" y="869"/>
                    </a:lnTo>
                    <a:lnTo>
                      <a:pt x="170" y="869"/>
                    </a:lnTo>
                    <a:lnTo>
                      <a:pt x="168" y="865"/>
                    </a:lnTo>
                    <a:lnTo>
                      <a:pt x="172" y="860"/>
                    </a:lnTo>
                    <a:lnTo>
                      <a:pt x="166" y="863"/>
                    </a:lnTo>
                    <a:lnTo>
                      <a:pt x="164" y="867"/>
                    </a:lnTo>
                    <a:lnTo>
                      <a:pt x="157" y="869"/>
                    </a:lnTo>
                    <a:lnTo>
                      <a:pt x="153" y="871"/>
                    </a:lnTo>
                    <a:lnTo>
                      <a:pt x="149" y="869"/>
                    </a:lnTo>
                    <a:lnTo>
                      <a:pt x="138" y="873"/>
                    </a:lnTo>
                    <a:lnTo>
                      <a:pt x="132" y="882"/>
                    </a:lnTo>
                    <a:lnTo>
                      <a:pt x="125" y="886"/>
                    </a:lnTo>
                    <a:lnTo>
                      <a:pt x="129" y="882"/>
                    </a:lnTo>
                    <a:lnTo>
                      <a:pt x="129" y="875"/>
                    </a:lnTo>
                    <a:lnTo>
                      <a:pt x="132" y="871"/>
                    </a:lnTo>
                    <a:lnTo>
                      <a:pt x="127" y="869"/>
                    </a:lnTo>
                    <a:lnTo>
                      <a:pt x="119" y="871"/>
                    </a:lnTo>
                    <a:lnTo>
                      <a:pt x="117" y="875"/>
                    </a:lnTo>
                    <a:lnTo>
                      <a:pt x="110" y="877"/>
                    </a:lnTo>
                    <a:lnTo>
                      <a:pt x="106" y="875"/>
                    </a:lnTo>
                    <a:lnTo>
                      <a:pt x="100" y="884"/>
                    </a:lnTo>
                    <a:lnTo>
                      <a:pt x="98" y="880"/>
                    </a:lnTo>
                    <a:lnTo>
                      <a:pt x="93" y="880"/>
                    </a:lnTo>
                    <a:lnTo>
                      <a:pt x="93" y="884"/>
                    </a:lnTo>
                    <a:lnTo>
                      <a:pt x="89" y="884"/>
                    </a:lnTo>
                    <a:lnTo>
                      <a:pt x="85" y="882"/>
                    </a:lnTo>
                    <a:lnTo>
                      <a:pt x="78" y="884"/>
                    </a:lnTo>
                    <a:lnTo>
                      <a:pt x="74" y="886"/>
                    </a:lnTo>
                    <a:lnTo>
                      <a:pt x="68" y="884"/>
                    </a:lnTo>
                    <a:lnTo>
                      <a:pt x="68" y="877"/>
                    </a:lnTo>
                    <a:lnTo>
                      <a:pt x="70" y="873"/>
                    </a:lnTo>
                    <a:lnTo>
                      <a:pt x="76" y="875"/>
                    </a:lnTo>
                    <a:lnTo>
                      <a:pt x="74" y="869"/>
                    </a:lnTo>
                    <a:lnTo>
                      <a:pt x="68" y="869"/>
                    </a:lnTo>
                    <a:lnTo>
                      <a:pt x="63" y="871"/>
                    </a:lnTo>
                    <a:lnTo>
                      <a:pt x="57" y="882"/>
                    </a:lnTo>
                    <a:lnTo>
                      <a:pt x="53" y="884"/>
                    </a:lnTo>
                    <a:lnTo>
                      <a:pt x="49" y="886"/>
                    </a:lnTo>
                    <a:lnTo>
                      <a:pt x="49" y="890"/>
                    </a:lnTo>
                    <a:lnTo>
                      <a:pt x="42" y="892"/>
                    </a:lnTo>
                    <a:lnTo>
                      <a:pt x="36" y="897"/>
                    </a:lnTo>
                    <a:lnTo>
                      <a:pt x="32" y="895"/>
                    </a:lnTo>
                    <a:lnTo>
                      <a:pt x="32" y="888"/>
                    </a:lnTo>
                    <a:lnTo>
                      <a:pt x="32" y="877"/>
                    </a:lnTo>
                    <a:lnTo>
                      <a:pt x="25" y="880"/>
                    </a:lnTo>
                    <a:lnTo>
                      <a:pt x="27" y="884"/>
                    </a:lnTo>
                    <a:lnTo>
                      <a:pt x="25" y="890"/>
                    </a:lnTo>
                    <a:lnTo>
                      <a:pt x="25" y="895"/>
                    </a:lnTo>
                    <a:lnTo>
                      <a:pt x="14" y="895"/>
                    </a:lnTo>
                    <a:lnTo>
                      <a:pt x="14" y="890"/>
                    </a:lnTo>
                    <a:lnTo>
                      <a:pt x="12" y="884"/>
                    </a:lnTo>
                    <a:lnTo>
                      <a:pt x="8" y="882"/>
                    </a:lnTo>
                    <a:lnTo>
                      <a:pt x="6" y="888"/>
                    </a:lnTo>
                    <a:lnTo>
                      <a:pt x="10" y="892"/>
                    </a:lnTo>
                    <a:lnTo>
                      <a:pt x="4" y="897"/>
                    </a:lnTo>
                    <a:lnTo>
                      <a:pt x="0" y="899"/>
                    </a:lnTo>
                    <a:lnTo>
                      <a:pt x="0" y="892"/>
                    </a:lnTo>
                    <a:lnTo>
                      <a:pt x="4" y="888"/>
                    </a:lnTo>
                    <a:lnTo>
                      <a:pt x="4" y="884"/>
                    </a:lnTo>
                    <a:lnTo>
                      <a:pt x="8" y="880"/>
                    </a:lnTo>
                    <a:lnTo>
                      <a:pt x="12" y="877"/>
                    </a:lnTo>
                    <a:lnTo>
                      <a:pt x="19" y="882"/>
                    </a:lnTo>
                    <a:lnTo>
                      <a:pt x="21" y="875"/>
                    </a:lnTo>
                    <a:lnTo>
                      <a:pt x="32" y="875"/>
                    </a:lnTo>
                    <a:lnTo>
                      <a:pt x="36" y="871"/>
                    </a:lnTo>
                    <a:lnTo>
                      <a:pt x="38" y="867"/>
                    </a:lnTo>
                    <a:lnTo>
                      <a:pt x="49" y="858"/>
                    </a:lnTo>
                    <a:lnTo>
                      <a:pt x="66" y="850"/>
                    </a:lnTo>
                    <a:lnTo>
                      <a:pt x="80" y="850"/>
                    </a:lnTo>
                    <a:lnTo>
                      <a:pt x="85" y="852"/>
                    </a:lnTo>
                    <a:lnTo>
                      <a:pt x="91" y="854"/>
                    </a:lnTo>
                    <a:lnTo>
                      <a:pt x="89" y="858"/>
                    </a:lnTo>
                    <a:lnTo>
                      <a:pt x="91" y="865"/>
                    </a:lnTo>
                    <a:lnTo>
                      <a:pt x="95" y="867"/>
                    </a:lnTo>
                    <a:lnTo>
                      <a:pt x="95" y="863"/>
                    </a:lnTo>
                    <a:lnTo>
                      <a:pt x="102" y="863"/>
                    </a:lnTo>
                    <a:lnTo>
                      <a:pt x="106" y="867"/>
                    </a:lnTo>
                    <a:lnTo>
                      <a:pt x="110" y="869"/>
                    </a:lnTo>
                    <a:lnTo>
                      <a:pt x="110" y="865"/>
                    </a:lnTo>
                    <a:lnTo>
                      <a:pt x="106" y="860"/>
                    </a:lnTo>
                    <a:lnTo>
                      <a:pt x="106" y="856"/>
                    </a:lnTo>
                    <a:lnTo>
                      <a:pt x="110" y="846"/>
                    </a:lnTo>
                    <a:lnTo>
                      <a:pt x="115" y="841"/>
                    </a:lnTo>
                    <a:lnTo>
                      <a:pt x="125" y="835"/>
                    </a:lnTo>
                    <a:lnTo>
                      <a:pt x="129" y="833"/>
                    </a:lnTo>
                    <a:lnTo>
                      <a:pt x="134" y="828"/>
                    </a:lnTo>
                    <a:lnTo>
                      <a:pt x="144" y="826"/>
                    </a:lnTo>
                    <a:lnTo>
                      <a:pt x="157" y="824"/>
                    </a:lnTo>
                    <a:lnTo>
                      <a:pt x="159" y="820"/>
                    </a:lnTo>
                    <a:lnTo>
                      <a:pt x="166" y="818"/>
                    </a:lnTo>
                    <a:lnTo>
                      <a:pt x="170" y="822"/>
                    </a:lnTo>
                    <a:lnTo>
                      <a:pt x="174" y="818"/>
                    </a:lnTo>
                    <a:lnTo>
                      <a:pt x="176" y="814"/>
                    </a:lnTo>
                    <a:lnTo>
                      <a:pt x="178" y="809"/>
                    </a:lnTo>
                    <a:lnTo>
                      <a:pt x="185" y="801"/>
                    </a:lnTo>
                    <a:lnTo>
                      <a:pt x="191" y="797"/>
                    </a:lnTo>
                    <a:lnTo>
                      <a:pt x="208" y="786"/>
                    </a:lnTo>
                    <a:lnTo>
                      <a:pt x="212" y="786"/>
                    </a:lnTo>
                    <a:lnTo>
                      <a:pt x="212" y="790"/>
                    </a:lnTo>
                    <a:lnTo>
                      <a:pt x="219" y="792"/>
                    </a:lnTo>
                    <a:lnTo>
                      <a:pt x="223" y="788"/>
                    </a:lnTo>
                    <a:lnTo>
                      <a:pt x="217" y="790"/>
                    </a:lnTo>
                    <a:lnTo>
                      <a:pt x="217" y="784"/>
                    </a:lnTo>
                    <a:lnTo>
                      <a:pt x="215" y="779"/>
                    </a:lnTo>
                    <a:lnTo>
                      <a:pt x="217" y="769"/>
                    </a:lnTo>
                    <a:lnTo>
                      <a:pt x="221" y="754"/>
                    </a:lnTo>
                    <a:lnTo>
                      <a:pt x="227" y="752"/>
                    </a:lnTo>
                    <a:lnTo>
                      <a:pt x="234" y="752"/>
                    </a:lnTo>
                    <a:lnTo>
                      <a:pt x="236" y="754"/>
                    </a:lnTo>
                    <a:lnTo>
                      <a:pt x="232" y="750"/>
                    </a:lnTo>
                    <a:lnTo>
                      <a:pt x="227" y="750"/>
                    </a:lnTo>
                    <a:lnTo>
                      <a:pt x="225" y="743"/>
                    </a:lnTo>
                    <a:lnTo>
                      <a:pt x="227" y="739"/>
                    </a:lnTo>
                    <a:lnTo>
                      <a:pt x="230" y="735"/>
                    </a:lnTo>
                    <a:lnTo>
                      <a:pt x="236" y="731"/>
                    </a:lnTo>
                    <a:lnTo>
                      <a:pt x="238" y="726"/>
                    </a:lnTo>
                    <a:lnTo>
                      <a:pt x="249" y="722"/>
                    </a:lnTo>
                    <a:lnTo>
                      <a:pt x="249" y="716"/>
                    </a:lnTo>
                    <a:lnTo>
                      <a:pt x="249" y="711"/>
                    </a:lnTo>
                    <a:lnTo>
                      <a:pt x="255" y="707"/>
                    </a:lnTo>
                    <a:lnTo>
                      <a:pt x="255" y="703"/>
                    </a:lnTo>
                    <a:lnTo>
                      <a:pt x="257" y="699"/>
                    </a:lnTo>
                    <a:lnTo>
                      <a:pt x="255" y="703"/>
                    </a:lnTo>
                    <a:lnTo>
                      <a:pt x="255" y="703"/>
                    </a:lnTo>
                    <a:lnTo>
                      <a:pt x="251" y="707"/>
                    </a:lnTo>
                    <a:lnTo>
                      <a:pt x="247" y="711"/>
                    </a:lnTo>
                    <a:lnTo>
                      <a:pt x="240" y="713"/>
                    </a:lnTo>
                    <a:lnTo>
                      <a:pt x="225" y="718"/>
                    </a:lnTo>
                    <a:lnTo>
                      <a:pt x="212" y="722"/>
                    </a:lnTo>
                    <a:lnTo>
                      <a:pt x="208" y="722"/>
                    </a:lnTo>
                    <a:lnTo>
                      <a:pt x="206" y="718"/>
                    </a:lnTo>
                    <a:lnTo>
                      <a:pt x="206" y="713"/>
                    </a:lnTo>
                    <a:lnTo>
                      <a:pt x="202" y="709"/>
                    </a:lnTo>
                    <a:lnTo>
                      <a:pt x="206" y="701"/>
                    </a:lnTo>
                    <a:lnTo>
                      <a:pt x="212" y="699"/>
                    </a:lnTo>
                    <a:lnTo>
                      <a:pt x="217" y="701"/>
                    </a:lnTo>
                    <a:lnTo>
                      <a:pt x="217" y="705"/>
                    </a:lnTo>
                    <a:lnTo>
                      <a:pt x="219" y="707"/>
                    </a:lnTo>
                    <a:lnTo>
                      <a:pt x="219" y="701"/>
                    </a:lnTo>
                    <a:lnTo>
                      <a:pt x="208" y="694"/>
                    </a:lnTo>
                    <a:lnTo>
                      <a:pt x="206" y="688"/>
                    </a:lnTo>
                    <a:lnTo>
                      <a:pt x="208" y="692"/>
                    </a:lnTo>
                    <a:lnTo>
                      <a:pt x="202" y="701"/>
                    </a:lnTo>
                    <a:lnTo>
                      <a:pt x="198" y="699"/>
                    </a:lnTo>
                    <a:lnTo>
                      <a:pt x="195" y="709"/>
                    </a:lnTo>
                    <a:lnTo>
                      <a:pt x="191" y="711"/>
                    </a:lnTo>
                    <a:lnTo>
                      <a:pt x="191" y="720"/>
                    </a:lnTo>
                    <a:lnTo>
                      <a:pt x="193" y="726"/>
                    </a:lnTo>
                    <a:lnTo>
                      <a:pt x="189" y="731"/>
                    </a:lnTo>
                    <a:lnTo>
                      <a:pt x="185" y="728"/>
                    </a:lnTo>
                    <a:lnTo>
                      <a:pt x="183" y="726"/>
                    </a:lnTo>
                    <a:lnTo>
                      <a:pt x="176" y="705"/>
                    </a:lnTo>
                    <a:lnTo>
                      <a:pt x="172" y="701"/>
                    </a:lnTo>
                    <a:lnTo>
                      <a:pt x="172" y="694"/>
                    </a:lnTo>
                    <a:lnTo>
                      <a:pt x="166" y="699"/>
                    </a:lnTo>
                    <a:lnTo>
                      <a:pt x="161" y="701"/>
                    </a:lnTo>
                    <a:lnTo>
                      <a:pt x="161" y="694"/>
                    </a:lnTo>
                    <a:lnTo>
                      <a:pt x="157" y="692"/>
                    </a:lnTo>
                    <a:lnTo>
                      <a:pt x="155" y="686"/>
                    </a:lnTo>
                    <a:lnTo>
                      <a:pt x="151" y="684"/>
                    </a:lnTo>
                    <a:lnTo>
                      <a:pt x="138" y="688"/>
                    </a:lnTo>
                    <a:lnTo>
                      <a:pt x="134" y="688"/>
                    </a:lnTo>
                    <a:lnTo>
                      <a:pt x="127" y="690"/>
                    </a:lnTo>
                    <a:lnTo>
                      <a:pt x="123" y="690"/>
                    </a:lnTo>
                    <a:lnTo>
                      <a:pt x="119" y="694"/>
                    </a:lnTo>
                    <a:lnTo>
                      <a:pt x="106" y="701"/>
                    </a:lnTo>
                    <a:lnTo>
                      <a:pt x="102" y="696"/>
                    </a:lnTo>
                    <a:lnTo>
                      <a:pt x="98" y="694"/>
                    </a:lnTo>
                    <a:lnTo>
                      <a:pt x="102" y="694"/>
                    </a:lnTo>
                    <a:lnTo>
                      <a:pt x="106" y="690"/>
                    </a:lnTo>
                    <a:lnTo>
                      <a:pt x="108" y="686"/>
                    </a:lnTo>
                    <a:lnTo>
                      <a:pt x="108" y="675"/>
                    </a:lnTo>
                    <a:lnTo>
                      <a:pt x="115" y="673"/>
                    </a:lnTo>
                    <a:lnTo>
                      <a:pt x="106" y="662"/>
                    </a:lnTo>
                    <a:lnTo>
                      <a:pt x="106" y="658"/>
                    </a:lnTo>
                    <a:lnTo>
                      <a:pt x="119" y="645"/>
                    </a:lnTo>
                    <a:lnTo>
                      <a:pt x="115" y="624"/>
                    </a:lnTo>
                    <a:lnTo>
                      <a:pt x="117" y="620"/>
                    </a:lnTo>
                    <a:lnTo>
                      <a:pt x="115" y="615"/>
                    </a:lnTo>
                    <a:lnTo>
                      <a:pt x="115" y="611"/>
                    </a:lnTo>
                    <a:lnTo>
                      <a:pt x="115" y="607"/>
                    </a:lnTo>
                    <a:lnTo>
                      <a:pt x="112" y="601"/>
                    </a:lnTo>
                    <a:lnTo>
                      <a:pt x="115" y="596"/>
                    </a:lnTo>
                    <a:lnTo>
                      <a:pt x="121" y="586"/>
                    </a:lnTo>
                    <a:lnTo>
                      <a:pt x="123" y="581"/>
                    </a:lnTo>
                    <a:lnTo>
                      <a:pt x="129" y="581"/>
                    </a:lnTo>
                    <a:lnTo>
                      <a:pt x="134" y="579"/>
                    </a:lnTo>
                    <a:lnTo>
                      <a:pt x="127" y="579"/>
                    </a:lnTo>
                    <a:lnTo>
                      <a:pt x="125" y="575"/>
                    </a:lnTo>
                    <a:lnTo>
                      <a:pt x="125" y="579"/>
                    </a:lnTo>
                    <a:lnTo>
                      <a:pt x="121" y="584"/>
                    </a:lnTo>
                    <a:lnTo>
                      <a:pt x="115" y="592"/>
                    </a:lnTo>
                    <a:lnTo>
                      <a:pt x="108" y="594"/>
                    </a:lnTo>
                    <a:lnTo>
                      <a:pt x="104" y="598"/>
                    </a:lnTo>
                    <a:lnTo>
                      <a:pt x="110" y="603"/>
                    </a:lnTo>
                    <a:lnTo>
                      <a:pt x="106" y="611"/>
                    </a:lnTo>
                    <a:lnTo>
                      <a:pt x="104" y="613"/>
                    </a:lnTo>
                    <a:lnTo>
                      <a:pt x="100" y="613"/>
                    </a:lnTo>
                    <a:lnTo>
                      <a:pt x="98" y="611"/>
                    </a:lnTo>
                    <a:lnTo>
                      <a:pt x="93" y="615"/>
                    </a:lnTo>
                    <a:lnTo>
                      <a:pt x="87" y="618"/>
                    </a:lnTo>
                    <a:lnTo>
                      <a:pt x="76" y="618"/>
                    </a:lnTo>
                    <a:lnTo>
                      <a:pt x="68" y="615"/>
                    </a:lnTo>
                    <a:lnTo>
                      <a:pt x="57" y="611"/>
                    </a:lnTo>
                    <a:lnTo>
                      <a:pt x="57" y="605"/>
                    </a:lnTo>
                    <a:lnTo>
                      <a:pt x="61" y="601"/>
                    </a:lnTo>
                    <a:lnTo>
                      <a:pt x="57" y="596"/>
                    </a:lnTo>
                    <a:lnTo>
                      <a:pt x="53" y="590"/>
                    </a:lnTo>
                    <a:lnTo>
                      <a:pt x="53" y="588"/>
                    </a:lnTo>
                    <a:lnTo>
                      <a:pt x="51" y="581"/>
                    </a:lnTo>
                    <a:lnTo>
                      <a:pt x="51" y="577"/>
                    </a:lnTo>
                    <a:lnTo>
                      <a:pt x="49" y="579"/>
                    </a:lnTo>
                    <a:lnTo>
                      <a:pt x="44" y="575"/>
                    </a:lnTo>
                    <a:lnTo>
                      <a:pt x="40" y="571"/>
                    </a:lnTo>
                    <a:lnTo>
                      <a:pt x="44" y="567"/>
                    </a:lnTo>
                    <a:lnTo>
                      <a:pt x="34" y="560"/>
                    </a:lnTo>
                    <a:lnTo>
                      <a:pt x="40" y="558"/>
                    </a:lnTo>
                    <a:lnTo>
                      <a:pt x="44" y="556"/>
                    </a:lnTo>
                    <a:lnTo>
                      <a:pt x="49" y="552"/>
                    </a:lnTo>
                    <a:lnTo>
                      <a:pt x="55" y="547"/>
                    </a:lnTo>
                    <a:lnTo>
                      <a:pt x="59" y="545"/>
                    </a:lnTo>
                    <a:lnTo>
                      <a:pt x="59" y="549"/>
                    </a:lnTo>
                    <a:lnTo>
                      <a:pt x="63" y="552"/>
                    </a:lnTo>
                    <a:lnTo>
                      <a:pt x="68" y="556"/>
                    </a:lnTo>
                    <a:lnTo>
                      <a:pt x="70" y="560"/>
                    </a:lnTo>
                    <a:lnTo>
                      <a:pt x="61" y="567"/>
                    </a:lnTo>
                    <a:lnTo>
                      <a:pt x="68" y="562"/>
                    </a:lnTo>
                    <a:lnTo>
                      <a:pt x="72" y="562"/>
                    </a:lnTo>
                    <a:lnTo>
                      <a:pt x="78" y="558"/>
                    </a:lnTo>
                    <a:lnTo>
                      <a:pt x="80" y="564"/>
                    </a:lnTo>
                    <a:lnTo>
                      <a:pt x="78" y="569"/>
                    </a:lnTo>
                    <a:lnTo>
                      <a:pt x="83" y="571"/>
                    </a:lnTo>
                    <a:lnTo>
                      <a:pt x="87" y="569"/>
                    </a:lnTo>
                    <a:lnTo>
                      <a:pt x="91" y="564"/>
                    </a:lnTo>
                    <a:lnTo>
                      <a:pt x="87" y="558"/>
                    </a:lnTo>
                    <a:lnTo>
                      <a:pt x="83" y="556"/>
                    </a:lnTo>
                    <a:lnTo>
                      <a:pt x="89" y="556"/>
                    </a:lnTo>
                    <a:lnTo>
                      <a:pt x="87" y="549"/>
                    </a:lnTo>
                    <a:lnTo>
                      <a:pt x="80" y="554"/>
                    </a:lnTo>
                    <a:lnTo>
                      <a:pt x="76" y="552"/>
                    </a:lnTo>
                    <a:lnTo>
                      <a:pt x="66" y="549"/>
                    </a:lnTo>
                    <a:lnTo>
                      <a:pt x="61" y="545"/>
                    </a:lnTo>
                    <a:lnTo>
                      <a:pt x="57" y="543"/>
                    </a:lnTo>
                    <a:lnTo>
                      <a:pt x="51" y="541"/>
                    </a:lnTo>
                    <a:lnTo>
                      <a:pt x="51" y="537"/>
                    </a:lnTo>
                    <a:lnTo>
                      <a:pt x="55" y="537"/>
                    </a:lnTo>
                    <a:lnTo>
                      <a:pt x="61" y="532"/>
                    </a:lnTo>
                    <a:lnTo>
                      <a:pt x="51" y="530"/>
                    </a:lnTo>
                    <a:lnTo>
                      <a:pt x="55" y="526"/>
                    </a:lnTo>
                    <a:lnTo>
                      <a:pt x="49" y="526"/>
                    </a:lnTo>
                    <a:lnTo>
                      <a:pt x="51" y="522"/>
                    </a:lnTo>
                    <a:lnTo>
                      <a:pt x="53" y="515"/>
                    </a:lnTo>
                    <a:lnTo>
                      <a:pt x="66" y="511"/>
                    </a:lnTo>
                    <a:lnTo>
                      <a:pt x="70" y="507"/>
                    </a:lnTo>
                    <a:lnTo>
                      <a:pt x="72" y="505"/>
                    </a:lnTo>
                    <a:lnTo>
                      <a:pt x="68" y="509"/>
                    </a:lnTo>
                    <a:lnTo>
                      <a:pt x="55" y="513"/>
                    </a:lnTo>
                    <a:lnTo>
                      <a:pt x="49" y="522"/>
                    </a:lnTo>
                    <a:lnTo>
                      <a:pt x="46" y="526"/>
                    </a:lnTo>
                    <a:lnTo>
                      <a:pt x="42" y="528"/>
                    </a:lnTo>
                    <a:lnTo>
                      <a:pt x="40" y="524"/>
                    </a:lnTo>
                    <a:lnTo>
                      <a:pt x="40" y="518"/>
                    </a:lnTo>
                    <a:lnTo>
                      <a:pt x="36" y="513"/>
                    </a:lnTo>
                    <a:lnTo>
                      <a:pt x="36" y="507"/>
                    </a:lnTo>
                    <a:lnTo>
                      <a:pt x="42" y="505"/>
                    </a:lnTo>
                    <a:lnTo>
                      <a:pt x="38" y="498"/>
                    </a:lnTo>
                    <a:lnTo>
                      <a:pt x="34" y="500"/>
                    </a:lnTo>
                    <a:lnTo>
                      <a:pt x="32" y="494"/>
                    </a:lnTo>
                    <a:lnTo>
                      <a:pt x="34" y="490"/>
                    </a:lnTo>
                    <a:lnTo>
                      <a:pt x="38" y="492"/>
                    </a:lnTo>
                    <a:lnTo>
                      <a:pt x="44" y="492"/>
                    </a:lnTo>
                    <a:lnTo>
                      <a:pt x="40" y="488"/>
                    </a:lnTo>
                    <a:lnTo>
                      <a:pt x="40" y="483"/>
                    </a:lnTo>
                    <a:lnTo>
                      <a:pt x="49" y="483"/>
                    </a:lnTo>
                    <a:lnTo>
                      <a:pt x="51" y="479"/>
                    </a:lnTo>
                    <a:lnTo>
                      <a:pt x="51" y="475"/>
                    </a:lnTo>
                    <a:lnTo>
                      <a:pt x="55" y="471"/>
                    </a:lnTo>
                    <a:lnTo>
                      <a:pt x="74" y="454"/>
                    </a:lnTo>
                    <a:lnTo>
                      <a:pt x="80" y="451"/>
                    </a:lnTo>
                    <a:lnTo>
                      <a:pt x="85" y="454"/>
                    </a:lnTo>
                    <a:lnTo>
                      <a:pt x="85" y="456"/>
                    </a:lnTo>
                    <a:lnTo>
                      <a:pt x="85" y="456"/>
                    </a:lnTo>
                    <a:lnTo>
                      <a:pt x="85" y="456"/>
                    </a:lnTo>
                    <a:lnTo>
                      <a:pt x="87" y="460"/>
                    </a:lnTo>
                    <a:lnTo>
                      <a:pt x="89" y="460"/>
                    </a:lnTo>
                    <a:lnTo>
                      <a:pt x="85" y="456"/>
                    </a:lnTo>
                    <a:lnTo>
                      <a:pt x="85" y="456"/>
                    </a:lnTo>
                    <a:lnTo>
                      <a:pt x="85" y="451"/>
                    </a:lnTo>
                    <a:lnTo>
                      <a:pt x="91" y="449"/>
                    </a:lnTo>
                    <a:lnTo>
                      <a:pt x="98" y="443"/>
                    </a:lnTo>
                    <a:lnTo>
                      <a:pt x="91" y="447"/>
                    </a:lnTo>
                    <a:lnTo>
                      <a:pt x="87" y="441"/>
                    </a:lnTo>
                    <a:lnTo>
                      <a:pt x="91" y="439"/>
                    </a:lnTo>
                    <a:lnTo>
                      <a:pt x="91" y="434"/>
                    </a:lnTo>
                    <a:lnTo>
                      <a:pt x="93" y="430"/>
                    </a:lnTo>
                    <a:lnTo>
                      <a:pt x="100" y="428"/>
                    </a:lnTo>
                    <a:lnTo>
                      <a:pt x="106" y="430"/>
                    </a:lnTo>
                    <a:lnTo>
                      <a:pt x="102" y="424"/>
                    </a:lnTo>
                    <a:lnTo>
                      <a:pt x="104" y="420"/>
                    </a:lnTo>
                    <a:lnTo>
                      <a:pt x="110" y="417"/>
                    </a:lnTo>
                    <a:lnTo>
                      <a:pt x="115" y="417"/>
                    </a:lnTo>
                    <a:lnTo>
                      <a:pt x="123" y="424"/>
                    </a:lnTo>
                    <a:lnTo>
                      <a:pt x="125" y="428"/>
                    </a:lnTo>
                    <a:lnTo>
                      <a:pt x="119" y="437"/>
                    </a:lnTo>
                    <a:lnTo>
                      <a:pt x="125" y="432"/>
                    </a:lnTo>
                    <a:lnTo>
                      <a:pt x="129" y="432"/>
                    </a:lnTo>
                    <a:lnTo>
                      <a:pt x="134" y="437"/>
                    </a:lnTo>
                    <a:lnTo>
                      <a:pt x="138" y="437"/>
                    </a:lnTo>
                    <a:lnTo>
                      <a:pt x="151" y="430"/>
                    </a:lnTo>
                    <a:lnTo>
                      <a:pt x="159" y="422"/>
                    </a:lnTo>
                    <a:lnTo>
                      <a:pt x="166" y="417"/>
                    </a:lnTo>
                    <a:lnTo>
                      <a:pt x="170" y="420"/>
                    </a:lnTo>
                    <a:lnTo>
                      <a:pt x="174" y="424"/>
                    </a:lnTo>
                    <a:lnTo>
                      <a:pt x="178" y="424"/>
                    </a:lnTo>
                    <a:lnTo>
                      <a:pt x="189" y="426"/>
                    </a:lnTo>
                    <a:lnTo>
                      <a:pt x="195" y="424"/>
                    </a:lnTo>
                    <a:lnTo>
                      <a:pt x="204" y="415"/>
                    </a:lnTo>
                    <a:lnTo>
                      <a:pt x="206" y="411"/>
                    </a:lnTo>
                    <a:lnTo>
                      <a:pt x="206" y="394"/>
                    </a:lnTo>
                    <a:lnTo>
                      <a:pt x="208" y="383"/>
                    </a:lnTo>
                    <a:lnTo>
                      <a:pt x="204" y="373"/>
                    </a:lnTo>
                    <a:lnTo>
                      <a:pt x="200" y="371"/>
                    </a:lnTo>
                    <a:lnTo>
                      <a:pt x="200" y="366"/>
                    </a:lnTo>
                    <a:lnTo>
                      <a:pt x="202" y="364"/>
                    </a:lnTo>
                    <a:lnTo>
                      <a:pt x="206" y="368"/>
                    </a:lnTo>
                    <a:lnTo>
                      <a:pt x="212" y="366"/>
                    </a:lnTo>
                    <a:lnTo>
                      <a:pt x="219" y="362"/>
                    </a:lnTo>
                    <a:lnTo>
                      <a:pt x="219" y="358"/>
                    </a:lnTo>
                    <a:lnTo>
                      <a:pt x="219" y="351"/>
                    </a:lnTo>
                    <a:lnTo>
                      <a:pt x="215" y="347"/>
                    </a:lnTo>
                    <a:lnTo>
                      <a:pt x="217" y="345"/>
                    </a:lnTo>
                    <a:lnTo>
                      <a:pt x="212" y="343"/>
                    </a:lnTo>
                    <a:lnTo>
                      <a:pt x="208" y="347"/>
                    </a:lnTo>
                    <a:lnTo>
                      <a:pt x="202" y="351"/>
                    </a:lnTo>
                    <a:lnTo>
                      <a:pt x="198" y="347"/>
                    </a:lnTo>
                    <a:lnTo>
                      <a:pt x="191" y="349"/>
                    </a:lnTo>
                    <a:lnTo>
                      <a:pt x="187" y="351"/>
                    </a:lnTo>
                    <a:lnTo>
                      <a:pt x="181" y="356"/>
                    </a:lnTo>
                    <a:lnTo>
                      <a:pt x="174" y="358"/>
                    </a:lnTo>
                    <a:lnTo>
                      <a:pt x="168" y="366"/>
                    </a:lnTo>
                    <a:lnTo>
                      <a:pt x="166" y="356"/>
                    </a:lnTo>
                    <a:lnTo>
                      <a:pt x="161" y="349"/>
                    </a:lnTo>
                    <a:lnTo>
                      <a:pt x="157" y="349"/>
                    </a:lnTo>
                    <a:lnTo>
                      <a:pt x="159" y="356"/>
                    </a:lnTo>
                    <a:lnTo>
                      <a:pt x="159" y="360"/>
                    </a:lnTo>
                    <a:lnTo>
                      <a:pt x="151" y="349"/>
                    </a:lnTo>
                    <a:lnTo>
                      <a:pt x="146" y="347"/>
                    </a:lnTo>
                    <a:lnTo>
                      <a:pt x="132" y="343"/>
                    </a:lnTo>
                    <a:lnTo>
                      <a:pt x="121" y="345"/>
                    </a:lnTo>
                    <a:lnTo>
                      <a:pt x="117" y="343"/>
                    </a:lnTo>
                    <a:lnTo>
                      <a:pt x="110" y="343"/>
                    </a:lnTo>
                    <a:lnTo>
                      <a:pt x="102" y="336"/>
                    </a:lnTo>
                    <a:lnTo>
                      <a:pt x="89" y="328"/>
                    </a:lnTo>
                    <a:lnTo>
                      <a:pt x="85" y="324"/>
                    </a:lnTo>
                    <a:lnTo>
                      <a:pt x="85" y="319"/>
                    </a:lnTo>
                    <a:lnTo>
                      <a:pt x="89" y="309"/>
                    </a:lnTo>
                    <a:lnTo>
                      <a:pt x="89" y="309"/>
                    </a:lnTo>
                    <a:lnTo>
                      <a:pt x="85" y="302"/>
                    </a:lnTo>
                    <a:lnTo>
                      <a:pt x="85" y="298"/>
                    </a:lnTo>
                    <a:lnTo>
                      <a:pt x="80" y="292"/>
                    </a:lnTo>
                    <a:lnTo>
                      <a:pt x="83" y="287"/>
                    </a:lnTo>
                    <a:lnTo>
                      <a:pt x="83" y="292"/>
                    </a:lnTo>
                    <a:lnTo>
                      <a:pt x="87" y="294"/>
                    </a:lnTo>
                    <a:lnTo>
                      <a:pt x="91" y="294"/>
                    </a:lnTo>
                    <a:lnTo>
                      <a:pt x="95" y="290"/>
                    </a:lnTo>
                    <a:lnTo>
                      <a:pt x="100" y="292"/>
                    </a:lnTo>
                    <a:lnTo>
                      <a:pt x="104" y="294"/>
                    </a:lnTo>
                    <a:lnTo>
                      <a:pt x="100" y="287"/>
                    </a:lnTo>
                    <a:lnTo>
                      <a:pt x="87" y="279"/>
                    </a:lnTo>
                    <a:lnTo>
                      <a:pt x="91" y="283"/>
                    </a:lnTo>
                    <a:lnTo>
                      <a:pt x="87" y="281"/>
                    </a:lnTo>
                    <a:lnTo>
                      <a:pt x="83" y="277"/>
                    </a:lnTo>
                    <a:lnTo>
                      <a:pt x="78" y="275"/>
                    </a:lnTo>
                    <a:lnTo>
                      <a:pt x="74" y="270"/>
                    </a:lnTo>
                    <a:lnTo>
                      <a:pt x="63" y="253"/>
                    </a:lnTo>
                    <a:lnTo>
                      <a:pt x="68" y="2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2" name="Freeform 1140"/>
              <p:cNvSpPr>
                <a:spLocks/>
              </p:cNvSpPr>
              <p:nvPr/>
            </p:nvSpPr>
            <p:spPr bwMode="auto">
              <a:xfrm>
                <a:off x="481" y="3054"/>
                <a:ext cx="1096" cy="937"/>
              </a:xfrm>
              <a:custGeom>
                <a:avLst/>
                <a:gdLst>
                  <a:gd name="T0" fmla="*/ 161 w 1096"/>
                  <a:gd name="T1" fmla="*/ 230 h 937"/>
                  <a:gd name="T2" fmla="*/ 210 w 1096"/>
                  <a:gd name="T3" fmla="*/ 279 h 937"/>
                  <a:gd name="T4" fmla="*/ 219 w 1096"/>
                  <a:gd name="T5" fmla="*/ 230 h 937"/>
                  <a:gd name="T6" fmla="*/ 223 w 1096"/>
                  <a:gd name="T7" fmla="*/ 241 h 937"/>
                  <a:gd name="T8" fmla="*/ 170 w 1096"/>
                  <a:gd name="T9" fmla="*/ 143 h 937"/>
                  <a:gd name="T10" fmla="*/ 242 w 1096"/>
                  <a:gd name="T11" fmla="*/ 68 h 937"/>
                  <a:gd name="T12" fmla="*/ 313 w 1096"/>
                  <a:gd name="T13" fmla="*/ 43 h 937"/>
                  <a:gd name="T14" fmla="*/ 393 w 1096"/>
                  <a:gd name="T15" fmla="*/ 0 h 937"/>
                  <a:gd name="T16" fmla="*/ 423 w 1096"/>
                  <a:gd name="T17" fmla="*/ 36 h 937"/>
                  <a:gd name="T18" fmla="*/ 489 w 1096"/>
                  <a:gd name="T19" fmla="*/ 66 h 937"/>
                  <a:gd name="T20" fmla="*/ 577 w 1096"/>
                  <a:gd name="T21" fmla="*/ 87 h 937"/>
                  <a:gd name="T22" fmla="*/ 668 w 1096"/>
                  <a:gd name="T23" fmla="*/ 109 h 937"/>
                  <a:gd name="T24" fmla="*/ 777 w 1096"/>
                  <a:gd name="T25" fmla="*/ 673 h 937"/>
                  <a:gd name="T26" fmla="*/ 894 w 1096"/>
                  <a:gd name="T27" fmla="*/ 684 h 937"/>
                  <a:gd name="T28" fmla="*/ 996 w 1096"/>
                  <a:gd name="T29" fmla="*/ 799 h 937"/>
                  <a:gd name="T30" fmla="*/ 1083 w 1096"/>
                  <a:gd name="T31" fmla="*/ 856 h 937"/>
                  <a:gd name="T32" fmla="*/ 1075 w 1096"/>
                  <a:gd name="T33" fmla="*/ 918 h 937"/>
                  <a:gd name="T34" fmla="*/ 1030 w 1096"/>
                  <a:gd name="T35" fmla="*/ 882 h 937"/>
                  <a:gd name="T36" fmla="*/ 1007 w 1096"/>
                  <a:gd name="T37" fmla="*/ 848 h 937"/>
                  <a:gd name="T38" fmla="*/ 966 w 1096"/>
                  <a:gd name="T39" fmla="*/ 801 h 937"/>
                  <a:gd name="T40" fmla="*/ 945 w 1096"/>
                  <a:gd name="T41" fmla="*/ 771 h 937"/>
                  <a:gd name="T42" fmla="*/ 902 w 1096"/>
                  <a:gd name="T43" fmla="*/ 731 h 937"/>
                  <a:gd name="T44" fmla="*/ 900 w 1096"/>
                  <a:gd name="T45" fmla="*/ 765 h 937"/>
                  <a:gd name="T46" fmla="*/ 847 w 1096"/>
                  <a:gd name="T47" fmla="*/ 731 h 937"/>
                  <a:gd name="T48" fmla="*/ 828 w 1096"/>
                  <a:gd name="T49" fmla="*/ 752 h 937"/>
                  <a:gd name="T50" fmla="*/ 762 w 1096"/>
                  <a:gd name="T51" fmla="*/ 686 h 937"/>
                  <a:gd name="T52" fmla="*/ 713 w 1096"/>
                  <a:gd name="T53" fmla="*/ 682 h 937"/>
                  <a:gd name="T54" fmla="*/ 613 w 1096"/>
                  <a:gd name="T55" fmla="*/ 643 h 937"/>
                  <a:gd name="T56" fmla="*/ 574 w 1096"/>
                  <a:gd name="T57" fmla="*/ 633 h 937"/>
                  <a:gd name="T58" fmla="*/ 530 w 1096"/>
                  <a:gd name="T59" fmla="*/ 624 h 937"/>
                  <a:gd name="T60" fmla="*/ 508 w 1096"/>
                  <a:gd name="T61" fmla="*/ 635 h 937"/>
                  <a:gd name="T62" fmla="*/ 504 w 1096"/>
                  <a:gd name="T63" fmla="*/ 679 h 937"/>
                  <a:gd name="T64" fmla="*/ 453 w 1096"/>
                  <a:gd name="T65" fmla="*/ 699 h 937"/>
                  <a:gd name="T66" fmla="*/ 413 w 1096"/>
                  <a:gd name="T67" fmla="*/ 703 h 937"/>
                  <a:gd name="T68" fmla="*/ 453 w 1096"/>
                  <a:gd name="T69" fmla="*/ 615 h 937"/>
                  <a:gd name="T70" fmla="*/ 453 w 1096"/>
                  <a:gd name="T71" fmla="*/ 601 h 937"/>
                  <a:gd name="T72" fmla="*/ 379 w 1096"/>
                  <a:gd name="T73" fmla="*/ 654 h 937"/>
                  <a:gd name="T74" fmla="*/ 332 w 1096"/>
                  <a:gd name="T75" fmla="*/ 713 h 937"/>
                  <a:gd name="T76" fmla="*/ 319 w 1096"/>
                  <a:gd name="T77" fmla="*/ 771 h 937"/>
                  <a:gd name="T78" fmla="*/ 251 w 1096"/>
                  <a:gd name="T79" fmla="*/ 807 h 937"/>
                  <a:gd name="T80" fmla="*/ 181 w 1096"/>
                  <a:gd name="T81" fmla="*/ 843 h 937"/>
                  <a:gd name="T82" fmla="*/ 129 w 1096"/>
                  <a:gd name="T83" fmla="*/ 882 h 937"/>
                  <a:gd name="T84" fmla="*/ 76 w 1096"/>
                  <a:gd name="T85" fmla="*/ 875 h 937"/>
                  <a:gd name="T86" fmla="*/ 12 w 1096"/>
                  <a:gd name="T87" fmla="*/ 884 h 937"/>
                  <a:gd name="T88" fmla="*/ 85 w 1096"/>
                  <a:gd name="T89" fmla="*/ 852 h 937"/>
                  <a:gd name="T90" fmla="*/ 159 w 1096"/>
                  <a:gd name="T91" fmla="*/ 820 h 937"/>
                  <a:gd name="T92" fmla="*/ 234 w 1096"/>
                  <a:gd name="T93" fmla="*/ 752 h 937"/>
                  <a:gd name="T94" fmla="*/ 240 w 1096"/>
                  <a:gd name="T95" fmla="*/ 713 h 937"/>
                  <a:gd name="T96" fmla="*/ 191 w 1096"/>
                  <a:gd name="T97" fmla="*/ 711 h 937"/>
                  <a:gd name="T98" fmla="*/ 119 w 1096"/>
                  <a:gd name="T99" fmla="*/ 694 h 937"/>
                  <a:gd name="T100" fmla="*/ 121 w 1096"/>
                  <a:gd name="T101" fmla="*/ 586 h 937"/>
                  <a:gd name="T102" fmla="*/ 68 w 1096"/>
                  <a:gd name="T103" fmla="*/ 615 h 937"/>
                  <a:gd name="T104" fmla="*/ 59 w 1096"/>
                  <a:gd name="T105" fmla="*/ 549 h 937"/>
                  <a:gd name="T106" fmla="*/ 66 w 1096"/>
                  <a:gd name="T107" fmla="*/ 549 h 937"/>
                  <a:gd name="T108" fmla="*/ 42 w 1096"/>
                  <a:gd name="T109" fmla="*/ 528 h 937"/>
                  <a:gd name="T110" fmla="*/ 80 w 1096"/>
                  <a:gd name="T111" fmla="*/ 451 h 937"/>
                  <a:gd name="T112" fmla="*/ 102 w 1096"/>
                  <a:gd name="T113" fmla="*/ 424 h 937"/>
                  <a:gd name="T114" fmla="*/ 204 w 1096"/>
                  <a:gd name="T115" fmla="*/ 415 h 937"/>
                  <a:gd name="T116" fmla="*/ 191 w 1096"/>
                  <a:gd name="T117" fmla="*/ 349 h 937"/>
                  <a:gd name="T118" fmla="*/ 85 w 1096"/>
                  <a:gd name="T119" fmla="*/ 319 h 937"/>
                  <a:gd name="T120" fmla="*/ 74 w 1096"/>
                  <a:gd name="T121" fmla="*/ 270 h 9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96" h="937">
                    <a:moveTo>
                      <a:pt x="68" y="253"/>
                    </a:moveTo>
                    <a:lnTo>
                      <a:pt x="72" y="253"/>
                    </a:lnTo>
                    <a:lnTo>
                      <a:pt x="76" y="253"/>
                    </a:lnTo>
                    <a:lnTo>
                      <a:pt x="80" y="249"/>
                    </a:lnTo>
                    <a:lnTo>
                      <a:pt x="85" y="247"/>
                    </a:lnTo>
                    <a:lnTo>
                      <a:pt x="91" y="251"/>
                    </a:lnTo>
                    <a:lnTo>
                      <a:pt x="95" y="249"/>
                    </a:lnTo>
                    <a:lnTo>
                      <a:pt x="98" y="245"/>
                    </a:lnTo>
                    <a:lnTo>
                      <a:pt x="115" y="241"/>
                    </a:lnTo>
                    <a:lnTo>
                      <a:pt x="123" y="247"/>
                    </a:lnTo>
                    <a:lnTo>
                      <a:pt x="129" y="247"/>
                    </a:lnTo>
                    <a:lnTo>
                      <a:pt x="129" y="243"/>
                    </a:lnTo>
                    <a:lnTo>
                      <a:pt x="127" y="236"/>
                    </a:lnTo>
                    <a:lnTo>
                      <a:pt x="134" y="234"/>
                    </a:lnTo>
                    <a:lnTo>
                      <a:pt x="138" y="232"/>
                    </a:lnTo>
                    <a:lnTo>
                      <a:pt x="149" y="234"/>
                    </a:lnTo>
                    <a:lnTo>
                      <a:pt x="151" y="234"/>
                    </a:lnTo>
                    <a:lnTo>
                      <a:pt x="157" y="232"/>
                    </a:lnTo>
                    <a:lnTo>
                      <a:pt x="161" y="230"/>
                    </a:lnTo>
                    <a:lnTo>
                      <a:pt x="166" y="230"/>
                    </a:lnTo>
                    <a:lnTo>
                      <a:pt x="176" y="232"/>
                    </a:lnTo>
                    <a:lnTo>
                      <a:pt x="181" y="236"/>
                    </a:lnTo>
                    <a:lnTo>
                      <a:pt x="176" y="234"/>
                    </a:lnTo>
                    <a:lnTo>
                      <a:pt x="178" y="239"/>
                    </a:lnTo>
                    <a:lnTo>
                      <a:pt x="174" y="243"/>
                    </a:lnTo>
                    <a:lnTo>
                      <a:pt x="170" y="253"/>
                    </a:lnTo>
                    <a:lnTo>
                      <a:pt x="164" y="253"/>
                    </a:lnTo>
                    <a:lnTo>
                      <a:pt x="168" y="253"/>
                    </a:lnTo>
                    <a:lnTo>
                      <a:pt x="170" y="260"/>
                    </a:lnTo>
                    <a:lnTo>
                      <a:pt x="174" y="264"/>
                    </a:lnTo>
                    <a:lnTo>
                      <a:pt x="178" y="264"/>
                    </a:lnTo>
                    <a:lnTo>
                      <a:pt x="183" y="266"/>
                    </a:lnTo>
                    <a:lnTo>
                      <a:pt x="193" y="268"/>
                    </a:lnTo>
                    <a:lnTo>
                      <a:pt x="193" y="273"/>
                    </a:lnTo>
                    <a:lnTo>
                      <a:pt x="200" y="273"/>
                    </a:lnTo>
                    <a:lnTo>
                      <a:pt x="204" y="275"/>
                    </a:lnTo>
                    <a:lnTo>
                      <a:pt x="208" y="275"/>
                    </a:lnTo>
                    <a:lnTo>
                      <a:pt x="210" y="279"/>
                    </a:lnTo>
                    <a:lnTo>
                      <a:pt x="217" y="277"/>
                    </a:lnTo>
                    <a:lnTo>
                      <a:pt x="215" y="275"/>
                    </a:lnTo>
                    <a:lnTo>
                      <a:pt x="221" y="270"/>
                    </a:lnTo>
                    <a:lnTo>
                      <a:pt x="223" y="266"/>
                    </a:lnTo>
                    <a:lnTo>
                      <a:pt x="227" y="266"/>
                    </a:lnTo>
                    <a:lnTo>
                      <a:pt x="232" y="270"/>
                    </a:lnTo>
                    <a:lnTo>
                      <a:pt x="232" y="275"/>
                    </a:lnTo>
                    <a:lnTo>
                      <a:pt x="236" y="270"/>
                    </a:lnTo>
                    <a:lnTo>
                      <a:pt x="234" y="266"/>
                    </a:lnTo>
                    <a:lnTo>
                      <a:pt x="225" y="258"/>
                    </a:lnTo>
                    <a:lnTo>
                      <a:pt x="221" y="258"/>
                    </a:lnTo>
                    <a:lnTo>
                      <a:pt x="217" y="262"/>
                    </a:lnTo>
                    <a:lnTo>
                      <a:pt x="219" y="251"/>
                    </a:lnTo>
                    <a:lnTo>
                      <a:pt x="219" y="247"/>
                    </a:lnTo>
                    <a:lnTo>
                      <a:pt x="217" y="241"/>
                    </a:lnTo>
                    <a:lnTo>
                      <a:pt x="208" y="230"/>
                    </a:lnTo>
                    <a:lnTo>
                      <a:pt x="208" y="224"/>
                    </a:lnTo>
                    <a:lnTo>
                      <a:pt x="215" y="224"/>
                    </a:lnTo>
                    <a:lnTo>
                      <a:pt x="219" y="230"/>
                    </a:lnTo>
                    <a:lnTo>
                      <a:pt x="221" y="236"/>
                    </a:lnTo>
                    <a:lnTo>
                      <a:pt x="217" y="241"/>
                    </a:lnTo>
                    <a:lnTo>
                      <a:pt x="219" y="245"/>
                    </a:lnTo>
                    <a:lnTo>
                      <a:pt x="221" y="251"/>
                    </a:lnTo>
                    <a:lnTo>
                      <a:pt x="225" y="256"/>
                    </a:lnTo>
                    <a:lnTo>
                      <a:pt x="232" y="256"/>
                    </a:lnTo>
                    <a:lnTo>
                      <a:pt x="236" y="256"/>
                    </a:lnTo>
                    <a:lnTo>
                      <a:pt x="240" y="262"/>
                    </a:lnTo>
                    <a:lnTo>
                      <a:pt x="244" y="264"/>
                    </a:lnTo>
                    <a:lnTo>
                      <a:pt x="255" y="266"/>
                    </a:lnTo>
                    <a:lnTo>
                      <a:pt x="257" y="262"/>
                    </a:lnTo>
                    <a:lnTo>
                      <a:pt x="257" y="256"/>
                    </a:lnTo>
                    <a:lnTo>
                      <a:pt x="253" y="251"/>
                    </a:lnTo>
                    <a:lnTo>
                      <a:pt x="247" y="251"/>
                    </a:lnTo>
                    <a:lnTo>
                      <a:pt x="242" y="247"/>
                    </a:lnTo>
                    <a:lnTo>
                      <a:pt x="238" y="247"/>
                    </a:lnTo>
                    <a:lnTo>
                      <a:pt x="232" y="253"/>
                    </a:lnTo>
                    <a:lnTo>
                      <a:pt x="227" y="249"/>
                    </a:lnTo>
                    <a:lnTo>
                      <a:pt x="223" y="241"/>
                    </a:lnTo>
                    <a:lnTo>
                      <a:pt x="225" y="234"/>
                    </a:lnTo>
                    <a:lnTo>
                      <a:pt x="230" y="226"/>
                    </a:lnTo>
                    <a:lnTo>
                      <a:pt x="230" y="221"/>
                    </a:lnTo>
                    <a:lnTo>
                      <a:pt x="225" y="219"/>
                    </a:lnTo>
                    <a:lnTo>
                      <a:pt x="219" y="219"/>
                    </a:lnTo>
                    <a:lnTo>
                      <a:pt x="219" y="217"/>
                    </a:lnTo>
                    <a:lnTo>
                      <a:pt x="217" y="211"/>
                    </a:lnTo>
                    <a:lnTo>
                      <a:pt x="215" y="215"/>
                    </a:lnTo>
                    <a:lnTo>
                      <a:pt x="210" y="215"/>
                    </a:lnTo>
                    <a:lnTo>
                      <a:pt x="200" y="213"/>
                    </a:lnTo>
                    <a:lnTo>
                      <a:pt x="191" y="207"/>
                    </a:lnTo>
                    <a:lnTo>
                      <a:pt x="189" y="200"/>
                    </a:lnTo>
                    <a:lnTo>
                      <a:pt x="191" y="192"/>
                    </a:lnTo>
                    <a:lnTo>
                      <a:pt x="189" y="181"/>
                    </a:lnTo>
                    <a:lnTo>
                      <a:pt x="187" y="175"/>
                    </a:lnTo>
                    <a:lnTo>
                      <a:pt x="183" y="170"/>
                    </a:lnTo>
                    <a:lnTo>
                      <a:pt x="181" y="164"/>
                    </a:lnTo>
                    <a:lnTo>
                      <a:pt x="178" y="162"/>
                    </a:lnTo>
                    <a:lnTo>
                      <a:pt x="170" y="143"/>
                    </a:lnTo>
                    <a:lnTo>
                      <a:pt x="166" y="138"/>
                    </a:lnTo>
                    <a:lnTo>
                      <a:pt x="161" y="136"/>
                    </a:lnTo>
                    <a:lnTo>
                      <a:pt x="155" y="126"/>
                    </a:lnTo>
                    <a:lnTo>
                      <a:pt x="151" y="119"/>
                    </a:lnTo>
                    <a:lnTo>
                      <a:pt x="146" y="117"/>
                    </a:lnTo>
                    <a:lnTo>
                      <a:pt x="149" y="117"/>
                    </a:lnTo>
                    <a:lnTo>
                      <a:pt x="151" y="117"/>
                    </a:lnTo>
                    <a:lnTo>
                      <a:pt x="157" y="113"/>
                    </a:lnTo>
                    <a:lnTo>
                      <a:pt x="159" y="109"/>
                    </a:lnTo>
                    <a:lnTo>
                      <a:pt x="166" y="96"/>
                    </a:lnTo>
                    <a:lnTo>
                      <a:pt x="172" y="94"/>
                    </a:lnTo>
                    <a:lnTo>
                      <a:pt x="181" y="98"/>
                    </a:lnTo>
                    <a:lnTo>
                      <a:pt x="204" y="100"/>
                    </a:lnTo>
                    <a:lnTo>
                      <a:pt x="210" y="100"/>
                    </a:lnTo>
                    <a:lnTo>
                      <a:pt x="217" y="98"/>
                    </a:lnTo>
                    <a:lnTo>
                      <a:pt x="221" y="96"/>
                    </a:lnTo>
                    <a:lnTo>
                      <a:pt x="232" y="87"/>
                    </a:lnTo>
                    <a:lnTo>
                      <a:pt x="238" y="79"/>
                    </a:lnTo>
                    <a:lnTo>
                      <a:pt x="242" y="68"/>
                    </a:lnTo>
                    <a:lnTo>
                      <a:pt x="242" y="68"/>
                    </a:lnTo>
                    <a:lnTo>
                      <a:pt x="249" y="60"/>
                    </a:lnTo>
                    <a:lnTo>
                      <a:pt x="259" y="53"/>
                    </a:lnTo>
                    <a:lnTo>
                      <a:pt x="259" y="51"/>
                    </a:lnTo>
                    <a:lnTo>
                      <a:pt x="272" y="38"/>
                    </a:lnTo>
                    <a:lnTo>
                      <a:pt x="276" y="40"/>
                    </a:lnTo>
                    <a:lnTo>
                      <a:pt x="276" y="43"/>
                    </a:lnTo>
                    <a:lnTo>
                      <a:pt x="272" y="43"/>
                    </a:lnTo>
                    <a:lnTo>
                      <a:pt x="276" y="45"/>
                    </a:lnTo>
                    <a:lnTo>
                      <a:pt x="281" y="43"/>
                    </a:lnTo>
                    <a:lnTo>
                      <a:pt x="287" y="43"/>
                    </a:lnTo>
                    <a:lnTo>
                      <a:pt x="287" y="43"/>
                    </a:lnTo>
                    <a:lnTo>
                      <a:pt x="298" y="40"/>
                    </a:lnTo>
                    <a:lnTo>
                      <a:pt x="310" y="32"/>
                    </a:lnTo>
                    <a:lnTo>
                      <a:pt x="315" y="32"/>
                    </a:lnTo>
                    <a:lnTo>
                      <a:pt x="315" y="32"/>
                    </a:lnTo>
                    <a:lnTo>
                      <a:pt x="315" y="40"/>
                    </a:lnTo>
                    <a:lnTo>
                      <a:pt x="310" y="45"/>
                    </a:lnTo>
                    <a:lnTo>
                      <a:pt x="313" y="43"/>
                    </a:lnTo>
                    <a:lnTo>
                      <a:pt x="315" y="49"/>
                    </a:lnTo>
                    <a:lnTo>
                      <a:pt x="317" y="40"/>
                    </a:lnTo>
                    <a:lnTo>
                      <a:pt x="327" y="38"/>
                    </a:lnTo>
                    <a:lnTo>
                      <a:pt x="323" y="38"/>
                    </a:lnTo>
                    <a:lnTo>
                      <a:pt x="319" y="34"/>
                    </a:lnTo>
                    <a:lnTo>
                      <a:pt x="317" y="28"/>
                    </a:lnTo>
                    <a:lnTo>
                      <a:pt x="317" y="26"/>
                    </a:lnTo>
                    <a:lnTo>
                      <a:pt x="327" y="19"/>
                    </a:lnTo>
                    <a:lnTo>
                      <a:pt x="334" y="19"/>
                    </a:lnTo>
                    <a:lnTo>
                      <a:pt x="330" y="23"/>
                    </a:lnTo>
                    <a:lnTo>
                      <a:pt x="332" y="28"/>
                    </a:lnTo>
                    <a:lnTo>
                      <a:pt x="338" y="23"/>
                    </a:lnTo>
                    <a:lnTo>
                      <a:pt x="342" y="26"/>
                    </a:lnTo>
                    <a:lnTo>
                      <a:pt x="357" y="26"/>
                    </a:lnTo>
                    <a:lnTo>
                      <a:pt x="370" y="19"/>
                    </a:lnTo>
                    <a:lnTo>
                      <a:pt x="374" y="15"/>
                    </a:lnTo>
                    <a:lnTo>
                      <a:pt x="379" y="11"/>
                    </a:lnTo>
                    <a:lnTo>
                      <a:pt x="387" y="2"/>
                    </a:lnTo>
                    <a:lnTo>
                      <a:pt x="393" y="0"/>
                    </a:lnTo>
                    <a:lnTo>
                      <a:pt x="389" y="4"/>
                    </a:lnTo>
                    <a:lnTo>
                      <a:pt x="393" y="6"/>
                    </a:lnTo>
                    <a:lnTo>
                      <a:pt x="396" y="13"/>
                    </a:lnTo>
                    <a:lnTo>
                      <a:pt x="402" y="13"/>
                    </a:lnTo>
                    <a:lnTo>
                      <a:pt x="406" y="17"/>
                    </a:lnTo>
                    <a:lnTo>
                      <a:pt x="404" y="21"/>
                    </a:lnTo>
                    <a:lnTo>
                      <a:pt x="400" y="26"/>
                    </a:lnTo>
                    <a:lnTo>
                      <a:pt x="393" y="26"/>
                    </a:lnTo>
                    <a:lnTo>
                      <a:pt x="393" y="28"/>
                    </a:lnTo>
                    <a:lnTo>
                      <a:pt x="396" y="32"/>
                    </a:lnTo>
                    <a:lnTo>
                      <a:pt x="400" y="34"/>
                    </a:lnTo>
                    <a:lnTo>
                      <a:pt x="408" y="26"/>
                    </a:lnTo>
                    <a:lnTo>
                      <a:pt x="411" y="19"/>
                    </a:lnTo>
                    <a:lnTo>
                      <a:pt x="415" y="26"/>
                    </a:lnTo>
                    <a:lnTo>
                      <a:pt x="417" y="21"/>
                    </a:lnTo>
                    <a:lnTo>
                      <a:pt x="421" y="23"/>
                    </a:lnTo>
                    <a:lnTo>
                      <a:pt x="423" y="28"/>
                    </a:lnTo>
                    <a:lnTo>
                      <a:pt x="419" y="32"/>
                    </a:lnTo>
                    <a:lnTo>
                      <a:pt x="423" y="36"/>
                    </a:lnTo>
                    <a:lnTo>
                      <a:pt x="428" y="40"/>
                    </a:lnTo>
                    <a:lnTo>
                      <a:pt x="440" y="36"/>
                    </a:lnTo>
                    <a:lnTo>
                      <a:pt x="445" y="36"/>
                    </a:lnTo>
                    <a:lnTo>
                      <a:pt x="451" y="36"/>
                    </a:lnTo>
                    <a:lnTo>
                      <a:pt x="455" y="40"/>
                    </a:lnTo>
                    <a:lnTo>
                      <a:pt x="459" y="40"/>
                    </a:lnTo>
                    <a:lnTo>
                      <a:pt x="464" y="40"/>
                    </a:lnTo>
                    <a:lnTo>
                      <a:pt x="464" y="47"/>
                    </a:lnTo>
                    <a:lnTo>
                      <a:pt x="462" y="49"/>
                    </a:lnTo>
                    <a:lnTo>
                      <a:pt x="466" y="55"/>
                    </a:lnTo>
                    <a:lnTo>
                      <a:pt x="459" y="55"/>
                    </a:lnTo>
                    <a:lnTo>
                      <a:pt x="464" y="60"/>
                    </a:lnTo>
                    <a:lnTo>
                      <a:pt x="468" y="57"/>
                    </a:lnTo>
                    <a:lnTo>
                      <a:pt x="474" y="60"/>
                    </a:lnTo>
                    <a:lnTo>
                      <a:pt x="470" y="64"/>
                    </a:lnTo>
                    <a:lnTo>
                      <a:pt x="481" y="68"/>
                    </a:lnTo>
                    <a:lnTo>
                      <a:pt x="485" y="70"/>
                    </a:lnTo>
                    <a:lnTo>
                      <a:pt x="487" y="68"/>
                    </a:lnTo>
                    <a:lnTo>
                      <a:pt x="489" y="66"/>
                    </a:lnTo>
                    <a:lnTo>
                      <a:pt x="494" y="66"/>
                    </a:lnTo>
                    <a:lnTo>
                      <a:pt x="500" y="66"/>
                    </a:lnTo>
                    <a:lnTo>
                      <a:pt x="500" y="68"/>
                    </a:lnTo>
                    <a:lnTo>
                      <a:pt x="506" y="70"/>
                    </a:lnTo>
                    <a:lnTo>
                      <a:pt x="511" y="66"/>
                    </a:lnTo>
                    <a:lnTo>
                      <a:pt x="517" y="66"/>
                    </a:lnTo>
                    <a:lnTo>
                      <a:pt x="521" y="68"/>
                    </a:lnTo>
                    <a:lnTo>
                      <a:pt x="526" y="68"/>
                    </a:lnTo>
                    <a:lnTo>
                      <a:pt x="530" y="70"/>
                    </a:lnTo>
                    <a:lnTo>
                      <a:pt x="534" y="72"/>
                    </a:lnTo>
                    <a:lnTo>
                      <a:pt x="538" y="79"/>
                    </a:lnTo>
                    <a:lnTo>
                      <a:pt x="543" y="77"/>
                    </a:lnTo>
                    <a:lnTo>
                      <a:pt x="547" y="79"/>
                    </a:lnTo>
                    <a:lnTo>
                      <a:pt x="551" y="79"/>
                    </a:lnTo>
                    <a:lnTo>
                      <a:pt x="551" y="83"/>
                    </a:lnTo>
                    <a:lnTo>
                      <a:pt x="555" y="85"/>
                    </a:lnTo>
                    <a:lnTo>
                      <a:pt x="566" y="89"/>
                    </a:lnTo>
                    <a:lnTo>
                      <a:pt x="570" y="87"/>
                    </a:lnTo>
                    <a:lnTo>
                      <a:pt x="577" y="87"/>
                    </a:lnTo>
                    <a:lnTo>
                      <a:pt x="581" y="87"/>
                    </a:lnTo>
                    <a:lnTo>
                      <a:pt x="587" y="89"/>
                    </a:lnTo>
                    <a:lnTo>
                      <a:pt x="592" y="89"/>
                    </a:lnTo>
                    <a:lnTo>
                      <a:pt x="596" y="96"/>
                    </a:lnTo>
                    <a:lnTo>
                      <a:pt x="600" y="98"/>
                    </a:lnTo>
                    <a:lnTo>
                      <a:pt x="600" y="98"/>
                    </a:lnTo>
                    <a:lnTo>
                      <a:pt x="609" y="100"/>
                    </a:lnTo>
                    <a:lnTo>
                      <a:pt x="613" y="100"/>
                    </a:lnTo>
                    <a:lnTo>
                      <a:pt x="621" y="96"/>
                    </a:lnTo>
                    <a:lnTo>
                      <a:pt x="626" y="98"/>
                    </a:lnTo>
                    <a:lnTo>
                      <a:pt x="628" y="94"/>
                    </a:lnTo>
                    <a:lnTo>
                      <a:pt x="632" y="92"/>
                    </a:lnTo>
                    <a:lnTo>
                      <a:pt x="636" y="94"/>
                    </a:lnTo>
                    <a:lnTo>
                      <a:pt x="643" y="96"/>
                    </a:lnTo>
                    <a:lnTo>
                      <a:pt x="647" y="94"/>
                    </a:lnTo>
                    <a:lnTo>
                      <a:pt x="651" y="96"/>
                    </a:lnTo>
                    <a:lnTo>
                      <a:pt x="655" y="98"/>
                    </a:lnTo>
                    <a:lnTo>
                      <a:pt x="660" y="102"/>
                    </a:lnTo>
                    <a:lnTo>
                      <a:pt x="668" y="109"/>
                    </a:lnTo>
                    <a:lnTo>
                      <a:pt x="670" y="109"/>
                    </a:lnTo>
                    <a:lnTo>
                      <a:pt x="675" y="111"/>
                    </a:lnTo>
                    <a:lnTo>
                      <a:pt x="679" y="115"/>
                    </a:lnTo>
                    <a:lnTo>
                      <a:pt x="681" y="115"/>
                    </a:lnTo>
                    <a:lnTo>
                      <a:pt x="689" y="117"/>
                    </a:lnTo>
                    <a:lnTo>
                      <a:pt x="689" y="119"/>
                    </a:lnTo>
                    <a:lnTo>
                      <a:pt x="692" y="160"/>
                    </a:lnTo>
                    <a:lnTo>
                      <a:pt x="719" y="656"/>
                    </a:lnTo>
                    <a:lnTo>
                      <a:pt x="721" y="660"/>
                    </a:lnTo>
                    <a:lnTo>
                      <a:pt x="734" y="664"/>
                    </a:lnTo>
                    <a:lnTo>
                      <a:pt x="738" y="660"/>
                    </a:lnTo>
                    <a:lnTo>
                      <a:pt x="749" y="664"/>
                    </a:lnTo>
                    <a:lnTo>
                      <a:pt x="751" y="664"/>
                    </a:lnTo>
                    <a:lnTo>
                      <a:pt x="760" y="656"/>
                    </a:lnTo>
                    <a:lnTo>
                      <a:pt x="770" y="654"/>
                    </a:lnTo>
                    <a:lnTo>
                      <a:pt x="775" y="658"/>
                    </a:lnTo>
                    <a:lnTo>
                      <a:pt x="775" y="664"/>
                    </a:lnTo>
                    <a:lnTo>
                      <a:pt x="773" y="669"/>
                    </a:lnTo>
                    <a:lnTo>
                      <a:pt x="777" y="673"/>
                    </a:lnTo>
                    <a:lnTo>
                      <a:pt x="783" y="677"/>
                    </a:lnTo>
                    <a:lnTo>
                      <a:pt x="790" y="682"/>
                    </a:lnTo>
                    <a:lnTo>
                      <a:pt x="792" y="688"/>
                    </a:lnTo>
                    <a:lnTo>
                      <a:pt x="824" y="716"/>
                    </a:lnTo>
                    <a:lnTo>
                      <a:pt x="832" y="733"/>
                    </a:lnTo>
                    <a:lnTo>
                      <a:pt x="834" y="728"/>
                    </a:lnTo>
                    <a:lnTo>
                      <a:pt x="839" y="724"/>
                    </a:lnTo>
                    <a:lnTo>
                      <a:pt x="849" y="716"/>
                    </a:lnTo>
                    <a:lnTo>
                      <a:pt x="856" y="711"/>
                    </a:lnTo>
                    <a:lnTo>
                      <a:pt x="858" y="707"/>
                    </a:lnTo>
                    <a:lnTo>
                      <a:pt x="856" y="703"/>
                    </a:lnTo>
                    <a:lnTo>
                      <a:pt x="862" y="692"/>
                    </a:lnTo>
                    <a:lnTo>
                      <a:pt x="862" y="686"/>
                    </a:lnTo>
                    <a:lnTo>
                      <a:pt x="868" y="684"/>
                    </a:lnTo>
                    <a:lnTo>
                      <a:pt x="873" y="679"/>
                    </a:lnTo>
                    <a:lnTo>
                      <a:pt x="879" y="675"/>
                    </a:lnTo>
                    <a:lnTo>
                      <a:pt x="885" y="677"/>
                    </a:lnTo>
                    <a:lnTo>
                      <a:pt x="890" y="679"/>
                    </a:lnTo>
                    <a:lnTo>
                      <a:pt x="894" y="684"/>
                    </a:lnTo>
                    <a:lnTo>
                      <a:pt x="896" y="684"/>
                    </a:lnTo>
                    <a:lnTo>
                      <a:pt x="898" y="690"/>
                    </a:lnTo>
                    <a:lnTo>
                      <a:pt x="902" y="703"/>
                    </a:lnTo>
                    <a:lnTo>
                      <a:pt x="907" y="703"/>
                    </a:lnTo>
                    <a:lnTo>
                      <a:pt x="911" y="707"/>
                    </a:lnTo>
                    <a:lnTo>
                      <a:pt x="917" y="709"/>
                    </a:lnTo>
                    <a:lnTo>
                      <a:pt x="924" y="720"/>
                    </a:lnTo>
                    <a:lnTo>
                      <a:pt x="928" y="724"/>
                    </a:lnTo>
                    <a:lnTo>
                      <a:pt x="936" y="728"/>
                    </a:lnTo>
                    <a:lnTo>
                      <a:pt x="941" y="731"/>
                    </a:lnTo>
                    <a:lnTo>
                      <a:pt x="947" y="737"/>
                    </a:lnTo>
                    <a:lnTo>
                      <a:pt x="956" y="745"/>
                    </a:lnTo>
                    <a:lnTo>
                      <a:pt x="956" y="745"/>
                    </a:lnTo>
                    <a:lnTo>
                      <a:pt x="958" y="752"/>
                    </a:lnTo>
                    <a:lnTo>
                      <a:pt x="966" y="760"/>
                    </a:lnTo>
                    <a:lnTo>
                      <a:pt x="968" y="765"/>
                    </a:lnTo>
                    <a:lnTo>
                      <a:pt x="977" y="773"/>
                    </a:lnTo>
                    <a:lnTo>
                      <a:pt x="990" y="790"/>
                    </a:lnTo>
                    <a:lnTo>
                      <a:pt x="996" y="799"/>
                    </a:lnTo>
                    <a:lnTo>
                      <a:pt x="1000" y="803"/>
                    </a:lnTo>
                    <a:lnTo>
                      <a:pt x="1002" y="809"/>
                    </a:lnTo>
                    <a:lnTo>
                      <a:pt x="1002" y="814"/>
                    </a:lnTo>
                    <a:lnTo>
                      <a:pt x="1007" y="816"/>
                    </a:lnTo>
                    <a:lnTo>
                      <a:pt x="1011" y="820"/>
                    </a:lnTo>
                    <a:lnTo>
                      <a:pt x="1015" y="826"/>
                    </a:lnTo>
                    <a:lnTo>
                      <a:pt x="1020" y="831"/>
                    </a:lnTo>
                    <a:lnTo>
                      <a:pt x="1022" y="837"/>
                    </a:lnTo>
                    <a:lnTo>
                      <a:pt x="1024" y="839"/>
                    </a:lnTo>
                    <a:lnTo>
                      <a:pt x="1028" y="839"/>
                    </a:lnTo>
                    <a:lnTo>
                      <a:pt x="1034" y="839"/>
                    </a:lnTo>
                    <a:lnTo>
                      <a:pt x="1043" y="843"/>
                    </a:lnTo>
                    <a:lnTo>
                      <a:pt x="1047" y="846"/>
                    </a:lnTo>
                    <a:lnTo>
                      <a:pt x="1058" y="846"/>
                    </a:lnTo>
                    <a:lnTo>
                      <a:pt x="1062" y="850"/>
                    </a:lnTo>
                    <a:lnTo>
                      <a:pt x="1068" y="852"/>
                    </a:lnTo>
                    <a:lnTo>
                      <a:pt x="1073" y="856"/>
                    </a:lnTo>
                    <a:lnTo>
                      <a:pt x="1077" y="858"/>
                    </a:lnTo>
                    <a:lnTo>
                      <a:pt x="1083" y="856"/>
                    </a:lnTo>
                    <a:lnTo>
                      <a:pt x="1088" y="860"/>
                    </a:lnTo>
                    <a:lnTo>
                      <a:pt x="1088" y="867"/>
                    </a:lnTo>
                    <a:lnTo>
                      <a:pt x="1088" y="871"/>
                    </a:lnTo>
                    <a:lnTo>
                      <a:pt x="1086" y="875"/>
                    </a:lnTo>
                    <a:lnTo>
                      <a:pt x="1088" y="882"/>
                    </a:lnTo>
                    <a:lnTo>
                      <a:pt x="1088" y="888"/>
                    </a:lnTo>
                    <a:lnTo>
                      <a:pt x="1096" y="903"/>
                    </a:lnTo>
                    <a:lnTo>
                      <a:pt x="1094" y="907"/>
                    </a:lnTo>
                    <a:lnTo>
                      <a:pt x="1092" y="922"/>
                    </a:lnTo>
                    <a:lnTo>
                      <a:pt x="1090" y="926"/>
                    </a:lnTo>
                    <a:lnTo>
                      <a:pt x="1086" y="931"/>
                    </a:lnTo>
                    <a:lnTo>
                      <a:pt x="1081" y="935"/>
                    </a:lnTo>
                    <a:lnTo>
                      <a:pt x="1081" y="937"/>
                    </a:lnTo>
                    <a:lnTo>
                      <a:pt x="1077" y="926"/>
                    </a:lnTo>
                    <a:lnTo>
                      <a:pt x="1077" y="935"/>
                    </a:lnTo>
                    <a:lnTo>
                      <a:pt x="1073" y="935"/>
                    </a:lnTo>
                    <a:lnTo>
                      <a:pt x="1068" y="924"/>
                    </a:lnTo>
                    <a:lnTo>
                      <a:pt x="1071" y="920"/>
                    </a:lnTo>
                    <a:lnTo>
                      <a:pt x="1075" y="918"/>
                    </a:lnTo>
                    <a:lnTo>
                      <a:pt x="1077" y="914"/>
                    </a:lnTo>
                    <a:lnTo>
                      <a:pt x="1081" y="905"/>
                    </a:lnTo>
                    <a:lnTo>
                      <a:pt x="1077" y="914"/>
                    </a:lnTo>
                    <a:lnTo>
                      <a:pt x="1075" y="918"/>
                    </a:lnTo>
                    <a:lnTo>
                      <a:pt x="1068" y="920"/>
                    </a:lnTo>
                    <a:lnTo>
                      <a:pt x="1064" y="918"/>
                    </a:lnTo>
                    <a:lnTo>
                      <a:pt x="1064" y="914"/>
                    </a:lnTo>
                    <a:lnTo>
                      <a:pt x="1066" y="907"/>
                    </a:lnTo>
                    <a:lnTo>
                      <a:pt x="1073" y="907"/>
                    </a:lnTo>
                    <a:lnTo>
                      <a:pt x="1068" y="905"/>
                    </a:lnTo>
                    <a:lnTo>
                      <a:pt x="1066" y="899"/>
                    </a:lnTo>
                    <a:lnTo>
                      <a:pt x="1064" y="888"/>
                    </a:lnTo>
                    <a:lnTo>
                      <a:pt x="1060" y="882"/>
                    </a:lnTo>
                    <a:lnTo>
                      <a:pt x="1054" y="873"/>
                    </a:lnTo>
                    <a:lnTo>
                      <a:pt x="1051" y="869"/>
                    </a:lnTo>
                    <a:lnTo>
                      <a:pt x="1054" y="865"/>
                    </a:lnTo>
                    <a:lnTo>
                      <a:pt x="1045" y="873"/>
                    </a:lnTo>
                    <a:lnTo>
                      <a:pt x="1041" y="873"/>
                    </a:lnTo>
                    <a:lnTo>
                      <a:pt x="1030" y="882"/>
                    </a:lnTo>
                    <a:lnTo>
                      <a:pt x="1034" y="886"/>
                    </a:lnTo>
                    <a:lnTo>
                      <a:pt x="1032" y="897"/>
                    </a:lnTo>
                    <a:lnTo>
                      <a:pt x="1028" y="895"/>
                    </a:lnTo>
                    <a:lnTo>
                      <a:pt x="1032" y="901"/>
                    </a:lnTo>
                    <a:lnTo>
                      <a:pt x="1026" y="901"/>
                    </a:lnTo>
                    <a:lnTo>
                      <a:pt x="1022" y="897"/>
                    </a:lnTo>
                    <a:lnTo>
                      <a:pt x="1017" y="892"/>
                    </a:lnTo>
                    <a:lnTo>
                      <a:pt x="1022" y="886"/>
                    </a:lnTo>
                    <a:lnTo>
                      <a:pt x="1024" y="882"/>
                    </a:lnTo>
                    <a:lnTo>
                      <a:pt x="1026" y="873"/>
                    </a:lnTo>
                    <a:lnTo>
                      <a:pt x="1024" y="867"/>
                    </a:lnTo>
                    <a:lnTo>
                      <a:pt x="1028" y="863"/>
                    </a:lnTo>
                    <a:lnTo>
                      <a:pt x="1032" y="863"/>
                    </a:lnTo>
                    <a:lnTo>
                      <a:pt x="1030" y="860"/>
                    </a:lnTo>
                    <a:lnTo>
                      <a:pt x="1026" y="860"/>
                    </a:lnTo>
                    <a:lnTo>
                      <a:pt x="1022" y="856"/>
                    </a:lnTo>
                    <a:lnTo>
                      <a:pt x="1017" y="854"/>
                    </a:lnTo>
                    <a:lnTo>
                      <a:pt x="1011" y="850"/>
                    </a:lnTo>
                    <a:lnTo>
                      <a:pt x="1007" y="848"/>
                    </a:lnTo>
                    <a:lnTo>
                      <a:pt x="1007" y="841"/>
                    </a:lnTo>
                    <a:lnTo>
                      <a:pt x="1000" y="843"/>
                    </a:lnTo>
                    <a:lnTo>
                      <a:pt x="1000" y="837"/>
                    </a:lnTo>
                    <a:lnTo>
                      <a:pt x="1002" y="833"/>
                    </a:lnTo>
                    <a:lnTo>
                      <a:pt x="996" y="835"/>
                    </a:lnTo>
                    <a:lnTo>
                      <a:pt x="992" y="833"/>
                    </a:lnTo>
                    <a:lnTo>
                      <a:pt x="988" y="828"/>
                    </a:lnTo>
                    <a:lnTo>
                      <a:pt x="990" y="822"/>
                    </a:lnTo>
                    <a:lnTo>
                      <a:pt x="988" y="818"/>
                    </a:lnTo>
                    <a:lnTo>
                      <a:pt x="983" y="822"/>
                    </a:lnTo>
                    <a:lnTo>
                      <a:pt x="977" y="820"/>
                    </a:lnTo>
                    <a:lnTo>
                      <a:pt x="973" y="816"/>
                    </a:lnTo>
                    <a:lnTo>
                      <a:pt x="968" y="818"/>
                    </a:lnTo>
                    <a:lnTo>
                      <a:pt x="962" y="816"/>
                    </a:lnTo>
                    <a:lnTo>
                      <a:pt x="964" y="811"/>
                    </a:lnTo>
                    <a:lnTo>
                      <a:pt x="971" y="809"/>
                    </a:lnTo>
                    <a:lnTo>
                      <a:pt x="975" y="805"/>
                    </a:lnTo>
                    <a:lnTo>
                      <a:pt x="964" y="805"/>
                    </a:lnTo>
                    <a:lnTo>
                      <a:pt x="966" y="801"/>
                    </a:lnTo>
                    <a:lnTo>
                      <a:pt x="962" y="801"/>
                    </a:lnTo>
                    <a:lnTo>
                      <a:pt x="962" y="794"/>
                    </a:lnTo>
                    <a:lnTo>
                      <a:pt x="958" y="792"/>
                    </a:lnTo>
                    <a:lnTo>
                      <a:pt x="956" y="788"/>
                    </a:lnTo>
                    <a:lnTo>
                      <a:pt x="964" y="790"/>
                    </a:lnTo>
                    <a:lnTo>
                      <a:pt x="973" y="794"/>
                    </a:lnTo>
                    <a:lnTo>
                      <a:pt x="971" y="788"/>
                    </a:lnTo>
                    <a:lnTo>
                      <a:pt x="964" y="788"/>
                    </a:lnTo>
                    <a:lnTo>
                      <a:pt x="960" y="784"/>
                    </a:lnTo>
                    <a:lnTo>
                      <a:pt x="956" y="779"/>
                    </a:lnTo>
                    <a:lnTo>
                      <a:pt x="956" y="775"/>
                    </a:lnTo>
                    <a:lnTo>
                      <a:pt x="966" y="775"/>
                    </a:lnTo>
                    <a:lnTo>
                      <a:pt x="956" y="773"/>
                    </a:lnTo>
                    <a:lnTo>
                      <a:pt x="954" y="777"/>
                    </a:lnTo>
                    <a:lnTo>
                      <a:pt x="949" y="777"/>
                    </a:lnTo>
                    <a:lnTo>
                      <a:pt x="947" y="771"/>
                    </a:lnTo>
                    <a:lnTo>
                      <a:pt x="949" y="762"/>
                    </a:lnTo>
                    <a:lnTo>
                      <a:pt x="947" y="767"/>
                    </a:lnTo>
                    <a:lnTo>
                      <a:pt x="945" y="771"/>
                    </a:lnTo>
                    <a:lnTo>
                      <a:pt x="941" y="769"/>
                    </a:lnTo>
                    <a:lnTo>
                      <a:pt x="939" y="762"/>
                    </a:lnTo>
                    <a:lnTo>
                      <a:pt x="936" y="758"/>
                    </a:lnTo>
                    <a:lnTo>
                      <a:pt x="939" y="754"/>
                    </a:lnTo>
                    <a:lnTo>
                      <a:pt x="939" y="748"/>
                    </a:lnTo>
                    <a:lnTo>
                      <a:pt x="939" y="743"/>
                    </a:lnTo>
                    <a:lnTo>
                      <a:pt x="943" y="741"/>
                    </a:lnTo>
                    <a:lnTo>
                      <a:pt x="936" y="741"/>
                    </a:lnTo>
                    <a:lnTo>
                      <a:pt x="936" y="756"/>
                    </a:lnTo>
                    <a:lnTo>
                      <a:pt x="930" y="758"/>
                    </a:lnTo>
                    <a:lnTo>
                      <a:pt x="926" y="756"/>
                    </a:lnTo>
                    <a:lnTo>
                      <a:pt x="922" y="754"/>
                    </a:lnTo>
                    <a:lnTo>
                      <a:pt x="922" y="754"/>
                    </a:lnTo>
                    <a:lnTo>
                      <a:pt x="922" y="754"/>
                    </a:lnTo>
                    <a:lnTo>
                      <a:pt x="915" y="754"/>
                    </a:lnTo>
                    <a:lnTo>
                      <a:pt x="913" y="748"/>
                    </a:lnTo>
                    <a:lnTo>
                      <a:pt x="905" y="737"/>
                    </a:lnTo>
                    <a:lnTo>
                      <a:pt x="907" y="733"/>
                    </a:lnTo>
                    <a:lnTo>
                      <a:pt x="902" y="731"/>
                    </a:lnTo>
                    <a:lnTo>
                      <a:pt x="898" y="724"/>
                    </a:lnTo>
                    <a:lnTo>
                      <a:pt x="898" y="720"/>
                    </a:lnTo>
                    <a:lnTo>
                      <a:pt x="892" y="709"/>
                    </a:lnTo>
                    <a:lnTo>
                      <a:pt x="890" y="703"/>
                    </a:lnTo>
                    <a:lnTo>
                      <a:pt x="887" y="692"/>
                    </a:lnTo>
                    <a:lnTo>
                      <a:pt x="885" y="703"/>
                    </a:lnTo>
                    <a:lnTo>
                      <a:pt x="885" y="703"/>
                    </a:lnTo>
                    <a:lnTo>
                      <a:pt x="890" y="707"/>
                    </a:lnTo>
                    <a:lnTo>
                      <a:pt x="892" y="713"/>
                    </a:lnTo>
                    <a:lnTo>
                      <a:pt x="887" y="709"/>
                    </a:lnTo>
                    <a:lnTo>
                      <a:pt x="890" y="713"/>
                    </a:lnTo>
                    <a:lnTo>
                      <a:pt x="892" y="720"/>
                    </a:lnTo>
                    <a:lnTo>
                      <a:pt x="898" y="737"/>
                    </a:lnTo>
                    <a:lnTo>
                      <a:pt x="902" y="743"/>
                    </a:lnTo>
                    <a:lnTo>
                      <a:pt x="900" y="741"/>
                    </a:lnTo>
                    <a:lnTo>
                      <a:pt x="902" y="748"/>
                    </a:lnTo>
                    <a:lnTo>
                      <a:pt x="907" y="758"/>
                    </a:lnTo>
                    <a:lnTo>
                      <a:pt x="907" y="762"/>
                    </a:lnTo>
                    <a:lnTo>
                      <a:pt x="900" y="765"/>
                    </a:lnTo>
                    <a:lnTo>
                      <a:pt x="896" y="760"/>
                    </a:lnTo>
                    <a:lnTo>
                      <a:pt x="894" y="754"/>
                    </a:lnTo>
                    <a:lnTo>
                      <a:pt x="887" y="754"/>
                    </a:lnTo>
                    <a:lnTo>
                      <a:pt x="883" y="756"/>
                    </a:lnTo>
                    <a:lnTo>
                      <a:pt x="879" y="754"/>
                    </a:lnTo>
                    <a:lnTo>
                      <a:pt x="881" y="750"/>
                    </a:lnTo>
                    <a:lnTo>
                      <a:pt x="875" y="737"/>
                    </a:lnTo>
                    <a:lnTo>
                      <a:pt x="875" y="733"/>
                    </a:lnTo>
                    <a:lnTo>
                      <a:pt x="879" y="728"/>
                    </a:lnTo>
                    <a:lnTo>
                      <a:pt x="870" y="726"/>
                    </a:lnTo>
                    <a:lnTo>
                      <a:pt x="870" y="731"/>
                    </a:lnTo>
                    <a:lnTo>
                      <a:pt x="870" y="737"/>
                    </a:lnTo>
                    <a:lnTo>
                      <a:pt x="866" y="737"/>
                    </a:lnTo>
                    <a:lnTo>
                      <a:pt x="860" y="735"/>
                    </a:lnTo>
                    <a:lnTo>
                      <a:pt x="858" y="728"/>
                    </a:lnTo>
                    <a:lnTo>
                      <a:pt x="853" y="726"/>
                    </a:lnTo>
                    <a:lnTo>
                      <a:pt x="847" y="728"/>
                    </a:lnTo>
                    <a:lnTo>
                      <a:pt x="845" y="724"/>
                    </a:lnTo>
                    <a:lnTo>
                      <a:pt x="847" y="731"/>
                    </a:lnTo>
                    <a:lnTo>
                      <a:pt x="843" y="735"/>
                    </a:lnTo>
                    <a:lnTo>
                      <a:pt x="847" y="733"/>
                    </a:lnTo>
                    <a:lnTo>
                      <a:pt x="858" y="735"/>
                    </a:lnTo>
                    <a:lnTo>
                      <a:pt x="860" y="739"/>
                    </a:lnTo>
                    <a:lnTo>
                      <a:pt x="864" y="741"/>
                    </a:lnTo>
                    <a:lnTo>
                      <a:pt x="862" y="745"/>
                    </a:lnTo>
                    <a:lnTo>
                      <a:pt x="868" y="743"/>
                    </a:lnTo>
                    <a:lnTo>
                      <a:pt x="873" y="748"/>
                    </a:lnTo>
                    <a:lnTo>
                      <a:pt x="875" y="754"/>
                    </a:lnTo>
                    <a:lnTo>
                      <a:pt x="877" y="758"/>
                    </a:lnTo>
                    <a:lnTo>
                      <a:pt x="870" y="762"/>
                    </a:lnTo>
                    <a:lnTo>
                      <a:pt x="862" y="758"/>
                    </a:lnTo>
                    <a:lnTo>
                      <a:pt x="862" y="762"/>
                    </a:lnTo>
                    <a:lnTo>
                      <a:pt x="862" y="767"/>
                    </a:lnTo>
                    <a:lnTo>
                      <a:pt x="860" y="771"/>
                    </a:lnTo>
                    <a:lnTo>
                      <a:pt x="856" y="767"/>
                    </a:lnTo>
                    <a:lnTo>
                      <a:pt x="849" y="762"/>
                    </a:lnTo>
                    <a:lnTo>
                      <a:pt x="841" y="760"/>
                    </a:lnTo>
                    <a:lnTo>
                      <a:pt x="828" y="752"/>
                    </a:lnTo>
                    <a:lnTo>
                      <a:pt x="832" y="748"/>
                    </a:lnTo>
                    <a:lnTo>
                      <a:pt x="828" y="750"/>
                    </a:lnTo>
                    <a:lnTo>
                      <a:pt x="817" y="743"/>
                    </a:lnTo>
                    <a:lnTo>
                      <a:pt x="815" y="737"/>
                    </a:lnTo>
                    <a:lnTo>
                      <a:pt x="809" y="728"/>
                    </a:lnTo>
                    <a:lnTo>
                      <a:pt x="802" y="726"/>
                    </a:lnTo>
                    <a:lnTo>
                      <a:pt x="798" y="724"/>
                    </a:lnTo>
                    <a:lnTo>
                      <a:pt x="800" y="720"/>
                    </a:lnTo>
                    <a:lnTo>
                      <a:pt x="794" y="722"/>
                    </a:lnTo>
                    <a:lnTo>
                      <a:pt x="785" y="718"/>
                    </a:lnTo>
                    <a:lnTo>
                      <a:pt x="779" y="716"/>
                    </a:lnTo>
                    <a:lnTo>
                      <a:pt x="775" y="711"/>
                    </a:lnTo>
                    <a:lnTo>
                      <a:pt x="770" y="711"/>
                    </a:lnTo>
                    <a:lnTo>
                      <a:pt x="766" y="707"/>
                    </a:lnTo>
                    <a:lnTo>
                      <a:pt x="755" y="703"/>
                    </a:lnTo>
                    <a:lnTo>
                      <a:pt x="762" y="701"/>
                    </a:lnTo>
                    <a:lnTo>
                      <a:pt x="764" y="696"/>
                    </a:lnTo>
                    <a:lnTo>
                      <a:pt x="766" y="690"/>
                    </a:lnTo>
                    <a:lnTo>
                      <a:pt x="762" y="686"/>
                    </a:lnTo>
                    <a:lnTo>
                      <a:pt x="762" y="679"/>
                    </a:lnTo>
                    <a:lnTo>
                      <a:pt x="768" y="679"/>
                    </a:lnTo>
                    <a:lnTo>
                      <a:pt x="770" y="684"/>
                    </a:lnTo>
                    <a:lnTo>
                      <a:pt x="770" y="690"/>
                    </a:lnTo>
                    <a:lnTo>
                      <a:pt x="773" y="696"/>
                    </a:lnTo>
                    <a:lnTo>
                      <a:pt x="770" y="690"/>
                    </a:lnTo>
                    <a:lnTo>
                      <a:pt x="770" y="684"/>
                    </a:lnTo>
                    <a:lnTo>
                      <a:pt x="777" y="684"/>
                    </a:lnTo>
                    <a:lnTo>
                      <a:pt x="781" y="686"/>
                    </a:lnTo>
                    <a:lnTo>
                      <a:pt x="777" y="684"/>
                    </a:lnTo>
                    <a:lnTo>
                      <a:pt x="773" y="682"/>
                    </a:lnTo>
                    <a:lnTo>
                      <a:pt x="766" y="675"/>
                    </a:lnTo>
                    <a:lnTo>
                      <a:pt x="762" y="675"/>
                    </a:lnTo>
                    <a:lnTo>
                      <a:pt x="758" y="684"/>
                    </a:lnTo>
                    <a:lnTo>
                      <a:pt x="745" y="692"/>
                    </a:lnTo>
                    <a:lnTo>
                      <a:pt x="741" y="694"/>
                    </a:lnTo>
                    <a:lnTo>
                      <a:pt x="724" y="692"/>
                    </a:lnTo>
                    <a:lnTo>
                      <a:pt x="711" y="686"/>
                    </a:lnTo>
                    <a:lnTo>
                      <a:pt x="713" y="682"/>
                    </a:lnTo>
                    <a:lnTo>
                      <a:pt x="713" y="679"/>
                    </a:lnTo>
                    <a:lnTo>
                      <a:pt x="711" y="673"/>
                    </a:lnTo>
                    <a:lnTo>
                      <a:pt x="709" y="677"/>
                    </a:lnTo>
                    <a:lnTo>
                      <a:pt x="702" y="682"/>
                    </a:lnTo>
                    <a:lnTo>
                      <a:pt x="696" y="679"/>
                    </a:lnTo>
                    <a:lnTo>
                      <a:pt x="672" y="675"/>
                    </a:lnTo>
                    <a:lnTo>
                      <a:pt x="662" y="677"/>
                    </a:lnTo>
                    <a:lnTo>
                      <a:pt x="645" y="679"/>
                    </a:lnTo>
                    <a:lnTo>
                      <a:pt x="638" y="682"/>
                    </a:lnTo>
                    <a:lnTo>
                      <a:pt x="636" y="682"/>
                    </a:lnTo>
                    <a:lnTo>
                      <a:pt x="632" y="679"/>
                    </a:lnTo>
                    <a:lnTo>
                      <a:pt x="630" y="673"/>
                    </a:lnTo>
                    <a:lnTo>
                      <a:pt x="626" y="669"/>
                    </a:lnTo>
                    <a:lnTo>
                      <a:pt x="615" y="669"/>
                    </a:lnTo>
                    <a:lnTo>
                      <a:pt x="611" y="664"/>
                    </a:lnTo>
                    <a:lnTo>
                      <a:pt x="609" y="658"/>
                    </a:lnTo>
                    <a:lnTo>
                      <a:pt x="611" y="654"/>
                    </a:lnTo>
                    <a:lnTo>
                      <a:pt x="611" y="650"/>
                    </a:lnTo>
                    <a:lnTo>
                      <a:pt x="613" y="643"/>
                    </a:lnTo>
                    <a:lnTo>
                      <a:pt x="617" y="639"/>
                    </a:lnTo>
                    <a:lnTo>
                      <a:pt x="611" y="643"/>
                    </a:lnTo>
                    <a:lnTo>
                      <a:pt x="609" y="647"/>
                    </a:lnTo>
                    <a:lnTo>
                      <a:pt x="604" y="652"/>
                    </a:lnTo>
                    <a:lnTo>
                      <a:pt x="602" y="658"/>
                    </a:lnTo>
                    <a:lnTo>
                      <a:pt x="596" y="660"/>
                    </a:lnTo>
                    <a:lnTo>
                      <a:pt x="592" y="658"/>
                    </a:lnTo>
                    <a:lnTo>
                      <a:pt x="587" y="654"/>
                    </a:lnTo>
                    <a:lnTo>
                      <a:pt x="583" y="654"/>
                    </a:lnTo>
                    <a:lnTo>
                      <a:pt x="583" y="650"/>
                    </a:lnTo>
                    <a:lnTo>
                      <a:pt x="587" y="645"/>
                    </a:lnTo>
                    <a:lnTo>
                      <a:pt x="581" y="645"/>
                    </a:lnTo>
                    <a:lnTo>
                      <a:pt x="577" y="641"/>
                    </a:lnTo>
                    <a:lnTo>
                      <a:pt x="570" y="643"/>
                    </a:lnTo>
                    <a:lnTo>
                      <a:pt x="577" y="635"/>
                    </a:lnTo>
                    <a:lnTo>
                      <a:pt x="564" y="641"/>
                    </a:lnTo>
                    <a:lnTo>
                      <a:pt x="560" y="641"/>
                    </a:lnTo>
                    <a:lnTo>
                      <a:pt x="564" y="637"/>
                    </a:lnTo>
                    <a:lnTo>
                      <a:pt x="574" y="633"/>
                    </a:lnTo>
                    <a:lnTo>
                      <a:pt x="570" y="628"/>
                    </a:lnTo>
                    <a:lnTo>
                      <a:pt x="566" y="633"/>
                    </a:lnTo>
                    <a:lnTo>
                      <a:pt x="562" y="630"/>
                    </a:lnTo>
                    <a:lnTo>
                      <a:pt x="557" y="628"/>
                    </a:lnTo>
                    <a:lnTo>
                      <a:pt x="557" y="622"/>
                    </a:lnTo>
                    <a:lnTo>
                      <a:pt x="560" y="618"/>
                    </a:lnTo>
                    <a:lnTo>
                      <a:pt x="570" y="618"/>
                    </a:lnTo>
                    <a:lnTo>
                      <a:pt x="566" y="615"/>
                    </a:lnTo>
                    <a:lnTo>
                      <a:pt x="562" y="615"/>
                    </a:lnTo>
                    <a:lnTo>
                      <a:pt x="553" y="624"/>
                    </a:lnTo>
                    <a:lnTo>
                      <a:pt x="549" y="624"/>
                    </a:lnTo>
                    <a:lnTo>
                      <a:pt x="543" y="622"/>
                    </a:lnTo>
                    <a:lnTo>
                      <a:pt x="540" y="626"/>
                    </a:lnTo>
                    <a:lnTo>
                      <a:pt x="536" y="622"/>
                    </a:lnTo>
                    <a:lnTo>
                      <a:pt x="536" y="626"/>
                    </a:lnTo>
                    <a:lnTo>
                      <a:pt x="536" y="615"/>
                    </a:lnTo>
                    <a:lnTo>
                      <a:pt x="532" y="620"/>
                    </a:lnTo>
                    <a:lnTo>
                      <a:pt x="532" y="630"/>
                    </a:lnTo>
                    <a:lnTo>
                      <a:pt x="530" y="624"/>
                    </a:lnTo>
                    <a:lnTo>
                      <a:pt x="528" y="628"/>
                    </a:lnTo>
                    <a:lnTo>
                      <a:pt x="521" y="626"/>
                    </a:lnTo>
                    <a:lnTo>
                      <a:pt x="523" y="620"/>
                    </a:lnTo>
                    <a:lnTo>
                      <a:pt x="523" y="615"/>
                    </a:lnTo>
                    <a:lnTo>
                      <a:pt x="528" y="611"/>
                    </a:lnTo>
                    <a:lnTo>
                      <a:pt x="530" y="605"/>
                    </a:lnTo>
                    <a:lnTo>
                      <a:pt x="528" y="609"/>
                    </a:lnTo>
                    <a:lnTo>
                      <a:pt x="523" y="613"/>
                    </a:lnTo>
                    <a:lnTo>
                      <a:pt x="521" y="618"/>
                    </a:lnTo>
                    <a:lnTo>
                      <a:pt x="517" y="613"/>
                    </a:lnTo>
                    <a:lnTo>
                      <a:pt x="511" y="615"/>
                    </a:lnTo>
                    <a:lnTo>
                      <a:pt x="508" y="622"/>
                    </a:lnTo>
                    <a:lnTo>
                      <a:pt x="515" y="618"/>
                    </a:lnTo>
                    <a:lnTo>
                      <a:pt x="515" y="622"/>
                    </a:lnTo>
                    <a:lnTo>
                      <a:pt x="513" y="628"/>
                    </a:lnTo>
                    <a:lnTo>
                      <a:pt x="502" y="633"/>
                    </a:lnTo>
                    <a:lnTo>
                      <a:pt x="506" y="630"/>
                    </a:lnTo>
                    <a:lnTo>
                      <a:pt x="502" y="635"/>
                    </a:lnTo>
                    <a:lnTo>
                      <a:pt x="508" y="635"/>
                    </a:lnTo>
                    <a:lnTo>
                      <a:pt x="508" y="639"/>
                    </a:lnTo>
                    <a:lnTo>
                      <a:pt x="513" y="635"/>
                    </a:lnTo>
                    <a:lnTo>
                      <a:pt x="515" y="641"/>
                    </a:lnTo>
                    <a:lnTo>
                      <a:pt x="513" y="645"/>
                    </a:lnTo>
                    <a:lnTo>
                      <a:pt x="506" y="645"/>
                    </a:lnTo>
                    <a:lnTo>
                      <a:pt x="502" y="650"/>
                    </a:lnTo>
                    <a:lnTo>
                      <a:pt x="508" y="647"/>
                    </a:lnTo>
                    <a:lnTo>
                      <a:pt x="513" y="650"/>
                    </a:lnTo>
                    <a:lnTo>
                      <a:pt x="517" y="645"/>
                    </a:lnTo>
                    <a:lnTo>
                      <a:pt x="521" y="650"/>
                    </a:lnTo>
                    <a:lnTo>
                      <a:pt x="521" y="654"/>
                    </a:lnTo>
                    <a:lnTo>
                      <a:pt x="515" y="656"/>
                    </a:lnTo>
                    <a:lnTo>
                      <a:pt x="513" y="660"/>
                    </a:lnTo>
                    <a:lnTo>
                      <a:pt x="508" y="664"/>
                    </a:lnTo>
                    <a:lnTo>
                      <a:pt x="513" y="664"/>
                    </a:lnTo>
                    <a:lnTo>
                      <a:pt x="513" y="669"/>
                    </a:lnTo>
                    <a:lnTo>
                      <a:pt x="508" y="673"/>
                    </a:lnTo>
                    <a:lnTo>
                      <a:pt x="506" y="679"/>
                    </a:lnTo>
                    <a:lnTo>
                      <a:pt x="504" y="679"/>
                    </a:lnTo>
                    <a:lnTo>
                      <a:pt x="500" y="684"/>
                    </a:lnTo>
                    <a:lnTo>
                      <a:pt x="487" y="677"/>
                    </a:lnTo>
                    <a:lnTo>
                      <a:pt x="485" y="677"/>
                    </a:lnTo>
                    <a:lnTo>
                      <a:pt x="483" y="682"/>
                    </a:lnTo>
                    <a:lnTo>
                      <a:pt x="481" y="671"/>
                    </a:lnTo>
                    <a:lnTo>
                      <a:pt x="479" y="677"/>
                    </a:lnTo>
                    <a:lnTo>
                      <a:pt x="474" y="682"/>
                    </a:lnTo>
                    <a:lnTo>
                      <a:pt x="472" y="686"/>
                    </a:lnTo>
                    <a:lnTo>
                      <a:pt x="472" y="690"/>
                    </a:lnTo>
                    <a:lnTo>
                      <a:pt x="470" y="686"/>
                    </a:lnTo>
                    <a:lnTo>
                      <a:pt x="470" y="679"/>
                    </a:lnTo>
                    <a:lnTo>
                      <a:pt x="468" y="686"/>
                    </a:lnTo>
                    <a:lnTo>
                      <a:pt x="466" y="690"/>
                    </a:lnTo>
                    <a:lnTo>
                      <a:pt x="466" y="694"/>
                    </a:lnTo>
                    <a:lnTo>
                      <a:pt x="464" y="690"/>
                    </a:lnTo>
                    <a:lnTo>
                      <a:pt x="459" y="688"/>
                    </a:lnTo>
                    <a:lnTo>
                      <a:pt x="462" y="694"/>
                    </a:lnTo>
                    <a:lnTo>
                      <a:pt x="459" y="696"/>
                    </a:lnTo>
                    <a:lnTo>
                      <a:pt x="453" y="699"/>
                    </a:lnTo>
                    <a:lnTo>
                      <a:pt x="451" y="703"/>
                    </a:lnTo>
                    <a:lnTo>
                      <a:pt x="451" y="699"/>
                    </a:lnTo>
                    <a:lnTo>
                      <a:pt x="453" y="694"/>
                    </a:lnTo>
                    <a:lnTo>
                      <a:pt x="447" y="703"/>
                    </a:lnTo>
                    <a:lnTo>
                      <a:pt x="442" y="699"/>
                    </a:lnTo>
                    <a:lnTo>
                      <a:pt x="442" y="705"/>
                    </a:lnTo>
                    <a:lnTo>
                      <a:pt x="432" y="711"/>
                    </a:lnTo>
                    <a:lnTo>
                      <a:pt x="432" y="718"/>
                    </a:lnTo>
                    <a:lnTo>
                      <a:pt x="421" y="713"/>
                    </a:lnTo>
                    <a:lnTo>
                      <a:pt x="425" y="718"/>
                    </a:lnTo>
                    <a:lnTo>
                      <a:pt x="419" y="718"/>
                    </a:lnTo>
                    <a:lnTo>
                      <a:pt x="415" y="716"/>
                    </a:lnTo>
                    <a:lnTo>
                      <a:pt x="411" y="720"/>
                    </a:lnTo>
                    <a:lnTo>
                      <a:pt x="406" y="720"/>
                    </a:lnTo>
                    <a:lnTo>
                      <a:pt x="402" y="716"/>
                    </a:lnTo>
                    <a:lnTo>
                      <a:pt x="400" y="709"/>
                    </a:lnTo>
                    <a:lnTo>
                      <a:pt x="402" y="705"/>
                    </a:lnTo>
                    <a:lnTo>
                      <a:pt x="408" y="703"/>
                    </a:lnTo>
                    <a:lnTo>
                      <a:pt x="413" y="703"/>
                    </a:lnTo>
                    <a:lnTo>
                      <a:pt x="419" y="705"/>
                    </a:lnTo>
                    <a:lnTo>
                      <a:pt x="417" y="699"/>
                    </a:lnTo>
                    <a:lnTo>
                      <a:pt x="423" y="696"/>
                    </a:lnTo>
                    <a:lnTo>
                      <a:pt x="430" y="688"/>
                    </a:lnTo>
                    <a:lnTo>
                      <a:pt x="425" y="688"/>
                    </a:lnTo>
                    <a:lnTo>
                      <a:pt x="419" y="692"/>
                    </a:lnTo>
                    <a:lnTo>
                      <a:pt x="413" y="692"/>
                    </a:lnTo>
                    <a:lnTo>
                      <a:pt x="408" y="690"/>
                    </a:lnTo>
                    <a:lnTo>
                      <a:pt x="406" y="684"/>
                    </a:lnTo>
                    <a:lnTo>
                      <a:pt x="411" y="671"/>
                    </a:lnTo>
                    <a:lnTo>
                      <a:pt x="415" y="667"/>
                    </a:lnTo>
                    <a:lnTo>
                      <a:pt x="421" y="658"/>
                    </a:lnTo>
                    <a:lnTo>
                      <a:pt x="423" y="652"/>
                    </a:lnTo>
                    <a:lnTo>
                      <a:pt x="425" y="650"/>
                    </a:lnTo>
                    <a:lnTo>
                      <a:pt x="428" y="641"/>
                    </a:lnTo>
                    <a:lnTo>
                      <a:pt x="425" y="630"/>
                    </a:lnTo>
                    <a:lnTo>
                      <a:pt x="436" y="626"/>
                    </a:lnTo>
                    <a:lnTo>
                      <a:pt x="447" y="618"/>
                    </a:lnTo>
                    <a:lnTo>
                      <a:pt x="453" y="615"/>
                    </a:lnTo>
                    <a:lnTo>
                      <a:pt x="462" y="622"/>
                    </a:lnTo>
                    <a:lnTo>
                      <a:pt x="466" y="622"/>
                    </a:lnTo>
                    <a:lnTo>
                      <a:pt x="470" y="620"/>
                    </a:lnTo>
                    <a:lnTo>
                      <a:pt x="474" y="622"/>
                    </a:lnTo>
                    <a:lnTo>
                      <a:pt x="489" y="626"/>
                    </a:lnTo>
                    <a:lnTo>
                      <a:pt x="485" y="622"/>
                    </a:lnTo>
                    <a:lnTo>
                      <a:pt x="477" y="618"/>
                    </a:lnTo>
                    <a:lnTo>
                      <a:pt x="466" y="609"/>
                    </a:lnTo>
                    <a:lnTo>
                      <a:pt x="466" y="605"/>
                    </a:lnTo>
                    <a:lnTo>
                      <a:pt x="470" y="601"/>
                    </a:lnTo>
                    <a:lnTo>
                      <a:pt x="481" y="594"/>
                    </a:lnTo>
                    <a:lnTo>
                      <a:pt x="485" y="590"/>
                    </a:lnTo>
                    <a:lnTo>
                      <a:pt x="481" y="590"/>
                    </a:lnTo>
                    <a:lnTo>
                      <a:pt x="477" y="590"/>
                    </a:lnTo>
                    <a:lnTo>
                      <a:pt x="472" y="594"/>
                    </a:lnTo>
                    <a:lnTo>
                      <a:pt x="466" y="603"/>
                    </a:lnTo>
                    <a:lnTo>
                      <a:pt x="462" y="603"/>
                    </a:lnTo>
                    <a:lnTo>
                      <a:pt x="457" y="603"/>
                    </a:lnTo>
                    <a:lnTo>
                      <a:pt x="453" y="601"/>
                    </a:lnTo>
                    <a:lnTo>
                      <a:pt x="453" y="594"/>
                    </a:lnTo>
                    <a:lnTo>
                      <a:pt x="451" y="594"/>
                    </a:lnTo>
                    <a:lnTo>
                      <a:pt x="451" y="598"/>
                    </a:lnTo>
                    <a:lnTo>
                      <a:pt x="438" y="605"/>
                    </a:lnTo>
                    <a:lnTo>
                      <a:pt x="436" y="609"/>
                    </a:lnTo>
                    <a:lnTo>
                      <a:pt x="430" y="611"/>
                    </a:lnTo>
                    <a:lnTo>
                      <a:pt x="423" y="613"/>
                    </a:lnTo>
                    <a:lnTo>
                      <a:pt x="419" y="615"/>
                    </a:lnTo>
                    <a:lnTo>
                      <a:pt x="415" y="622"/>
                    </a:lnTo>
                    <a:lnTo>
                      <a:pt x="415" y="626"/>
                    </a:lnTo>
                    <a:lnTo>
                      <a:pt x="411" y="628"/>
                    </a:lnTo>
                    <a:lnTo>
                      <a:pt x="400" y="637"/>
                    </a:lnTo>
                    <a:lnTo>
                      <a:pt x="398" y="641"/>
                    </a:lnTo>
                    <a:lnTo>
                      <a:pt x="398" y="647"/>
                    </a:lnTo>
                    <a:lnTo>
                      <a:pt x="389" y="654"/>
                    </a:lnTo>
                    <a:lnTo>
                      <a:pt x="383" y="654"/>
                    </a:lnTo>
                    <a:lnTo>
                      <a:pt x="381" y="650"/>
                    </a:lnTo>
                    <a:lnTo>
                      <a:pt x="374" y="650"/>
                    </a:lnTo>
                    <a:lnTo>
                      <a:pt x="379" y="654"/>
                    </a:lnTo>
                    <a:lnTo>
                      <a:pt x="383" y="658"/>
                    </a:lnTo>
                    <a:lnTo>
                      <a:pt x="387" y="662"/>
                    </a:lnTo>
                    <a:lnTo>
                      <a:pt x="383" y="673"/>
                    </a:lnTo>
                    <a:lnTo>
                      <a:pt x="376" y="675"/>
                    </a:lnTo>
                    <a:lnTo>
                      <a:pt x="372" y="673"/>
                    </a:lnTo>
                    <a:lnTo>
                      <a:pt x="366" y="675"/>
                    </a:lnTo>
                    <a:lnTo>
                      <a:pt x="370" y="677"/>
                    </a:lnTo>
                    <a:lnTo>
                      <a:pt x="372" y="682"/>
                    </a:lnTo>
                    <a:lnTo>
                      <a:pt x="368" y="686"/>
                    </a:lnTo>
                    <a:lnTo>
                      <a:pt x="362" y="688"/>
                    </a:lnTo>
                    <a:lnTo>
                      <a:pt x="362" y="682"/>
                    </a:lnTo>
                    <a:lnTo>
                      <a:pt x="357" y="686"/>
                    </a:lnTo>
                    <a:lnTo>
                      <a:pt x="351" y="686"/>
                    </a:lnTo>
                    <a:lnTo>
                      <a:pt x="349" y="690"/>
                    </a:lnTo>
                    <a:lnTo>
                      <a:pt x="349" y="696"/>
                    </a:lnTo>
                    <a:lnTo>
                      <a:pt x="338" y="699"/>
                    </a:lnTo>
                    <a:lnTo>
                      <a:pt x="336" y="703"/>
                    </a:lnTo>
                    <a:lnTo>
                      <a:pt x="336" y="709"/>
                    </a:lnTo>
                    <a:lnTo>
                      <a:pt x="332" y="713"/>
                    </a:lnTo>
                    <a:lnTo>
                      <a:pt x="332" y="718"/>
                    </a:lnTo>
                    <a:lnTo>
                      <a:pt x="338" y="716"/>
                    </a:lnTo>
                    <a:lnTo>
                      <a:pt x="342" y="718"/>
                    </a:lnTo>
                    <a:lnTo>
                      <a:pt x="347" y="718"/>
                    </a:lnTo>
                    <a:lnTo>
                      <a:pt x="351" y="724"/>
                    </a:lnTo>
                    <a:lnTo>
                      <a:pt x="355" y="726"/>
                    </a:lnTo>
                    <a:lnTo>
                      <a:pt x="359" y="733"/>
                    </a:lnTo>
                    <a:lnTo>
                      <a:pt x="351" y="741"/>
                    </a:lnTo>
                    <a:lnTo>
                      <a:pt x="345" y="743"/>
                    </a:lnTo>
                    <a:lnTo>
                      <a:pt x="338" y="743"/>
                    </a:lnTo>
                    <a:lnTo>
                      <a:pt x="336" y="748"/>
                    </a:lnTo>
                    <a:lnTo>
                      <a:pt x="330" y="750"/>
                    </a:lnTo>
                    <a:lnTo>
                      <a:pt x="332" y="756"/>
                    </a:lnTo>
                    <a:lnTo>
                      <a:pt x="327" y="758"/>
                    </a:lnTo>
                    <a:lnTo>
                      <a:pt x="321" y="760"/>
                    </a:lnTo>
                    <a:lnTo>
                      <a:pt x="327" y="760"/>
                    </a:lnTo>
                    <a:lnTo>
                      <a:pt x="327" y="765"/>
                    </a:lnTo>
                    <a:lnTo>
                      <a:pt x="323" y="769"/>
                    </a:lnTo>
                    <a:lnTo>
                      <a:pt x="319" y="771"/>
                    </a:lnTo>
                    <a:lnTo>
                      <a:pt x="313" y="769"/>
                    </a:lnTo>
                    <a:lnTo>
                      <a:pt x="313" y="775"/>
                    </a:lnTo>
                    <a:lnTo>
                      <a:pt x="308" y="773"/>
                    </a:lnTo>
                    <a:lnTo>
                      <a:pt x="304" y="773"/>
                    </a:lnTo>
                    <a:lnTo>
                      <a:pt x="298" y="777"/>
                    </a:lnTo>
                    <a:lnTo>
                      <a:pt x="296" y="782"/>
                    </a:lnTo>
                    <a:lnTo>
                      <a:pt x="289" y="782"/>
                    </a:lnTo>
                    <a:lnTo>
                      <a:pt x="289" y="788"/>
                    </a:lnTo>
                    <a:lnTo>
                      <a:pt x="283" y="786"/>
                    </a:lnTo>
                    <a:lnTo>
                      <a:pt x="279" y="784"/>
                    </a:lnTo>
                    <a:lnTo>
                      <a:pt x="279" y="788"/>
                    </a:lnTo>
                    <a:lnTo>
                      <a:pt x="274" y="792"/>
                    </a:lnTo>
                    <a:lnTo>
                      <a:pt x="272" y="797"/>
                    </a:lnTo>
                    <a:lnTo>
                      <a:pt x="268" y="797"/>
                    </a:lnTo>
                    <a:lnTo>
                      <a:pt x="264" y="797"/>
                    </a:lnTo>
                    <a:lnTo>
                      <a:pt x="264" y="801"/>
                    </a:lnTo>
                    <a:lnTo>
                      <a:pt x="259" y="799"/>
                    </a:lnTo>
                    <a:lnTo>
                      <a:pt x="247" y="805"/>
                    </a:lnTo>
                    <a:lnTo>
                      <a:pt x="251" y="807"/>
                    </a:lnTo>
                    <a:lnTo>
                      <a:pt x="249" y="811"/>
                    </a:lnTo>
                    <a:lnTo>
                      <a:pt x="249" y="818"/>
                    </a:lnTo>
                    <a:lnTo>
                      <a:pt x="234" y="828"/>
                    </a:lnTo>
                    <a:lnTo>
                      <a:pt x="230" y="822"/>
                    </a:lnTo>
                    <a:lnTo>
                      <a:pt x="227" y="826"/>
                    </a:lnTo>
                    <a:lnTo>
                      <a:pt x="221" y="828"/>
                    </a:lnTo>
                    <a:lnTo>
                      <a:pt x="221" y="831"/>
                    </a:lnTo>
                    <a:lnTo>
                      <a:pt x="217" y="831"/>
                    </a:lnTo>
                    <a:lnTo>
                      <a:pt x="212" y="828"/>
                    </a:lnTo>
                    <a:lnTo>
                      <a:pt x="212" y="833"/>
                    </a:lnTo>
                    <a:lnTo>
                      <a:pt x="208" y="837"/>
                    </a:lnTo>
                    <a:lnTo>
                      <a:pt x="202" y="839"/>
                    </a:lnTo>
                    <a:lnTo>
                      <a:pt x="198" y="835"/>
                    </a:lnTo>
                    <a:lnTo>
                      <a:pt x="193" y="839"/>
                    </a:lnTo>
                    <a:lnTo>
                      <a:pt x="198" y="841"/>
                    </a:lnTo>
                    <a:lnTo>
                      <a:pt x="195" y="848"/>
                    </a:lnTo>
                    <a:lnTo>
                      <a:pt x="191" y="843"/>
                    </a:lnTo>
                    <a:lnTo>
                      <a:pt x="185" y="846"/>
                    </a:lnTo>
                    <a:lnTo>
                      <a:pt x="181" y="843"/>
                    </a:lnTo>
                    <a:lnTo>
                      <a:pt x="170" y="852"/>
                    </a:lnTo>
                    <a:lnTo>
                      <a:pt x="176" y="850"/>
                    </a:lnTo>
                    <a:lnTo>
                      <a:pt x="181" y="854"/>
                    </a:lnTo>
                    <a:lnTo>
                      <a:pt x="176" y="858"/>
                    </a:lnTo>
                    <a:lnTo>
                      <a:pt x="181" y="860"/>
                    </a:lnTo>
                    <a:lnTo>
                      <a:pt x="176" y="860"/>
                    </a:lnTo>
                    <a:lnTo>
                      <a:pt x="172" y="869"/>
                    </a:lnTo>
                    <a:lnTo>
                      <a:pt x="170" y="869"/>
                    </a:lnTo>
                    <a:lnTo>
                      <a:pt x="168" y="865"/>
                    </a:lnTo>
                    <a:lnTo>
                      <a:pt x="172" y="860"/>
                    </a:lnTo>
                    <a:lnTo>
                      <a:pt x="166" y="863"/>
                    </a:lnTo>
                    <a:lnTo>
                      <a:pt x="164" y="867"/>
                    </a:lnTo>
                    <a:lnTo>
                      <a:pt x="157" y="869"/>
                    </a:lnTo>
                    <a:lnTo>
                      <a:pt x="153" y="871"/>
                    </a:lnTo>
                    <a:lnTo>
                      <a:pt x="149" y="869"/>
                    </a:lnTo>
                    <a:lnTo>
                      <a:pt x="138" y="873"/>
                    </a:lnTo>
                    <a:lnTo>
                      <a:pt x="132" y="882"/>
                    </a:lnTo>
                    <a:lnTo>
                      <a:pt x="125" y="886"/>
                    </a:lnTo>
                    <a:lnTo>
                      <a:pt x="129" y="882"/>
                    </a:lnTo>
                    <a:lnTo>
                      <a:pt x="129" y="875"/>
                    </a:lnTo>
                    <a:lnTo>
                      <a:pt x="132" y="871"/>
                    </a:lnTo>
                    <a:lnTo>
                      <a:pt x="127" y="869"/>
                    </a:lnTo>
                    <a:lnTo>
                      <a:pt x="119" y="871"/>
                    </a:lnTo>
                    <a:lnTo>
                      <a:pt x="117" y="875"/>
                    </a:lnTo>
                    <a:lnTo>
                      <a:pt x="110" y="877"/>
                    </a:lnTo>
                    <a:lnTo>
                      <a:pt x="106" y="875"/>
                    </a:lnTo>
                    <a:lnTo>
                      <a:pt x="100" y="884"/>
                    </a:lnTo>
                    <a:lnTo>
                      <a:pt x="98" y="880"/>
                    </a:lnTo>
                    <a:lnTo>
                      <a:pt x="93" y="880"/>
                    </a:lnTo>
                    <a:lnTo>
                      <a:pt x="93" y="884"/>
                    </a:lnTo>
                    <a:lnTo>
                      <a:pt x="89" y="884"/>
                    </a:lnTo>
                    <a:lnTo>
                      <a:pt x="85" y="882"/>
                    </a:lnTo>
                    <a:lnTo>
                      <a:pt x="78" y="884"/>
                    </a:lnTo>
                    <a:lnTo>
                      <a:pt x="74" y="886"/>
                    </a:lnTo>
                    <a:lnTo>
                      <a:pt x="68" y="884"/>
                    </a:lnTo>
                    <a:lnTo>
                      <a:pt x="68" y="877"/>
                    </a:lnTo>
                    <a:lnTo>
                      <a:pt x="70" y="873"/>
                    </a:lnTo>
                    <a:lnTo>
                      <a:pt x="76" y="875"/>
                    </a:lnTo>
                    <a:lnTo>
                      <a:pt x="74" y="869"/>
                    </a:lnTo>
                    <a:lnTo>
                      <a:pt x="68" y="869"/>
                    </a:lnTo>
                    <a:lnTo>
                      <a:pt x="63" y="871"/>
                    </a:lnTo>
                    <a:lnTo>
                      <a:pt x="57" y="882"/>
                    </a:lnTo>
                    <a:lnTo>
                      <a:pt x="53" y="884"/>
                    </a:lnTo>
                    <a:lnTo>
                      <a:pt x="49" y="886"/>
                    </a:lnTo>
                    <a:lnTo>
                      <a:pt x="49" y="890"/>
                    </a:lnTo>
                    <a:lnTo>
                      <a:pt x="42" y="892"/>
                    </a:lnTo>
                    <a:lnTo>
                      <a:pt x="36" y="897"/>
                    </a:lnTo>
                    <a:lnTo>
                      <a:pt x="32" y="895"/>
                    </a:lnTo>
                    <a:lnTo>
                      <a:pt x="32" y="888"/>
                    </a:lnTo>
                    <a:lnTo>
                      <a:pt x="32" y="877"/>
                    </a:lnTo>
                    <a:lnTo>
                      <a:pt x="25" y="880"/>
                    </a:lnTo>
                    <a:lnTo>
                      <a:pt x="27" y="884"/>
                    </a:lnTo>
                    <a:lnTo>
                      <a:pt x="25" y="890"/>
                    </a:lnTo>
                    <a:lnTo>
                      <a:pt x="25" y="895"/>
                    </a:lnTo>
                    <a:lnTo>
                      <a:pt x="14" y="895"/>
                    </a:lnTo>
                    <a:lnTo>
                      <a:pt x="14" y="890"/>
                    </a:lnTo>
                    <a:lnTo>
                      <a:pt x="12" y="884"/>
                    </a:lnTo>
                    <a:lnTo>
                      <a:pt x="8" y="882"/>
                    </a:lnTo>
                    <a:lnTo>
                      <a:pt x="6" y="888"/>
                    </a:lnTo>
                    <a:lnTo>
                      <a:pt x="10" y="892"/>
                    </a:lnTo>
                    <a:lnTo>
                      <a:pt x="4" y="897"/>
                    </a:lnTo>
                    <a:lnTo>
                      <a:pt x="0" y="899"/>
                    </a:lnTo>
                    <a:lnTo>
                      <a:pt x="0" y="892"/>
                    </a:lnTo>
                    <a:lnTo>
                      <a:pt x="4" y="888"/>
                    </a:lnTo>
                    <a:lnTo>
                      <a:pt x="4" y="884"/>
                    </a:lnTo>
                    <a:lnTo>
                      <a:pt x="8" y="880"/>
                    </a:lnTo>
                    <a:lnTo>
                      <a:pt x="12" y="877"/>
                    </a:lnTo>
                    <a:lnTo>
                      <a:pt x="19" y="882"/>
                    </a:lnTo>
                    <a:lnTo>
                      <a:pt x="21" y="875"/>
                    </a:lnTo>
                    <a:lnTo>
                      <a:pt x="32" y="875"/>
                    </a:lnTo>
                    <a:lnTo>
                      <a:pt x="36" y="871"/>
                    </a:lnTo>
                    <a:lnTo>
                      <a:pt x="38" y="867"/>
                    </a:lnTo>
                    <a:lnTo>
                      <a:pt x="49" y="858"/>
                    </a:lnTo>
                    <a:lnTo>
                      <a:pt x="66" y="850"/>
                    </a:lnTo>
                    <a:lnTo>
                      <a:pt x="80" y="850"/>
                    </a:lnTo>
                    <a:lnTo>
                      <a:pt x="85" y="852"/>
                    </a:lnTo>
                    <a:lnTo>
                      <a:pt x="91" y="854"/>
                    </a:lnTo>
                    <a:lnTo>
                      <a:pt x="89" y="858"/>
                    </a:lnTo>
                    <a:lnTo>
                      <a:pt x="91" y="865"/>
                    </a:lnTo>
                    <a:lnTo>
                      <a:pt x="95" y="867"/>
                    </a:lnTo>
                    <a:lnTo>
                      <a:pt x="95" y="863"/>
                    </a:lnTo>
                    <a:lnTo>
                      <a:pt x="102" y="863"/>
                    </a:lnTo>
                    <a:lnTo>
                      <a:pt x="106" y="867"/>
                    </a:lnTo>
                    <a:lnTo>
                      <a:pt x="110" y="869"/>
                    </a:lnTo>
                    <a:lnTo>
                      <a:pt x="110" y="865"/>
                    </a:lnTo>
                    <a:lnTo>
                      <a:pt x="106" y="860"/>
                    </a:lnTo>
                    <a:lnTo>
                      <a:pt x="106" y="856"/>
                    </a:lnTo>
                    <a:lnTo>
                      <a:pt x="110" y="846"/>
                    </a:lnTo>
                    <a:lnTo>
                      <a:pt x="115" y="841"/>
                    </a:lnTo>
                    <a:lnTo>
                      <a:pt x="125" y="835"/>
                    </a:lnTo>
                    <a:lnTo>
                      <a:pt x="129" y="833"/>
                    </a:lnTo>
                    <a:lnTo>
                      <a:pt x="134" y="828"/>
                    </a:lnTo>
                    <a:lnTo>
                      <a:pt x="144" y="826"/>
                    </a:lnTo>
                    <a:lnTo>
                      <a:pt x="157" y="824"/>
                    </a:lnTo>
                    <a:lnTo>
                      <a:pt x="159" y="820"/>
                    </a:lnTo>
                    <a:lnTo>
                      <a:pt x="166" y="818"/>
                    </a:lnTo>
                    <a:lnTo>
                      <a:pt x="170" y="822"/>
                    </a:lnTo>
                    <a:lnTo>
                      <a:pt x="174" y="818"/>
                    </a:lnTo>
                    <a:lnTo>
                      <a:pt x="176" y="814"/>
                    </a:lnTo>
                    <a:lnTo>
                      <a:pt x="178" y="809"/>
                    </a:lnTo>
                    <a:lnTo>
                      <a:pt x="185" y="801"/>
                    </a:lnTo>
                    <a:lnTo>
                      <a:pt x="191" y="797"/>
                    </a:lnTo>
                    <a:lnTo>
                      <a:pt x="208" y="786"/>
                    </a:lnTo>
                    <a:lnTo>
                      <a:pt x="212" y="786"/>
                    </a:lnTo>
                    <a:lnTo>
                      <a:pt x="212" y="790"/>
                    </a:lnTo>
                    <a:lnTo>
                      <a:pt x="219" y="792"/>
                    </a:lnTo>
                    <a:lnTo>
                      <a:pt x="223" y="788"/>
                    </a:lnTo>
                    <a:lnTo>
                      <a:pt x="217" y="790"/>
                    </a:lnTo>
                    <a:lnTo>
                      <a:pt x="217" y="784"/>
                    </a:lnTo>
                    <a:lnTo>
                      <a:pt x="215" y="779"/>
                    </a:lnTo>
                    <a:lnTo>
                      <a:pt x="217" y="769"/>
                    </a:lnTo>
                    <a:lnTo>
                      <a:pt x="221" y="754"/>
                    </a:lnTo>
                    <a:lnTo>
                      <a:pt x="227" y="752"/>
                    </a:lnTo>
                    <a:lnTo>
                      <a:pt x="234" y="752"/>
                    </a:lnTo>
                    <a:lnTo>
                      <a:pt x="236" y="754"/>
                    </a:lnTo>
                    <a:lnTo>
                      <a:pt x="232" y="750"/>
                    </a:lnTo>
                    <a:lnTo>
                      <a:pt x="227" y="750"/>
                    </a:lnTo>
                    <a:lnTo>
                      <a:pt x="225" y="743"/>
                    </a:lnTo>
                    <a:lnTo>
                      <a:pt x="227" y="739"/>
                    </a:lnTo>
                    <a:lnTo>
                      <a:pt x="230" y="735"/>
                    </a:lnTo>
                    <a:lnTo>
                      <a:pt x="236" y="731"/>
                    </a:lnTo>
                    <a:lnTo>
                      <a:pt x="238" y="726"/>
                    </a:lnTo>
                    <a:lnTo>
                      <a:pt x="249" y="722"/>
                    </a:lnTo>
                    <a:lnTo>
                      <a:pt x="249" y="716"/>
                    </a:lnTo>
                    <a:lnTo>
                      <a:pt x="249" y="711"/>
                    </a:lnTo>
                    <a:lnTo>
                      <a:pt x="255" y="707"/>
                    </a:lnTo>
                    <a:lnTo>
                      <a:pt x="255" y="703"/>
                    </a:lnTo>
                    <a:lnTo>
                      <a:pt x="257" y="699"/>
                    </a:lnTo>
                    <a:lnTo>
                      <a:pt x="255" y="703"/>
                    </a:lnTo>
                    <a:lnTo>
                      <a:pt x="255" y="703"/>
                    </a:lnTo>
                    <a:lnTo>
                      <a:pt x="251" y="707"/>
                    </a:lnTo>
                    <a:lnTo>
                      <a:pt x="247" y="711"/>
                    </a:lnTo>
                    <a:lnTo>
                      <a:pt x="240" y="713"/>
                    </a:lnTo>
                    <a:lnTo>
                      <a:pt x="225" y="718"/>
                    </a:lnTo>
                    <a:lnTo>
                      <a:pt x="212" y="722"/>
                    </a:lnTo>
                    <a:lnTo>
                      <a:pt x="208" y="722"/>
                    </a:lnTo>
                    <a:lnTo>
                      <a:pt x="206" y="718"/>
                    </a:lnTo>
                    <a:lnTo>
                      <a:pt x="206" y="713"/>
                    </a:lnTo>
                    <a:lnTo>
                      <a:pt x="202" y="709"/>
                    </a:lnTo>
                    <a:lnTo>
                      <a:pt x="206" y="701"/>
                    </a:lnTo>
                    <a:lnTo>
                      <a:pt x="212" y="699"/>
                    </a:lnTo>
                    <a:lnTo>
                      <a:pt x="217" y="701"/>
                    </a:lnTo>
                    <a:lnTo>
                      <a:pt x="217" y="705"/>
                    </a:lnTo>
                    <a:lnTo>
                      <a:pt x="219" y="707"/>
                    </a:lnTo>
                    <a:lnTo>
                      <a:pt x="219" y="701"/>
                    </a:lnTo>
                    <a:lnTo>
                      <a:pt x="208" y="694"/>
                    </a:lnTo>
                    <a:lnTo>
                      <a:pt x="206" y="688"/>
                    </a:lnTo>
                    <a:lnTo>
                      <a:pt x="208" y="692"/>
                    </a:lnTo>
                    <a:lnTo>
                      <a:pt x="202" y="701"/>
                    </a:lnTo>
                    <a:lnTo>
                      <a:pt x="198" y="699"/>
                    </a:lnTo>
                    <a:lnTo>
                      <a:pt x="195" y="709"/>
                    </a:lnTo>
                    <a:lnTo>
                      <a:pt x="191" y="711"/>
                    </a:lnTo>
                    <a:lnTo>
                      <a:pt x="191" y="720"/>
                    </a:lnTo>
                    <a:lnTo>
                      <a:pt x="193" y="726"/>
                    </a:lnTo>
                    <a:lnTo>
                      <a:pt x="189" y="731"/>
                    </a:lnTo>
                    <a:lnTo>
                      <a:pt x="185" y="728"/>
                    </a:lnTo>
                    <a:lnTo>
                      <a:pt x="183" y="726"/>
                    </a:lnTo>
                    <a:lnTo>
                      <a:pt x="176" y="705"/>
                    </a:lnTo>
                    <a:lnTo>
                      <a:pt x="172" y="701"/>
                    </a:lnTo>
                    <a:lnTo>
                      <a:pt x="172" y="694"/>
                    </a:lnTo>
                    <a:lnTo>
                      <a:pt x="166" y="699"/>
                    </a:lnTo>
                    <a:lnTo>
                      <a:pt x="161" y="701"/>
                    </a:lnTo>
                    <a:lnTo>
                      <a:pt x="161" y="694"/>
                    </a:lnTo>
                    <a:lnTo>
                      <a:pt x="157" y="692"/>
                    </a:lnTo>
                    <a:lnTo>
                      <a:pt x="155" y="686"/>
                    </a:lnTo>
                    <a:lnTo>
                      <a:pt x="151" y="684"/>
                    </a:lnTo>
                    <a:lnTo>
                      <a:pt x="138" y="688"/>
                    </a:lnTo>
                    <a:lnTo>
                      <a:pt x="134" y="688"/>
                    </a:lnTo>
                    <a:lnTo>
                      <a:pt x="127" y="690"/>
                    </a:lnTo>
                    <a:lnTo>
                      <a:pt x="123" y="690"/>
                    </a:lnTo>
                    <a:lnTo>
                      <a:pt x="119" y="694"/>
                    </a:lnTo>
                    <a:lnTo>
                      <a:pt x="106" y="701"/>
                    </a:lnTo>
                    <a:lnTo>
                      <a:pt x="102" y="696"/>
                    </a:lnTo>
                    <a:lnTo>
                      <a:pt x="98" y="694"/>
                    </a:lnTo>
                    <a:lnTo>
                      <a:pt x="102" y="694"/>
                    </a:lnTo>
                    <a:lnTo>
                      <a:pt x="106" y="690"/>
                    </a:lnTo>
                    <a:lnTo>
                      <a:pt x="108" y="686"/>
                    </a:lnTo>
                    <a:lnTo>
                      <a:pt x="108" y="675"/>
                    </a:lnTo>
                    <a:lnTo>
                      <a:pt x="115" y="673"/>
                    </a:lnTo>
                    <a:lnTo>
                      <a:pt x="106" y="662"/>
                    </a:lnTo>
                    <a:lnTo>
                      <a:pt x="106" y="658"/>
                    </a:lnTo>
                    <a:lnTo>
                      <a:pt x="119" y="645"/>
                    </a:lnTo>
                    <a:lnTo>
                      <a:pt x="115" y="624"/>
                    </a:lnTo>
                    <a:lnTo>
                      <a:pt x="117" y="620"/>
                    </a:lnTo>
                    <a:lnTo>
                      <a:pt x="115" y="615"/>
                    </a:lnTo>
                    <a:lnTo>
                      <a:pt x="115" y="611"/>
                    </a:lnTo>
                    <a:lnTo>
                      <a:pt x="115" y="607"/>
                    </a:lnTo>
                    <a:lnTo>
                      <a:pt x="112" y="601"/>
                    </a:lnTo>
                    <a:lnTo>
                      <a:pt x="115" y="596"/>
                    </a:lnTo>
                    <a:lnTo>
                      <a:pt x="121" y="586"/>
                    </a:lnTo>
                    <a:lnTo>
                      <a:pt x="123" y="581"/>
                    </a:lnTo>
                    <a:lnTo>
                      <a:pt x="129" y="581"/>
                    </a:lnTo>
                    <a:lnTo>
                      <a:pt x="134" y="579"/>
                    </a:lnTo>
                    <a:lnTo>
                      <a:pt x="127" y="579"/>
                    </a:lnTo>
                    <a:lnTo>
                      <a:pt x="125" y="575"/>
                    </a:lnTo>
                    <a:lnTo>
                      <a:pt x="125" y="579"/>
                    </a:lnTo>
                    <a:lnTo>
                      <a:pt x="121" y="584"/>
                    </a:lnTo>
                    <a:lnTo>
                      <a:pt x="115" y="592"/>
                    </a:lnTo>
                    <a:lnTo>
                      <a:pt x="108" y="594"/>
                    </a:lnTo>
                    <a:lnTo>
                      <a:pt x="104" y="598"/>
                    </a:lnTo>
                    <a:lnTo>
                      <a:pt x="110" y="603"/>
                    </a:lnTo>
                    <a:lnTo>
                      <a:pt x="106" y="611"/>
                    </a:lnTo>
                    <a:lnTo>
                      <a:pt x="104" y="613"/>
                    </a:lnTo>
                    <a:lnTo>
                      <a:pt x="100" y="613"/>
                    </a:lnTo>
                    <a:lnTo>
                      <a:pt x="98" y="611"/>
                    </a:lnTo>
                    <a:lnTo>
                      <a:pt x="93" y="615"/>
                    </a:lnTo>
                    <a:lnTo>
                      <a:pt x="87" y="618"/>
                    </a:lnTo>
                    <a:lnTo>
                      <a:pt x="76" y="618"/>
                    </a:lnTo>
                    <a:lnTo>
                      <a:pt x="68" y="615"/>
                    </a:lnTo>
                    <a:lnTo>
                      <a:pt x="57" y="611"/>
                    </a:lnTo>
                    <a:lnTo>
                      <a:pt x="57" y="605"/>
                    </a:lnTo>
                    <a:lnTo>
                      <a:pt x="61" y="601"/>
                    </a:lnTo>
                    <a:lnTo>
                      <a:pt x="57" y="596"/>
                    </a:lnTo>
                    <a:lnTo>
                      <a:pt x="53" y="590"/>
                    </a:lnTo>
                    <a:lnTo>
                      <a:pt x="53" y="588"/>
                    </a:lnTo>
                    <a:lnTo>
                      <a:pt x="51" y="581"/>
                    </a:lnTo>
                    <a:lnTo>
                      <a:pt x="51" y="577"/>
                    </a:lnTo>
                    <a:lnTo>
                      <a:pt x="49" y="579"/>
                    </a:lnTo>
                    <a:lnTo>
                      <a:pt x="44" y="575"/>
                    </a:lnTo>
                    <a:lnTo>
                      <a:pt x="40" y="571"/>
                    </a:lnTo>
                    <a:lnTo>
                      <a:pt x="44" y="567"/>
                    </a:lnTo>
                    <a:lnTo>
                      <a:pt x="34" y="560"/>
                    </a:lnTo>
                    <a:lnTo>
                      <a:pt x="40" y="558"/>
                    </a:lnTo>
                    <a:lnTo>
                      <a:pt x="44" y="556"/>
                    </a:lnTo>
                    <a:lnTo>
                      <a:pt x="49" y="552"/>
                    </a:lnTo>
                    <a:lnTo>
                      <a:pt x="55" y="547"/>
                    </a:lnTo>
                    <a:lnTo>
                      <a:pt x="59" y="545"/>
                    </a:lnTo>
                    <a:lnTo>
                      <a:pt x="59" y="549"/>
                    </a:lnTo>
                    <a:lnTo>
                      <a:pt x="63" y="552"/>
                    </a:lnTo>
                    <a:lnTo>
                      <a:pt x="68" y="556"/>
                    </a:lnTo>
                    <a:lnTo>
                      <a:pt x="70" y="560"/>
                    </a:lnTo>
                    <a:lnTo>
                      <a:pt x="61" y="567"/>
                    </a:lnTo>
                    <a:lnTo>
                      <a:pt x="68" y="562"/>
                    </a:lnTo>
                    <a:lnTo>
                      <a:pt x="72" y="562"/>
                    </a:lnTo>
                    <a:lnTo>
                      <a:pt x="78" y="558"/>
                    </a:lnTo>
                    <a:lnTo>
                      <a:pt x="80" y="564"/>
                    </a:lnTo>
                    <a:lnTo>
                      <a:pt x="78" y="569"/>
                    </a:lnTo>
                    <a:lnTo>
                      <a:pt x="83" y="571"/>
                    </a:lnTo>
                    <a:lnTo>
                      <a:pt x="87" y="569"/>
                    </a:lnTo>
                    <a:lnTo>
                      <a:pt x="91" y="564"/>
                    </a:lnTo>
                    <a:lnTo>
                      <a:pt x="87" y="558"/>
                    </a:lnTo>
                    <a:lnTo>
                      <a:pt x="83" y="556"/>
                    </a:lnTo>
                    <a:lnTo>
                      <a:pt x="89" y="556"/>
                    </a:lnTo>
                    <a:lnTo>
                      <a:pt x="87" y="549"/>
                    </a:lnTo>
                    <a:lnTo>
                      <a:pt x="80" y="554"/>
                    </a:lnTo>
                    <a:lnTo>
                      <a:pt x="76" y="552"/>
                    </a:lnTo>
                    <a:lnTo>
                      <a:pt x="66" y="549"/>
                    </a:lnTo>
                    <a:lnTo>
                      <a:pt x="61" y="545"/>
                    </a:lnTo>
                    <a:lnTo>
                      <a:pt x="57" y="543"/>
                    </a:lnTo>
                    <a:lnTo>
                      <a:pt x="51" y="541"/>
                    </a:lnTo>
                    <a:lnTo>
                      <a:pt x="51" y="537"/>
                    </a:lnTo>
                    <a:lnTo>
                      <a:pt x="55" y="537"/>
                    </a:lnTo>
                    <a:lnTo>
                      <a:pt x="61" y="532"/>
                    </a:lnTo>
                    <a:lnTo>
                      <a:pt x="51" y="530"/>
                    </a:lnTo>
                    <a:lnTo>
                      <a:pt x="55" y="526"/>
                    </a:lnTo>
                    <a:lnTo>
                      <a:pt x="49" y="526"/>
                    </a:lnTo>
                    <a:lnTo>
                      <a:pt x="51" y="522"/>
                    </a:lnTo>
                    <a:lnTo>
                      <a:pt x="53" y="515"/>
                    </a:lnTo>
                    <a:lnTo>
                      <a:pt x="66" y="511"/>
                    </a:lnTo>
                    <a:lnTo>
                      <a:pt x="70" y="507"/>
                    </a:lnTo>
                    <a:lnTo>
                      <a:pt x="72" y="505"/>
                    </a:lnTo>
                    <a:lnTo>
                      <a:pt x="68" y="509"/>
                    </a:lnTo>
                    <a:lnTo>
                      <a:pt x="55" y="513"/>
                    </a:lnTo>
                    <a:lnTo>
                      <a:pt x="49" y="522"/>
                    </a:lnTo>
                    <a:lnTo>
                      <a:pt x="46" y="526"/>
                    </a:lnTo>
                    <a:lnTo>
                      <a:pt x="42" y="528"/>
                    </a:lnTo>
                    <a:lnTo>
                      <a:pt x="40" y="524"/>
                    </a:lnTo>
                    <a:lnTo>
                      <a:pt x="40" y="518"/>
                    </a:lnTo>
                    <a:lnTo>
                      <a:pt x="36" y="513"/>
                    </a:lnTo>
                    <a:lnTo>
                      <a:pt x="36" y="507"/>
                    </a:lnTo>
                    <a:lnTo>
                      <a:pt x="42" y="505"/>
                    </a:lnTo>
                    <a:lnTo>
                      <a:pt x="38" y="498"/>
                    </a:lnTo>
                    <a:lnTo>
                      <a:pt x="34" y="500"/>
                    </a:lnTo>
                    <a:lnTo>
                      <a:pt x="32" y="494"/>
                    </a:lnTo>
                    <a:lnTo>
                      <a:pt x="34" y="490"/>
                    </a:lnTo>
                    <a:lnTo>
                      <a:pt x="38" y="492"/>
                    </a:lnTo>
                    <a:lnTo>
                      <a:pt x="44" y="492"/>
                    </a:lnTo>
                    <a:lnTo>
                      <a:pt x="40" y="488"/>
                    </a:lnTo>
                    <a:lnTo>
                      <a:pt x="40" y="483"/>
                    </a:lnTo>
                    <a:lnTo>
                      <a:pt x="49" y="483"/>
                    </a:lnTo>
                    <a:lnTo>
                      <a:pt x="51" y="479"/>
                    </a:lnTo>
                    <a:lnTo>
                      <a:pt x="51" y="475"/>
                    </a:lnTo>
                    <a:lnTo>
                      <a:pt x="55" y="471"/>
                    </a:lnTo>
                    <a:lnTo>
                      <a:pt x="74" y="454"/>
                    </a:lnTo>
                    <a:lnTo>
                      <a:pt x="80" y="451"/>
                    </a:lnTo>
                    <a:lnTo>
                      <a:pt x="85" y="454"/>
                    </a:lnTo>
                    <a:lnTo>
                      <a:pt x="85" y="456"/>
                    </a:lnTo>
                    <a:lnTo>
                      <a:pt x="85" y="456"/>
                    </a:lnTo>
                    <a:lnTo>
                      <a:pt x="85" y="456"/>
                    </a:lnTo>
                    <a:lnTo>
                      <a:pt x="87" y="460"/>
                    </a:lnTo>
                    <a:lnTo>
                      <a:pt x="89" y="460"/>
                    </a:lnTo>
                    <a:lnTo>
                      <a:pt x="85" y="456"/>
                    </a:lnTo>
                    <a:lnTo>
                      <a:pt x="85" y="456"/>
                    </a:lnTo>
                    <a:lnTo>
                      <a:pt x="85" y="451"/>
                    </a:lnTo>
                    <a:lnTo>
                      <a:pt x="91" y="449"/>
                    </a:lnTo>
                    <a:lnTo>
                      <a:pt x="98" y="443"/>
                    </a:lnTo>
                    <a:lnTo>
                      <a:pt x="91" y="447"/>
                    </a:lnTo>
                    <a:lnTo>
                      <a:pt x="87" y="441"/>
                    </a:lnTo>
                    <a:lnTo>
                      <a:pt x="91" y="439"/>
                    </a:lnTo>
                    <a:lnTo>
                      <a:pt x="91" y="434"/>
                    </a:lnTo>
                    <a:lnTo>
                      <a:pt x="93" y="430"/>
                    </a:lnTo>
                    <a:lnTo>
                      <a:pt x="100" y="428"/>
                    </a:lnTo>
                    <a:lnTo>
                      <a:pt x="106" y="430"/>
                    </a:lnTo>
                    <a:lnTo>
                      <a:pt x="102" y="424"/>
                    </a:lnTo>
                    <a:lnTo>
                      <a:pt x="104" y="420"/>
                    </a:lnTo>
                    <a:lnTo>
                      <a:pt x="110" y="417"/>
                    </a:lnTo>
                    <a:lnTo>
                      <a:pt x="115" y="417"/>
                    </a:lnTo>
                    <a:lnTo>
                      <a:pt x="123" y="424"/>
                    </a:lnTo>
                    <a:lnTo>
                      <a:pt x="125" y="428"/>
                    </a:lnTo>
                    <a:lnTo>
                      <a:pt x="119" y="437"/>
                    </a:lnTo>
                    <a:lnTo>
                      <a:pt x="125" y="432"/>
                    </a:lnTo>
                    <a:lnTo>
                      <a:pt x="129" y="432"/>
                    </a:lnTo>
                    <a:lnTo>
                      <a:pt x="134" y="437"/>
                    </a:lnTo>
                    <a:lnTo>
                      <a:pt x="138" y="437"/>
                    </a:lnTo>
                    <a:lnTo>
                      <a:pt x="151" y="430"/>
                    </a:lnTo>
                    <a:lnTo>
                      <a:pt x="159" y="422"/>
                    </a:lnTo>
                    <a:lnTo>
                      <a:pt x="166" y="417"/>
                    </a:lnTo>
                    <a:lnTo>
                      <a:pt x="170" y="420"/>
                    </a:lnTo>
                    <a:lnTo>
                      <a:pt x="174" y="424"/>
                    </a:lnTo>
                    <a:lnTo>
                      <a:pt x="178" y="424"/>
                    </a:lnTo>
                    <a:lnTo>
                      <a:pt x="189" y="426"/>
                    </a:lnTo>
                    <a:lnTo>
                      <a:pt x="195" y="424"/>
                    </a:lnTo>
                    <a:lnTo>
                      <a:pt x="204" y="415"/>
                    </a:lnTo>
                    <a:lnTo>
                      <a:pt x="206" y="411"/>
                    </a:lnTo>
                    <a:lnTo>
                      <a:pt x="206" y="394"/>
                    </a:lnTo>
                    <a:lnTo>
                      <a:pt x="208" y="383"/>
                    </a:lnTo>
                    <a:lnTo>
                      <a:pt x="204" y="373"/>
                    </a:lnTo>
                    <a:lnTo>
                      <a:pt x="200" y="371"/>
                    </a:lnTo>
                    <a:lnTo>
                      <a:pt x="200" y="366"/>
                    </a:lnTo>
                    <a:lnTo>
                      <a:pt x="202" y="364"/>
                    </a:lnTo>
                    <a:lnTo>
                      <a:pt x="206" y="368"/>
                    </a:lnTo>
                    <a:lnTo>
                      <a:pt x="212" y="366"/>
                    </a:lnTo>
                    <a:lnTo>
                      <a:pt x="219" y="362"/>
                    </a:lnTo>
                    <a:lnTo>
                      <a:pt x="219" y="358"/>
                    </a:lnTo>
                    <a:lnTo>
                      <a:pt x="219" y="351"/>
                    </a:lnTo>
                    <a:lnTo>
                      <a:pt x="215" y="347"/>
                    </a:lnTo>
                    <a:lnTo>
                      <a:pt x="217" y="345"/>
                    </a:lnTo>
                    <a:lnTo>
                      <a:pt x="212" y="343"/>
                    </a:lnTo>
                    <a:lnTo>
                      <a:pt x="208" y="347"/>
                    </a:lnTo>
                    <a:lnTo>
                      <a:pt x="202" y="351"/>
                    </a:lnTo>
                    <a:lnTo>
                      <a:pt x="198" y="347"/>
                    </a:lnTo>
                    <a:lnTo>
                      <a:pt x="191" y="349"/>
                    </a:lnTo>
                    <a:lnTo>
                      <a:pt x="187" y="351"/>
                    </a:lnTo>
                    <a:lnTo>
                      <a:pt x="181" y="356"/>
                    </a:lnTo>
                    <a:lnTo>
                      <a:pt x="174" y="358"/>
                    </a:lnTo>
                    <a:lnTo>
                      <a:pt x="168" y="366"/>
                    </a:lnTo>
                    <a:lnTo>
                      <a:pt x="166" y="356"/>
                    </a:lnTo>
                    <a:lnTo>
                      <a:pt x="161" y="349"/>
                    </a:lnTo>
                    <a:lnTo>
                      <a:pt x="157" y="349"/>
                    </a:lnTo>
                    <a:lnTo>
                      <a:pt x="159" y="356"/>
                    </a:lnTo>
                    <a:lnTo>
                      <a:pt x="159" y="360"/>
                    </a:lnTo>
                    <a:lnTo>
                      <a:pt x="151" y="349"/>
                    </a:lnTo>
                    <a:lnTo>
                      <a:pt x="146" y="347"/>
                    </a:lnTo>
                    <a:lnTo>
                      <a:pt x="132" y="343"/>
                    </a:lnTo>
                    <a:lnTo>
                      <a:pt x="121" y="345"/>
                    </a:lnTo>
                    <a:lnTo>
                      <a:pt x="117" y="343"/>
                    </a:lnTo>
                    <a:lnTo>
                      <a:pt x="110" y="343"/>
                    </a:lnTo>
                    <a:lnTo>
                      <a:pt x="102" y="336"/>
                    </a:lnTo>
                    <a:lnTo>
                      <a:pt x="89" y="328"/>
                    </a:lnTo>
                    <a:lnTo>
                      <a:pt x="85" y="324"/>
                    </a:lnTo>
                    <a:lnTo>
                      <a:pt x="85" y="319"/>
                    </a:lnTo>
                    <a:lnTo>
                      <a:pt x="89" y="309"/>
                    </a:lnTo>
                    <a:lnTo>
                      <a:pt x="89" y="309"/>
                    </a:lnTo>
                    <a:lnTo>
                      <a:pt x="85" y="302"/>
                    </a:lnTo>
                    <a:lnTo>
                      <a:pt x="85" y="298"/>
                    </a:lnTo>
                    <a:lnTo>
                      <a:pt x="80" y="292"/>
                    </a:lnTo>
                    <a:lnTo>
                      <a:pt x="83" y="287"/>
                    </a:lnTo>
                    <a:lnTo>
                      <a:pt x="83" y="292"/>
                    </a:lnTo>
                    <a:lnTo>
                      <a:pt x="87" y="294"/>
                    </a:lnTo>
                    <a:lnTo>
                      <a:pt x="91" y="294"/>
                    </a:lnTo>
                    <a:lnTo>
                      <a:pt x="95" y="290"/>
                    </a:lnTo>
                    <a:lnTo>
                      <a:pt x="100" y="292"/>
                    </a:lnTo>
                    <a:lnTo>
                      <a:pt x="104" y="294"/>
                    </a:lnTo>
                    <a:lnTo>
                      <a:pt x="100" y="287"/>
                    </a:lnTo>
                    <a:lnTo>
                      <a:pt x="87" y="279"/>
                    </a:lnTo>
                    <a:lnTo>
                      <a:pt x="91" y="283"/>
                    </a:lnTo>
                    <a:lnTo>
                      <a:pt x="87" y="281"/>
                    </a:lnTo>
                    <a:lnTo>
                      <a:pt x="83" y="277"/>
                    </a:lnTo>
                    <a:lnTo>
                      <a:pt x="78" y="275"/>
                    </a:lnTo>
                    <a:lnTo>
                      <a:pt x="74" y="270"/>
                    </a:lnTo>
                    <a:lnTo>
                      <a:pt x="63" y="253"/>
                    </a:lnTo>
                    <a:lnTo>
                      <a:pt x="68" y="253"/>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3" name="Rectangle 1141"/>
              <p:cNvSpPr>
                <a:spLocks noChangeArrowheads="1"/>
              </p:cNvSpPr>
              <p:nvPr/>
            </p:nvSpPr>
            <p:spPr bwMode="auto">
              <a:xfrm>
                <a:off x="566" y="351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4" name="Freeform 1142"/>
              <p:cNvSpPr>
                <a:spLocks/>
              </p:cNvSpPr>
              <p:nvPr/>
            </p:nvSpPr>
            <p:spPr bwMode="auto">
              <a:xfrm>
                <a:off x="566" y="35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5" name="Freeform 1143"/>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6" name="Freeform 1144"/>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7" name="Freeform 1145"/>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38" name="Freeform 1146"/>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39" name="Freeform 1147"/>
              <p:cNvSpPr>
                <a:spLocks/>
              </p:cNvSpPr>
              <p:nvPr/>
            </p:nvSpPr>
            <p:spPr bwMode="auto">
              <a:xfrm>
                <a:off x="834" y="3827"/>
                <a:ext cx="9" cy="9"/>
              </a:xfrm>
              <a:custGeom>
                <a:avLst/>
                <a:gdLst>
                  <a:gd name="T0" fmla="*/ 0 w 9"/>
                  <a:gd name="T1" fmla="*/ 0 h 9"/>
                  <a:gd name="T2" fmla="*/ 2 w 9"/>
                  <a:gd name="T3" fmla="*/ 2 h 9"/>
                  <a:gd name="T4" fmla="*/ 6 w 9"/>
                  <a:gd name="T5" fmla="*/ 6 h 9"/>
                  <a:gd name="T6" fmla="*/ 9 w 9"/>
                  <a:gd name="T7" fmla="*/ 9 h 9"/>
                  <a:gd name="T8" fmla="*/ 4 w 9"/>
                  <a:gd name="T9" fmla="*/ 9 h 9"/>
                  <a:gd name="T10" fmla="*/ 0 w 9"/>
                  <a:gd name="T11" fmla="*/ 4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2" y="2"/>
                    </a:lnTo>
                    <a:lnTo>
                      <a:pt x="6" y="6"/>
                    </a:lnTo>
                    <a:lnTo>
                      <a:pt x="9" y="9"/>
                    </a:lnTo>
                    <a:lnTo>
                      <a:pt x="4" y="9"/>
                    </a:lnTo>
                    <a:lnTo>
                      <a:pt x="0"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0" name="Freeform 1148"/>
              <p:cNvSpPr>
                <a:spLocks/>
              </p:cNvSpPr>
              <p:nvPr/>
            </p:nvSpPr>
            <p:spPr bwMode="auto">
              <a:xfrm>
                <a:off x="834" y="3827"/>
                <a:ext cx="9" cy="9"/>
              </a:xfrm>
              <a:custGeom>
                <a:avLst/>
                <a:gdLst>
                  <a:gd name="T0" fmla="*/ 0 w 9"/>
                  <a:gd name="T1" fmla="*/ 0 h 9"/>
                  <a:gd name="T2" fmla="*/ 2 w 9"/>
                  <a:gd name="T3" fmla="*/ 2 h 9"/>
                  <a:gd name="T4" fmla="*/ 6 w 9"/>
                  <a:gd name="T5" fmla="*/ 6 h 9"/>
                  <a:gd name="T6" fmla="*/ 9 w 9"/>
                  <a:gd name="T7" fmla="*/ 9 h 9"/>
                  <a:gd name="T8" fmla="*/ 4 w 9"/>
                  <a:gd name="T9" fmla="*/ 9 h 9"/>
                  <a:gd name="T10" fmla="*/ 0 w 9"/>
                  <a:gd name="T11" fmla="*/ 4 h 9"/>
                  <a:gd name="T12" fmla="*/ 0 w 9"/>
                  <a:gd name="T13" fmla="*/ 0 h 9"/>
                </a:gdLst>
                <a:ahLst/>
                <a:cxnLst>
                  <a:cxn ang="0">
                    <a:pos x="T0" y="T1"/>
                  </a:cxn>
                  <a:cxn ang="0">
                    <a:pos x="T2" y="T3"/>
                  </a:cxn>
                  <a:cxn ang="0">
                    <a:pos x="T4" y="T5"/>
                  </a:cxn>
                  <a:cxn ang="0">
                    <a:pos x="T6" y="T7"/>
                  </a:cxn>
                  <a:cxn ang="0">
                    <a:pos x="T8" y="T9"/>
                  </a:cxn>
                  <a:cxn ang="0">
                    <a:pos x="T10" y="T11"/>
                  </a:cxn>
                  <a:cxn ang="0">
                    <a:pos x="T12" y="T13"/>
                  </a:cxn>
                </a:cxnLst>
                <a:rect l="0" t="0" r="r" b="b"/>
                <a:pathLst>
                  <a:path w="9" h="9">
                    <a:moveTo>
                      <a:pt x="0" y="0"/>
                    </a:moveTo>
                    <a:lnTo>
                      <a:pt x="2" y="2"/>
                    </a:lnTo>
                    <a:lnTo>
                      <a:pt x="6" y="6"/>
                    </a:lnTo>
                    <a:lnTo>
                      <a:pt x="9" y="9"/>
                    </a:lnTo>
                    <a:lnTo>
                      <a:pt x="4" y="9"/>
                    </a:lnTo>
                    <a:lnTo>
                      <a:pt x="0"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1" name="Freeform 1149"/>
              <p:cNvSpPr>
                <a:spLocks/>
              </p:cNvSpPr>
              <p:nvPr/>
            </p:nvSpPr>
            <p:spPr bwMode="auto">
              <a:xfrm>
                <a:off x="836" y="3812"/>
                <a:ext cx="38" cy="26"/>
              </a:xfrm>
              <a:custGeom>
                <a:avLst/>
                <a:gdLst>
                  <a:gd name="T0" fmla="*/ 0 w 38"/>
                  <a:gd name="T1" fmla="*/ 17 h 26"/>
                  <a:gd name="T2" fmla="*/ 4 w 38"/>
                  <a:gd name="T3" fmla="*/ 13 h 26"/>
                  <a:gd name="T4" fmla="*/ 9 w 38"/>
                  <a:gd name="T5" fmla="*/ 13 h 26"/>
                  <a:gd name="T6" fmla="*/ 4 w 38"/>
                  <a:gd name="T7" fmla="*/ 9 h 26"/>
                  <a:gd name="T8" fmla="*/ 9 w 38"/>
                  <a:gd name="T9" fmla="*/ 9 h 26"/>
                  <a:gd name="T10" fmla="*/ 15 w 38"/>
                  <a:gd name="T11" fmla="*/ 11 h 26"/>
                  <a:gd name="T12" fmla="*/ 15 w 38"/>
                  <a:gd name="T13" fmla="*/ 0 h 26"/>
                  <a:gd name="T14" fmla="*/ 21 w 38"/>
                  <a:gd name="T15" fmla="*/ 0 h 26"/>
                  <a:gd name="T16" fmla="*/ 26 w 38"/>
                  <a:gd name="T17" fmla="*/ 4 h 26"/>
                  <a:gd name="T18" fmla="*/ 30 w 38"/>
                  <a:gd name="T19" fmla="*/ 7 h 26"/>
                  <a:gd name="T20" fmla="*/ 34 w 38"/>
                  <a:gd name="T21" fmla="*/ 9 h 26"/>
                  <a:gd name="T22" fmla="*/ 34 w 38"/>
                  <a:gd name="T23" fmla="*/ 13 h 26"/>
                  <a:gd name="T24" fmla="*/ 38 w 38"/>
                  <a:gd name="T25" fmla="*/ 9 h 26"/>
                  <a:gd name="T26" fmla="*/ 38 w 38"/>
                  <a:gd name="T27" fmla="*/ 15 h 26"/>
                  <a:gd name="T28" fmla="*/ 32 w 38"/>
                  <a:gd name="T29" fmla="*/ 19 h 26"/>
                  <a:gd name="T30" fmla="*/ 28 w 38"/>
                  <a:gd name="T31" fmla="*/ 15 h 26"/>
                  <a:gd name="T32" fmla="*/ 24 w 38"/>
                  <a:gd name="T33" fmla="*/ 19 h 26"/>
                  <a:gd name="T34" fmla="*/ 19 w 38"/>
                  <a:gd name="T35" fmla="*/ 19 h 26"/>
                  <a:gd name="T36" fmla="*/ 19 w 38"/>
                  <a:gd name="T37" fmla="*/ 15 h 26"/>
                  <a:gd name="T38" fmla="*/ 17 w 38"/>
                  <a:gd name="T39" fmla="*/ 19 h 26"/>
                  <a:gd name="T40" fmla="*/ 13 w 38"/>
                  <a:gd name="T41" fmla="*/ 21 h 26"/>
                  <a:gd name="T42" fmla="*/ 11 w 38"/>
                  <a:gd name="T43" fmla="*/ 26 h 26"/>
                  <a:gd name="T44" fmla="*/ 4 w 38"/>
                  <a:gd name="T45" fmla="*/ 21 h 26"/>
                  <a:gd name="T46" fmla="*/ 2 w 38"/>
                  <a:gd name="T47" fmla="*/ 19 h 26"/>
                  <a:gd name="T48" fmla="*/ 0 w 38"/>
                  <a:gd name="T4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0" y="17"/>
                    </a:moveTo>
                    <a:lnTo>
                      <a:pt x="4" y="13"/>
                    </a:lnTo>
                    <a:lnTo>
                      <a:pt x="9" y="13"/>
                    </a:lnTo>
                    <a:lnTo>
                      <a:pt x="4" y="9"/>
                    </a:lnTo>
                    <a:lnTo>
                      <a:pt x="9" y="9"/>
                    </a:lnTo>
                    <a:lnTo>
                      <a:pt x="15" y="11"/>
                    </a:lnTo>
                    <a:lnTo>
                      <a:pt x="15" y="0"/>
                    </a:lnTo>
                    <a:lnTo>
                      <a:pt x="21" y="0"/>
                    </a:lnTo>
                    <a:lnTo>
                      <a:pt x="26" y="4"/>
                    </a:lnTo>
                    <a:lnTo>
                      <a:pt x="30" y="7"/>
                    </a:lnTo>
                    <a:lnTo>
                      <a:pt x="34" y="9"/>
                    </a:lnTo>
                    <a:lnTo>
                      <a:pt x="34" y="13"/>
                    </a:lnTo>
                    <a:lnTo>
                      <a:pt x="38" y="9"/>
                    </a:lnTo>
                    <a:lnTo>
                      <a:pt x="38" y="15"/>
                    </a:lnTo>
                    <a:lnTo>
                      <a:pt x="32" y="19"/>
                    </a:lnTo>
                    <a:lnTo>
                      <a:pt x="28" y="15"/>
                    </a:lnTo>
                    <a:lnTo>
                      <a:pt x="24" y="19"/>
                    </a:lnTo>
                    <a:lnTo>
                      <a:pt x="19" y="19"/>
                    </a:lnTo>
                    <a:lnTo>
                      <a:pt x="19" y="15"/>
                    </a:lnTo>
                    <a:lnTo>
                      <a:pt x="17" y="19"/>
                    </a:lnTo>
                    <a:lnTo>
                      <a:pt x="13" y="21"/>
                    </a:lnTo>
                    <a:lnTo>
                      <a:pt x="11" y="26"/>
                    </a:lnTo>
                    <a:lnTo>
                      <a:pt x="4" y="21"/>
                    </a:lnTo>
                    <a:lnTo>
                      <a:pt x="2" y="19"/>
                    </a:lnTo>
                    <a:lnTo>
                      <a:pt x="0" y="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2" name="Freeform 1150"/>
              <p:cNvSpPr>
                <a:spLocks/>
              </p:cNvSpPr>
              <p:nvPr/>
            </p:nvSpPr>
            <p:spPr bwMode="auto">
              <a:xfrm>
                <a:off x="836" y="3812"/>
                <a:ext cx="38" cy="26"/>
              </a:xfrm>
              <a:custGeom>
                <a:avLst/>
                <a:gdLst>
                  <a:gd name="T0" fmla="*/ 0 w 38"/>
                  <a:gd name="T1" fmla="*/ 17 h 26"/>
                  <a:gd name="T2" fmla="*/ 4 w 38"/>
                  <a:gd name="T3" fmla="*/ 13 h 26"/>
                  <a:gd name="T4" fmla="*/ 9 w 38"/>
                  <a:gd name="T5" fmla="*/ 13 h 26"/>
                  <a:gd name="T6" fmla="*/ 4 w 38"/>
                  <a:gd name="T7" fmla="*/ 9 h 26"/>
                  <a:gd name="T8" fmla="*/ 9 w 38"/>
                  <a:gd name="T9" fmla="*/ 9 h 26"/>
                  <a:gd name="T10" fmla="*/ 15 w 38"/>
                  <a:gd name="T11" fmla="*/ 11 h 26"/>
                  <a:gd name="T12" fmla="*/ 15 w 38"/>
                  <a:gd name="T13" fmla="*/ 0 h 26"/>
                  <a:gd name="T14" fmla="*/ 21 w 38"/>
                  <a:gd name="T15" fmla="*/ 0 h 26"/>
                  <a:gd name="T16" fmla="*/ 26 w 38"/>
                  <a:gd name="T17" fmla="*/ 4 h 26"/>
                  <a:gd name="T18" fmla="*/ 30 w 38"/>
                  <a:gd name="T19" fmla="*/ 7 h 26"/>
                  <a:gd name="T20" fmla="*/ 34 w 38"/>
                  <a:gd name="T21" fmla="*/ 9 h 26"/>
                  <a:gd name="T22" fmla="*/ 34 w 38"/>
                  <a:gd name="T23" fmla="*/ 13 h 26"/>
                  <a:gd name="T24" fmla="*/ 38 w 38"/>
                  <a:gd name="T25" fmla="*/ 9 h 26"/>
                  <a:gd name="T26" fmla="*/ 38 w 38"/>
                  <a:gd name="T27" fmla="*/ 15 h 26"/>
                  <a:gd name="T28" fmla="*/ 32 w 38"/>
                  <a:gd name="T29" fmla="*/ 19 h 26"/>
                  <a:gd name="T30" fmla="*/ 28 w 38"/>
                  <a:gd name="T31" fmla="*/ 15 h 26"/>
                  <a:gd name="T32" fmla="*/ 24 w 38"/>
                  <a:gd name="T33" fmla="*/ 19 h 26"/>
                  <a:gd name="T34" fmla="*/ 19 w 38"/>
                  <a:gd name="T35" fmla="*/ 19 h 26"/>
                  <a:gd name="T36" fmla="*/ 19 w 38"/>
                  <a:gd name="T37" fmla="*/ 15 h 26"/>
                  <a:gd name="T38" fmla="*/ 17 w 38"/>
                  <a:gd name="T39" fmla="*/ 19 h 26"/>
                  <a:gd name="T40" fmla="*/ 13 w 38"/>
                  <a:gd name="T41" fmla="*/ 21 h 26"/>
                  <a:gd name="T42" fmla="*/ 11 w 38"/>
                  <a:gd name="T43" fmla="*/ 26 h 26"/>
                  <a:gd name="T44" fmla="*/ 4 w 38"/>
                  <a:gd name="T45" fmla="*/ 21 h 26"/>
                  <a:gd name="T46" fmla="*/ 2 w 38"/>
                  <a:gd name="T47" fmla="*/ 19 h 26"/>
                  <a:gd name="T48" fmla="*/ 0 w 38"/>
                  <a:gd name="T4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 h="26">
                    <a:moveTo>
                      <a:pt x="0" y="17"/>
                    </a:moveTo>
                    <a:lnTo>
                      <a:pt x="4" y="13"/>
                    </a:lnTo>
                    <a:lnTo>
                      <a:pt x="9" y="13"/>
                    </a:lnTo>
                    <a:lnTo>
                      <a:pt x="4" y="9"/>
                    </a:lnTo>
                    <a:lnTo>
                      <a:pt x="9" y="9"/>
                    </a:lnTo>
                    <a:lnTo>
                      <a:pt x="15" y="11"/>
                    </a:lnTo>
                    <a:lnTo>
                      <a:pt x="15" y="0"/>
                    </a:lnTo>
                    <a:lnTo>
                      <a:pt x="21" y="0"/>
                    </a:lnTo>
                    <a:lnTo>
                      <a:pt x="26" y="4"/>
                    </a:lnTo>
                    <a:lnTo>
                      <a:pt x="30" y="7"/>
                    </a:lnTo>
                    <a:lnTo>
                      <a:pt x="34" y="9"/>
                    </a:lnTo>
                    <a:lnTo>
                      <a:pt x="34" y="13"/>
                    </a:lnTo>
                    <a:lnTo>
                      <a:pt x="38" y="9"/>
                    </a:lnTo>
                    <a:lnTo>
                      <a:pt x="38" y="15"/>
                    </a:lnTo>
                    <a:lnTo>
                      <a:pt x="32" y="19"/>
                    </a:lnTo>
                    <a:lnTo>
                      <a:pt x="28" y="15"/>
                    </a:lnTo>
                    <a:lnTo>
                      <a:pt x="24" y="19"/>
                    </a:lnTo>
                    <a:lnTo>
                      <a:pt x="19" y="19"/>
                    </a:lnTo>
                    <a:lnTo>
                      <a:pt x="19" y="15"/>
                    </a:lnTo>
                    <a:lnTo>
                      <a:pt x="17" y="19"/>
                    </a:lnTo>
                    <a:lnTo>
                      <a:pt x="13" y="21"/>
                    </a:lnTo>
                    <a:lnTo>
                      <a:pt x="11" y="26"/>
                    </a:lnTo>
                    <a:lnTo>
                      <a:pt x="4" y="21"/>
                    </a:lnTo>
                    <a:lnTo>
                      <a:pt x="2" y="19"/>
                    </a:lnTo>
                    <a:lnTo>
                      <a:pt x="0" y="1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3" name="Freeform 1151"/>
              <p:cNvSpPr>
                <a:spLocks/>
              </p:cNvSpPr>
              <p:nvPr/>
            </p:nvSpPr>
            <p:spPr bwMode="auto">
              <a:xfrm>
                <a:off x="836" y="3829"/>
                <a:ext cx="4" cy="4"/>
              </a:xfrm>
              <a:custGeom>
                <a:avLst/>
                <a:gdLst>
                  <a:gd name="T0" fmla="*/ 0 w 4"/>
                  <a:gd name="T1" fmla="*/ 0 h 4"/>
                  <a:gd name="T2" fmla="*/ 2 w 4"/>
                  <a:gd name="T3" fmla="*/ 2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2" y="2"/>
                    </a:lnTo>
                    <a:lnTo>
                      <a:pt x="4"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4" name="Freeform 1152"/>
              <p:cNvSpPr>
                <a:spLocks/>
              </p:cNvSpPr>
              <p:nvPr/>
            </p:nvSpPr>
            <p:spPr bwMode="auto">
              <a:xfrm>
                <a:off x="836" y="3829"/>
                <a:ext cx="4" cy="4"/>
              </a:xfrm>
              <a:custGeom>
                <a:avLst/>
                <a:gdLst>
                  <a:gd name="T0" fmla="*/ 0 w 4"/>
                  <a:gd name="T1" fmla="*/ 0 h 4"/>
                  <a:gd name="T2" fmla="*/ 2 w 4"/>
                  <a:gd name="T3" fmla="*/ 2 h 4"/>
                  <a:gd name="T4" fmla="*/ 4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2" y="2"/>
                    </a:lnTo>
                    <a:lnTo>
                      <a:pt x="4"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5" name="Freeform 1153"/>
              <p:cNvSpPr>
                <a:spLocks/>
              </p:cNvSpPr>
              <p:nvPr/>
            </p:nvSpPr>
            <p:spPr bwMode="auto">
              <a:xfrm>
                <a:off x="1403" y="3808"/>
                <a:ext cx="4" cy="2"/>
              </a:xfrm>
              <a:custGeom>
                <a:avLst/>
                <a:gdLst>
                  <a:gd name="T0" fmla="*/ 0 w 4"/>
                  <a:gd name="T1" fmla="*/ 0 h 2"/>
                  <a:gd name="T2" fmla="*/ 0 w 4"/>
                  <a:gd name="T3" fmla="*/ 0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0"/>
                    </a:lnTo>
                    <a:lnTo>
                      <a:pt x="4" y="2"/>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6" name="Freeform 1154"/>
              <p:cNvSpPr>
                <a:spLocks/>
              </p:cNvSpPr>
              <p:nvPr/>
            </p:nvSpPr>
            <p:spPr bwMode="auto">
              <a:xfrm>
                <a:off x="1403" y="3808"/>
                <a:ext cx="4" cy="2"/>
              </a:xfrm>
              <a:custGeom>
                <a:avLst/>
                <a:gdLst>
                  <a:gd name="T0" fmla="*/ 0 w 4"/>
                  <a:gd name="T1" fmla="*/ 0 h 2"/>
                  <a:gd name="T2" fmla="*/ 0 w 4"/>
                  <a:gd name="T3" fmla="*/ 0 h 2"/>
                  <a:gd name="T4" fmla="*/ 4 w 4"/>
                  <a:gd name="T5" fmla="*/ 2 h 2"/>
                  <a:gd name="T6" fmla="*/ 0 w 4"/>
                  <a:gd name="T7" fmla="*/ 0 h 2"/>
                </a:gdLst>
                <a:ahLst/>
                <a:cxnLst>
                  <a:cxn ang="0">
                    <a:pos x="T0" y="T1"/>
                  </a:cxn>
                  <a:cxn ang="0">
                    <a:pos x="T2" y="T3"/>
                  </a:cxn>
                  <a:cxn ang="0">
                    <a:pos x="T4" y="T5"/>
                  </a:cxn>
                  <a:cxn ang="0">
                    <a:pos x="T6" y="T7"/>
                  </a:cxn>
                </a:cxnLst>
                <a:rect l="0" t="0" r="r" b="b"/>
                <a:pathLst>
                  <a:path w="4" h="2">
                    <a:moveTo>
                      <a:pt x="0" y="0"/>
                    </a:moveTo>
                    <a:lnTo>
                      <a:pt x="0" y="0"/>
                    </a:lnTo>
                    <a:lnTo>
                      <a:pt x="4" y="2"/>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7" name="Freeform 1155"/>
              <p:cNvSpPr>
                <a:spLocks/>
              </p:cNvSpPr>
              <p:nvPr/>
            </p:nvSpPr>
            <p:spPr bwMode="auto">
              <a:xfrm>
                <a:off x="1400" y="3808"/>
                <a:ext cx="13" cy="6"/>
              </a:xfrm>
              <a:custGeom>
                <a:avLst/>
                <a:gdLst>
                  <a:gd name="T0" fmla="*/ 3 w 13"/>
                  <a:gd name="T1" fmla="*/ 0 h 6"/>
                  <a:gd name="T2" fmla="*/ 7 w 13"/>
                  <a:gd name="T3" fmla="*/ 2 h 6"/>
                  <a:gd name="T4" fmla="*/ 13 w 13"/>
                  <a:gd name="T5" fmla="*/ 6 h 6"/>
                  <a:gd name="T6" fmla="*/ 3 w 13"/>
                  <a:gd name="T7" fmla="*/ 6 h 6"/>
                  <a:gd name="T8" fmla="*/ 0 w 13"/>
                  <a:gd name="T9" fmla="*/ 2 h 6"/>
                  <a:gd name="T10" fmla="*/ 3 w 13"/>
                  <a:gd name="T11" fmla="*/ 0 h 6"/>
                </a:gdLst>
                <a:ahLst/>
                <a:cxnLst>
                  <a:cxn ang="0">
                    <a:pos x="T0" y="T1"/>
                  </a:cxn>
                  <a:cxn ang="0">
                    <a:pos x="T2" y="T3"/>
                  </a:cxn>
                  <a:cxn ang="0">
                    <a:pos x="T4" y="T5"/>
                  </a:cxn>
                  <a:cxn ang="0">
                    <a:pos x="T6" y="T7"/>
                  </a:cxn>
                  <a:cxn ang="0">
                    <a:pos x="T8" y="T9"/>
                  </a:cxn>
                  <a:cxn ang="0">
                    <a:pos x="T10" y="T11"/>
                  </a:cxn>
                </a:cxnLst>
                <a:rect l="0" t="0" r="r" b="b"/>
                <a:pathLst>
                  <a:path w="13" h="6">
                    <a:moveTo>
                      <a:pt x="3" y="0"/>
                    </a:moveTo>
                    <a:lnTo>
                      <a:pt x="7" y="2"/>
                    </a:lnTo>
                    <a:lnTo>
                      <a:pt x="13" y="6"/>
                    </a:lnTo>
                    <a:lnTo>
                      <a:pt x="3" y="6"/>
                    </a:lnTo>
                    <a:lnTo>
                      <a:pt x="0"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48" name="Freeform 1156"/>
              <p:cNvSpPr>
                <a:spLocks/>
              </p:cNvSpPr>
              <p:nvPr/>
            </p:nvSpPr>
            <p:spPr bwMode="auto">
              <a:xfrm>
                <a:off x="1400" y="3808"/>
                <a:ext cx="13" cy="6"/>
              </a:xfrm>
              <a:custGeom>
                <a:avLst/>
                <a:gdLst>
                  <a:gd name="T0" fmla="*/ 3 w 13"/>
                  <a:gd name="T1" fmla="*/ 0 h 6"/>
                  <a:gd name="T2" fmla="*/ 7 w 13"/>
                  <a:gd name="T3" fmla="*/ 2 h 6"/>
                  <a:gd name="T4" fmla="*/ 13 w 13"/>
                  <a:gd name="T5" fmla="*/ 6 h 6"/>
                  <a:gd name="T6" fmla="*/ 3 w 13"/>
                  <a:gd name="T7" fmla="*/ 6 h 6"/>
                  <a:gd name="T8" fmla="*/ 0 w 13"/>
                  <a:gd name="T9" fmla="*/ 2 h 6"/>
                  <a:gd name="T10" fmla="*/ 3 w 13"/>
                  <a:gd name="T11" fmla="*/ 0 h 6"/>
                </a:gdLst>
                <a:ahLst/>
                <a:cxnLst>
                  <a:cxn ang="0">
                    <a:pos x="T0" y="T1"/>
                  </a:cxn>
                  <a:cxn ang="0">
                    <a:pos x="T2" y="T3"/>
                  </a:cxn>
                  <a:cxn ang="0">
                    <a:pos x="T4" y="T5"/>
                  </a:cxn>
                  <a:cxn ang="0">
                    <a:pos x="T6" y="T7"/>
                  </a:cxn>
                  <a:cxn ang="0">
                    <a:pos x="T8" y="T9"/>
                  </a:cxn>
                  <a:cxn ang="0">
                    <a:pos x="T10" y="T11"/>
                  </a:cxn>
                </a:cxnLst>
                <a:rect l="0" t="0" r="r" b="b"/>
                <a:pathLst>
                  <a:path w="13" h="6">
                    <a:moveTo>
                      <a:pt x="3" y="0"/>
                    </a:moveTo>
                    <a:lnTo>
                      <a:pt x="7" y="2"/>
                    </a:lnTo>
                    <a:lnTo>
                      <a:pt x="13" y="6"/>
                    </a:lnTo>
                    <a:lnTo>
                      <a:pt x="3" y="6"/>
                    </a:lnTo>
                    <a:lnTo>
                      <a:pt x="0" y="2"/>
                    </a:lnTo>
                    <a:lnTo>
                      <a:pt x="3"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49" name="Freeform 1157"/>
              <p:cNvSpPr>
                <a:spLocks/>
              </p:cNvSpPr>
              <p:nvPr/>
            </p:nvSpPr>
            <p:spPr bwMode="auto">
              <a:xfrm>
                <a:off x="1460" y="3927"/>
                <a:ext cx="2" cy="4"/>
              </a:xfrm>
              <a:custGeom>
                <a:avLst/>
                <a:gdLst>
                  <a:gd name="T0" fmla="*/ 0 w 2"/>
                  <a:gd name="T1" fmla="*/ 2 h 4"/>
                  <a:gd name="T2" fmla="*/ 2 w 2"/>
                  <a:gd name="T3" fmla="*/ 0 h 4"/>
                  <a:gd name="T4" fmla="*/ 2 w 2"/>
                  <a:gd name="T5" fmla="*/ 2 h 4"/>
                  <a:gd name="T6" fmla="*/ 2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2"/>
                    </a:lnTo>
                    <a:lnTo>
                      <a:pt x="2"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0" name="Freeform 1158"/>
              <p:cNvSpPr>
                <a:spLocks/>
              </p:cNvSpPr>
              <p:nvPr/>
            </p:nvSpPr>
            <p:spPr bwMode="auto">
              <a:xfrm>
                <a:off x="1460" y="3927"/>
                <a:ext cx="2" cy="4"/>
              </a:xfrm>
              <a:custGeom>
                <a:avLst/>
                <a:gdLst>
                  <a:gd name="T0" fmla="*/ 0 w 2"/>
                  <a:gd name="T1" fmla="*/ 2 h 4"/>
                  <a:gd name="T2" fmla="*/ 2 w 2"/>
                  <a:gd name="T3" fmla="*/ 0 h 4"/>
                  <a:gd name="T4" fmla="*/ 2 w 2"/>
                  <a:gd name="T5" fmla="*/ 2 h 4"/>
                  <a:gd name="T6" fmla="*/ 2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2"/>
                    </a:lnTo>
                    <a:lnTo>
                      <a:pt x="2" y="4"/>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1" name="Freeform 1159"/>
              <p:cNvSpPr>
                <a:spLocks/>
              </p:cNvSpPr>
              <p:nvPr/>
            </p:nvSpPr>
            <p:spPr bwMode="auto">
              <a:xfrm>
                <a:off x="1449" y="3929"/>
                <a:ext cx="15" cy="15"/>
              </a:xfrm>
              <a:custGeom>
                <a:avLst/>
                <a:gdLst>
                  <a:gd name="T0" fmla="*/ 11 w 15"/>
                  <a:gd name="T1" fmla="*/ 0 h 15"/>
                  <a:gd name="T2" fmla="*/ 13 w 15"/>
                  <a:gd name="T3" fmla="*/ 2 h 15"/>
                  <a:gd name="T4" fmla="*/ 15 w 15"/>
                  <a:gd name="T5" fmla="*/ 5 h 15"/>
                  <a:gd name="T6" fmla="*/ 9 w 15"/>
                  <a:gd name="T7" fmla="*/ 7 h 15"/>
                  <a:gd name="T8" fmla="*/ 7 w 15"/>
                  <a:gd name="T9" fmla="*/ 11 h 15"/>
                  <a:gd name="T10" fmla="*/ 0 w 15"/>
                  <a:gd name="T11" fmla="*/ 15 h 15"/>
                  <a:gd name="T12" fmla="*/ 0 w 15"/>
                  <a:gd name="T13" fmla="*/ 11 h 15"/>
                  <a:gd name="T14" fmla="*/ 3 w 15"/>
                  <a:gd name="T15" fmla="*/ 5 h 15"/>
                  <a:gd name="T16" fmla="*/ 7 w 15"/>
                  <a:gd name="T17" fmla="*/ 2 h 15"/>
                  <a:gd name="T18" fmla="*/ 11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1" y="0"/>
                    </a:moveTo>
                    <a:lnTo>
                      <a:pt x="13" y="2"/>
                    </a:lnTo>
                    <a:lnTo>
                      <a:pt x="15" y="5"/>
                    </a:lnTo>
                    <a:lnTo>
                      <a:pt x="9" y="7"/>
                    </a:lnTo>
                    <a:lnTo>
                      <a:pt x="7" y="11"/>
                    </a:lnTo>
                    <a:lnTo>
                      <a:pt x="0" y="15"/>
                    </a:lnTo>
                    <a:lnTo>
                      <a:pt x="0" y="11"/>
                    </a:lnTo>
                    <a:lnTo>
                      <a:pt x="3" y="5"/>
                    </a:lnTo>
                    <a:lnTo>
                      <a:pt x="7" y="2"/>
                    </a:lnTo>
                    <a:lnTo>
                      <a:pt x="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2" name="Freeform 1160"/>
              <p:cNvSpPr>
                <a:spLocks/>
              </p:cNvSpPr>
              <p:nvPr/>
            </p:nvSpPr>
            <p:spPr bwMode="auto">
              <a:xfrm>
                <a:off x="1449" y="3929"/>
                <a:ext cx="15" cy="15"/>
              </a:xfrm>
              <a:custGeom>
                <a:avLst/>
                <a:gdLst>
                  <a:gd name="T0" fmla="*/ 11 w 15"/>
                  <a:gd name="T1" fmla="*/ 0 h 15"/>
                  <a:gd name="T2" fmla="*/ 13 w 15"/>
                  <a:gd name="T3" fmla="*/ 2 h 15"/>
                  <a:gd name="T4" fmla="*/ 15 w 15"/>
                  <a:gd name="T5" fmla="*/ 5 h 15"/>
                  <a:gd name="T6" fmla="*/ 9 w 15"/>
                  <a:gd name="T7" fmla="*/ 7 h 15"/>
                  <a:gd name="T8" fmla="*/ 7 w 15"/>
                  <a:gd name="T9" fmla="*/ 11 h 15"/>
                  <a:gd name="T10" fmla="*/ 0 w 15"/>
                  <a:gd name="T11" fmla="*/ 15 h 15"/>
                  <a:gd name="T12" fmla="*/ 0 w 15"/>
                  <a:gd name="T13" fmla="*/ 11 h 15"/>
                  <a:gd name="T14" fmla="*/ 3 w 15"/>
                  <a:gd name="T15" fmla="*/ 5 h 15"/>
                  <a:gd name="T16" fmla="*/ 7 w 15"/>
                  <a:gd name="T17" fmla="*/ 2 h 15"/>
                  <a:gd name="T18" fmla="*/ 11 w 15"/>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5">
                    <a:moveTo>
                      <a:pt x="11" y="0"/>
                    </a:moveTo>
                    <a:lnTo>
                      <a:pt x="13" y="2"/>
                    </a:lnTo>
                    <a:lnTo>
                      <a:pt x="15" y="5"/>
                    </a:lnTo>
                    <a:lnTo>
                      <a:pt x="9" y="7"/>
                    </a:lnTo>
                    <a:lnTo>
                      <a:pt x="7" y="11"/>
                    </a:lnTo>
                    <a:lnTo>
                      <a:pt x="0" y="15"/>
                    </a:lnTo>
                    <a:lnTo>
                      <a:pt x="0" y="11"/>
                    </a:lnTo>
                    <a:lnTo>
                      <a:pt x="3" y="5"/>
                    </a:lnTo>
                    <a:lnTo>
                      <a:pt x="7" y="2"/>
                    </a:lnTo>
                    <a:lnTo>
                      <a:pt x="11"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3" name="Freeform 1161"/>
              <p:cNvSpPr>
                <a:spLocks/>
              </p:cNvSpPr>
              <p:nvPr/>
            </p:nvSpPr>
            <p:spPr bwMode="auto">
              <a:xfrm>
                <a:off x="1564" y="3989"/>
                <a:ext cx="3" cy="2"/>
              </a:xfrm>
              <a:custGeom>
                <a:avLst/>
                <a:gdLst>
                  <a:gd name="T0" fmla="*/ 0 w 3"/>
                  <a:gd name="T1" fmla="*/ 2 h 2"/>
                  <a:gd name="T2" fmla="*/ 3 w 3"/>
                  <a:gd name="T3" fmla="*/ 0 h 2"/>
                  <a:gd name="T4" fmla="*/ 3 w 3"/>
                  <a:gd name="T5" fmla="*/ 2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3" y="2"/>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4" name="Freeform 1162"/>
              <p:cNvSpPr>
                <a:spLocks/>
              </p:cNvSpPr>
              <p:nvPr/>
            </p:nvSpPr>
            <p:spPr bwMode="auto">
              <a:xfrm>
                <a:off x="1564" y="3989"/>
                <a:ext cx="3" cy="2"/>
              </a:xfrm>
              <a:custGeom>
                <a:avLst/>
                <a:gdLst>
                  <a:gd name="T0" fmla="*/ 0 w 3"/>
                  <a:gd name="T1" fmla="*/ 2 h 2"/>
                  <a:gd name="T2" fmla="*/ 3 w 3"/>
                  <a:gd name="T3" fmla="*/ 0 h 2"/>
                  <a:gd name="T4" fmla="*/ 3 w 3"/>
                  <a:gd name="T5" fmla="*/ 2 h 2"/>
                  <a:gd name="T6" fmla="*/ 0 w 3"/>
                  <a:gd name="T7" fmla="*/ 2 h 2"/>
                </a:gdLst>
                <a:ahLst/>
                <a:cxnLst>
                  <a:cxn ang="0">
                    <a:pos x="T0" y="T1"/>
                  </a:cxn>
                  <a:cxn ang="0">
                    <a:pos x="T2" y="T3"/>
                  </a:cxn>
                  <a:cxn ang="0">
                    <a:pos x="T4" y="T5"/>
                  </a:cxn>
                  <a:cxn ang="0">
                    <a:pos x="T6" y="T7"/>
                  </a:cxn>
                </a:cxnLst>
                <a:rect l="0" t="0" r="r" b="b"/>
                <a:pathLst>
                  <a:path w="3" h="2">
                    <a:moveTo>
                      <a:pt x="0" y="2"/>
                    </a:moveTo>
                    <a:lnTo>
                      <a:pt x="3" y="0"/>
                    </a:lnTo>
                    <a:lnTo>
                      <a:pt x="3" y="2"/>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5" name="Freeform 1163"/>
              <p:cNvSpPr>
                <a:spLocks/>
              </p:cNvSpPr>
              <p:nvPr/>
            </p:nvSpPr>
            <p:spPr bwMode="auto">
              <a:xfrm>
                <a:off x="1567" y="3987"/>
                <a:ext cx="2" cy="4"/>
              </a:xfrm>
              <a:custGeom>
                <a:avLst/>
                <a:gdLst>
                  <a:gd name="T0" fmla="*/ 0 w 2"/>
                  <a:gd name="T1" fmla="*/ 2 h 4"/>
                  <a:gd name="T2" fmla="*/ 2 w 2"/>
                  <a:gd name="T3" fmla="*/ 0 h 4"/>
                  <a:gd name="T4" fmla="*/ 2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0"/>
                    </a:lnTo>
                    <a:lnTo>
                      <a:pt x="0" y="4"/>
                    </a:lnTo>
                    <a:lnTo>
                      <a:pt x="0"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6" name="Freeform 1164"/>
              <p:cNvSpPr>
                <a:spLocks/>
              </p:cNvSpPr>
              <p:nvPr/>
            </p:nvSpPr>
            <p:spPr bwMode="auto">
              <a:xfrm>
                <a:off x="1567" y="3987"/>
                <a:ext cx="2" cy="4"/>
              </a:xfrm>
              <a:custGeom>
                <a:avLst/>
                <a:gdLst>
                  <a:gd name="T0" fmla="*/ 0 w 2"/>
                  <a:gd name="T1" fmla="*/ 2 h 4"/>
                  <a:gd name="T2" fmla="*/ 2 w 2"/>
                  <a:gd name="T3" fmla="*/ 0 h 4"/>
                  <a:gd name="T4" fmla="*/ 2 w 2"/>
                  <a:gd name="T5" fmla="*/ 0 h 4"/>
                  <a:gd name="T6" fmla="*/ 0 w 2"/>
                  <a:gd name="T7" fmla="*/ 4 h 4"/>
                  <a:gd name="T8" fmla="*/ 0 w 2"/>
                  <a:gd name="T9" fmla="*/ 2 h 4"/>
                </a:gdLst>
                <a:ahLst/>
                <a:cxnLst>
                  <a:cxn ang="0">
                    <a:pos x="T0" y="T1"/>
                  </a:cxn>
                  <a:cxn ang="0">
                    <a:pos x="T2" y="T3"/>
                  </a:cxn>
                  <a:cxn ang="0">
                    <a:pos x="T4" y="T5"/>
                  </a:cxn>
                  <a:cxn ang="0">
                    <a:pos x="T6" y="T7"/>
                  </a:cxn>
                  <a:cxn ang="0">
                    <a:pos x="T8" y="T9"/>
                  </a:cxn>
                </a:cxnLst>
                <a:rect l="0" t="0" r="r" b="b"/>
                <a:pathLst>
                  <a:path w="2" h="4">
                    <a:moveTo>
                      <a:pt x="0" y="2"/>
                    </a:moveTo>
                    <a:lnTo>
                      <a:pt x="2" y="0"/>
                    </a:lnTo>
                    <a:lnTo>
                      <a:pt x="2" y="0"/>
                    </a:lnTo>
                    <a:lnTo>
                      <a:pt x="0" y="4"/>
                    </a:lnTo>
                    <a:lnTo>
                      <a:pt x="0"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7" name="Rectangle 1165"/>
              <p:cNvSpPr>
                <a:spLocks noChangeArrowheads="1"/>
              </p:cNvSpPr>
              <p:nvPr/>
            </p:nvSpPr>
            <p:spPr bwMode="auto">
              <a:xfrm>
                <a:off x="566" y="3510"/>
                <a:ext cx="1" cy="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58" name="Freeform 1166"/>
              <p:cNvSpPr>
                <a:spLocks/>
              </p:cNvSpPr>
              <p:nvPr/>
            </p:nvSpPr>
            <p:spPr bwMode="auto">
              <a:xfrm>
                <a:off x="566" y="3510"/>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59" name="Freeform 1167"/>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0" name="Freeform 1168"/>
              <p:cNvSpPr>
                <a:spLocks/>
              </p:cNvSpPr>
              <p:nvPr/>
            </p:nvSpPr>
            <p:spPr bwMode="auto">
              <a:xfrm>
                <a:off x="566" y="3510"/>
                <a:ext cx="4" cy="4"/>
              </a:xfrm>
              <a:custGeom>
                <a:avLst/>
                <a:gdLst>
                  <a:gd name="T0" fmla="*/ 0 w 4"/>
                  <a:gd name="T1" fmla="*/ 0 h 4"/>
                  <a:gd name="T2" fmla="*/ 4 w 4"/>
                  <a:gd name="T3" fmla="*/ 4 h 4"/>
                  <a:gd name="T4" fmla="*/ 2 w 4"/>
                  <a:gd name="T5" fmla="*/ 4 h 4"/>
                  <a:gd name="T6" fmla="*/ 0 w 4"/>
                  <a:gd name="T7" fmla="*/ 0 h 4"/>
                </a:gdLst>
                <a:ahLst/>
                <a:cxnLst>
                  <a:cxn ang="0">
                    <a:pos x="T0" y="T1"/>
                  </a:cxn>
                  <a:cxn ang="0">
                    <a:pos x="T2" y="T3"/>
                  </a:cxn>
                  <a:cxn ang="0">
                    <a:pos x="T4" y="T5"/>
                  </a:cxn>
                  <a:cxn ang="0">
                    <a:pos x="T6" y="T7"/>
                  </a:cxn>
                </a:cxnLst>
                <a:rect l="0" t="0" r="r" b="b"/>
                <a:pathLst>
                  <a:path w="4" h="4">
                    <a:moveTo>
                      <a:pt x="0" y="0"/>
                    </a:moveTo>
                    <a:lnTo>
                      <a:pt x="4" y="4"/>
                    </a:lnTo>
                    <a:lnTo>
                      <a:pt x="2" y="4"/>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1" name="Freeform 1169"/>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2" name="Freeform 1170"/>
              <p:cNvSpPr>
                <a:spLocks/>
              </p:cNvSpPr>
              <p:nvPr/>
            </p:nvSpPr>
            <p:spPr bwMode="auto">
              <a:xfrm>
                <a:off x="736" y="3753"/>
                <a:ext cx="2" cy="4"/>
              </a:xfrm>
              <a:custGeom>
                <a:avLst/>
                <a:gdLst>
                  <a:gd name="T0" fmla="*/ 0 w 2"/>
                  <a:gd name="T1" fmla="*/ 4 h 4"/>
                  <a:gd name="T2" fmla="*/ 0 w 2"/>
                  <a:gd name="T3" fmla="*/ 4 h 4"/>
                  <a:gd name="T4" fmla="*/ 2 w 2"/>
                  <a:gd name="T5" fmla="*/ 0 h 4"/>
                  <a:gd name="T6" fmla="*/ 0 w 2"/>
                  <a:gd name="T7" fmla="*/ 4 h 4"/>
                </a:gdLst>
                <a:ahLst/>
                <a:cxnLst>
                  <a:cxn ang="0">
                    <a:pos x="T0" y="T1"/>
                  </a:cxn>
                  <a:cxn ang="0">
                    <a:pos x="T2" y="T3"/>
                  </a:cxn>
                  <a:cxn ang="0">
                    <a:pos x="T4" y="T5"/>
                  </a:cxn>
                  <a:cxn ang="0">
                    <a:pos x="T6" y="T7"/>
                  </a:cxn>
                </a:cxnLst>
                <a:rect l="0" t="0" r="r" b="b"/>
                <a:pathLst>
                  <a:path w="2" h="4">
                    <a:moveTo>
                      <a:pt x="0" y="4"/>
                    </a:moveTo>
                    <a:lnTo>
                      <a:pt x="0" y="4"/>
                    </a:lnTo>
                    <a:lnTo>
                      <a:pt x="2" y="0"/>
                    </a:lnTo>
                    <a:lnTo>
                      <a:pt x="0"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3" name="Freeform 1171"/>
              <p:cNvSpPr>
                <a:spLocks/>
              </p:cNvSpPr>
              <p:nvPr/>
            </p:nvSpPr>
            <p:spPr bwMode="auto">
              <a:xfrm>
                <a:off x="306" y="3961"/>
                <a:ext cx="64" cy="32"/>
              </a:xfrm>
              <a:custGeom>
                <a:avLst/>
                <a:gdLst>
                  <a:gd name="T0" fmla="*/ 4 w 64"/>
                  <a:gd name="T1" fmla="*/ 32 h 32"/>
                  <a:gd name="T2" fmla="*/ 0 w 64"/>
                  <a:gd name="T3" fmla="*/ 28 h 32"/>
                  <a:gd name="T4" fmla="*/ 6 w 64"/>
                  <a:gd name="T5" fmla="*/ 24 h 32"/>
                  <a:gd name="T6" fmla="*/ 11 w 64"/>
                  <a:gd name="T7" fmla="*/ 26 h 32"/>
                  <a:gd name="T8" fmla="*/ 17 w 64"/>
                  <a:gd name="T9" fmla="*/ 26 h 32"/>
                  <a:gd name="T10" fmla="*/ 28 w 64"/>
                  <a:gd name="T11" fmla="*/ 24 h 32"/>
                  <a:gd name="T12" fmla="*/ 32 w 64"/>
                  <a:gd name="T13" fmla="*/ 24 h 32"/>
                  <a:gd name="T14" fmla="*/ 28 w 64"/>
                  <a:gd name="T15" fmla="*/ 22 h 32"/>
                  <a:gd name="T16" fmla="*/ 34 w 64"/>
                  <a:gd name="T17" fmla="*/ 19 h 32"/>
                  <a:gd name="T18" fmla="*/ 34 w 64"/>
                  <a:gd name="T19" fmla="*/ 15 h 32"/>
                  <a:gd name="T20" fmla="*/ 45 w 64"/>
                  <a:gd name="T21" fmla="*/ 17 h 32"/>
                  <a:gd name="T22" fmla="*/ 40 w 64"/>
                  <a:gd name="T23" fmla="*/ 13 h 32"/>
                  <a:gd name="T24" fmla="*/ 36 w 64"/>
                  <a:gd name="T25" fmla="*/ 11 h 32"/>
                  <a:gd name="T26" fmla="*/ 32 w 64"/>
                  <a:gd name="T27" fmla="*/ 5 h 32"/>
                  <a:gd name="T28" fmla="*/ 38 w 64"/>
                  <a:gd name="T29" fmla="*/ 0 h 32"/>
                  <a:gd name="T30" fmla="*/ 45 w 64"/>
                  <a:gd name="T31" fmla="*/ 0 h 32"/>
                  <a:gd name="T32" fmla="*/ 49 w 64"/>
                  <a:gd name="T33" fmla="*/ 0 h 32"/>
                  <a:gd name="T34" fmla="*/ 53 w 64"/>
                  <a:gd name="T35" fmla="*/ 2 h 32"/>
                  <a:gd name="T36" fmla="*/ 51 w 64"/>
                  <a:gd name="T37" fmla="*/ 9 h 32"/>
                  <a:gd name="T38" fmla="*/ 55 w 64"/>
                  <a:gd name="T39" fmla="*/ 9 h 32"/>
                  <a:gd name="T40" fmla="*/ 62 w 64"/>
                  <a:gd name="T41" fmla="*/ 5 h 32"/>
                  <a:gd name="T42" fmla="*/ 64 w 64"/>
                  <a:gd name="T43" fmla="*/ 11 h 32"/>
                  <a:gd name="T44" fmla="*/ 57 w 64"/>
                  <a:gd name="T45" fmla="*/ 15 h 32"/>
                  <a:gd name="T46" fmla="*/ 53 w 64"/>
                  <a:gd name="T47" fmla="*/ 15 h 32"/>
                  <a:gd name="T48" fmla="*/ 51 w 64"/>
                  <a:gd name="T49" fmla="*/ 22 h 32"/>
                  <a:gd name="T50" fmla="*/ 55 w 64"/>
                  <a:gd name="T51" fmla="*/ 17 h 32"/>
                  <a:gd name="T52" fmla="*/ 60 w 64"/>
                  <a:gd name="T53" fmla="*/ 24 h 32"/>
                  <a:gd name="T54" fmla="*/ 53 w 64"/>
                  <a:gd name="T55" fmla="*/ 24 h 32"/>
                  <a:gd name="T56" fmla="*/ 49 w 64"/>
                  <a:gd name="T57" fmla="*/ 24 h 32"/>
                  <a:gd name="T58" fmla="*/ 45 w 64"/>
                  <a:gd name="T59" fmla="*/ 28 h 32"/>
                  <a:gd name="T60" fmla="*/ 40 w 64"/>
                  <a:gd name="T61" fmla="*/ 24 h 32"/>
                  <a:gd name="T62" fmla="*/ 40 w 64"/>
                  <a:gd name="T63" fmla="*/ 30 h 32"/>
                  <a:gd name="T64" fmla="*/ 34 w 64"/>
                  <a:gd name="T65" fmla="*/ 28 h 32"/>
                  <a:gd name="T66" fmla="*/ 30 w 64"/>
                  <a:gd name="T67" fmla="*/ 28 h 32"/>
                  <a:gd name="T68" fmla="*/ 19 w 64"/>
                  <a:gd name="T69" fmla="*/ 30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0" y="28"/>
                    </a:lnTo>
                    <a:lnTo>
                      <a:pt x="6" y="24"/>
                    </a:lnTo>
                    <a:lnTo>
                      <a:pt x="11" y="26"/>
                    </a:lnTo>
                    <a:lnTo>
                      <a:pt x="17" y="26"/>
                    </a:lnTo>
                    <a:lnTo>
                      <a:pt x="28" y="24"/>
                    </a:lnTo>
                    <a:lnTo>
                      <a:pt x="32" y="24"/>
                    </a:lnTo>
                    <a:lnTo>
                      <a:pt x="28" y="22"/>
                    </a:lnTo>
                    <a:lnTo>
                      <a:pt x="34" y="19"/>
                    </a:lnTo>
                    <a:lnTo>
                      <a:pt x="34" y="15"/>
                    </a:lnTo>
                    <a:lnTo>
                      <a:pt x="45" y="17"/>
                    </a:lnTo>
                    <a:lnTo>
                      <a:pt x="40" y="13"/>
                    </a:lnTo>
                    <a:lnTo>
                      <a:pt x="36" y="11"/>
                    </a:lnTo>
                    <a:lnTo>
                      <a:pt x="32" y="5"/>
                    </a:lnTo>
                    <a:lnTo>
                      <a:pt x="38" y="0"/>
                    </a:lnTo>
                    <a:lnTo>
                      <a:pt x="45" y="0"/>
                    </a:lnTo>
                    <a:lnTo>
                      <a:pt x="49" y="0"/>
                    </a:lnTo>
                    <a:lnTo>
                      <a:pt x="53" y="2"/>
                    </a:lnTo>
                    <a:lnTo>
                      <a:pt x="51" y="9"/>
                    </a:lnTo>
                    <a:lnTo>
                      <a:pt x="55" y="9"/>
                    </a:lnTo>
                    <a:lnTo>
                      <a:pt x="62" y="5"/>
                    </a:lnTo>
                    <a:lnTo>
                      <a:pt x="64" y="11"/>
                    </a:lnTo>
                    <a:lnTo>
                      <a:pt x="57" y="15"/>
                    </a:lnTo>
                    <a:lnTo>
                      <a:pt x="53" y="15"/>
                    </a:lnTo>
                    <a:lnTo>
                      <a:pt x="51" y="22"/>
                    </a:lnTo>
                    <a:lnTo>
                      <a:pt x="55" y="17"/>
                    </a:lnTo>
                    <a:lnTo>
                      <a:pt x="60" y="24"/>
                    </a:lnTo>
                    <a:lnTo>
                      <a:pt x="53" y="24"/>
                    </a:lnTo>
                    <a:lnTo>
                      <a:pt x="49" y="24"/>
                    </a:lnTo>
                    <a:lnTo>
                      <a:pt x="45" y="28"/>
                    </a:lnTo>
                    <a:lnTo>
                      <a:pt x="40" y="24"/>
                    </a:lnTo>
                    <a:lnTo>
                      <a:pt x="40" y="30"/>
                    </a:lnTo>
                    <a:lnTo>
                      <a:pt x="34" y="28"/>
                    </a:lnTo>
                    <a:lnTo>
                      <a:pt x="30" y="28"/>
                    </a:lnTo>
                    <a:lnTo>
                      <a:pt x="19" y="30"/>
                    </a:lnTo>
                    <a:lnTo>
                      <a:pt x="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4" name="Freeform 1172"/>
              <p:cNvSpPr>
                <a:spLocks/>
              </p:cNvSpPr>
              <p:nvPr/>
            </p:nvSpPr>
            <p:spPr bwMode="auto">
              <a:xfrm>
                <a:off x="306" y="3961"/>
                <a:ext cx="64" cy="32"/>
              </a:xfrm>
              <a:custGeom>
                <a:avLst/>
                <a:gdLst>
                  <a:gd name="T0" fmla="*/ 4 w 64"/>
                  <a:gd name="T1" fmla="*/ 32 h 32"/>
                  <a:gd name="T2" fmla="*/ 0 w 64"/>
                  <a:gd name="T3" fmla="*/ 28 h 32"/>
                  <a:gd name="T4" fmla="*/ 6 w 64"/>
                  <a:gd name="T5" fmla="*/ 24 h 32"/>
                  <a:gd name="T6" fmla="*/ 11 w 64"/>
                  <a:gd name="T7" fmla="*/ 26 h 32"/>
                  <a:gd name="T8" fmla="*/ 17 w 64"/>
                  <a:gd name="T9" fmla="*/ 26 h 32"/>
                  <a:gd name="T10" fmla="*/ 28 w 64"/>
                  <a:gd name="T11" fmla="*/ 24 h 32"/>
                  <a:gd name="T12" fmla="*/ 32 w 64"/>
                  <a:gd name="T13" fmla="*/ 24 h 32"/>
                  <a:gd name="T14" fmla="*/ 28 w 64"/>
                  <a:gd name="T15" fmla="*/ 22 h 32"/>
                  <a:gd name="T16" fmla="*/ 34 w 64"/>
                  <a:gd name="T17" fmla="*/ 19 h 32"/>
                  <a:gd name="T18" fmla="*/ 34 w 64"/>
                  <a:gd name="T19" fmla="*/ 15 h 32"/>
                  <a:gd name="T20" fmla="*/ 45 w 64"/>
                  <a:gd name="T21" fmla="*/ 17 h 32"/>
                  <a:gd name="T22" fmla="*/ 40 w 64"/>
                  <a:gd name="T23" fmla="*/ 13 h 32"/>
                  <a:gd name="T24" fmla="*/ 36 w 64"/>
                  <a:gd name="T25" fmla="*/ 11 h 32"/>
                  <a:gd name="T26" fmla="*/ 32 w 64"/>
                  <a:gd name="T27" fmla="*/ 5 h 32"/>
                  <a:gd name="T28" fmla="*/ 38 w 64"/>
                  <a:gd name="T29" fmla="*/ 0 h 32"/>
                  <a:gd name="T30" fmla="*/ 45 w 64"/>
                  <a:gd name="T31" fmla="*/ 0 h 32"/>
                  <a:gd name="T32" fmla="*/ 49 w 64"/>
                  <a:gd name="T33" fmla="*/ 0 h 32"/>
                  <a:gd name="T34" fmla="*/ 53 w 64"/>
                  <a:gd name="T35" fmla="*/ 2 h 32"/>
                  <a:gd name="T36" fmla="*/ 51 w 64"/>
                  <a:gd name="T37" fmla="*/ 9 h 32"/>
                  <a:gd name="T38" fmla="*/ 55 w 64"/>
                  <a:gd name="T39" fmla="*/ 9 h 32"/>
                  <a:gd name="T40" fmla="*/ 62 w 64"/>
                  <a:gd name="T41" fmla="*/ 5 h 32"/>
                  <a:gd name="T42" fmla="*/ 64 w 64"/>
                  <a:gd name="T43" fmla="*/ 11 h 32"/>
                  <a:gd name="T44" fmla="*/ 57 w 64"/>
                  <a:gd name="T45" fmla="*/ 15 h 32"/>
                  <a:gd name="T46" fmla="*/ 53 w 64"/>
                  <a:gd name="T47" fmla="*/ 15 h 32"/>
                  <a:gd name="T48" fmla="*/ 51 w 64"/>
                  <a:gd name="T49" fmla="*/ 22 h 32"/>
                  <a:gd name="T50" fmla="*/ 55 w 64"/>
                  <a:gd name="T51" fmla="*/ 17 h 32"/>
                  <a:gd name="T52" fmla="*/ 60 w 64"/>
                  <a:gd name="T53" fmla="*/ 24 h 32"/>
                  <a:gd name="T54" fmla="*/ 53 w 64"/>
                  <a:gd name="T55" fmla="*/ 24 h 32"/>
                  <a:gd name="T56" fmla="*/ 49 w 64"/>
                  <a:gd name="T57" fmla="*/ 24 h 32"/>
                  <a:gd name="T58" fmla="*/ 45 w 64"/>
                  <a:gd name="T59" fmla="*/ 28 h 32"/>
                  <a:gd name="T60" fmla="*/ 40 w 64"/>
                  <a:gd name="T61" fmla="*/ 24 h 32"/>
                  <a:gd name="T62" fmla="*/ 40 w 64"/>
                  <a:gd name="T63" fmla="*/ 30 h 32"/>
                  <a:gd name="T64" fmla="*/ 34 w 64"/>
                  <a:gd name="T65" fmla="*/ 28 h 32"/>
                  <a:gd name="T66" fmla="*/ 30 w 64"/>
                  <a:gd name="T67" fmla="*/ 28 h 32"/>
                  <a:gd name="T68" fmla="*/ 19 w 64"/>
                  <a:gd name="T69" fmla="*/ 30 h 32"/>
                  <a:gd name="T70" fmla="*/ 4 w 64"/>
                  <a:gd name="T7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 h="32">
                    <a:moveTo>
                      <a:pt x="4" y="32"/>
                    </a:moveTo>
                    <a:lnTo>
                      <a:pt x="0" y="28"/>
                    </a:lnTo>
                    <a:lnTo>
                      <a:pt x="6" y="24"/>
                    </a:lnTo>
                    <a:lnTo>
                      <a:pt x="11" y="26"/>
                    </a:lnTo>
                    <a:lnTo>
                      <a:pt x="17" y="26"/>
                    </a:lnTo>
                    <a:lnTo>
                      <a:pt x="28" y="24"/>
                    </a:lnTo>
                    <a:lnTo>
                      <a:pt x="32" y="24"/>
                    </a:lnTo>
                    <a:lnTo>
                      <a:pt x="28" y="22"/>
                    </a:lnTo>
                    <a:lnTo>
                      <a:pt x="34" y="19"/>
                    </a:lnTo>
                    <a:lnTo>
                      <a:pt x="34" y="15"/>
                    </a:lnTo>
                    <a:lnTo>
                      <a:pt x="45" y="17"/>
                    </a:lnTo>
                    <a:lnTo>
                      <a:pt x="40" y="13"/>
                    </a:lnTo>
                    <a:lnTo>
                      <a:pt x="36" y="11"/>
                    </a:lnTo>
                    <a:lnTo>
                      <a:pt x="32" y="5"/>
                    </a:lnTo>
                    <a:lnTo>
                      <a:pt x="38" y="0"/>
                    </a:lnTo>
                    <a:lnTo>
                      <a:pt x="45" y="0"/>
                    </a:lnTo>
                    <a:lnTo>
                      <a:pt x="49" y="0"/>
                    </a:lnTo>
                    <a:lnTo>
                      <a:pt x="53" y="2"/>
                    </a:lnTo>
                    <a:lnTo>
                      <a:pt x="51" y="9"/>
                    </a:lnTo>
                    <a:lnTo>
                      <a:pt x="55" y="9"/>
                    </a:lnTo>
                    <a:lnTo>
                      <a:pt x="62" y="5"/>
                    </a:lnTo>
                    <a:lnTo>
                      <a:pt x="64" y="11"/>
                    </a:lnTo>
                    <a:lnTo>
                      <a:pt x="57" y="15"/>
                    </a:lnTo>
                    <a:lnTo>
                      <a:pt x="53" y="15"/>
                    </a:lnTo>
                    <a:lnTo>
                      <a:pt x="51" y="22"/>
                    </a:lnTo>
                    <a:lnTo>
                      <a:pt x="55" y="17"/>
                    </a:lnTo>
                    <a:lnTo>
                      <a:pt x="60" y="24"/>
                    </a:lnTo>
                    <a:lnTo>
                      <a:pt x="53" y="24"/>
                    </a:lnTo>
                    <a:lnTo>
                      <a:pt x="49" y="24"/>
                    </a:lnTo>
                    <a:lnTo>
                      <a:pt x="45" y="28"/>
                    </a:lnTo>
                    <a:lnTo>
                      <a:pt x="40" y="24"/>
                    </a:lnTo>
                    <a:lnTo>
                      <a:pt x="40" y="30"/>
                    </a:lnTo>
                    <a:lnTo>
                      <a:pt x="34" y="28"/>
                    </a:lnTo>
                    <a:lnTo>
                      <a:pt x="30" y="28"/>
                    </a:lnTo>
                    <a:lnTo>
                      <a:pt x="19" y="30"/>
                    </a:lnTo>
                    <a:lnTo>
                      <a:pt x="4" y="3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5" name="Freeform 1173"/>
              <p:cNvSpPr>
                <a:spLocks/>
              </p:cNvSpPr>
              <p:nvPr/>
            </p:nvSpPr>
            <p:spPr bwMode="auto">
              <a:xfrm>
                <a:off x="366" y="3978"/>
                <a:ext cx="6" cy="7"/>
              </a:xfrm>
              <a:custGeom>
                <a:avLst/>
                <a:gdLst>
                  <a:gd name="T0" fmla="*/ 2 w 6"/>
                  <a:gd name="T1" fmla="*/ 7 h 7"/>
                  <a:gd name="T2" fmla="*/ 0 w 6"/>
                  <a:gd name="T3" fmla="*/ 0 h 7"/>
                  <a:gd name="T4" fmla="*/ 6 w 6"/>
                  <a:gd name="T5" fmla="*/ 0 h 7"/>
                  <a:gd name="T6" fmla="*/ 4 w 6"/>
                  <a:gd name="T7" fmla="*/ 5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0" y="0"/>
                    </a:lnTo>
                    <a:lnTo>
                      <a:pt x="6" y="0"/>
                    </a:lnTo>
                    <a:lnTo>
                      <a:pt x="4" y="5"/>
                    </a:lnTo>
                    <a:lnTo>
                      <a:pt x="2"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6" name="Freeform 1174"/>
              <p:cNvSpPr>
                <a:spLocks/>
              </p:cNvSpPr>
              <p:nvPr/>
            </p:nvSpPr>
            <p:spPr bwMode="auto">
              <a:xfrm>
                <a:off x="366" y="3978"/>
                <a:ext cx="6" cy="7"/>
              </a:xfrm>
              <a:custGeom>
                <a:avLst/>
                <a:gdLst>
                  <a:gd name="T0" fmla="*/ 2 w 6"/>
                  <a:gd name="T1" fmla="*/ 7 h 7"/>
                  <a:gd name="T2" fmla="*/ 0 w 6"/>
                  <a:gd name="T3" fmla="*/ 0 h 7"/>
                  <a:gd name="T4" fmla="*/ 6 w 6"/>
                  <a:gd name="T5" fmla="*/ 0 h 7"/>
                  <a:gd name="T6" fmla="*/ 4 w 6"/>
                  <a:gd name="T7" fmla="*/ 5 h 7"/>
                  <a:gd name="T8" fmla="*/ 2 w 6"/>
                  <a:gd name="T9" fmla="*/ 7 h 7"/>
                </a:gdLst>
                <a:ahLst/>
                <a:cxnLst>
                  <a:cxn ang="0">
                    <a:pos x="T0" y="T1"/>
                  </a:cxn>
                  <a:cxn ang="0">
                    <a:pos x="T2" y="T3"/>
                  </a:cxn>
                  <a:cxn ang="0">
                    <a:pos x="T4" y="T5"/>
                  </a:cxn>
                  <a:cxn ang="0">
                    <a:pos x="T6" y="T7"/>
                  </a:cxn>
                  <a:cxn ang="0">
                    <a:pos x="T8" y="T9"/>
                  </a:cxn>
                </a:cxnLst>
                <a:rect l="0" t="0" r="r" b="b"/>
                <a:pathLst>
                  <a:path w="6" h="7">
                    <a:moveTo>
                      <a:pt x="2" y="7"/>
                    </a:moveTo>
                    <a:lnTo>
                      <a:pt x="0" y="0"/>
                    </a:lnTo>
                    <a:lnTo>
                      <a:pt x="6" y="0"/>
                    </a:lnTo>
                    <a:lnTo>
                      <a:pt x="4" y="5"/>
                    </a:lnTo>
                    <a:lnTo>
                      <a:pt x="2"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7" name="Freeform 1175"/>
              <p:cNvSpPr>
                <a:spLocks/>
              </p:cNvSpPr>
              <p:nvPr/>
            </p:nvSpPr>
            <p:spPr bwMode="auto">
              <a:xfrm>
                <a:off x="455" y="3614"/>
                <a:ext cx="49" cy="36"/>
              </a:xfrm>
              <a:custGeom>
                <a:avLst/>
                <a:gdLst>
                  <a:gd name="T0" fmla="*/ 6 w 49"/>
                  <a:gd name="T1" fmla="*/ 15 h 36"/>
                  <a:gd name="T2" fmla="*/ 2 w 49"/>
                  <a:gd name="T3" fmla="*/ 13 h 36"/>
                  <a:gd name="T4" fmla="*/ 0 w 49"/>
                  <a:gd name="T5" fmla="*/ 2 h 36"/>
                  <a:gd name="T6" fmla="*/ 6 w 49"/>
                  <a:gd name="T7" fmla="*/ 0 h 36"/>
                  <a:gd name="T8" fmla="*/ 15 w 49"/>
                  <a:gd name="T9" fmla="*/ 4 h 36"/>
                  <a:gd name="T10" fmla="*/ 19 w 49"/>
                  <a:gd name="T11" fmla="*/ 0 h 36"/>
                  <a:gd name="T12" fmla="*/ 23 w 49"/>
                  <a:gd name="T13" fmla="*/ 2 h 36"/>
                  <a:gd name="T14" fmla="*/ 30 w 49"/>
                  <a:gd name="T15" fmla="*/ 0 h 36"/>
                  <a:gd name="T16" fmla="*/ 34 w 49"/>
                  <a:gd name="T17" fmla="*/ 0 h 36"/>
                  <a:gd name="T18" fmla="*/ 38 w 49"/>
                  <a:gd name="T19" fmla="*/ 7 h 36"/>
                  <a:gd name="T20" fmla="*/ 45 w 49"/>
                  <a:gd name="T21" fmla="*/ 7 h 36"/>
                  <a:gd name="T22" fmla="*/ 49 w 49"/>
                  <a:gd name="T23" fmla="*/ 11 h 36"/>
                  <a:gd name="T24" fmla="*/ 45 w 49"/>
                  <a:gd name="T25" fmla="*/ 26 h 36"/>
                  <a:gd name="T26" fmla="*/ 45 w 49"/>
                  <a:gd name="T27" fmla="*/ 32 h 36"/>
                  <a:gd name="T28" fmla="*/ 40 w 49"/>
                  <a:gd name="T29" fmla="*/ 32 h 36"/>
                  <a:gd name="T30" fmla="*/ 30 w 49"/>
                  <a:gd name="T31" fmla="*/ 32 h 36"/>
                  <a:gd name="T32" fmla="*/ 23 w 49"/>
                  <a:gd name="T33" fmla="*/ 30 h 36"/>
                  <a:gd name="T34" fmla="*/ 28 w 49"/>
                  <a:gd name="T35" fmla="*/ 36 h 36"/>
                  <a:gd name="T36" fmla="*/ 19 w 49"/>
                  <a:gd name="T37" fmla="*/ 28 h 36"/>
                  <a:gd name="T38" fmla="*/ 15 w 49"/>
                  <a:gd name="T39" fmla="*/ 26 h 36"/>
                  <a:gd name="T40" fmla="*/ 6 w 49"/>
                  <a:gd name="T41" fmla="*/ 15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2" y="13"/>
                    </a:lnTo>
                    <a:lnTo>
                      <a:pt x="0" y="2"/>
                    </a:lnTo>
                    <a:lnTo>
                      <a:pt x="6" y="0"/>
                    </a:lnTo>
                    <a:lnTo>
                      <a:pt x="15" y="4"/>
                    </a:lnTo>
                    <a:lnTo>
                      <a:pt x="19" y="0"/>
                    </a:lnTo>
                    <a:lnTo>
                      <a:pt x="23" y="2"/>
                    </a:lnTo>
                    <a:lnTo>
                      <a:pt x="30" y="0"/>
                    </a:lnTo>
                    <a:lnTo>
                      <a:pt x="34" y="0"/>
                    </a:lnTo>
                    <a:lnTo>
                      <a:pt x="38" y="7"/>
                    </a:lnTo>
                    <a:lnTo>
                      <a:pt x="45" y="7"/>
                    </a:lnTo>
                    <a:lnTo>
                      <a:pt x="49" y="11"/>
                    </a:lnTo>
                    <a:lnTo>
                      <a:pt x="45" y="26"/>
                    </a:lnTo>
                    <a:lnTo>
                      <a:pt x="45" y="32"/>
                    </a:lnTo>
                    <a:lnTo>
                      <a:pt x="40" y="32"/>
                    </a:lnTo>
                    <a:lnTo>
                      <a:pt x="30" y="32"/>
                    </a:lnTo>
                    <a:lnTo>
                      <a:pt x="23" y="30"/>
                    </a:lnTo>
                    <a:lnTo>
                      <a:pt x="28" y="36"/>
                    </a:lnTo>
                    <a:lnTo>
                      <a:pt x="19" y="28"/>
                    </a:lnTo>
                    <a:lnTo>
                      <a:pt x="15" y="26"/>
                    </a:lnTo>
                    <a:lnTo>
                      <a:pt x="6" y="15"/>
                    </a:lnTo>
                    <a:lnTo>
                      <a:pt x="6"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68" name="Freeform 1176"/>
              <p:cNvSpPr>
                <a:spLocks/>
              </p:cNvSpPr>
              <p:nvPr/>
            </p:nvSpPr>
            <p:spPr bwMode="auto">
              <a:xfrm>
                <a:off x="455" y="3614"/>
                <a:ext cx="49" cy="36"/>
              </a:xfrm>
              <a:custGeom>
                <a:avLst/>
                <a:gdLst>
                  <a:gd name="T0" fmla="*/ 6 w 49"/>
                  <a:gd name="T1" fmla="*/ 15 h 36"/>
                  <a:gd name="T2" fmla="*/ 2 w 49"/>
                  <a:gd name="T3" fmla="*/ 13 h 36"/>
                  <a:gd name="T4" fmla="*/ 0 w 49"/>
                  <a:gd name="T5" fmla="*/ 2 h 36"/>
                  <a:gd name="T6" fmla="*/ 6 w 49"/>
                  <a:gd name="T7" fmla="*/ 0 h 36"/>
                  <a:gd name="T8" fmla="*/ 15 w 49"/>
                  <a:gd name="T9" fmla="*/ 4 h 36"/>
                  <a:gd name="T10" fmla="*/ 19 w 49"/>
                  <a:gd name="T11" fmla="*/ 0 h 36"/>
                  <a:gd name="T12" fmla="*/ 23 w 49"/>
                  <a:gd name="T13" fmla="*/ 2 h 36"/>
                  <a:gd name="T14" fmla="*/ 30 w 49"/>
                  <a:gd name="T15" fmla="*/ 0 h 36"/>
                  <a:gd name="T16" fmla="*/ 34 w 49"/>
                  <a:gd name="T17" fmla="*/ 0 h 36"/>
                  <a:gd name="T18" fmla="*/ 38 w 49"/>
                  <a:gd name="T19" fmla="*/ 7 h 36"/>
                  <a:gd name="T20" fmla="*/ 45 w 49"/>
                  <a:gd name="T21" fmla="*/ 7 h 36"/>
                  <a:gd name="T22" fmla="*/ 49 w 49"/>
                  <a:gd name="T23" fmla="*/ 11 h 36"/>
                  <a:gd name="T24" fmla="*/ 45 w 49"/>
                  <a:gd name="T25" fmla="*/ 26 h 36"/>
                  <a:gd name="T26" fmla="*/ 45 w 49"/>
                  <a:gd name="T27" fmla="*/ 32 h 36"/>
                  <a:gd name="T28" fmla="*/ 40 w 49"/>
                  <a:gd name="T29" fmla="*/ 32 h 36"/>
                  <a:gd name="T30" fmla="*/ 30 w 49"/>
                  <a:gd name="T31" fmla="*/ 32 h 36"/>
                  <a:gd name="T32" fmla="*/ 23 w 49"/>
                  <a:gd name="T33" fmla="*/ 30 h 36"/>
                  <a:gd name="T34" fmla="*/ 28 w 49"/>
                  <a:gd name="T35" fmla="*/ 36 h 36"/>
                  <a:gd name="T36" fmla="*/ 19 w 49"/>
                  <a:gd name="T37" fmla="*/ 28 h 36"/>
                  <a:gd name="T38" fmla="*/ 15 w 49"/>
                  <a:gd name="T39" fmla="*/ 26 h 36"/>
                  <a:gd name="T40" fmla="*/ 6 w 49"/>
                  <a:gd name="T41" fmla="*/ 15 h 36"/>
                  <a:gd name="T42" fmla="*/ 6 w 49"/>
                  <a:gd name="T43" fmla="*/ 1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49" h="36">
                    <a:moveTo>
                      <a:pt x="6" y="15"/>
                    </a:moveTo>
                    <a:lnTo>
                      <a:pt x="2" y="13"/>
                    </a:lnTo>
                    <a:lnTo>
                      <a:pt x="0" y="2"/>
                    </a:lnTo>
                    <a:lnTo>
                      <a:pt x="6" y="0"/>
                    </a:lnTo>
                    <a:lnTo>
                      <a:pt x="15" y="4"/>
                    </a:lnTo>
                    <a:lnTo>
                      <a:pt x="19" y="0"/>
                    </a:lnTo>
                    <a:lnTo>
                      <a:pt x="23" y="2"/>
                    </a:lnTo>
                    <a:lnTo>
                      <a:pt x="30" y="0"/>
                    </a:lnTo>
                    <a:lnTo>
                      <a:pt x="34" y="0"/>
                    </a:lnTo>
                    <a:lnTo>
                      <a:pt x="38" y="7"/>
                    </a:lnTo>
                    <a:lnTo>
                      <a:pt x="45" y="7"/>
                    </a:lnTo>
                    <a:lnTo>
                      <a:pt x="49" y="11"/>
                    </a:lnTo>
                    <a:lnTo>
                      <a:pt x="45" y="26"/>
                    </a:lnTo>
                    <a:lnTo>
                      <a:pt x="45" y="32"/>
                    </a:lnTo>
                    <a:lnTo>
                      <a:pt x="40" y="32"/>
                    </a:lnTo>
                    <a:lnTo>
                      <a:pt x="30" y="32"/>
                    </a:lnTo>
                    <a:lnTo>
                      <a:pt x="23" y="30"/>
                    </a:lnTo>
                    <a:lnTo>
                      <a:pt x="28" y="36"/>
                    </a:lnTo>
                    <a:lnTo>
                      <a:pt x="19" y="28"/>
                    </a:lnTo>
                    <a:lnTo>
                      <a:pt x="15" y="26"/>
                    </a:lnTo>
                    <a:lnTo>
                      <a:pt x="6" y="15"/>
                    </a:lnTo>
                    <a:lnTo>
                      <a:pt x="6"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69" name="Freeform 1177"/>
              <p:cNvSpPr>
                <a:spLocks/>
              </p:cNvSpPr>
              <p:nvPr/>
            </p:nvSpPr>
            <p:spPr bwMode="auto">
              <a:xfrm>
                <a:off x="378" y="3959"/>
                <a:ext cx="15" cy="11"/>
              </a:xfrm>
              <a:custGeom>
                <a:avLst/>
                <a:gdLst>
                  <a:gd name="T0" fmla="*/ 5 w 15"/>
                  <a:gd name="T1" fmla="*/ 11 h 11"/>
                  <a:gd name="T2" fmla="*/ 0 w 15"/>
                  <a:gd name="T3" fmla="*/ 9 h 11"/>
                  <a:gd name="T4" fmla="*/ 0 w 15"/>
                  <a:gd name="T5" fmla="*/ 4 h 11"/>
                  <a:gd name="T6" fmla="*/ 5 w 15"/>
                  <a:gd name="T7" fmla="*/ 0 h 11"/>
                  <a:gd name="T8" fmla="*/ 9 w 15"/>
                  <a:gd name="T9" fmla="*/ 4 h 11"/>
                  <a:gd name="T10" fmla="*/ 15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0" y="9"/>
                    </a:lnTo>
                    <a:lnTo>
                      <a:pt x="0" y="4"/>
                    </a:lnTo>
                    <a:lnTo>
                      <a:pt x="5" y="0"/>
                    </a:lnTo>
                    <a:lnTo>
                      <a:pt x="9" y="4"/>
                    </a:lnTo>
                    <a:lnTo>
                      <a:pt x="15" y="9"/>
                    </a:lnTo>
                    <a:lnTo>
                      <a:pt x="5"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0" name="Freeform 1178"/>
              <p:cNvSpPr>
                <a:spLocks/>
              </p:cNvSpPr>
              <p:nvPr/>
            </p:nvSpPr>
            <p:spPr bwMode="auto">
              <a:xfrm>
                <a:off x="378" y="3959"/>
                <a:ext cx="15" cy="11"/>
              </a:xfrm>
              <a:custGeom>
                <a:avLst/>
                <a:gdLst>
                  <a:gd name="T0" fmla="*/ 5 w 15"/>
                  <a:gd name="T1" fmla="*/ 11 h 11"/>
                  <a:gd name="T2" fmla="*/ 0 w 15"/>
                  <a:gd name="T3" fmla="*/ 9 h 11"/>
                  <a:gd name="T4" fmla="*/ 0 w 15"/>
                  <a:gd name="T5" fmla="*/ 4 h 11"/>
                  <a:gd name="T6" fmla="*/ 5 w 15"/>
                  <a:gd name="T7" fmla="*/ 0 h 11"/>
                  <a:gd name="T8" fmla="*/ 9 w 15"/>
                  <a:gd name="T9" fmla="*/ 4 h 11"/>
                  <a:gd name="T10" fmla="*/ 15 w 15"/>
                  <a:gd name="T11" fmla="*/ 9 h 11"/>
                  <a:gd name="T12" fmla="*/ 5 w 15"/>
                  <a:gd name="T13" fmla="*/ 11 h 11"/>
                </a:gdLst>
                <a:ahLst/>
                <a:cxnLst>
                  <a:cxn ang="0">
                    <a:pos x="T0" y="T1"/>
                  </a:cxn>
                  <a:cxn ang="0">
                    <a:pos x="T2" y="T3"/>
                  </a:cxn>
                  <a:cxn ang="0">
                    <a:pos x="T4" y="T5"/>
                  </a:cxn>
                  <a:cxn ang="0">
                    <a:pos x="T6" y="T7"/>
                  </a:cxn>
                  <a:cxn ang="0">
                    <a:pos x="T8" y="T9"/>
                  </a:cxn>
                  <a:cxn ang="0">
                    <a:pos x="T10" y="T11"/>
                  </a:cxn>
                  <a:cxn ang="0">
                    <a:pos x="T12" y="T13"/>
                  </a:cxn>
                </a:cxnLst>
                <a:rect l="0" t="0" r="r" b="b"/>
                <a:pathLst>
                  <a:path w="15" h="11">
                    <a:moveTo>
                      <a:pt x="5" y="11"/>
                    </a:moveTo>
                    <a:lnTo>
                      <a:pt x="0" y="9"/>
                    </a:lnTo>
                    <a:lnTo>
                      <a:pt x="0" y="4"/>
                    </a:lnTo>
                    <a:lnTo>
                      <a:pt x="5" y="0"/>
                    </a:lnTo>
                    <a:lnTo>
                      <a:pt x="9" y="4"/>
                    </a:lnTo>
                    <a:lnTo>
                      <a:pt x="15" y="9"/>
                    </a:lnTo>
                    <a:lnTo>
                      <a:pt x="5"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1" name="Freeform 1179"/>
              <p:cNvSpPr>
                <a:spLocks/>
              </p:cNvSpPr>
              <p:nvPr/>
            </p:nvSpPr>
            <p:spPr bwMode="auto">
              <a:xfrm>
                <a:off x="395" y="3959"/>
                <a:ext cx="5" cy="11"/>
              </a:xfrm>
              <a:custGeom>
                <a:avLst/>
                <a:gdLst>
                  <a:gd name="T0" fmla="*/ 0 w 5"/>
                  <a:gd name="T1" fmla="*/ 11 h 11"/>
                  <a:gd name="T2" fmla="*/ 0 w 5"/>
                  <a:gd name="T3" fmla="*/ 4 h 11"/>
                  <a:gd name="T4" fmla="*/ 3 w 5"/>
                  <a:gd name="T5" fmla="*/ 0 h 11"/>
                  <a:gd name="T6" fmla="*/ 5 w 5"/>
                  <a:gd name="T7" fmla="*/ 7 h 11"/>
                  <a:gd name="T8" fmla="*/ 0 w 5"/>
                  <a:gd name="T9" fmla="*/ 11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4"/>
                    </a:lnTo>
                    <a:lnTo>
                      <a:pt x="3" y="0"/>
                    </a:lnTo>
                    <a:lnTo>
                      <a:pt x="5" y="7"/>
                    </a:lnTo>
                    <a:lnTo>
                      <a:pt x="0" y="11"/>
                    </a:lnTo>
                    <a:lnTo>
                      <a:pt x="0"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2" name="Freeform 1180"/>
              <p:cNvSpPr>
                <a:spLocks/>
              </p:cNvSpPr>
              <p:nvPr/>
            </p:nvSpPr>
            <p:spPr bwMode="auto">
              <a:xfrm>
                <a:off x="395" y="3959"/>
                <a:ext cx="5" cy="11"/>
              </a:xfrm>
              <a:custGeom>
                <a:avLst/>
                <a:gdLst>
                  <a:gd name="T0" fmla="*/ 0 w 5"/>
                  <a:gd name="T1" fmla="*/ 11 h 11"/>
                  <a:gd name="T2" fmla="*/ 0 w 5"/>
                  <a:gd name="T3" fmla="*/ 4 h 11"/>
                  <a:gd name="T4" fmla="*/ 3 w 5"/>
                  <a:gd name="T5" fmla="*/ 0 h 11"/>
                  <a:gd name="T6" fmla="*/ 5 w 5"/>
                  <a:gd name="T7" fmla="*/ 7 h 11"/>
                  <a:gd name="T8" fmla="*/ 0 w 5"/>
                  <a:gd name="T9" fmla="*/ 11 h 11"/>
                  <a:gd name="T10" fmla="*/ 0 w 5"/>
                  <a:gd name="T11" fmla="*/ 11 h 11"/>
                </a:gdLst>
                <a:ahLst/>
                <a:cxnLst>
                  <a:cxn ang="0">
                    <a:pos x="T0" y="T1"/>
                  </a:cxn>
                  <a:cxn ang="0">
                    <a:pos x="T2" y="T3"/>
                  </a:cxn>
                  <a:cxn ang="0">
                    <a:pos x="T4" y="T5"/>
                  </a:cxn>
                  <a:cxn ang="0">
                    <a:pos x="T6" y="T7"/>
                  </a:cxn>
                  <a:cxn ang="0">
                    <a:pos x="T8" y="T9"/>
                  </a:cxn>
                  <a:cxn ang="0">
                    <a:pos x="T10" y="T11"/>
                  </a:cxn>
                </a:cxnLst>
                <a:rect l="0" t="0" r="r" b="b"/>
                <a:pathLst>
                  <a:path w="5" h="11">
                    <a:moveTo>
                      <a:pt x="0" y="11"/>
                    </a:moveTo>
                    <a:lnTo>
                      <a:pt x="0" y="4"/>
                    </a:lnTo>
                    <a:lnTo>
                      <a:pt x="3" y="0"/>
                    </a:lnTo>
                    <a:lnTo>
                      <a:pt x="5" y="7"/>
                    </a:lnTo>
                    <a:lnTo>
                      <a:pt x="0" y="11"/>
                    </a:lnTo>
                    <a:lnTo>
                      <a:pt x="0"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3" name="Freeform 1181"/>
              <p:cNvSpPr>
                <a:spLocks/>
              </p:cNvSpPr>
              <p:nvPr/>
            </p:nvSpPr>
            <p:spPr bwMode="auto">
              <a:xfrm>
                <a:off x="400" y="3972"/>
                <a:ext cx="4" cy="4"/>
              </a:xfrm>
              <a:custGeom>
                <a:avLst/>
                <a:gdLst>
                  <a:gd name="T0" fmla="*/ 4 w 4"/>
                  <a:gd name="T1" fmla="*/ 4 h 4"/>
                  <a:gd name="T2" fmla="*/ 0 w 4"/>
                  <a:gd name="T3" fmla="*/ 0 h 4"/>
                  <a:gd name="T4" fmla="*/ 4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0" y="0"/>
                    </a:lnTo>
                    <a:lnTo>
                      <a:pt x="4" y="2"/>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4" name="Freeform 1182"/>
              <p:cNvSpPr>
                <a:spLocks/>
              </p:cNvSpPr>
              <p:nvPr/>
            </p:nvSpPr>
            <p:spPr bwMode="auto">
              <a:xfrm>
                <a:off x="400" y="3972"/>
                <a:ext cx="4" cy="4"/>
              </a:xfrm>
              <a:custGeom>
                <a:avLst/>
                <a:gdLst>
                  <a:gd name="T0" fmla="*/ 4 w 4"/>
                  <a:gd name="T1" fmla="*/ 4 h 4"/>
                  <a:gd name="T2" fmla="*/ 0 w 4"/>
                  <a:gd name="T3" fmla="*/ 0 h 4"/>
                  <a:gd name="T4" fmla="*/ 4 w 4"/>
                  <a:gd name="T5" fmla="*/ 2 h 4"/>
                  <a:gd name="T6" fmla="*/ 4 w 4"/>
                  <a:gd name="T7" fmla="*/ 4 h 4"/>
                </a:gdLst>
                <a:ahLst/>
                <a:cxnLst>
                  <a:cxn ang="0">
                    <a:pos x="T0" y="T1"/>
                  </a:cxn>
                  <a:cxn ang="0">
                    <a:pos x="T2" y="T3"/>
                  </a:cxn>
                  <a:cxn ang="0">
                    <a:pos x="T4" y="T5"/>
                  </a:cxn>
                  <a:cxn ang="0">
                    <a:pos x="T6" y="T7"/>
                  </a:cxn>
                </a:cxnLst>
                <a:rect l="0" t="0" r="r" b="b"/>
                <a:pathLst>
                  <a:path w="4" h="4">
                    <a:moveTo>
                      <a:pt x="4" y="4"/>
                    </a:moveTo>
                    <a:lnTo>
                      <a:pt x="0" y="0"/>
                    </a:lnTo>
                    <a:lnTo>
                      <a:pt x="4" y="2"/>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5" name="Freeform 1183"/>
              <p:cNvSpPr>
                <a:spLocks/>
              </p:cNvSpPr>
              <p:nvPr/>
            </p:nvSpPr>
            <p:spPr bwMode="auto">
              <a:xfrm>
                <a:off x="423" y="3934"/>
                <a:ext cx="62" cy="29"/>
              </a:xfrm>
              <a:custGeom>
                <a:avLst/>
                <a:gdLst>
                  <a:gd name="T0" fmla="*/ 2 w 62"/>
                  <a:gd name="T1" fmla="*/ 15 h 29"/>
                  <a:gd name="T2" fmla="*/ 11 w 62"/>
                  <a:gd name="T3" fmla="*/ 12 h 29"/>
                  <a:gd name="T4" fmla="*/ 19 w 62"/>
                  <a:gd name="T5" fmla="*/ 4 h 29"/>
                  <a:gd name="T6" fmla="*/ 23 w 62"/>
                  <a:gd name="T7" fmla="*/ 2 h 29"/>
                  <a:gd name="T8" fmla="*/ 28 w 62"/>
                  <a:gd name="T9" fmla="*/ 4 h 29"/>
                  <a:gd name="T10" fmla="*/ 34 w 62"/>
                  <a:gd name="T11" fmla="*/ 2 h 29"/>
                  <a:gd name="T12" fmla="*/ 45 w 62"/>
                  <a:gd name="T13" fmla="*/ 0 h 29"/>
                  <a:gd name="T14" fmla="*/ 49 w 62"/>
                  <a:gd name="T15" fmla="*/ 2 h 29"/>
                  <a:gd name="T16" fmla="*/ 53 w 62"/>
                  <a:gd name="T17" fmla="*/ 6 h 29"/>
                  <a:gd name="T18" fmla="*/ 55 w 62"/>
                  <a:gd name="T19" fmla="*/ 10 h 29"/>
                  <a:gd name="T20" fmla="*/ 55 w 62"/>
                  <a:gd name="T21" fmla="*/ 17 h 29"/>
                  <a:gd name="T22" fmla="*/ 58 w 62"/>
                  <a:gd name="T23" fmla="*/ 21 h 29"/>
                  <a:gd name="T24" fmla="*/ 62 w 62"/>
                  <a:gd name="T25" fmla="*/ 23 h 29"/>
                  <a:gd name="T26" fmla="*/ 62 w 62"/>
                  <a:gd name="T27" fmla="*/ 29 h 29"/>
                  <a:gd name="T28" fmla="*/ 58 w 62"/>
                  <a:gd name="T29" fmla="*/ 25 h 29"/>
                  <a:gd name="T30" fmla="*/ 53 w 62"/>
                  <a:gd name="T31" fmla="*/ 21 h 29"/>
                  <a:gd name="T32" fmla="*/ 51 w 62"/>
                  <a:gd name="T33" fmla="*/ 25 h 29"/>
                  <a:gd name="T34" fmla="*/ 45 w 62"/>
                  <a:gd name="T35" fmla="*/ 27 h 29"/>
                  <a:gd name="T36" fmla="*/ 36 w 62"/>
                  <a:gd name="T37" fmla="*/ 23 h 29"/>
                  <a:gd name="T38" fmla="*/ 30 w 62"/>
                  <a:gd name="T39" fmla="*/ 21 h 29"/>
                  <a:gd name="T40" fmla="*/ 26 w 62"/>
                  <a:gd name="T41" fmla="*/ 21 h 29"/>
                  <a:gd name="T42" fmla="*/ 19 w 62"/>
                  <a:gd name="T43" fmla="*/ 25 h 29"/>
                  <a:gd name="T44" fmla="*/ 15 w 62"/>
                  <a:gd name="T45" fmla="*/ 29 h 29"/>
                  <a:gd name="T46" fmla="*/ 11 w 62"/>
                  <a:gd name="T47" fmla="*/ 29 h 29"/>
                  <a:gd name="T48" fmla="*/ 6 w 62"/>
                  <a:gd name="T49" fmla="*/ 27 h 29"/>
                  <a:gd name="T50" fmla="*/ 0 w 62"/>
                  <a:gd name="T51" fmla="*/ 25 h 29"/>
                  <a:gd name="T52" fmla="*/ 0 w 62"/>
                  <a:gd name="T53" fmla="*/ 19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11" y="12"/>
                    </a:lnTo>
                    <a:lnTo>
                      <a:pt x="19" y="4"/>
                    </a:lnTo>
                    <a:lnTo>
                      <a:pt x="23" y="2"/>
                    </a:lnTo>
                    <a:lnTo>
                      <a:pt x="28" y="4"/>
                    </a:lnTo>
                    <a:lnTo>
                      <a:pt x="34" y="2"/>
                    </a:lnTo>
                    <a:lnTo>
                      <a:pt x="45" y="0"/>
                    </a:lnTo>
                    <a:lnTo>
                      <a:pt x="49" y="2"/>
                    </a:lnTo>
                    <a:lnTo>
                      <a:pt x="53" y="6"/>
                    </a:lnTo>
                    <a:lnTo>
                      <a:pt x="55" y="10"/>
                    </a:lnTo>
                    <a:lnTo>
                      <a:pt x="55" y="17"/>
                    </a:lnTo>
                    <a:lnTo>
                      <a:pt x="58" y="21"/>
                    </a:lnTo>
                    <a:lnTo>
                      <a:pt x="62" y="23"/>
                    </a:lnTo>
                    <a:lnTo>
                      <a:pt x="62" y="29"/>
                    </a:lnTo>
                    <a:lnTo>
                      <a:pt x="58" y="25"/>
                    </a:lnTo>
                    <a:lnTo>
                      <a:pt x="53" y="21"/>
                    </a:lnTo>
                    <a:lnTo>
                      <a:pt x="51" y="25"/>
                    </a:lnTo>
                    <a:lnTo>
                      <a:pt x="45" y="27"/>
                    </a:lnTo>
                    <a:lnTo>
                      <a:pt x="36" y="23"/>
                    </a:lnTo>
                    <a:lnTo>
                      <a:pt x="30" y="21"/>
                    </a:lnTo>
                    <a:lnTo>
                      <a:pt x="26" y="21"/>
                    </a:lnTo>
                    <a:lnTo>
                      <a:pt x="19" y="25"/>
                    </a:lnTo>
                    <a:lnTo>
                      <a:pt x="15" y="29"/>
                    </a:lnTo>
                    <a:lnTo>
                      <a:pt x="11" y="29"/>
                    </a:lnTo>
                    <a:lnTo>
                      <a:pt x="6" y="27"/>
                    </a:lnTo>
                    <a:lnTo>
                      <a:pt x="0" y="25"/>
                    </a:lnTo>
                    <a:lnTo>
                      <a:pt x="0" y="19"/>
                    </a:lnTo>
                    <a:lnTo>
                      <a:pt x="2"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6" name="Freeform 1184"/>
              <p:cNvSpPr>
                <a:spLocks/>
              </p:cNvSpPr>
              <p:nvPr/>
            </p:nvSpPr>
            <p:spPr bwMode="auto">
              <a:xfrm>
                <a:off x="423" y="3934"/>
                <a:ext cx="62" cy="29"/>
              </a:xfrm>
              <a:custGeom>
                <a:avLst/>
                <a:gdLst>
                  <a:gd name="T0" fmla="*/ 2 w 62"/>
                  <a:gd name="T1" fmla="*/ 15 h 29"/>
                  <a:gd name="T2" fmla="*/ 11 w 62"/>
                  <a:gd name="T3" fmla="*/ 12 h 29"/>
                  <a:gd name="T4" fmla="*/ 19 w 62"/>
                  <a:gd name="T5" fmla="*/ 4 h 29"/>
                  <a:gd name="T6" fmla="*/ 23 w 62"/>
                  <a:gd name="T7" fmla="*/ 2 h 29"/>
                  <a:gd name="T8" fmla="*/ 28 w 62"/>
                  <a:gd name="T9" fmla="*/ 4 h 29"/>
                  <a:gd name="T10" fmla="*/ 34 w 62"/>
                  <a:gd name="T11" fmla="*/ 2 h 29"/>
                  <a:gd name="T12" fmla="*/ 45 w 62"/>
                  <a:gd name="T13" fmla="*/ 0 h 29"/>
                  <a:gd name="T14" fmla="*/ 49 w 62"/>
                  <a:gd name="T15" fmla="*/ 2 h 29"/>
                  <a:gd name="T16" fmla="*/ 53 w 62"/>
                  <a:gd name="T17" fmla="*/ 6 h 29"/>
                  <a:gd name="T18" fmla="*/ 55 w 62"/>
                  <a:gd name="T19" fmla="*/ 10 h 29"/>
                  <a:gd name="T20" fmla="*/ 55 w 62"/>
                  <a:gd name="T21" fmla="*/ 17 h 29"/>
                  <a:gd name="T22" fmla="*/ 58 w 62"/>
                  <a:gd name="T23" fmla="*/ 21 h 29"/>
                  <a:gd name="T24" fmla="*/ 62 w 62"/>
                  <a:gd name="T25" fmla="*/ 23 h 29"/>
                  <a:gd name="T26" fmla="*/ 62 w 62"/>
                  <a:gd name="T27" fmla="*/ 29 h 29"/>
                  <a:gd name="T28" fmla="*/ 58 w 62"/>
                  <a:gd name="T29" fmla="*/ 25 h 29"/>
                  <a:gd name="T30" fmla="*/ 53 w 62"/>
                  <a:gd name="T31" fmla="*/ 21 h 29"/>
                  <a:gd name="T32" fmla="*/ 51 w 62"/>
                  <a:gd name="T33" fmla="*/ 25 h 29"/>
                  <a:gd name="T34" fmla="*/ 45 w 62"/>
                  <a:gd name="T35" fmla="*/ 27 h 29"/>
                  <a:gd name="T36" fmla="*/ 36 w 62"/>
                  <a:gd name="T37" fmla="*/ 23 h 29"/>
                  <a:gd name="T38" fmla="*/ 30 w 62"/>
                  <a:gd name="T39" fmla="*/ 21 h 29"/>
                  <a:gd name="T40" fmla="*/ 26 w 62"/>
                  <a:gd name="T41" fmla="*/ 21 h 29"/>
                  <a:gd name="T42" fmla="*/ 19 w 62"/>
                  <a:gd name="T43" fmla="*/ 25 h 29"/>
                  <a:gd name="T44" fmla="*/ 15 w 62"/>
                  <a:gd name="T45" fmla="*/ 29 h 29"/>
                  <a:gd name="T46" fmla="*/ 11 w 62"/>
                  <a:gd name="T47" fmla="*/ 29 h 29"/>
                  <a:gd name="T48" fmla="*/ 6 w 62"/>
                  <a:gd name="T49" fmla="*/ 27 h 29"/>
                  <a:gd name="T50" fmla="*/ 0 w 62"/>
                  <a:gd name="T51" fmla="*/ 25 h 29"/>
                  <a:gd name="T52" fmla="*/ 0 w 62"/>
                  <a:gd name="T53" fmla="*/ 19 h 29"/>
                  <a:gd name="T54" fmla="*/ 2 w 62"/>
                  <a:gd name="T55" fmla="*/ 1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2" h="29">
                    <a:moveTo>
                      <a:pt x="2" y="15"/>
                    </a:moveTo>
                    <a:lnTo>
                      <a:pt x="11" y="12"/>
                    </a:lnTo>
                    <a:lnTo>
                      <a:pt x="19" y="4"/>
                    </a:lnTo>
                    <a:lnTo>
                      <a:pt x="23" y="2"/>
                    </a:lnTo>
                    <a:lnTo>
                      <a:pt x="28" y="4"/>
                    </a:lnTo>
                    <a:lnTo>
                      <a:pt x="34" y="2"/>
                    </a:lnTo>
                    <a:lnTo>
                      <a:pt x="45" y="0"/>
                    </a:lnTo>
                    <a:lnTo>
                      <a:pt x="49" y="2"/>
                    </a:lnTo>
                    <a:lnTo>
                      <a:pt x="53" y="6"/>
                    </a:lnTo>
                    <a:lnTo>
                      <a:pt x="55" y="10"/>
                    </a:lnTo>
                    <a:lnTo>
                      <a:pt x="55" y="17"/>
                    </a:lnTo>
                    <a:lnTo>
                      <a:pt x="58" y="21"/>
                    </a:lnTo>
                    <a:lnTo>
                      <a:pt x="62" y="23"/>
                    </a:lnTo>
                    <a:lnTo>
                      <a:pt x="62" y="29"/>
                    </a:lnTo>
                    <a:lnTo>
                      <a:pt x="58" y="25"/>
                    </a:lnTo>
                    <a:lnTo>
                      <a:pt x="53" y="21"/>
                    </a:lnTo>
                    <a:lnTo>
                      <a:pt x="51" y="25"/>
                    </a:lnTo>
                    <a:lnTo>
                      <a:pt x="45" y="27"/>
                    </a:lnTo>
                    <a:lnTo>
                      <a:pt x="36" y="23"/>
                    </a:lnTo>
                    <a:lnTo>
                      <a:pt x="30" y="21"/>
                    </a:lnTo>
                    <a:lnTo>
                      <a:pt x="26" y="21"/>
                    </a:lnTo>
                    <a:lnTo>
                      <a:pt x="19" y="25"/>
                    </a:lnTo>
                    <a:lnTo>
                      <a:pt x="15" y="29"/>
                    </a:lnTo>
                    <a:lnTo>
                      <a:pt x="11" y="29"/>
                    </a:lnTo>
                    <a:lnTo>
                      <a:pt x="6" y="27"/>
                    </a:lnTo>
                    <a:lnTo>
                      <a:pt x="0" y="25"/>
                    </a:lnTo>
                    <a:lnTo>
                      <a:pt x="0" y="19"/>
                    </a:lnTo>
                    <a:lnTo>
                      <a:pt x="2" y="1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7" name="Freeform 1185"/>
              <p:cNvSpPr>
                <a:spLocks/>
              </p:cNvSpPr>
              <p:nvPr/>
            </p:nvSpPr>
            <p:spPr bwMode="auto">
              <a:xfrm>
                <a:off x="491" y="3974"/>
                <a:ext cx="7" cy="9"/>
              </a:xfrm>
              <a:custGeom>
                <a:avLst/>
                <a:gdLst>
                  <a:gd name="T0" fmla="*/ 2 w 7"/>
                  <a:gd name="T1" fmla="*/ 2 h 9"/>
                  <a:gd name="T2" fmla="*/ 7 w 7"/>
                  <a:gd name="T3" fmla="*/ 4 h 9"/>
                  <a:gd name="T4" fmla="*/ 4 w 7"/>
                  <a:gd name="T5" fmla="*/ 9 h 9"/>
                  <a:gd name="T6" fmla="*/ 0 w 7"/>
                  <a:gd name="T7" fmla="*/ 6 h 9"/>
                  <a:gd name="T8" fmla="*/ 0 w 7"/>
                  <a:gd name="T9" fmla="*/ 0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7" y="4"/>
                    </a:lnTo>
                    <a:lnTo>
                      <a:pt x="4" y="9"/>
                    </a:lnTo>
                    <a:lnTo>
                      <a:pt x="0" y="6"/>
                    </a:lnTo>
                    <a:lnTo>
                      <a:pt x="0"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78" name="Freeform 1186"/>
              <p:cNvSpPr>
                <a:spLocks/>
              </p:cNvSpPr>
              <p:nvPr/>
            </p:nvSpPr>
            <p:spPr bwMode="auto">
              <a:xfrm>
                <a:off x="491" y="3974"/>
                <a:ext cx="7" cy="9"/>
              </a:xfrm>
              <a:custGeom>
                <a:avLst/>
                <a:gdLst>
                  <a:gd name="T0" fmla="*/ 2 w 7"/>
                  <a:gd name="T1" fmla="*/ 2 h 9"/>
                  <a:gd name="T2" fmla="*/ 7 w 7"/>
                  <a:gd name="T3" fmla="*/ 4 h 9"/>
                  <a:gd name="T4" fmla="*/ 4 w 7"/>
                  <a:gd name="T5" fmla="*/ 9 h 9"/>
                  <a:gd name="T6" fmla="*/ 0 w 7"/>
                  <a:gd name="T7" fmla="*/ 6 h 9"/>
                  <a:gd name="T8" fmla="*/ 0 w 7"/>
                  <a:gd name="T9" fmla="*/ 0 h 9"/>
                  <a:gd name="T10" fmla="*/ 2 w 7"/>
                  <a:gd name="T11" fmla="*/ 2 h 9"/>
                </a:gdLst>
                <a:ahLst/>
                <a:cxnLst>
                  <a:cxn ang="0">
                    <a:pos x="T0" y="T1"/>
                  </a:cxn>
                  <a:cxn ang="0">
                    <a:pos x="T2" y="T3"/>
                  </a:cxn>
                  <a:cxn ang="0">
                    <a:pos x="T4" y="T5"/>
                  </a:cxn>
                  <a:cxn ang="0">
                    <a:pos x="T6" y="T7"/>
                  </a:cxn>
                  <a:cxn ang="0">
                    <a:pos x="T8" y="T9"/>
                  </a:cxn>
                  <a:cxn ang="0">
                    <a:pos x="T10" y="T11"/>
                  </a:cxn>
                </a:cxnLst>
                <a:rect l="0" t="0" r="r" b="b"/>
                <a:pathLst>
                  <a:path w="7" h="9">
                    <a:moveTo>
                      <a:pt x="2" y="2"/>
                    </a:moveTo>
                    <a:lnTo>
                      <a:pt x="7" y="4"/>
                    </a:lnTo>
                    <a:lnTo>
                      <a:pt x="4" y="9"/>
                    </a:lnTo>
                    <a:lnTo>
                      <a:pt x="0" y="6"/>
                    </a:lnTo>
                    <a:lnTo>
                      <a:pt x="0" y="0"/>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79" name="Freeform 1187"/>
              <p:cNvSpPr>
                <a:spLocks/>
              </p:cNvSpPr>
              <p:nvPr/>
            </p:nvSpPr>
            <p:spPr bwMode="auto">
              <a:xfrm>
                <a:off x="510" y="3953"/>
                <a:ext cx="7" cy="4"/>
              </a:xfrm>
              <a:custGeom>
                <a:avLst/>
                <a:gdLst>
                  <a:gd name="T0" fmla="*/ 7 w 7"/>
                  <a:gd name="T1" fmla="*/ 0 h 4"/>
                  <a:gd name="T2" fmla="*/ 5 w 7"/>
                  <a:gd name="T3" fmla="*/ 4 h 4"/>
                  <a:gd name="T4" fmla="*/ 0 w 7"/>
                  <a:gd name="T5" fmla="*/ 4 h 4"/>
                  <a:gd name="T6" fmla="*/ 3 w 7"/>
                  <a:gd name="T7" fmla="*/ 0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5" y="4"/>
                    </a:lnTo>
                    <a:lnTo>
                      <a:pt x="0" y="4"/>
                    </a:lnTo>
                    <a:lnTo>
                      <a:pt x="3"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0" name="Freeform 1188"/>
              <p:cNvSpPr>
                <a:spLocks/>
              </p:cNvSpPr>
              <p:nvPr/>
            </p:nvSpPr>
            <p:spPr bwMode="auto">
              <a:xfrm>
                <a:off x="510" y="3953"/>
                <a:ext cx="7" cy="4"/>
              </a:xfrm>
              <a:custGeom>
                <a:avLst/>
                <a:gdLst>
                  <a:gd name="T0" fmla="*/ 7 w 7"/>
                  <a:gd name="T1" fmla="*/ 0 h 4"/>
                  <a:gd name="T2" fmla="*/ 5 w 7"/>
                  <a:gd name="T3" fmla="*/ 4 h 4"/>
                  <a:gd name="T4" fmla="*/ 0 w 7"/>
                  <a:gd name="T5" fmla="*/ 4 h 4"/>
                  <a:gd name="T6" fmla="*/ 3 w 7"/>
                  <a:gd name="T7" fmla="*/ 0 h 4"/>
                  <a:gd name="T8" fmla="*/ 7 w 7"/>
                  <a:gd name="T9" fmla="*/ 0 h 4"/>
                </a:gdLst>
                <a:ahLst/>
                <a:cxnLst>
                  <a:cxn ang="0">
                    <a:pos x="T0" y="T1"/>
                  </a:cxn>
                  <a:cxn ang="0">
                    <a:pos x="T2" y="T3"/>
                  </a:cxn>
                  <a:cxn ang="0">
                    <a:pos x="T4" y="T5"/>
                  </a:cxn>
                  <a:cxn ang="0">
                    <a:pos x="T6" y="T7"/>
                  </a:cxn>
                  <a:cxn ang="0">
                    <a:pos x="T8" y="T9"/>
                  </a:cxn>
                </a:cxnLst>
                <a:rect l="0" t="0" r="r" b="b"/>
                <a:pathLst>
                  <a:path w="7" h="4">
                    <a:moveTo>
                      <a:pt x="7" y="0"/>
                    </a:moveTo>
                    <a:lnTo>
                      <a:pt x="5" y="4"/>
                    </a:lnTo>
                    <a:lnTo>
                      <a:pt x="0" y="4"/>
                    </a:lnTo>
                    <a:lnTo>
                      <a:pt x="3" y="0"/>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1" name="Rectangle 1189"/>
              <p:cNvSpPr>
                <a:spLocks noChangeArrowheads="1"/>
              </p:cNvSpPr>
              <p:nvPr/>
            </p:nvSpPr>
            <p:spPr bwMode="auto">
              <a:xfrm>
                <a:off x="640" y="3463"/>
                <a:ext cx="5" cy="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2" name="Rectangle 1190"/>
              <p:cNvSpPr>
                <a:spLocks noChangeArrowheads="1"/>
              </p:cNvSpPr>
              <p:nvPr/>
            </p:nvSpPr>
            <p:spPr bwMode="auto">
              <a:xfrm>
                <a:off x="640" y="3463"/>
                <a:ext cx="5" cy="4"/>
              </a:xfrm>
              <a:prstGeom prst="rect">
                <a:avLst/>
              </a:pr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3" name="Freeform 1191"/>
              <p:cNvSpPr>
                <a:spLocks/>
              </p:cNvSpPr>
              <p:nvPr/>
            </p:nvSpPr>
            <p:spPr bwMode="auto">
              <a:xfrm>
                <a:off x="534" y="3946"/>
                <a:ext cx="2" cy="7"/>
              </a:xfrm>
              <a:custGeom>
                <a:avLst/>
                <a:gdLst>
                  <a:gd name="T0" fmla="*/ 2 w 2"/>
                  <a:gd name="T1" fmla="*/ 0 h 7"/>
                  <a:gd name="T2" fmla="*/ 2 w 2"/>
                  <a:gd name="T3" fmla="*/ 7 h 7"/>
                  <a:gd name="T4" fmla="*/ 0 w 2"/>
                  <a:gd name="T5" fmla="*/ 0 h 7"/>
                  <a:gd name="T6" fmla="*/ 2 w 2"/>
                  <a:gd name="T7" fmla="*/ 0 h 7"/>
                </a:gdLst>
                <a:ahLst/>
                <a:cxnLst>
                  <a:cxn ang="0">
                    <a:pos x="T0" y="T1"/>
                  </a:cxn>
                  <a:cxn ang="0">
                    <a:pos x="T2" y="T3"/>
                  </a:cxn>
                  <a:cxn ang="0">
                    <a:pos x="T4" y="T5"/>
                  </a:cxn>
                  <a:cxn ang="0">
                    <a:pos x="T6" y="T7"/>
                  </a:cxn>
                </a:cxnLst>
                <a:rect l="0" t="0" r="r" b="b"/>
                <a:pathLst>
                  <a:path w="2" h="7">
                    <a:moveTo>
                      <a:pt x="2" y="0"/>
                    </a:moveTo>
                    <a:lnTo>
                      <a:pt x="2" y="7"/>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4" name="Freeform 1192"/>
              <p:cNvSpPr>
                <a:spLocks/>
              </p:cNvSpPr>
              <p:nvPr/>
            </p:nvSpPr>
            <p:spPr bwMode="auto">
              <a:xfrm>
                <a:off x="534" y="3946"/>
                <a:ext cx="2" cy="7"/>
              </a:xfrm>
              <a:custGeom>
                <a:avLst/>
                <a:gdLst>
                  <a:gd name="T0" fmla="*/ 2 w 2"/>
                  <a:gd name="T1" fmla="*/ 0 h 7"/>
                  <a:gd name="T2" fmla="*/ 2 w 2"/>
                  <a:gd name="T3" fmla="*/ 7 h 7"/>
                  <a:gd name="T4" fmla="*/ 0 w 2"/>
                  <a:gd name="T5" fmla="*/ 0 h 7"/>
                  <a:gd name="T6" fmla="*/ 2 w 2"/>
                  <a:gd name="T7" fmla="*/ 0 h 7"/>
                </a:gdLst>
                <a:ahLst/>
                <a:cxnLst>
                  <a:cxn ang="0">
                    <a:pos x="T0" y="T1"/>
                  </a:cxn>
                  <a:cxn ang="0">
                    <a:pos x="T2" y="T3"/>
                  </a:cxn>
                  <a:cxn ang="0">
                    <a:pos x="T4" y="T5"/>
                  </a:cxn>
                  <a:cxn ang="0">
                    <a:pos x="T6" y="T7"/>
                  </a:cxn>
                </a:cxnLst>
                <a:rect l="0" t="0" r="r" b="b"/>
                <a:pathLst>
                  <a:path w="2" h="7">
                    <a:moveTo>
                      <a:pt x="2" y="0"/>
                    </a:moveTo>
                    <a:lnTo>
                      <a:pt x="2" y="7"/>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5" name="Freeform 1193"/>
              <p:cNvSpPr>
                <a:spLocks/>
              </p:cNvSpPr>
              <p:nvPr/>
            </p:nvSpPr>
            <p:spPr bwMode="auto">
              <a:xfrm>
                <a:off x="606" y="3748"/>
                <a:ext cx="11" cy="11"/>
              </a:xfrm>
              <a:custGeom>
                <a:avLst/>
                <a:gdLst>
                  <a:gd name="T0" fmla="*/ 0 w 11"/>
                  <a:gd name="T1" fmla="*/ 7 h 11"/>
                  <a:gd name="T2" fmla="*/ 7 w 11"/>
                  <a:gd name="T3" fmla="*/ 2 h 11"/>
                  <a:gd name="T4" fmla="*/ 11 w 11"/>
                  <a:gd name="T5" fmla="*/ 0 h 11"/>
                  <a:gd name="T6" fmla="*/ 9 w 11"/>
                  <a:gd name="T7" fmla="*/ 7 h 11"/>
                  <a:gd name="T8" fmla="*/ 7 w 11"/>
                  <a:gd name="T9" fmla="*/ 11 h 11"/>
                  <a:gd name="T10" fmla="*/ 0 w 11"/>
                  <a:gd name="T11" fmla="*/ 11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7" y="2"/>
                    </a:lnTo>
                    <a:lnTo>
                      <a:pt x="11" y="0"/>
                    </a:lnTo>
                    <a:lnTo>
                      <a:pt x="9" y="7"/>
                    </a:lnTo>
                    <a:lnTo>
                      <a:pt x="7" y="11"/>
                    </a:lnTo>
                    <a:lnTo>
                      <a:pt x="0" y="11"/>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6" name="Freeform 1194"/>
              <p:cNvSpPr>
                <a:spLocks/>
              </p:cNvSpPr>
              <p:nvPr/>
            </p:nvSpPr>
            <p:spPr bwMode="auto">
              <a:xfrm>
                <a:off x="606" y="3748"/>
                <a:ext cx="11" cy="11"/>
              </a:xfrm>
              <a:custGeom>
                <a:avLst/>
                <a:gdLst>
                  <a:gd name="T0" fmla="*/ 0 w 11"/>
                  <a:gd name="T1" fmla="*/ 7 h 11"/>
                  <a:gd name="T2" fmla="*/ 7 w 11"/>
                  <a:gd name="T3" fmla="*/ 2 h 11"/>
                  <a:gd name="T4" fmla="*/ 11 w 11"/>
                  <a:gd name="T5" fmla="*/ 0 h 11"/>
                  <a:gd name="T6" fmla="*/ 9 w 11"/>
                  <a:gd name="T7" fmla="*/ 7 h 11"/>
                  <a:gd name="T8" fmla="*/ 7 w 11"/>
                  <a:gd name="T9" fmla="*/ 11 h 11"/>
                  <a:gd name="T10" fmla="*/ 0 w 11"/>
                  <a:gd name="T11" fmla="*/ 11 h 11"/>
                  <a:gd name="T12" fmla="*/ 0 w 11"/>
                  <a:gd name="T13" fmla="*/ 7 h 11"/>
                </a:gdLst>
                <a:ahLst/>
                <a:cxnLst>
                  <a:cxn ang="0">
                    <a:pos x="T0" y="T1"/>
                  </a:cxn>
                  <a:cxn ang="0">
                    <a:pos x="T2" y="T3"/>
                  </a:cxn>
                  <a:cxn ang="0">
                    <a:pos x="T4" y="T5"/>
                  </a:cxn>
                  <a:cxn ang="0">
                    <a:pos x="T6" y="T7"/>
                  </a:cxn>
                  <a:cxn ang="0">
                    <a:pos x="T8" y="T9"/>
                  </a:cxn>
                  <a:cxn ang="0">
                    <a:pos x="T10" y="T11"/>
                  </a:cxn>
                  <a:cxn ang="0">
                    <a:pos x="T12" y="T13"/>
                  </a:cxn>
                </a:cxnLst>
                <a:rect l="0" t="0" r="r" b="b"/>
                <a:pathLst>
                  <a:path w="11" h="11">
                    <a:moveTo>
                      <a:pt x="0" y="7"/>
                    </a:moveTo>
                    <a:lnTo>
                      <a:pt x="7" y="2"/>
                    </a:lnTo>
                    <a:lnTo>
                      <a:pt x="11" y="0"/>
                    </a:lnTo>
                    <a:lnTo>
                      <a:pt x="9" y="7"/>
                    </a:lnTo>
                    <a:lnTo>
                      <a:pt x="7" y="11"/>
                    </a:lnTo>
                    <a:lnTo>
                      <a:pt x="0" y="11"/>
                    </a:lnTo>
                    <a:lnTo>
                      <a:pt x="0" y="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7" name="Freeform 1195"/>
              <p:cNvSpPr>
                <a:spLocks/>
              </p:cNvSpPr>
              <p:nvPr/>
            </p:nvSpPr>
            <p:spPr bwMode="auto">
              <a:xfrm>
                <a:off x="566" y="3942"/>
                <a:ext cx="13" cy="15"/>
              </a:xfrm>
              <a:custGeom>
                <a:avLst/>
                <a:gdLst>
                  <a:gd name="T0" fmla="*/ 8 w 13"/>
                  <a:gd name="T1" fmla="*/ 0 h 15"/>
                  <a:gd name="T2" fmla="*/ 6 w 13"/>
                  <a:gd name="T3" fmla="*/ 4 h 15"/>
                  <a:gd name="T4" fmla="*/ 13 w 13"/>
                  <a:gd name="T5" fmla="*/ 2 h 15"/>
                  <a:gd name="T6" fmla="*/ 8 w 13"/>
                  <a:gd name="T7" fmla="*/ 7 h 15"/>
                  <a:gd name="T8" fmla="*/ 10 w 13"/>
                  <a:gd name="T9" fmla="*/ 11 h 15"/>
                  <a:gd name="T10" fmla="*/ 0 w 13"/>
                  <a:gd name="T11" fmla="*/ 15 h 15"/>
                  <a:gd name="T12" fmla="*/ 0 w 13"/>
                  <a:gd name="T13" fmla="*/ 9 h 15"/>
                  <a:gd name="T14" fmla="*/ 0 w 13"/>
                  <a:gd name="T15" fmla="*/ 4 h 15"/>
                  <a:gd name="T16" fmla="*/ 4 w 13"/>
                  <a:gd name="T17" fmla="*/ 0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6" y="4"/>
                    </a:lnTo>
                    <a:lnTo>
                      <a:pt x="13" y="2"/>
                    </a:lnTo>
                    <a:lnTo>
                      <a:pt x="8" y="7"/>
                    </a:lnTo>
                    <a:lnTo>
                      <a:pt x="10" y="11"/>
                    </a:lnTo>
                    <a:lnTo>
                      <a:pt x="0" y="15"/>
                    </a:lnTo>
                    <a:lnTo>
                      <a:pt x="0" y="9"/>
                    </a:lnTo>
                    <a:lnTo>
                      <a:pt x="0" y="4"/>
                    </a:lnTo>
                    <a:lnTo>
                      <a:pt x="4" y="0"/>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88" name="Freeform 1196"/>
              <p:cNvSpPr>
                <a:spLocks/>
              </p:cNvSpPr>
              <p:nvPr/>
            </p:nvSpPr>
            <p:spPr bwMode="auto">
              <a:xfrm>
                <a:off x="566" y="3942"/>
                <a:ext cx="13" cy="15"/>
              </a:xfrm>
              <a:custGeom>
                <a:avLst/>
                <a:gdLst>
                  <a:gd name="T0" fmla="*/ 8 w 13"/>
                  <a:gd name="T1" fmla="*/ 0 h 15"/>
                  <a:gd name="T2" fmla="*/ 6 w 13"/>
                  <a:gd name="T3" fmla="*/ 4 h 15"/>
                  <a:gd name="T4" fmla="*/ 13 w 13"/>
                  <a:gd name="T5" fmla="*/ 2 h 15"/>
                  <a:gd name="T6" fmla="*/ 8 w 13"/>
                  <a:gd name="T7" fmla="*/ 7 h 15"/>
                  <a:gd name="T8" fmla="*/ 10 w 13"/>
                  <a:gd name="T9" fmla="*/ 11 h 15"/>
                  <a:gd name="T10" fmla="*/ 0 w 13"/>
                  <a:gd name="T11" fmla="*/ 15 h 15"/>
                  <a:gd name="T12" fmla="*/ 0 w 13"/>
                  <a:gd name="T13" fmla="*/ 9 h 15"/>
                  <a:gd name="T14" fmla="*/ 0 w 13"/>
                  <a:gd name="T15" fmla="*/ 4 h 15"/>
                  <a:gd name="T16" fmla="*/ 4 w 13"/>
                  <a:gd name="T17" fmla="*/ 0 h 15"/>
                  <a:gd name="T18" fmla="*/ 8 w 13"/>
                  <a:gd name="T19" fmla="*/ 0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15">
                    <a:moveTo>
                      <a:pt x="8" y="0"/>
                    </a:moveTo>
                    <a:lnTo>
                      <a:pt x="6" y="4"/>
                    </a:lnTo>
                    <a:lnTo>
                      <a:pt x="13" y="2"/>
                    </a:lnTo>
                    <a:lnTo>
                      <a:pt x="8" y="7"/>
                    </a:lnTo>
                    <a:lnTo>
                      <a:pt x="10" y="11"/>
                    </a:lnTo>
                    <a:lnTo>
                      <a:pt x="0" y="15"/>
                    </a:lnTo>
                    <a:lnTo>
                      <a:pt x="0" y="9"/>
                    </a:lnTo>
                    <a:lnTo>
                      <a:pt x="0" y="4"/>
                    </a:lnTo>
                    <a:lnTo>
                      <a:pt x="4" y="0"/>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89" name="Freeform 1197"/>
              <p:cNvSpPr>
                <a:spLocks/>
              </p:cNvSpPr>
              <p:nvPr/>
            </p:nvSpPr>
            <p:spPr bwMode="auto">
              <a:xfrm>
                <a:off x="579" y="3946"/>
                <a:ext cx="6" cy="7"/>
              </a:xfrm>
              <a:custGeom>
                <a:avLst/>
                <a:gdLst>
                  <a:gd name="T0" fmla="*/ 6 w 6"/>
                  <a:gd name="T1" fmla="*/ 0 h 7"/>
                  <a:gd name="T2" fmla="*/ 4 w 6"/>
                  <a:gd name="T3" fmla="*/ 7 h 7"/>
                  <a:gd name="T4" fmla="*/ 0 w 6"/>
                  <a:gd name="T5" fmla="*/ 3 h 7"/>
                  <a:gd name="T6" fmla="*/ 6 w 6"/>
                  <a:gd name="T7" fmla="*/ 0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4" y="7"/>
                    </a:lnTo>
                    <a:lnTo>
                      <a:pt x="0" y="3"/>
                    </a:lnTo>
                    <a:lnTo>
                      <a:pt x="6"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0" name="Freeform 1198"/>
              <p:cNvSpPr>
                <a:spLocks/>
              </p:cNvSpPr>
              <p:nvPr/>
            </p:nvSpPr>
            <p:spPr bwMode="auto">
              <a:xfrm>
                <a:off x="579" y="3946"/>
                <a:ext cx="6" cy="7"/>
              </a:xfrm>
              <a:custGeom>
                <a:avLst/>
                <a:gdLst>
                  <a:gd name="T0" fmla="*/ 6 w 6"/>
                  <a:gd name="T1" fmla="*/ 0 h 7"/>
                  <a:gd name="T2" fmla="*/ 4 w 6"/>
                  <a:gd name="T3" fmla="*/ 7 h 7"/>
                  <a:gd name="T4" fmla="*/ 0 w 6"/>
                  <a:gd name="T5" fmla="*/ 3 h 7"/>
                  <a:gd name="T6" fmla="*/ 6 w 6"/>
                  <a:gd name="T7" fmla="*/ 0 h 7"/>
                  <a:gd name="T8" fmla="*/ 6 w 6"/>
                  <a:gd name="T9" fmla="*/ 0 h 7"/>
                </a:gdLst>
                <a:ahLst/>
                <a:cxnLst>
                  <a:cxn ang="0">
                    <a:pos x="T0" y="T1"/>
                  </a:cxn>
                  <a:cxn ang="0">
                    <a:pos x="T2" y="T3"/>
                  </a:cxn>
                  <a:cxn ang="0">
                    <a:pos x="T4" y="T5"/>
                  </a:cxn>
                  <a:cxn ang="0">
                    <a:pos x="T6" y="T7"/>
                  </a:cxn>
                  <a:cxn ang="0">
                    <a:pos x="T8" y="T9"/>
                  </a:cxn>
                </a:cxnLst>
                <a:rect l="0" t="0" r="r" b="b"/>
                <a:pathLst>
                  <a:path w="6" h="7">
                    <a:moveTo>
                      <a:pt x="6" y="0"/>
                    </a:moveTo>
                    <a:lnTo>
                      <a:pt x="4" y="7"/>
                    </a:lnTo>
                    <a:lnTo>
                      <a:pt x="0" y="3"/>
                    </a:lnTo>
                    <a:lnTo>
                      <a:pt x="6" y="0"/>
                    </a:lnTo>
                    <a:lnTo>
                      <a:pt x="6"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1" name="Freeform 1199"/>
              <p:cNvSpPr>
                <a:spLocks/>
              </p:cNvSpPr>
              <p:nvPr/>
            </p:nvSpPr>
            <p:spPr bwMode="auto">
              <a:xfrm>
                <a:off x="583" y="3955"/>
                <a:ext cx="15" cy="19"/>
              </a:xfrm>
              <a:custGeom>
                <a:avLst/>
                <a:gdLst>
                  <a:gd name="T0" fmla="*/ 8 w 15"/>
                  <a:gd name="T1" fmla="*/ 11 h 19"/>
                  <a:gd name="T2" fmla="*/ 0 w 15"/>
                  <a:gd name="T3" fmla="*/ 19 h 19"/>
                  <a:gd name="T4" fmla="*/ 2 w 15"/>
                  <a:gd name="T5" fmla="*/ 15 h 19"/>
                  <a:gd name="T6" fmla="*/ 4 w 15"/>
                  <a:gd name="T7" fmla="*/ 8 h 19"/>
                  <a:gd name="T8" fmla="*/ 6 w 15"/>
                  <a:gd name="T9" fmla="*/ 4 h 19"/>
                  <a:gd name="T10" fmla="*/ 10 w 15"/>
                  <a:gd name="T11" fmla="*/ 4 h 19"/>
                  <a:gd name="T12" fmla="*/ 15 w 15"/>
                  <a:gd name="T13" fmla="*/ 0 h 19"/>
                  <a:gd name="T14" fmla="*/ 13 w 15"/>
                  <a:gd name="T15" fmla="*/ 4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0" y="19"/>
                    </a:lnTo>
                    <a:lnTo>
                      <a:pt x="2" y="15"/>
                    </a:lnTo>
                    <a:lnTo>
                      <a:pt x="4" y="8"/>
                    </a:lnTo>
                    <a:lnTo>
                      <a:pt x="6" y="4"/>
                    </a:lnTo>
                    <a:lnTo>
                      <a:pt x="10" y="4"/>
                    </a:lnTo>
                    <a:lnTo>
                      <a:pt x="15" y="0"/>
                    </a:lnTo>
                    <a:lnTo>
                      <a:pt x="13" y="4"/>
                    </a:lnTo>
                    <a:lnTo>
                      <a:pt x="8" y="1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2" name="Freeform 1200"/>
              <p:cNvSpPr>
                <a:spLocks/>
              </p:cNvSpPr>
              <p:nvPr/>
            </p:nvSpPr>
            <p:spPr bwMode="auto">
              <a:xfrm>
                <a:off x="583" y="3955"/>
                <a:ext cx="15" cy="19"/>
              </a:xfrm>
              <a:custGeom>
                <a:avLst/>
                <a:gdLst>
                  <a:gd name="T0" fmla="*/ 8 w 15"/>
                  <a:gd name="T1" fmla="*/ 11 h 19"/>
                  <a:gd name="T2" fmla="*/ 0 w 15"/>
                  <a:gd name="T3" fmla="*/ 19 h 19"/>
                  <a:gd name="T4" fmla="*/ 2 w 15"/>
                  <a:gd name="T5" fmla="*/ 15 h 19"/>
                  <a:gd name="T6" fmla="*/ 4 w 15"/>
                  <a:gd name="T7" fmla="*/ 8 h 19"/>
                  <a:gd name="T8" fmla="*/ 6 w 15"/>
                  <a:gd name="T9" fmla="*/ 4 h 19"/>
                  <a:gd name="T10" fmla="*/ 10 w 15"/>
                  <a:gd name="T11" fmla="*/ 4 h 19"/>
                  <a:gd name="T12" fmla="*/ 15 w 15"/>
                  <a:gd name="T13" fmla="*/ 0 h 19"/>
                  <a:gd name="T14" fmla="*/ 13 w 15"/>
                  <a:gd name="T15" fmla="*/ 4 h 19"/>
                  <a:gd name="T16" fmla="*/ 8 w 15"/>
                  <a:gd name="T17" fmla="*/ 11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9">
                    <a:moveTo>
                      <a:pt x="8" y="11"/>
                    </a:moveTo>
                    <a:lnTo>
                      <a:pt x="0" y="19"/>
                    </a:lnTo>
                    <a:lnTo>
                      <a:pt x="2" y="15"/>
                    </a:lnTo>
                    <a:lnTo>
                      <a:pt x="4" y="8"/>
                    </a:lnTo>
                    <a:lnTo>
                      <a:pt x="6" y="4"/>
                    </a:lnTo>
                    <a:lnTo>
                      <a:pt x="10" y="4"/>
                    </a:lnTo>
                    <a:lnTo>
                      <a:pt x="15" y="0"/>
                    </a:lnTo>
                    <a:lnTo>
                      <a:pt x="13" y="4"/>
                    </a:lnTo>
                    <a:lnTo>
                      <a:pt x="8" y="1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3" name="Freeform 1201"/>
              <p:cNvSpPr>
                <a:spLocks/>
              </p:cNvSpPr>
              <p:nvPr/>
            </p:nvSpPr>
            <p:spPr bwMode="auto">
              <a:xfrm>
                <a:off x="606" y="3959"/>
                <a:ext cx="2" cy="11"/>
              </a:xfrm>
              <a:custGeom>
                <a:avLst/>
                <a:gdLst>
                  <a:gd name="T0" fmla="*/ 2 w 2"/>
                  <a:gd name="T1" fmla="*/ 0 h 11"/>
                  <a:gd name="T2" fmla="*/ 0 w 2"/>
                  <a:gd name="T3" fmla="*/ 11 h 11"/>
                  <a:gd name="T4" fmla="*/ 0 w 2"/>
                  <a:gd name="T5" fmla="*/ 4 h 11"/>
                  <a:gd name="T6" fmla="*/ 2 w 2"/>
                  <a:gd name="T7" fmla="*/ 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0" y="11"/>
                    </a:lnTo>
                    <a:lnTo>
                      <a:pt x="0" y="4"/>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4" name="Freeform 1202"/>
              <p:cNvSpPr>
                <a:spLocks/>
              </p:cNvSpPr>
              <p:nvPr/>
            </p:nvSpPr>
            <p:spPr bwMode="auto">
              <a:xfrm>
                <a:off x="606" y="3959"/>
                <a:ext cx="2" cy="11"/>
              </a:xfrm>
              <a:custGeom>
                <a:avLst/>
                <a:gdLst>
                  <a:gd name="T0" fmla="*/ 2 w 2"/>
                  <a:gd name="T1" fmla="*/ 0 h 11"/>
                  <a:gd name="T2" fmla="*/ 0 w 2"/>
                  <a:gd name="T3" fmla="*/ 11 h 11"/>
                  <a:gd name="T4" fmla="*/ 0 w 2"/>
                  <a:gd name="T5" fmla="*/ 4 h 11"/>
                  <a:gd name="T6" fmla="*/ 2 w 2"/>
                  <a:gd name="T7" fmla="*/ 0 h 11"/>
                  <a:gd name="T8" fmla="*/ 2 w 2"/>
                  <a:gd name="T9" fmla="*/ 0 h 11"/>
                </a:gdLst>
                <a:ahLst/>
                <a:cxnLst>
                  <a:cxn ang="0">
                    <a:pos x="T0" y="T1"/>
                  </a:cxn>
                  <a:cxn ang="0">
                    <a:pos x="T2" y="T3"/>
                  </a:cxn>
                  <a:cxn ang="0">
                    <a:pos x="T4" y="T5"/>
                  </a:cxn>
                  <a:cxn ang="0">
                    <a:pos x="T6" y="T7"/>
                  </a:cxn>
                  <a:cxn ang="0">
                    <a:pos x="T8" y="T9"/>
                  </a:cxn>
                </a:cxnLst>
                <a:rect l="0" t="0" r="r" b="b"/>
                <a:pathLst>
                  <a:path w="2" h="11">
                    <a:moveTo>
                      <a:pt x="2" y="0"/>
                    </a:moveTo>
                    <a:lnTo>
                      <a:pt x="0" y="11"/>
                    </a:lnTo>
                    <a:lnTo>
                      <a:pt x="0" y="4"/>
                    </a:lnTo>
                    <a:lnTo>
                      <a:pt x="2"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5" name="Freeform 1203"/>
              <p:cNvSpPr>
                <a:spLocks/>
              </p:cNvSpPr>
              <p:nvPr/>
            </p:nvSpPr>
            <p:spPr bwMode="auto">
              <a:xfrm>
                <a:off x="608" y="3970"/>
                <a:ext cx="2" cy="6"/>
              </a:xfrm>
              <a:custGeom>
                <a:avLst/>
                <a:gdLst>
                  <a:gd name="T0" fmla="*/ 2 w 2"/>
                  <a:gd name="T1" fmla="*/ 0 h 6"/>
                  <a:gd name="T2" fmla="*/ 2 w 2"/>
                  <a:gd name="T3" fmla="*/ 6 h 6"/>
                  <a:gd name="T4" fmla="*/ 0 w 2"/>
                  <a:gd name="T5" fmla="*/ 0 h 6"/>
                  <a:gd name="T6" fmla="*/ 2 w 2"/>
                  <a:gd name="T7" fmla="*/ 0 h 6"/>
                </a:gdLst>
                <a:ahLst/>
                <a:cxnLst>
                  <a:cxn ang="0">
                    <a:pos x="T0" y="T1"/>
                  </a:cxn>
                  <a:cxn ang="0">
                    <a:pos x="T2" y="T3"/>
                  </a:cxn>
                  <a:cxn ang="0">
                    <a:pos x="T4" y="T5"/>
                  </a:cxn>
                  <a:cxn ang="0">
                    <a:pos x="T6" y="T7"/>
                  </a:cxn>
                </a:cxnLst>
                <a:rect l="0" t="0" r="r" b="b"/>
                <a:pathLst>
                  <a:path w="2" h="6">
                    <a:moveTo>
                      <a:pt x="2" y="0"/>
                    </a:moveTo>
                    <a:lnTo>
                      <a:pt x="2" y="6"/>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6" name="Freeform 1204"/>
              <p:cNvSpPr>
                <a:spLocks/>
              </p:cNvSpPr>
              <p:nvPr/>
            </p:nvSpPr>
            <p:spPr bwMode="auto">
              <a:xfrm>
                <a:off x="608" y="3970"/>
                <a:ext cx="2" cy="6"/>
              </a:xfrm>
              <a:custGeom>
                <a:avLst/>
                <a:gdLst>
                  <a:gd name="T0" fmla="*/ 2 w 2"/>
                  <a:gd name="T1" fmla="*/ 0 h 6"/>
                  <a:gd name="T2" fmla="*/ 2 w 2"/>
                  <a:gd name="T3" fmla="*/ 6 h 6"/>
                  <a:gd name="T4" fmla="*/ 0 w 2"/>
                  <a:gd name="T5" fmla="*/ 0 h 6"/>
                  <a:gd name="T6" fmla="*/ 2 w 2"/>
                  <a:gd name="T7" fmla="*/ 0 h 6"/>
                </a:gdLst>
                <a:ahLst/>
                <a:cxnLst>
                  <a:cxn ang="0">
                    <a:pos x="T0" y="T1"/>
                  </a:cxn>
                  <a:cxn ang="0">
                    <a:pos x="T2" y="T3"/>
                  </a:cxn>
                  <a:cxn ang="0">
                    <a:pos x="T4" y="T5"/>
                  </a:cxn>
                  <a:cxn ang="0">
                    <a:pos x="T6" y="T7"/>
                  </a:cxn>
                </a:cxnLst>
                <a:rect l="0" t="0" r="r" b="b"/>
                <a:pathLst>
                  <a:path w="2" h="6">
                    <a:moveTo>
                      <a:pt x="2" y="0"/>
                    </a:moveTo>
                    <a:lnTo>
                      <a:pt x="2" y="6"/>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7" name="Freeform 1205"/>
              <p:cNvSpPr>
                <a:spLocks/>
              </p:cNvSpPr>
              <p:nvPr/>
            </p:nvSpPr>
            <p:spPr bwMode="auto">
              <a:xfrm>
                <a:off x="638" y="3927"/>
                <a:ext cx="2" cy="4"/>
              </a:xfrm>
              <a:custGeom>
                <a:avLst/>
                <a:gdLst>
                  <a:gd name="T0" fmla="*/ 2 w 2"/>
                  <a:gd name="T1" fmla="*/ 0 h 4"/>
                  <a:gd name="T2" fmla="*/ 0 w 2"/>
                  <a:gd name="T3" fmla="*/ 4 h 4"/>
                  <a:gd name="T4" fmla="*/ 0 w 2"/>
                  <a:gd name="T5" fmla="*/ 0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98" name="Freeform 1206"/>
              <p:cNvSpPr>
                <a:spLocks/>
              </p:cNvSpPr>
              <p:nvPr/>
            </p:nvSpPr>
            <p:spPr bwMode="auto">
              <a:xfrm>
                <a:off x="638" y="3927"/>
                <a:ext cx="2" cy="4"/>
              </a:xfrm>
              <a:custGeom>
                <a:avLst/>
                <a:gdLst>
                  <a:gd name="T0" fmla="*/ 2 w 2"/>
                  <a:gd name="T1" fmla="*/ 0 h 4"/>
                  <a:gd name="T2" fmla="*/ 0 w 2"/>
                  <a:gd name="T3" fmla="*/ 4 h 4"/>
                  <a:gd name="T4" fmla="*/ 0 w 2"/>
                  <a:gd name="T5" fmla="*/ 0 h 4"/>
                  <a:gd name="T6" fmla="*/ 2 w 2"/>
                  <a:gd name="T7" fmla="*/ 0 h 4"/>
                </a:gdLst>
                <a:ahLst/>
                <a:cxnLst>
                  <a:cxn ang="0">
                    <a:pos x="T0" y="T1"/>
                  </a:cxn>
                  <a:cxn ang="0">
                    <a:pos x="T2" y="T3"/>
                  </a:cxn>
                  <a:cxn ang="0">
                    <a:pos x="T4" y="T5"/>
                  </a:cxn>
                  <a:cxn ang="0">
                    <a:pos x="T6" y="T7"/>
                  </a:cxn>
                </a:cxnLst>
                <a:rect l="0" t="0" r="r" b="b"/>
                <a:pathLst>
                  <a:path w="2" h="4">
                    <a:moveTo>
                      <a:pt x="2" y="0"/>
                    </a:moveTo>
                    <a:lnTo>
                      <a:pt x="0" y="4"/>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999" name="Freeform 1207"/>
              <p:cNvSpPr>
                <a:spLocks/>
              </p:cNvSpPr>
              <p:nvPr/>
            </p:nvSpPr>
            <p:spPr bwMode="auto">
              <a:xfrm>
                <a:off x="696" y="3897"/>
                <a:ext cx="6" cy="5"/>
              </a:xfrm>
              <a:custGeom>
                <a:avLst/>
                <a:gdLst>
                  <a:gd name="T0" fmla="*/ 2 w 6"/>
                  <a:gd name="T1" fmla="*/ 0 h 5"/>
                  <a:gd name="T2" fmla="*/ 6 w 6"/>
                  <a:gd name="T3" fmla="*/ 3 h 5"/>
                  <a:gd name="T4" fmla="*/ 0 w 6"/>
                  <a:gd name="T5" fmla="*/ 5 h 5"/>
                  <a:gd name="T6" fmla="*/ 2 w 6"/>
                  <a:gd name="T7" fmla="*/ 0 h 5"/>
                </a:gdLst>
                <a:ahLst/>
                <a:cxnLst>
                  <a:cxn ang="0">
                    <a:pos x="T0" y="T1"/>
                  </a:cxn>
                  <a:cxn ang="0">
                    <a:pos x="T2" y="T3"/>
                  </a:cxn>
                  <a:cxn ang="0">
                    <a:pos x="T4" y="T5"/>
                  </a:cxn>
                  <a:cxn ang="0">
                    <a:pos x="T6" y="T7"/>
                  </a:cxn>
                </a:cxnLst>
                <a:rect l="0" t="0" r="r" b="b"/>
                <a:pathLst>
                  <a:path w="6" h="5">
                    <a:moveTo>
                      <a:pt x="2" y="0"/>
                    </a:moveTo>
                    <a:lnTo>
                      <a:pt x="6" y="3"/>
                    </a:lnTo>
                    <a:lnTo>
                      <a:pt x="0"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0" name="Freeform 1208"/>
              <p:cNvSpPr>
                <a:spLocks/>
              </p:cNvSpPr>
              <p:nvPr/>
            </p:nvSpPr>
            <p:spPr bwMode="auto">
              <a:xfrm>
                <a:off x="696" y="3897"/>
                <a:ext cx="6" cy="5"/>
              </a:xfrm>
              <a:custGeom>
                <a:avLst/>
                <a:gdLst>
                  <a:gd name="T0" fmla="*/ 2 w 6"/>
                  <a:gd name="T1" fmla="*/ 0 h 5"/>
                  <a:gd name="T2" fmla="*/ 6 w 6"/>
                  <a:gd name="T3" fmla="*/ 3 h 5"/>
                  <a:gd name="T4" fmla="*/ 0 w 6"/>
                  <a:gd name="T5" fmla="*/ 5 h 5"/>
                  <a:gd name="T6" fmla="*/ 2 w 6"/>
                  <a:gd name="T7" fmla="*/ 0 h 5"/>
                </a:gdLst>
                <a:ahLst/>
                <a:cxnLst>
                  <a:cxn ang="0">
                    <a:pos x="T0" y="T1"/>
                  </a:cxn>
                  <a:cxn ang="0">
                    <a:pos x="T2" y="T3"/>
                  </a:cxn>
                  <a:cxn ang="0">
                    <a:pos x="T4" y="T5"/>
                  </a:cxn>
                  <a:cxn ang="0">
                    <a:pos x="T6" y="T7"/>
                  </a:cxn>
                </a:cxnLst>
                <a:rect l="0" t="0" r="r" b="b"/>
                <a:pathLst>
                  <a:path w="6" h="5">
                    <a:moveTo>
                      <a:pt x="2" y="0"/>
                    </a:moveTo>
                    <a:lnTo>
                      <a:pt x="6" y="3"/>
                    </a:lnTo>
                    <a:lnTo>
                      <a:pt x="0" y="5"/>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1" name="Freeform 1209"/>
              <p:cNvSpPr>
                <a:spLocks/>
              </p:cNvSpPr>
              <p:nvPr/>
            </p:nvSpPr>
            <p:spPr bwMode="auto">
              <a:xfrm>
                <a:off x="738" y="3946"/>
                <a:ext cx="7" cy="7"/>
              </a:xfrm>
              <a:custGeom>
                <a:avLst/>
                <a:gdLst>
                  <a:gd name="T0" fmla="*/ 7 w 7"/>
                  <a:gd name="T1" fmla="*/ 0 h 7"/>
                  <a:gd name="T2" fmla="*/ 4 w 7"/>
                  <a:gd name="T3" fmla="*/ 5 h 7"/>
                  <a:gd name="T4" fmla="*/ 0 w 7"/>
                  <a:gd name="T5" fmla="*/ 7 h 7"/>
                  <a:gd name="T6" fmla="*/ 2 w 7"/>
                  <a:gd name="T7" fmla="*/ 3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4" y="5"/>
                    </a:lnTo>
                    <a:lnTo>
                      <a:pt x="0" y="7"/>
                    </a:lnTo>
                    <a:lnTo>
                      <a:pt x="2" y="3"/>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2" name="Freeform 1210"/>
              <p:cNvSpPr>
                <a:spLocks/>
              </p:cNvSpPr>
              <p:nvPr/>
            </p:nvSpPr>
            <p:spPr bwMode="auto">
              <a:xfrm>
                <a:off x="738" y="3946"/>
                <a:ext cx="7" cy="7"/>
              </a:xfrm>
              <a:custGeom>
                <a:avLst/>
                <a:gdLst>
                  <a:gd name="T0" fmla="*/ 7 w 7"/>
                  <a:gd name="T1" fmla="*/ 0 h 7"/>
                  <a:gd name="T2" fmla="*/ 4 w 7"/>
                  <a:gd name="T3" fmla="*/ 5 h 7"/>
                  <a:gd name="T4" fmla="*/ 0 w 7"/>
                  <a:gd name="T5" fmla="*/ 7 h 7"/>
                  <a:gd name="T6" fmla="*/ 2 w 7"/>
                  <a:gd name="T7" fmla="*/ 3 h 7"/>
                  <a:gd name="T8" fmla="*/ 7 w 7"/>
                  <a:gd name="T9" fmla="*/ 0 h 7"/>
                </a:gdLst>
                <a:ahLst/>
                <a:cxnLst>
                  <a:cxn ang="0">
                    <a:pos x="T0" y="T1"/>
                  </a:cxn>
                  <a:cxn ang="0">
                    <a:pos x="T2" y="T3"/>
                  </a:cxn>
                  <a:cxn ang="0">
                    <a:pos x="T4" y="T5"/>
                  </a:cxn>
                  <a:cxn ang="0">
                    <a:pos x="T6" y="T7"/>
                  </a:cxn>
                  <a:cxn ang="0">
                    <a:pos x="T8" y="T9"/>
                  </a:cxn>
                </a:cxnLst>
                <a:rect l="0" t="0" r="r" b="b"/>
                <a:pathLst>
                  <a:path w="7" h="7">
                    <a:moveTo>
                      <a:pt x="7" y="0"/>
                    </a:moveTo>
                    <a:lnTo>
                      <a:pt x="4" y="5"/>
                    </a:lnTo>
                    <a:lnTo>
                      <a:pt x="0" y="7"/>
                    </a:lnTo>
                    <a:lnTo>
                      <a:pt x="2" y="3"/>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3" name="Freeform 1211"/>
              <p:cNvSpPr>
                <a:spLocks/>
              </p:cNvSpPr>
              <p:nvPr/>
            </p:nvSpPr>
            <p:spPr bwMode="auto">
              <a:xfrm>
                <a:off x="777" y="3910"/>
                <a:ext cx="8" cy="9"/>
              </a:xfrm>
              <a:custGeom>
                <a:avLst/>
                <a:gdLst>
                  <a:gd name="T0" fmla="*/ 8 w 8"/>
                  <a:gd name="T1" fmla="*/ 2 h 9"/>
                  <a:gd name="T2" fmla="*/ 6 w 8"/>
                  <a:gd name="T3" fmla="*/ 7 h 9"/>
                  <a:gd name="T4" fmla="*/ 0 w 8"/>
                  <a:gd name="T5" fmla="*/ 9 h 9"/>
                  <a:gd name="T6" fmla="*/ 2 w 8"/>
                  <a:gd name="T7" fmla="*/ 4 h 9"/>
                  <a:gd name="T8" fmla="*/ 6 w 8"/>
                  <a:gd name="T9" fmla="*/ 0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7"/>
                    </a:lnTo>
                    <a:lnTo>
                      <a:pt x="0" y="9"/>
                    </a:lnTo>
                    <a:lnTo>
                      <a:pt x="2" y="4"/>
                    </a:lnTo>
                    <a:lnTo>
                      <a:pt x="6" y="0"/>
                    </a:lnTo>
                    <a:lnTo>
                      <a:pt x="8"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4" name="Freeform 1212"/>
              <p:cNvSpPr>
                <a:spLocks/>
              </p:cNvSpPr>
              <p:nvPr/>
            </p:nvSpPr>
            <p:spPr bwMode="auto">
              <a:xfrm>
                <a:off x="777" y="3910"/>
                <a:ext cx="8" cy="9"/>
              </a:xfrm>
              <a:custGeom>
                <a:avLst/>
                <a:gdLst>
                  <a:gd name="T0" fmla="*/ 8 w 8"/>
                  <a:gd name="T1" fmla="*/ 2 h 9"/>
                  <a:gd name="T2" fmla="*/ 6 w 8"/>
                  <a:gd name="T3" fmla="*/ 7 h 9"/>
                  <a:gd name="T4" fmla="*/ 0 w 8"/>
                  <a:gd name="T5" fmla="*/ 9 h 9"/>
                  <a:gd name="T6" fmla="*/ 2 w 8"/>
                  <a:gd name="T7" fmla="*/ 4 h 9"/>
                  <a:gd name="T8" fmla="*/ 6 w 8"/>
                  <a:gd name="T9" fmla="*/ 0 h 9"/>
                  <a:gd name="T10" fmla="*/ 8 w 8"/>
                  <a:gd name="T11" fmla="*/ 2 h 9"/>
                </a:gdLst>
                <a:ahLst/>
                <a:cxnLst>
                  <a:cxn ang="0">
                    <a:pos x="T0" y="T1"/>
                  </a:cxn>
                  <a:cxn ang="0">
                    <a:pos x="T2" y="T3"/>
                  </a:cxn>
                  <a:cxn ang="0">
                    <a:pos x="T4" y="T5"/>
                  </a:cxn>
                  <a:cxn ang="0">
                    <a:pos x="T6" y="T7"/>
                  </a:cxn>
                  <a:cxn ang="0">
                    <a:pos x="T8" y="T9"/>
                  </a:cxn>
                  <a:cxn ang="0">
                    <a:pos x="T10" y="T11"/>
                  </a:cxn>
                </a:cxnLst>
                <a:rect l="0" t="0" r="r" b="b"/>
                <a:pathLst>
                  <a:path w="8" h="9">
                    <a:moveTo>
                      <a:pt x="8" y="2"/>
                    </a:moveTo>
                    <a:lnTo>
                      <a:pt x="6" y="7"/>
                    </a:lnTo>
                    <a:lnTo>
                      <a:pt x="0" y="9"/>
                    </a:lnTo>
                    <a:lnTo>
                      <a:pt x="2" y="4"/>
                    </a:lnTo>
                    <a:lnTo>
                      <a:pt x="6" y="0"/>
                    </a:lnTo>
                    <a:lnTo>
                      <a:pt x="8"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5" name="Freeform 1213"/>
              <p:cNvSpPr>
                <a:spLocks/>
              </p:cNvSpPr>
              <p:nvPr/>
            </p:nvSpPr>
            <p:spPr bwMode="auto">
              <a:xfrm>
                <a:off x="789" y="3912"/>
                <a:ext cx="7" cy="7"/>
              </a:xfrm>
              <a:custGeom>
                <a:avLst/>
                <a:gdLst>
                  <a:gd name="T0" fmla="*/ 7 w 7"/>
                  <a:gd name="T1" fmla="*/ 0 h 7"/>
                  <a:gd name="T2" fmla="*/ 5 w 7"/>
                  <a:gd name="T3" fmla="*/ 7 h 7"/>
                  <a:gd name="T4" fmla="*/ 0 w 7"/>
                  <a:gd name="T5" fmla="*/ 5 h 7"/>
                  <a:gd name="T6" fmla="*/ 0 w 7"/>
                  <a:gd name="T7" fmla="*/ 0 h 7"/>
                  <a:gd name="T8" fmla="*/ 7 w 7"/>
                  <a:gd name="T9" fmla="*/ 0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5" y="7"/>
                    </a:lnTo>
                    <a:lnTo>
                      <a:pt x="0" y="5"/>
                    </a:lnTo>
                    <a:lnTo>
                      <a:pt x="0" y="0"/>
                    </a:lnTo>
                    <a:lnTo>
                      <a:pt x="7" y="0"/>
                    </a:lnTo>
                    <a:lnTo>
                      <a:pt x="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6" name="Freeform 1214"/>
              <p:cNvSpPr>
                <a:spLocks/>
              </p:cNvSpPr>
              <p:nvPr/>
            </p:nvSpPr>
            <p:spPr bwMode="auto">
              <a:xfrm>
                <a:off x="789" y="3912"/>
                <a:ext cx="7" cy="7"/>
              </a:xfrm>
              <a:custGeom>
                <a:avLst/>
                <a:gdLst>
                  <a:gd name="T0" fmla="*/ 7 w 7"/>
                  <a:gd name="T1" fmla="*/ 0 h 7"/>
                  <a:gd name="T2" fmla="*/ 5 w 7"/>
                  <a:gd name="T3" fmla="*/ 7 h 7"/>
                  <a:gd name="T4" fmla="*/ 0 w 7"/>
                  <a:gd name="T5" fmla="*/ 5 h 7"/>
                  <a:gd name="T6" fmla="*/ 0 w 7"/>
                  <a:gd name="T7" fmla="*/ 0 h 7"/>
                  <a:gd name="T8" fmla="*/ 7 w 7"/>
                  <a:gd name="T9" fmla="*/ 0 h 7"/>
                  <a:gd name="T10" fmla="*/ 7 w 7"/>
                  <a:gd name="T11" fmla="*/ 0 h 7"/>
                </a:gdLst>
                <a:ahLst/>
                <a:cxnLst>
                  <a:cxn ang="0">
                    <a:pos x="T0" y="T1"/>
                  </a:cxn>
                  <a:cxn ang="0">
                    <a:pos x="T2" y="T3"/>
                  </a:cxn>
                  <a:cxn ang="0">
                    <a:pos x="T4" y="T5"/>
                  </a:cxn>
                  <a:cxn ang="0">
                    <a:pos x="T6" y="T7"/>
                  </a:cxn>
                  <a:cxn ang="0">
                    <a:pos x="T8" y="T9"/>
                  </a:cxn>
                  <a:cxn ang="0">
                    <a:pos x="T10" y="T11"/>
                  </a:cxn>
                </a:cxnLst>
                <a:rect l="0" t="0" r="r" b="b"/>
                <a:pathLst>
                  <a:path w="7" h="7">
                    <a:moveTo>
                      <a:pt x="7" y="0"/>
                    </a:moveTo>
                    <a:lnTo>
                      <a:pt x="5" y="7"/>
                    </a:lnTo>
                    <a:lnTo>
                      <a:pt x="0" y="5"/>
                    </a:lnTo>
                    <a:lnTo>
                      <a:pt x="0" y="0"/>
                    </a:lnTo>
                    <a:lnTo>
                      <a:pt x="7" y="0"/>
                    </a:lnTo>
                    <a:lnTo>
                      <a:pt x="7"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7" name="Freeform 1215"/>
              <p:cNvSpPr>
                <a:spLocks/>
              </p:cNvSpPr>
              <p:nvPr/>
            </p:nvSpPr>
            <p:spPr bwMode="auto">
              <a:xfrm>
                <a:off x="826" y="3838"/>
                <a:ext cx="8" cy="8"/>
              </a:xfrm>
              <a:custGeom>
                <a:avLst/>
                <a:gdLst>
                  <a:gd name="T0" fmla="*/ 2 w 8"/>
                  <a:gd name="T1" fmla="*/ 0 h 8"/>
                  <a:gd name="T2" fmla="*/ 6 w 8"/>
                  <a:gd name="T3" fmla="*/ 2 h 8"/>
                  <a:gd name="T4" fmla="*/ 8 w 8"/>
                  <a:gd name="T5" fmla="*/ 8 h 8"/>
                  <a:gd name="T6" fmla="*/ 2 w 8"/>
                  <a:gd name="T7" fmla="*/ 6 h 8"/>
                  <a:gd name="T8" fmla="*/ 0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6" y="2"/>
                    </a:lnTo>
                    <a:lnTo>
                      <a:pt x="8" y="8"/>
                    </a:lnTo>
                    <a:lnTo>
                      <a:pt x="2" y="6"/>
                    </a:lnTo>
                    <a:lnTo>
                      <a:pt x="0" y="2"/>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08" name="Freeform 1216"/>
              <p:cNvSpPr>
                <a:spLocks/>
              </p:cNvSpPr>
              <p:nvPr/>
            </p:nvSpPr>
            <p:spPr bwMode="auto">
              <a:xfrm>
                <a:off x="826" y="3838"/>
                <a:ext cx="8" cy="8"/>
              </a:xfrm>
              <a:custGeom>
                <a:avLst/>
                <a:gdLst>
                  <a:gd name="T0" fmla="*/ 2 w 8"/>
                  <a:gd name="T1" fmla="*/ 0 h 8"/>
                  <a:gd name="T2" fmla="*/ 6 w 8"/>
                  <a:gd name="T3" fmla="*/ 2 h 8"/>
                  <a:gd name="T4" fmla="*/ 8 w 8"/>
                  <a:gd name="T5" fmla="*/ 8 h 8"/>
                  <a:gd name="T6" fmla="*/ 2 w 8"/>
                  <a:gd name="T7" fmla="*/ 6 h 8"/>
                  <a:gd name="T8" fmla="*/ 0 w 8"/>
                  <a:gd name="T9" fmla="*/ 2 h 8"/>
                  <a:gd name="T10" fmla="*/ 2 w 8"/>
                  <a:gd name="T11" fmla="*/ 0 h 8"/>
                </a:gdLst>
                <a:ahLst/>
                <a:cxnLst>
                  <a:cxn ang="0">
                    <a:pos x="T0" y="T1"/>
                  </a:cxn>
                  <a:cxn ang="0">
                    <a:pos x="T2" y="T3"/>
                  </a:cxn>
                  <a:cxn ang="0">
                    <a:pos x="T4" y="T5"/>
                  </a:cxn>
                  <a:cxn ang="0">
                    <a:pos x="T6" y="T7"/>
                  </a:cxn>
                  <a:cxn ang="0">
                    <a:pos x="T8" y="T9"/>
                  </a:cxn>
                  <a:cxn ang="0">
                    <a:pos x="T10" y="T11"/>
                  </a:cxn>
                </a:cxnLst>
                <a:rect l="0" t="0" r="r" b="b"/>
                <a:pathLst>
                  <a:path w="8" h="8">
                    <a:moveTo>
                      <a:pt x="2" y="0"/>
                    </a:moveTo>
                    <a:lnTo>
                      <a:pt x="6" y="2"/>
                    </a:lnTo>
                    <a:lnTo>
                      <a:pt x="8" y="8"/>
                    </a:lnTo>
                    <a:lnTo>
                      <a:pt x="2" y="6"/>
                    </a:lnTo>
                    <a:lnTo>
                      <a:pt x="0" y="2"/>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09" name="Freeform 1217"/>
              <p:cNvSpPr>
                <a:spLocks/>
              </p:cNvSpPr>
              <p:nvPr/>
            </p:nvSpPr>
            <p:spPr bwMode="auto">
              <a:xfrm>
                <a:off x="781" y="3836"/>
                <a:ext cx="83" cy="70"/>
              </a:xfrm>
              <a:custGeom>
                <a:avLst/>
                <a:gdLst>
                  <a:gd name="T0" fmla="*/ 38 w 83"/>
                  <a:gd name="T1" fmla="*/ 46 h 70"/>
                  <a:gd name="T2" fmla="*/ 32 w 83"/>
                  <a:gd name="T3" fmla="*/ 53 h 70"/>
                  <a:gd name="T4" fmla="*/ 30 w 83"/>
                  <a:gd name="T5" fmla="*/ 61 h 70"/>
                  <a:gd name="T6" fmla="*/ 15 w 83"/>
                  <a:gd name="T7" fmla="*/ 68 h 70"/>
                  <a:gd name="T8" fmla="*/ 27 w 83"/>
                  <a:gd name="T9" fmla="*/ 55 h 70"/>
                  <a:gd name="T10" fmla="*/ 30 w 83"/>
                  <a:gd name="T11" fmla="*/ 46 h 70"/>
                  <a:gd name="T12" fmla="*/ 19 w 83"/>
                  <a:gd name="T13" fmla="*/ 53 h 70"/>
                  <a:gd name="T14" fmla="*/ 17 w 83"/>
                  <a:gd name="T15" fmla="*/ 44 h 70"/>
                  <a:gd name="T16" fmla="*/ 8 w 83"/>
                  <a:gd name="T17" fmla="*/ 49 h 70"/>
                  <a:gd name="T18" fmla="*/ 19 w 83"/>
                  <a:gd name="T19" fmla="*/ 46 h 70"/>
                  <a:gd name="T20" fmla="*/ 10 w 83"/>
                  <a:gd name="T21" fmla="*/ 61 h 70"/>
                  <a:gd name="T22" fmla="*/ 4 w 83"/>
                  <a:gd name="T23" fmla="*/ 53 h 70"/>
                  <a:gd name="T24" fmla="*/ 6 w 83"/>
                  <a:gd name="T25" fmla="*/ 42 h 70"/>
                  <a:gd name="T26" fmla="*/ 0 w 83"/>
                  <a:gd name="T27" fmla="*/ 32 h 70"/>
                  <a:gd name="T28" fmla="*/ 17 w 83"/>
                  <a:gd name="T29" fmla="*/ 17 h 70"/>
                  <a:gd name="T30" fmla="*/ 27 w 83"/>
                  <a:gd name="T31" fmla="*/ 19 h 70"/>
                  <a:gd name="T32" fmla="*/ 27 w 83"/>
                  <a:gd name="T33" fmla="*/ 27 h 70"/>
                  <a:gd name="T34" fmla="*/ 32 w 83"/>
                  <a:gd name="T35" fmla="*/ 38 h 70"/>
                  <a:gd name="T36" fmla="*/ 32 w 83"/>
                  <a:gd name="T37" fmla="*/ 21 h 70"/>
                  <a:gd name="T38" fmla="*/ 32 w 83"/>
                  <a:gd name="T39" fmla="*/ 21 h 70"/>
                  <a:gd name="T40" fmla="*/ 32 w 83"/>
                  <a:gd name="T41" fmla="*/ 15 h 70"/>
                  <a:gd name="T42" fmla="*/ 34 w 83"/>
                  <a:gd name="T43" fmla="*/ 6 h 70"/>
                  <a:gd name="T44" fmla="*/ 42 w 83"/>
                  <a:gd name="T45" fmla="*/ 12 h 70"/>
                  <a:gd name="T46" fmla="*/ 45 w 83"/>
                  <a:gd name="T47" fmla="*/ 12 h 70"/>
                  <a:gd name="T48" fmla="*/ 49 w 83"/>
                  <a:gd name="T49" fmla="*/ 10 h 70"/>
                  <a:gd name="T50" fmla="*/ 53 w 83"/>
                  <a:gd name="T51" fmla="*/ 10 h 70"/>
                  <a:gd name="T52" fmla="*/ 53 w 83"/>
                  <a:gd name="T53" fmla="*/ 0 h 70"/>
                  <a:gd name="T54" fmla="*/ 62 w 83"/>
                  <a:gd name="T55" fmla="*/ 4 h 70"/>
                  <a:gd name="T56" fmla="*/ 68 w 83"/>
                  <a:gd name="T57" fmla="*/ 10 h 70"/>
                  <a:gd name="T58" fmla="*/ 76 w 83"/>
                  <a:gd name="T59" fmla="*/ 8 h 70"/>
                  <a:gd name="T60" fmla="*/ 74 w 83"/>
                  <a:gd name="T61" fmla="*/ 19 h 70"/>
                  <a:gd name="T62" fmla="*/ 83 w 83"/>
                  <a:gd name="T63" fmla="*/ 27 h 70"/>
                  <a:gd name="T64" fmla="*/ 70 w 83"/>
                  <a:gd name="T65" fmla="*/ 34 h 70"/>
                  <a:gd name="T66" fmla="*/ 59 w 83"/>
                  <a:gd name="T67" fmla="*/ 32 h 70"/>
                  <a:gd name="T68" fmla="*/ 68 w 83"/>
                  <a:gd name="T69" fmla="*/ 40 h 70"/>
                  <a:gd name="T70" fmla="*/ 59 w 83"/>
                  <a:gd name="T71" fmla="*/ 42 h 70"/>
                  <a:gd name="T72" fmla="*/ 49 w 83"/>
                  <a:gd name="T73" fmla="*/ 40 h 70"/>
                  <a:gd name="T74" fmla="*/ 49 w 83"/>
                  <a:gd name="T7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38" y="46"/>
                    </a:lnTo>
                    <a:lnTo>
                      <a:pt x="36" y="53"/>
                    </a:lnTo>
                    <a:lnTo>
                      <a:pt x="32" y="53"/>
                    </a:lnTo>
                    <a:lnTo>
                      <a:pt x="36" y="57"/>
                    </a:lnTo>
                    <a:lnTo>
                      <a:pt x="30" y="61"/>
                    </a:lnTo>
                    <a:lnTo>
                      <a:pt x="21" y="70"/>
                    </a:lnTo>
                    <a:lnTo>
                      <a:pt x="15" y="68"/>
                    </a:lnTo>
                    <a:lnTo>
                      <a:pt x="17" y="64"/>
                    </a:lnTo>
                    <a:lnTo>
                      <a:pt x="27" y="55"/>
                    </a:lnTo>
                    <a:lnTo>
                      <a:pt x="23" y="55"/>
                    </a:lnTo>
                    <a:lnTo>
                      <a:pt x="30" y="46"/>
                    </a:lnTo>
                    <a:lnTo>
                      <a:pt x="23" y="51"/>
                    </a:lnTo>
                    <a:lnTo>
                      <a:pt x="19" y="53"/>
                    </a:lnTo>
                    <a:lnTo>
                      <a:pt x="21" y="46"/>
                    </a:lnTo>
                    <a:lnTo>
                      <a:pt x="17" y="44"/>
                    </a:lnTo>
                    <a:lnTo>
                      <a:pt x="10" y="44"/>
                    </a:lnTo>
                    <a:lnTo>
                      <a:pt x="8" y="49"/>
                    </a:lnTo>
                    <a:lnTo>
                      <a:pt x="15" y="46"/>
                    </a:lnTo>
                    <a:lnTo>
                      <a:pt x="19" y="46"/>
                    </a:lnTo>
                    <a:lnTo>
                      <a:pt x="17" y="57"/>
                    </a:lnTo>
                    <a:lnTo>
                      <a:pt x="10" y="61"/>
                    </a:lnTo>
                    <a:lnTo>
                      <a:pt x="10" y="55"/>
                    </a:lnTo>
                    <a:lnTo>
                      <a:pt x="4" y="53"/>
                    </a:lnTo>
                    <a:lnTo>
                      <a:pt x="6" y="46"/>
                    </a:lnTo>
                    <a:lnTo>
                      <a:pt x="6" y="42"/>
                    </a:lnTo>
                    <a:lnTo>
                      <a:pt x="4" y="36"/>
                    </a:lnTo>
                    <a:lnTo>
                      <a:pt x="0" y="32"/>
                    </a:lnTo>
                    <a:lnTo>
                      <a:pt x="6" y="23"/>
                    </a:lnTo>
                    <a:lnTo>
                      <a:pt x="17" y="17"/>
                    </a:lnTo>
                    <a:lnTo>
                      <a:pt x="23" y="17"/>
                    </a:lnTo>
                    <a:lnTo>
                      <a:pt x="27" y="19"/>
                    </a:lnTo>
                    <a:lnTo>
                      <a:pt x="23" y="23"/>
                    </a:lnTo>
                    <a:lnTo>
                      <a:pt x="27" y="27"/>
                    </a:lnTo>
                    <a:lnTo>
                      <a:pt x="30" y="32"/>
                    </a:lnTo>
                    <a:lnTo>
                      <a:pt x="32" y="38"/>
                    </a:lnTo>
                    <a:lnTo>
                      <a:pt x="32" y="32"/>
                    </a:lnTo>
                    <a:lnTo>
                      <a:pt x="32" y="21"/>
                    </a:lnTo>
                    <a:lnTo>
                      <a:pt x="36" y="25"/>
                    </a:lnTo>
                    <a:lnTo>
                      <a:pt x="32" y="21"/>
                    </a:lnTo>
                    <a:lnTo>
                      <a:pt x="36" y="17"/>
                    </a:lnTo>
                    <a:lnTo>
                      <a:pt x="32" y="15"/>
                    </a:lnTo>
                    <a:lnTo>
                      <a:pt x="30" y="8"/>
                    </a:lnTo>
                    <a:lnTo>
                      <a:pt x="34" y="6"/>
                    </a:lnTo>
                    <a:lnTo>
                      <a:pt x="40" y="6"/>
                    </a:lnTo>
                    <a:lnTo>
                      <a:pt x="42" y="12"/>
                    </a:lnTo>
                    <a:lnTo>
                      <a:pt x="42" y="17"/>
                    </a:lnTo>
                    <a:lnTo>
                      <a:pt x="45" y="12"/>
                    </a:lnTo>
                    <a:lnTo>
                      <a:pt x="49" y="17"/>
                    </a:lnTo>
                    <a:lnTo>
                      <a:pt x="49" y="10"/>
                    </a:lnTo>
                    <a:lnTo>
                      <a:pt x="53" y="17"/>
                    </a:lnTo>
                    <a:lnTo>
                      <a:pt x="53" y="10"/>
                    </a:lnTo>
                    <a:lnTo>
                      <a:pt x="55" y="6"/>
                    </a:lnTo>
                    <a:lnTo>
                      <a:pt x="53" y="0"/>
                    </a:lnTo>
                    <a:lnTo>
                      <a:pt x="57" y="4"/>
                    </a:lnTo>
                    <a:lnTo>
                      <a:pt x="62" y="4"/>
                    </a:lnTo>
                    <a:lnTo>
                      <a:pt x="64" y="15"/>
                    </a:lnTo>
                    <a:lnTo>
                      <a:pt x="68" y="10"/>
                    </a:lnTo>
                    <a:lnTo>
                      <a:pt x="72" y="6"/>
                    </a:lnTo>
                    <a:lnTo>
                      <a:pt x="76" y="8"/>
                    </a:lnTo>
                    <a:lnTo>
                      <a:pt x="79" y="15"/>
                    </a:lnTo>
                    <a:lnTo>
                      <a:pt x="74" y="19"/>
                    </a:lnTo>
                    <a:lnTo>
                      <a:pt x="79" y="25"/>
                    </a:lnTo>
                    <a:lnTo>
                      <a:pt x="83" y="27"/>
                    </a:lnTo>
                    <a:lnTo>
                      <a:pt x="74" y="36"/>
                    </a:lnTo>
                    <a:lnTo>
                      <a:pt x="70" y="34"/>
                    </a:lnTo>
                    <a:lnTo>
                      <a:pt x="66" y="29"/>
                    </a:lnTo>
                    <a:lnTo>
                      <a:pt x="59" y="32"/>
                    </a:lnTo>
                    <a:lnTo>
                      <a:pt x="64" y="34"/>
                    </a:lnTo>
                    <a:lnTo>
                      <a:pt x="68" y="40"/>
                    </a:lnTo>
                    <a:lnTo>
                      <a:pt x="64" y="44"/>
                    </a:lnTo>
                    <a:lnTo>
                      <a:pt x="59" y="42"/>
                    </a:lnTo>
                    <a:lnTo>
                      <a:pt x="55" y="40"/>
                    </a:lnTo>
                    <a:lnTo>
                      <a:pt x="49" y="40"/>
                    </a:lnTo>
                    <a:lnTo>
                      <a:pt x="53" y="46"/>
                    </a:lnTo>
                    <a:lnTo>
                      <a:pt x="49" y="44"/>
                    </a:lnTo>
                    <a:lnTo>
                      <a:pt x="42"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0" name="Freeform 1218"/>
              <p:cNvSpPr>
                <a:spLocks/>
              </p:cNvSpPr>
              <p:nvPr/>
            </p:nvSpPr>
            <p:spPr bwMode="auto">
              <a:xfrm>
                <a:off x="781" y="3836"/>
                <a:ext cx="83" cy="70"/>
              </a:xfrm>
              <a:custGeom>
                <a:avLst/>
                <a:gdLst>
                  <a:gd name="T0" fmla="*/ 38 w 83"/>
                  <a:gd name="T1" fmla="*/ 46 h 70"/>
                  <a:gd name="T2" fmla="*/ 32 w 83"/>
                  <a:gd name="T3" fmla="*/ 53 h 70"/>
                  <a:gd name="T4" fmla="*/ 30 w 83"/>
                  <a:gd name="T5" fmla="*/ 61 h 70"/>
                  <a:gd name="T6" fmla="*/ 15 w 83"/>
                  <a:gd name="T7" fmla="*/ 68 h 70"/>
                  <a:gd name="T8" fmla="*/ 27 w 83"/>
                  <a:gd name="T9" fmla="*/ 55 h 70"/>
                  <a:gd name="T10" fmla="*/ 30 w 83"/>
                  <a:gd name="T11" fmla="*/ 46 h 70"/>
                  <a:gd name="T12" fmla="*/ 19 w 83"/>
                  <a:gd name="T13" fmla="*/ 53 h 70"/>
                  <a:gd name="T14" fmla="*/ 17 w 83"/>
                  <a:gd name="T15" fmla="*/ 44 h 70"/>
                  <a:gd name="T16" fmla="*/ 8 w 83"/>
                  <a:gd name="T17" fmla="*/ 49 h 70"/>
                  <a:gd name="T18" fmla="*/ 19 w 83"/>
                  <a:gd name="T19" fmla="*/ 46 h 70"/>
                  <a:gd name="T20" fmla="*/ 10 w 83"/>
                  <a:gd name="T21" fmla="*/ 61 h 70"/>
                  <a:gd name="T22" fmla="*/ 4 w 83"/>
                  <a:gd name="T23" fmla="*/ 53 h 70"/>
                  <a:gd name="T24" fmla="*/ 6 w 83"/>
                  <a:gd name="T25" fmla="*/ 42 h 70"/>
                  <a:gd name="T26" fmla="*/ 0 w 83"/>
                  <a:gd name="T27" fmla="*/ 32 h 70"/>
                  <a:gd name="T28" fmla="*/ 17 w 83"/>
                  <a:gd name="T29" fmla="*/ 17 h 70"/>
                  <a:gd name="T30" fmla="*/ 27 w 83"/>
                  <a:gd name="T31" fmla="*/ 19 h 70"/>
                  <a:gd name="T32" fmla="*/ 27 w 83"/>
                  <a:gd name="T33" fmla="*/ 27 h 70"/>
                  <a:gd name="T34" fmla="*/ 32 w 83"/>
                  <a:gd name="T35" fmla="*/ 38 h 70"/>
                  <a:gd name="T36" fmla="*/ 32 w 83"/>
                  <a:gd name="T37" fmla="*/ 21 h 70"/>
                  <a:gd name="T38" fmla="*/ 32 w 83"/>
                  <a:gd name="T39" fmla="*/ 21 h 70"/>
                  <a:gd name="T40" fmla="*/ 32 w 83"/>
                  <a:gd name="T41" fmla="*/ 15 h 70"/>
                  <a:gd name="T42" fmla="*/ 34 w 83"/>
                  <a:gd name="T43" fmla="*/ 6 h 70"/>
                  <a:gd name="T44" fmla="*/ 42 w 83"/>
                  <a:gd name="T45" fmla="*/ 12 h 70"/>
                  <a:gd name="T46" fmla="*/ 45 w 83"/>
                  <a:gd name="T47" fmla="*/ 12 h 70"/>
                  <a:gd name="T48" fmla="*/ 49 w 83"/>
                  <a:gd name="T49" fmla="*/ 10 h 70"/>
                  <a:gd name="T50" fmla="*/ 53 w 83"/>
                  <a:gd name="T51" fmla="*/ 10 h 70"/>
                  <a:gd name="T52" fmla="*/ 53 w 83"/>
                  <a:gd name="T53" fmla="*/ 0 h 70"/>
                  <a:gd name="T54" fmla="*/ 62 w 83"/>
                  <a:gd name="T55" fmla="*/ 4 h 70"/>
                  <a:gd name="T56" fmla="*/ 68 w 83"/>
                  <a:gd name="T57" fmla="*/ 10 h 70"/>
                  <a:gd name="T58" fmla="*/ 76 w 83"/>
                  <a:gd name="T59" fmla="*/ 8 h 70"/>
                  <a:gd name="T60" fmla="*/ 74 w 83"/>
                  <a:gd name="T61" fmla="*/ 19 h 70"/>
                  <a:gd name="T62" fmla="*/ 83 w 83"/>
                  <a:gd name="T63" fmla="*/ 27 h 70"/>
                  <a:gd name="T64" fmla="*/ 70 w 83"/>
                  <a:gd name="T65" fmla="*/ 34 h 70"/>
                  <a:gd name="T66" fmla="*/ 59 w 83"/>
                  <a:gd name="T67" fmla="*/ 32 h 70"/>
                  <a:gd name="T68" fmla="*/ 68 w 83"/>
                  <a:gd name="T69" fmla="*/ 40 h 70"/>
                  <a:gd name="T70" fmla="*/ 59 w 83"/>
                  <a:gd name="T71" fmla="*/ 42 h 70"/>
                  <a:gd name="T72" fmla="*/ 49 w 83"/>
                  <a:gd name="T73" fmla="*/ 40 h 70"/>
                  <a:gd name="T74" fmla="*/ 49 w 83"/>
                  <a:gd name="T75" fmla="*/ 44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3" h="70">
                    <a:moveTo>
                      <a:pt x="42" y="49"/>
                    </a:moveTo>
                    <a:lnTo>
                      <a:pt x="38" y="46"/>
                    </a:lnTo>
                    <a:lnTo>
                      <a:pt x="36" y="53"/>
                    </a:lnTo>
                    <a:lnTo>
                      <a:pt x="32" y="53"/>
                    </a:lnTo>
                    <a:lnTo>
                      <a:pt x="36" y="57"/>
                    </a:lnTo>
                    <a:lnTo>
                      <a:pt x="30" y="61"/>
                    </a:lnTo>
                    <a:lnTo>
                      <a:pt x="21" y="70"/>
                    </a:lnTo>
                    <a:lnTo>
                      <a:pt x="15" y="68"/>
                    </a:lnTo>
                    <a:lnTo>
                      <a:pt x="17" y="64"/>
                    </a:lnTo>
                    <a:lnTo>
                      <a:pt x="27" y="55"/>
                    </a:lnTo>
                    <a:lnTo>
                      <a:pt x="23" y="55"/>
                    </a:lnTo>
                    <a:lnTo>
                      <a:pt x="30" y="46"/>
                    </a:lnTo>
                    <a:lnTo>
                      <a:pt x="23" y="51"/>
                    </a:lnTo>
                    <a:lnTo>
                      <a:pt x="19" y="53"/>
                    </a:lnTo>
                    <a:lnTo>
                      <a:pt x="21" y="46"/>
                    </a:lnTo>
                    <a:lnTo>
                      <a:pt x="17" y="44"/>
                    </a:lnTo>
                    <a:lnTo>
                      <a:pt x="10" y="44"/>
                    </a:lnTo>
                    <a:lnTo>
                      <a:pt x="8" y="49"/>
                    </a:lnTo>
                    <a:lnTo>
                      <a:pt x="15" y="46"/>
                    </a:lnTo>
                    <a:lnTo>
                      <a:pt x="19" y="46"/>
                    </a:lnTo>
                    <a:lnTo>
                      <a:pt x="17" y="57"/>
                    </a:lnTo>
                    <a:lnTo>
                      <a:pt x="10" y="61"/>
                    </a:lnTo>
                    <a:lnTo>
                      <a:pt x="10" y="55"/>
                    </a:lnTo>
                    <a:lnTo>
                      <a:pt x="4" y="53"/>
                    </a:lnTo>
                    <a:lnTo>
                      <a:pt x="6" y="46"/>
                    </a:lnTo>
                    <a:lnTo>
                      <a:pt x="6" y="42"/>
                    </a:lnTo>
                    <a:lnTo>
                      <a:pt x="4" y="36"/>
                    </a:lnTo>
                    <a:lnTo>
                      <a:pt x="0" y="32"/>
                    </a:lnTo>
                    <a:lnTo>
                      <a:pt x="6" y="23"/>
                    </a:lnTo>
                    <a:lnTo>
                      <a:pt x="17" y="17"/>
                    </a:lnTo>
                    <a:lnTo>
                      <a:pt x="23" y="17"/>
                    </a:lnTo>
                    <a:lnTo>
                      <a:pt x="27" y="19"/>
                    </a:lnTo>
                    <a:lnTo>
                      <a:pt x="23" y="23"/>
                    </a:lnTo>
                    <a:lnTo>
                      <a:pt x="27" y="27"/>
                    </a:lnTo>
                    <a:lnTo>
                      <a:pt x="30" y="32"/>
                    </a:lnTo>
                    <a:lnTo>
                      <a:pt x="32" y="38"/>
                    </a:lnTo>
                    <a:lnTo>
                      <a:pt x="32" y="32"/>
                    </a:lnTo>
                    <a:lnTo>
                      <a:pt x="32" y="21"/>
                    </a:lnTo>
                    <a:lnTo>
                      <a:pt x="36" y="25"/>
                    </a:lnTo>
                    <a:lnTo>
                      <a:pt x="32" y="21"/>
                    </a:lnTo>
                    <a:lnTo>
                      <a:pt x="36" y="17"/>
                    </a:lnTo>
                    <a:lnTo>
                      <a:pt x="32" y="15"/>
                    </a:lnTo>
                    <a:lnTo>
                      <a:pt x="30" y="8"/>
                    </a:lnTo>
                    <a:lnTo>
                      <a:pt x="34" y="6"/>
                    </a:lnTo>
                    <a:lnTo>
                      <a:pt x="40" y="6"/>
                    </a:lnTo>
                    <a:lnTo>
                      <a:pt x="42" y="12"/>
                    </a:lnTo>
                    <a:lnTo>
                      <a:pt x="42" y="17"/>
                    </a:lnTo>
                    <a:lnTo>
                      <a:pt x="45" y="12"/>
                    </a:lnTo>
                    <a:lnTo>
                      <a:pt x="49" y="17"/>
                    </a:lnTo>
                    <a:lnTo>
                      <a:pt x="49" y="10"/>
                    </a:lnTo>
                    <a:lnTo>
                      <a:pt x="53" y="17"/>
                    </a:lnTo>
                    <a:lnTo>
                      <a:pt x="53" y="10"/>
                    </a:lnTo>
                    <a:lnTo>
                      <a:pt x="55" y="6"/>
                    </a:lnTo>
                    <a:lnTo>
                      <a:pt x="53" y="0"/>
                    </a:lnTo>
                    <a:lnTo>
                      <a:pt x="57" y="4"/>
                    </a:lnTo>
                    <a:lnTo>
                      <a:pt x="62" y="4"/>
                    </a:lnTo>
                    <a:lnTo>
                      <a:pt x="64" y="15"/>
                    </a:lnTo>
                    <a:lnTo>
                      <a:pt x="68" y="10"/>
                    </a:lnTo>
                    <a:lnTo>
                      <a:pt x="72" y="6"/>
                    </a:lnTo>
                    <a:lnTo>
                      <a:pt x="76" y="8"/>
                    </a:lnTo>
                    <a:lnTo>
                      <a:pt x="79" y="15"/>
                    </a:lnTo>
                    <a:lnTo>
                      <a:pt x="74" y="19"/>
                    </a:lnTo>
                    <a:lnTo>
                      <a:pt x="79" y="25"/>
                    </a:lnTo>
                    <a:lnTo>
                      <a:pt x="83" y="27"/>
                    </a:lnTo>
                    <a:lnTo>
                      <a:pt x="74" y="36"/>
                    </a:lnTo>
                    <a:lnTo>
                      <a:pt x="70" y="34"/>
                    </a:lnTo>
                    <a:lnTo>
                      <a:pt x="66" y="29"/>
                    </a:lnTo>
                    <a:lnTo>
                      <a:pt x="59" y="32"/>
                    </a:lnTo>
                    <a:lnTo>
                      <a:pt x="64" y="34"/>
                    </a:lnTo>
                    <a:lnTo>
                      <a:pt x="68" y="40"/>
                    </a:lnTo>
                    <a:lnTo>
                      <a:pt x="64" y="44"/>
                    </a:lnTo>
                    <a:lnTo>
                      <a:pt x="59" y="42"/>
                    </a:lnTo>
                    <a:lnTo>
                      <a:pt x="55" y="40"/>
                    </a:lnTo>
                    <a:lnTo>
                      <a:pt x="49" y="40"/>
                    </a:lnTo>
                    <a:lnTo>
                      <a:pt x="53" y="46"/>
                    </a:lnTo>
                    <a:lnTo>
                      <a:pt x="49" y="44"/>
                    </a:lnTo>
                    <a:lnTo>
                      <a:pt x="42"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1" name="Freeform 1219"/>
              <p:cNvSpPr>
                <a:spLocks/>
              </p:cNvSpPr>
              <p:nvPr/>
            </p:nvSpPr>
            <p:spPr bwMode="auto">
              <a:xfrm>
                <a:off x="823" y="3885"/>
                <a:ext cx="15" cy="8"/>
              </a:xfrm>
              <a:custGeom>
                <a:avLst/>
                <a:gdLst>
                  <a:gd name="T0" fmla="*/ 15 w 15"/>
                  <a:gd name="T1" fmla="*/ 2 h 8"/>
                  <a:gd name="T2" fmla="*/ 9 w 15"/>
                  <a:gd name="T3" fmla="*/ 4 h 8"/>
                  <a:gd name="T4" fmla="*/ 5 w 15"/>
                  <a:gd name="T5" fmla="*/ 8 h 8"/>
                  <a:gd name="T6" fmla="*/ 0 w 15"/>
                  <a:gd name="T7" fmla="*/ 4 h 8"/>
                  <a:gd name="T8" fmla="*/ 3 w 15"/>
                  <a:gd name="T9" fmla="*/ 0 h 8"/>
                  <a:gd name="T10" fmla="*/ 7 w 15"/>
                  <a:gd name="T11" fmla="*/ 0 h 8"/>
                  <a:gd name="T12" fmla="*/ 11 w 15"/>
                  <a:gd name="T13" fmla="*/ 0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9" y="4"/>
                    </a:lnTo>
                    <a:lnTo>
                      <a:pt x="5" y="8"/>
                    </a:lnTo>
                    <a:lnTo>
                      <a:pt x="0" y="4"/>
                    </a:lnTo>
                    <a:lnTo>
                      <a:pt x="3" y="0"/>
                    </a:lnTo>
                    <a:lnTo>
                      <a:pt x="7" y="0"/>
                    </a:lnTo>
                    <a:lnTo>
                      <a:pt x="11" y="0"/>
                    </a:lnTo>
                    <a:lnTo>
                      <a:pt x="1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2" name="Freeform 1220"/>
              <p:cNvSpPr>
                <a:spLocks/>
              </p:cNvSpPr>
              <p:nvPr/>
            </p:nvSpPr>
            <p:spPr bwMode="auto">
              <a:xfrm>
                <a:off x="823" y="3885"/>
                <a:ext cx="15" cy="8"/>
              </a:xfrm>
              <a:custGeom>
                <a:avLst/>
                <a:gdLst>
                  <a:gd name="T0" fmla="*/ 15 w 15"/>
                  <a:gd name="T1" fmla="*/ 2 h 8"/>
                  <a:gd name="T2" fmla="*/ 9 w 15"/>
                  <a:gd name="T3" fmla="*/ 4 h 8"/>
                  <a:gd name="T4" fmla="*/ 5 w 15"/>
                  <a:gd name="T5" fmla="*/ 8 h 8"/>
                  <a:gd name="T6" fmla="*/ 0 w 15"/>
                  <a:gd name="T7" fmla="*/ 4 h 8"/>
                  <a:gd name="T8" fmla="*/ 3 w 15"/>
                  <a:gd name="T9" fmla="*/ 0 h 8"/>
                  <a:gd name="T10" fmla="*/ 7 w 15"/>
                  <a:gd name="T11" fmla="*/ 0 h 8"/>
                  <a:gd name="T12" fmla="*/ 11 w 15"/>
                  <a:gd name="T13" fmla="*/ 0 h 8"/>
                  <a:gd name="T14" fmla="*/ 15 w 15"/>
                  <a:gd name="T15" fmla="*/ 2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8">
                    <a:moveTo>
                      <a:pt x="15" y="2"/>
                    </a:moveTo>
                    <a:lnTo>
                      <a:pt x="9" y="4"/>
                    </a:lnTo>
                    <a:lnTo>
                      <a:pt x="5" y="8"/>
                    </a:lnTo>
                    <a:lnTo>
                      <a:pt x="0" y="4"/>
                    </a:lnTo>
                    <a:lnTo>
                      <a:pt x="3" y="0"/>
                    </a:lnTo>
                    <a:lnTo>
                      <a:pt x="7" y="0"/>
                    </a:lnTo>
                    <a:lnTo>
                      <a:pt x="11" y="0"/>
                    </a:lnTo>
                    <a:lnTo>
                      <a:pt x="1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3" name="Freeform 1221"/>
              <p:cNvSpPr>
                <a:spLocks/>
              </p:cNvSpPr>
              <p:nvPr/>
            </p:nvSpPr>
            <p:spPr bwMode="auto">
              <a:xfrm>
                <a:off x="857" y="3802"/>
                <a:ext cx="9" cy="8"/>
              </a:xfrm>
              <a:custGeom>
                <a:avLst/>
                <a:gdLst>
                  <a:gd name="T0" fmla="*/ 9 w 9"/>
                  <a:gd name="T1" fmla="*/ 4 h 8"/>
                  <a:gd name="T2" fmla="*/ 5 w 9"/>
                  <a:gd name="T3" fmla="*/ 8 h 8"/>
                  <a:gd name="T4" fmla="*/ 0 w 9"/>
                  <a:gd name="T5" fmla="*/ 8 h 8"/>
                  <a:gd name="T6" fmla="*/ 3 w 9"/>
                  <a:gd name="T7" fmla="*/ 4 h 8"/>
                  <a:gd name="T8" fmla="*/ 7 w 9"/>
                  <a:gd name="T9" fmla="*/ 0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5" y="8"/>
                    </a:lnTo>
                    <a:lnTo>
                      <a:pt x="0" y="8"/>
                    </a:lnTo>
                    <a:lnTo>
                      <a:pt x="3" y="4"/>
                    </a:lnTo>
                    <a:lnTo>
                      <a:pt x="7" y="0"/>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4" name="Freeform 1222"/>
              <p:cNvSpPr>
                <a:spLocks/>
              </p:cNvSpPr>
              <p:nvPr/>
            </p:nvSpPr>
            <p:spPr bwMode="auto">
              <a:xfrm>
                <a:off x="857" y="3802"/>
                <a:ext cx="9" cy="8"/>
              </a:xfrm>
              <a:custGeom>
                <a:avLst/>
                <a:gdLst>
                  <a:gd name="T0" fmla="*/ 9 w 9"/>
                  <a:gd name="T1" fmla="*/ 4 h 8"/>
                  <a:gd name="T2" fmla="*/ 5 w 9"/>
                  <a:gd name="T3" fmla="*/ 8 h 8"/>
                  <a:gd name="T4" fmla="*/ 0 w 9"/>
                  <a:gd name="T5" fmla="*/ 8 h 8"/>
                  <a:gd name="T6" fmla="*/ 3 w 9"/>
                  <a:gd name="T7" fmla="*/ 4 h 8"/>
                  <a:gd name="T8" fmla="*/ 7 w 9"/>
                  <a:gd name="T9" fmla="*/ 0 h 8"/>
                  <a:gd name="T10" fmla="*/ 9 w 9"/>
                  <a:gd name="T11" fmla="*/ 4 h 8"/>
                </a:gdLst>
                <a:ahLst/>
                <a:cxnLst>
                  <a:cxn ang="0">
                    <a:pos x="T0" y="T1"/>
                  </a:cxn>
                  <a:cxn ang="0">
                    <a:pos x="T2" y="T3"/>
                  </a:cxn>
                  <a:cxn ang="0">
                    <a:pos x="T4" y="T5"/>
                  </a:cxn>
                  <a:cxn ang="0">
                    <a:pos x="T6" y="T7"/>
                  </a:cxn>
                  <a:cxn ang="0">
                    <a:pos x="T8" y="T9"/>
                  </a:cxn>
                  <a:cxn ang="0">
                    <a:pos x="T10" y="T11"/>
                  </a:cxn>
                </a:cxnLst>
                <a:rect l="0" t="0" r="r" b="b"/>
                <a:pathLst>
                  <a:path w="9" h="8">
                    <a:moveTo>
                      <a:pt x="9" y="4"/>
                    </a:moveTo>
                    <a:lnTo>
                      <a:pt x="5" y="8"/>
                    </a:lnTo>
                    <a:lnTo>
                      <a:pt x="0" y="8"/>
                    </a:lnTo>
                    <a:lnTo>
                      <a:pt x="3" y="4"/>
                    </a:lnTo>
                    <a:lnTo>
                      <a:pt x="7" y="0"/>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5" name="Freeform 1223"/>
              <p:cNvSpPr>
                <a:spLocks/>
              </p:cNvSpPr>
              <p:nvPr/>
            </p:nvSpPr>
            <p:spPr bwMode="auto">
              <a:xfrm>
                <a:off x="887" y="3695"/>
                <a:ext cx="5" cy="6"/>
              </a:xfrm>
              <a:custGeom>
                <a:avLst/>
                <a:gdLst>
                  <a:gd name="T0" fmla="*/ 5 w 5"/>
                  <a:gd name="T1" fmla="*/ 2 h 6"/>
                  <a:gd name="T2" fmla="*/ 0 w 5"/>
                  <a:gd name="T3" fmla="*/ 6 h 6"/>
                  <a:gd name="T4" fmla="*/ 0 w 5"/>
                  <a:gd name="T5" fmla="*/ 0 h 6"/>
                  <a:gd name="T6" fmla="*/ 5 w 5"/>
                  <a:gd name="T7" fmla="*/ 2 h 6"/>
                </a:gdLst>
                <a:ahLst/>
                <a:cxnLst>
                  <a:cxn ang="0">
                    <a:pos x="T0" y="T1"/>
                  </a:cxn>
                  <a:cxn ang="0">
                    <a:pos x="T2" y="T3"/>
                  </a:cxn>
                  <a:cxn ang="0">
                    <a:pos x="T4" y="T5"/>
                  </a:cxn>
                  <a:cxn ang="0">
                    <a:pos x="T6" y="T7"/>
                  </a:cxn>
                </a:cxnLst>
                <a:rect l="0" t="0" r="r" b="b"/>
                <a:pathLst>
                  <a:path w="5" h="6">
                    <a:moveTo>
                      <a:pt x="5" y="2"/>
                    </a:moveTo>
                    <a:lnTo>
                      <a:pt x="0" y="6"/>
                    </a:lnTo>
                    <a:lnTo>
                      <a:pt x="0" y="0"/>
                    </a:lnTo>
                    <a:lnTo>
                      <a:pt x="5"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6" name="Freeform 1224"/>
              <p:cNvSpPr>
                <a:spLocks/>
              </p:cNvSpPr>
              <p:nvPr/>
            </p:nvSpPr>
            <p:spPr bwMode="auto">
              <a:xfrm>
                <a:off x="887" y="3695"/>
                <a:ext cx="5" cy="6"/>
              </a:xfrm>
              <a:custGeom>
                <a:avLst/>
                <a:gdLst>
                  <a:gd name="T0" fmla="*/ 5 w 5"/>
                  <a:gd name="T1" fmla="*/ 2 h 6"/>
                  <a:gd name="T2" fmla="*/ 0 w 5"/>
                  <a:gd name="T3" fmla="*/ 6 h 6"/>
                  <a:gd name="T4" fmla="*/ 0 w 5"/>
                  <a:gd name="T5" fmla="*/ 0 h 6"/>
                  <a:gd name="T6" fmla="*/ 5 w 5"/>
                  <a:gd name="T7" fmla="*/ 2 h 6"/>
                </a:gdLst>
                <a:ahLst/>
                <a:cxnLst>
                  <a:cxn ang="0">
                    <a:pos x="T0" y="T1"/>
                  </a:cxn>
                  <a:cxn ang="0">
                    <a:pos x="T2" y="T3"/>
                  </a:cxn>
                  <a:cxn ang="0">
                    <a:pos x="T4" y="T5"/>
                  </a:cxn>
                  <a:cxn ang="0">
                    <a:pos x="T6" y="T7"/>
                  </a:cxn>
                </a:cxnLst>
                <a:rect l="0" t="0" r="r" b="b"/>
                <a:pathLst>
                  <a:path w="5" h="6">
                    <a:moveTo>
                      <a:pt x="5" y="2"/>
                    </a:moveTo>
                    <a:lnTo>
                      <a:pt x="0" y="6"/>
                    </a:lnTo>
                    <a:lnTo>
                      <a:pt x="0" y="0"/>
                    </a:lnTo>
                    <a:lnTo>
                      <a:pt x="5"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7" name="Freeform 1225"/>
              <p:cNvSpPr>
                <a:spLocks/>
              </p:cNvSpPr>
              <p:nvPr/>
            </p:nvSpPr>
            <p:spPr bwMode="auto">
              <a:xfrm>
                <a:off x="1002" y="3706"/>
                <a:ext cx="9" cy="17"/>
              </a:xfrm>
              <a:custGeom>
                <a:avLst/>
                <a:gdLst>
                  <a:gd name="T0" fmla="*/ 9 w 9"/>
                  <a:gd name="T1" fmla="*/ 4 h 17"/>
                  <a:gd name="T2" fmla="*/ 9 w 9"/>
                  <a:gd name="T3" fmla="*/ 8 h 17"/>
                  <a:gd name="T4" fmla="*/ 7 w 9"/>
                  <a:gd name="T5" fmla="*/ 12 h 17"/>
                  <a:gd name="T6" fmla="*/ 5 w 9"/>
                  <a:gd name="T7" fmla="*/ 17 h 17"/>
                  <a:gd name="T8" fmla="*/ 0 w 9"/>
                  <a:gd name="T9" fmla="*/ 15 h 17"/>
                  <a:gd name="T10" fmla="*/ 5 w 9"/>
                  <a:gd name="T11" fmla="*/ 8 h 17"/>
                  <a:gd name="T12" fmla="*/ 7 w 9"/>
                  <a:gd name="T13" fmla="*/ 0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9" y="8"/>
                    </a:lnTo>
                    <a:lnTo>
                      <a:pt x="7" y="12"/>
                    </a:lnTo>
                    <a:lnTo>
                      <a:pt x="5" y="17"/>
                    </a:lnTo>
                    <a:lnTo>
                      <a:pt x="0" y="15"/>
                    </a:lnTo>
                    <a:lnTo>
                      <a:pt x="5" y="8"/>
                    </a:lnTo>
                    <a:lnTo>
                      <a:pt x="7" y="0"/>
                    </a:lnTo>
                    <a:lnTo>
                      <a:pt x="9"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18" name="Freeform 1226"/>
              <p:cNvSpPr>
                <a:spLocks/>
              </p:cNvSpPr>
              <p:nvPr/>
            </p:nvSpPr>
            <p:spPr bwMode="auto">
              <a:xfrm>
                <a:off x="1002" y="3706"/>
                <a:ext cx="9" cy="17"/>
              </a:xfrm>
              <a:custGeom>
                <a:avLst/>
                <a:gdLst>
                  <a:gd name="T0" fmla="*/ 9 w 9"/>
                  <a:gd name="T1" fmla="*/ 4 h 17"/>
                  <a:gd name="T2" fmla="*/ 9 w 9"/>
                  <a:gd name="T3" fmla="*/ 8 h 17"/>
                  <a:gd name="T4" fmla="*/ 7 w 9"/>
                  <a:gd name="T5" fmla="*/ 12 h 17"/>
                  <a:gd name="T6" fmla="*/ 5 w 9"/>
                  <a:gd name="T7" fmla="*/ 17 h 17"/>
                  <a:gd name="T8" fmla="*/ 0 w 9"/>
                  <a:gd name="T9" fmla="*/ 15 h 17"/>
                  <a:gd name="T10" fmla="*/ 5 w 9"/>
                  <a:gd name="T11" fmla="*/ 8 h 17"/>
                  <a:gd name="T12" fmla="*/ 7 w 9"/>
                  <a:gd name="T13" fmla="*/ 0 h 17"/>
                  <a:gd name="T14" fmla="*/ 9 w 9"/>
                  <a:gd name="T15" fmla="*/ 4 h 1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17">
                    <a:moveTo>
                      <a:pt x="9" y="4"/>
                    </a:moveTo>
                    <a:lnTo>
                      <a:pt x="9" y="8"/>
                    </a:lnTo>
                    <a:lnTo>
                      <a:pt x="7" y="12"/>
                    </a:lnTo>
                    <a:lnTo>
                      <a:pt x="5" y="17"/>
                    </a:lnTo>
                    <a:lnTo>
                      <a:pt x="0" y="15"/>
                    </a:lnTo>
                    <a:lnTo>
                      <a:pt x="5" y="8"/>
                    </a:lnTo>
                    <a:lnTo>
                      <a:pt x="7" y="0"/>
                    </a:lnTo>
                    <a:lnTo>
                      <a:pt x="9"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19" name="Freeform 1227"/>
              <p:cNvSpPr>
                <a:spLocks/>
              </p:cNvSpPr>
              <p:nvPr/>
            </p:nvSpPr>
            <p:spPr bwMode="auto">
              <a:xfrm>
                <a:off x="1004" y="3712"/>
                <a:ext cx="24" cy="34"/>
              </a:xfrm>
              <a:custGeom>
                <a:avLst/>
                <a:gdLst>
                  <a:gd name="T0" fmla="*/ 5 w 24"/>
                  <a:gd name="T1" fmla="*/ 21 h 34"/>
                  <a:gd name="T2" fmla="*/ 11 w 24"/>
                  <a:gd name="T3" fmla="*/ 17 h 34"/>
                  <a:gd name="T4" fmla="*/ 15 w 24"/>
                  <a:gd name="T5" fmla="*/ 13 h 34"/>
                  <a:gd name="T6" fmla="*/ 22 w 24"/>
                  <a:gd name="T7" fmla="*/ 0 h 34"/>
                  <a:gd name="T8" fmla="*/ 24 w 24"/>
                  <a:gd name="T9" fmla="*/ 11 h 34"/>
                  <a:gd name="T10" fmla="*/ 17 w 24"/>
                  <a:gd name="T11" fmla="*/ 15 h 34"/>
                  <a:gd name="T12" fmla="*/ 13 w 24"/>
                  <a:gd name="T13" fmla="*/ 21 h 34"/>
                  <a:gd name="T14" fmla="*/ 11 w 24"/>
                  <a:gd name="T15" fmla="*/ 26 h 34"/>
                  <a:gd name="T16" fmla="*/ 7 w 24"/>
                  <a:gd name="T17" fmla="*/ 30 h 34"/>
                  <a:gd name="T18" fmla="*/ 0 w 24"/>
                  <a:gd name="T19" fmla="*/ 34 h 34"/>
                  <a:gd name="T20" fmla="*/ 0 w 24"/>
                  <a:gd name="T21" fmla="*/ 30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11" y="17"/>
                    </a:lnTo>
                    <a:lnTo>
                      <a:pt x="15" y="13"/>
                    </a:lnTo>
                    <a:lnTo>
                      <a:pt x="22" y="0"/>
                    </a:lnTo>
                    <a:lnTo>
                      <a:pt x="24" y="11"/>
                    </a:lnTo>
                    <a:lnTo>
                      <a:pt x="17" y="15"/>
                    </a:lnTo>
                    <a:lnTo>
                      <a:pt x="13" y="21"/>
                    </a:lnTo>
                    <a:lnTo>
                      <a:pt x="11" y="26"/>
                    </a:lnTo>
                    <a:lnTo>
                      <a:pt x="7" y="30"/>
                    </a:lnTo>
                    <a:lnTo>
                      <a:pt x="0" y="34"/>
                    </a:lnTo>
                    <a:lnTo>
                      <a:pt x="0" y="30"/>
                    </a:lnTo>
                    <a:lnTo>
                      <a:pt x="5"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0" name="Freeform 1228"/>
              <p:cNvSpPr>
                <a:spLocks/>
              </p:cNvSpPr>
              <p:nvPr/>
            </p:nvSpPr>
            <p:spPr bwMode="auto">
              <a:xfrm>
                <a:off x="1004" y="3712"/>
                <a:ext cx="24" cy="34"/>
              </a:xfrm>
              <a:custGeom>
                <a:avLst/>
                <a:gdLst>
                  <a:gd name="T0" fmla="*/ 5 w 24"/>
                  <a:gd name="T1" fmla="*/ 21 h 34"/>
                  <a:gd name="T2" fmla="*/ 11 w 24"/>
                  <a:gd name="T3" fmla="*/ 17 h 34"/>
                  <a:gd name="T4" fmla="*/ 15 w 24"/>
                  <a:gd name="T5" fmla="*/ 13 h 34"/>
                  <a:gd name="T6" fmla="*/ 22 w 24"/>
                  <a:gd name="T7" fmla="*/ 0 h 34"/>
                  <a:gd name="T8" fmla="*/ 24 w 24"/>
                  <a:gd name="T9" fmla="*/ 11 h 34"/>
                  <a:gd name="T10" fmla="*/ 17 w 24"/>
                  <a:gd name="T11" fmla="*/ 15 h 34"/>
                  <a:gd name="T12" fmla="*/ 13 w 24"/>
                  <a:gd name="T13" fmla="*/ 21 h 34"/>
                  <a:gd name="T14" fmla="*/ 11 w 24"/>
                  <a:gd name="T15" fmla="*/ 26 h 34"/>
                  <a:gd name="T16" fmla="*/ 7 w 24"/>
                  <a:gd name="T17" fmla="*/ 30 h 34"/>
                  <a:gd name="T18" fmla="*/ 0 w 24"/>
                  <a:gd name="T19" fmla="*/ 34 h 34"/>
                  <a:gd name="T20" fmla="*/ 0 w 24"/>
                  <a:gd name="T21" fmla="*/ 30 h 34"/>
                  <a:gd name="T22" fmla="*/ 5 w 24"/>
                  <a:gd name="T23" fmla="*/ 2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 h="34">
                    <a:moveTo>
                      <a:pt x="5" y="21"/>
                    </a:moveTo>
                    <a:lnTo>
                      <a:pt x="11" y="17"/>
                    </a:lnTo>
                    <a:lnTo>
                      <a:pt x="15" y="13"/>
                    </a:lnTo>
                    <a:lnTo>
                      <a:pt x="22" y="0"/>
                    </a:lnTo>
                    <a:lnTo>
                      <a:pt x="24" y="11"/>
                    </a:lnTo>
                    <a:lnTo>
                      <a:pt x="17" y="15"/>
                    </a:lnTo>
                    <a:lnTo>
                      <a:pt x="13" y="21"/>
                    </a:lnTo>
                    <a:lnTo>
                      <a:pt x="11" y="26"/>
                    </a:lnTo>
                    <a:lnTo>
                      <a:pt x="7" y="30"/>
                    </a:lnTo>
                    <a:lnTo>
                      <a:pt x="0" y="34"/>
                    </a:lnTo>
                    <a:lnTo>
                      <a:pt x="0" y="30"/>
                    </a:lnTo>
                    <a:lnTo>
                      <a:pt x="5" y="2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1" name="Freeform 1229"/>
              <p:cNvSpPr>
                <a:spLocks/>
              </p:cNvSpPr>
              <p:nvPr/>
            </p:nvSpPr>
            <p:spPr bwMode="auto">
              <a:xfrm>
                <a:off x="1038" y="3708"/>
                <a:ext cx="17" cy="10"/>
              </a:xfrm>
              <a:custGeom>
                <a:avLst/>
                <a:gdLst>
                  <a:gd name="T0" fmla="*/ 17 w 17"/>
                  <a:gd name="T1" fmla="*/ 4 h 10"/>
                  <a:gd name="T2" fmla="*/ 11 w 17"/>
                  <a:gd name="T3" fmla="*/ 6 h 10"/>
                  <a:gd name="T4" fmla="*/ 5 w 17"/>
                  <a:gd name="T5" fmla="*/ 10 h 10"/>
                  <a:gd name="T6" fmla="*/ 0 w 17"/>
                  <a:gd name="T7" fmla="*/ 10 h 10"/>
                  <a:gd name="T8" fmla="*/ 5 w 17"/>
                  <a:gd name="T9" fmla="*/ 6 h 10"/>
                  <a:gd name="T10" fmla="*/ 0 w 17"/>
                  <a:gd name="T11" fmla="*/ 6 h 10"/>
                  <a:gd name="T12" fmla="*/ 0 w 17"/>
                  <a:gd name="T13" fmla="*/ 2 h 10"/>
                  <a:gd name="T14" fmla="*/ 7 w 17"/>
                  <a:gd name="T15" fmla="*/ 0 h 10"/>
                  <a:gd name="T16" fmla="*/ 11 w 17"/>
                  <a:gd name="T17" fmla="*/ 2 h 10"/>
                  <a:gd name="T18" fmla="*/ 17 w 17"/>
                  <a:gd name="T19" fmla="*/ 2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1" y="6"/>
                    </a:lnTo>
                    <a:lnTo>
                      <a:pt x="5" y="10"/>
                    </a:lnTo>
                    <a:lnTo>
                      <a:pt x="0" y="10"/>
                    </a:lnTo>
                    <a:lnTo>
                      <a:pt x="5" y="6"/>
                    </a:lnTo>
                    <a:lnTo>
                      <a:pt x="0" y="6"/>
                    </a:lnTo>
                    <a:lnTo>
                      <a:pt x="0" y="2"/>
                    </a:lnTo>
                    <a:lnTo>
                      <a:pt x="7" y="0"/>
                    </a:lnTo>
                    <a:lnTo>
                      <a:pt x="11" y="2"/>
                    </a:lnTo>
                    <a:lnTo>
                      <a:pt x="17" y="2"/>
                    </a:lnTo>
                    <a:lnTo>
                      <a:pt x="17"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2" name="Freeform 1230"/>
              <p:cNvSpPr>
                <a:spLocks/>
              </p:cNvSpPr>
              <p:nvPr/>
            </p:nvSpPr>
            <p:spPr bwMode="auto">
              <a:xfrm>
                <a:off x="1038" y="3708"/>
                <a:ext cx="17" cy="10"/>
              </a:xfrm>
              <a:custGeom>
                <a:avLst/>
                <a:gdLst>
                  <a:gd name="T0" fmla="*/ 17 w 17"/>
                  <a:gd name="T1" fmla="*/ 4 h 10"/>
                  <a:gd name="T2" fmla="*/ 11 w 17"/>
                  <a:gd name="T3" fmla="*/ 6 h 10"/>
                  <a:gd name="T4" fmla="*/ 5 w 17"/>
                  <a:gd name="T5" fmla="*/ 10 h 10"/>
                  <a:gd name="T6" fmla="*/ 0 w 17"/>
                  <a:gd name="T7" fmla="*/ 10 h 10"/>
                  <a:gd name="T8" fmla="*/ 5 w 17"/>
                  <a:gd name="T9" fmla="*/ 6 h 10"/>
                  <a:gd name="T10" fmla="*/ 0 w 17"/>
                  <a:gd name="T11" fmla="*/ 6 h 10"/>
                  <a:gd name="T12" fmla="*/ 0 w 17"/>
                  <a:gd name="T13" fmla="*/ 2 h 10"/>
                  <a:gd name="T14" fmla="*/ 7 w 17"/>
                  <a:gd name="T15" fmla="*/ 0 h 10"/>
                  <a:gd name="T16" fmla="*/ 11 w 17"/>
                  <a:gd name="T17" fmla="*/ 2 h 10"/>
                  <a:gd name="T18" fmla="*/ 17 w 17"/>
                  <a:gd name="T19" fmla="*/ 2 h 10"/>
                  <a:gd name="T20" fmla="*/ 17 w 17"/>
                  <a:gd name="T21"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 h="10">
                    <a:moveTo>
                      <a:pt x="17" y="4"/>
                    </a:moveTo>
                    <a:lnTo>
                      <a:pt x="11" y="6"/>
                    </a:lnTo>
                    <a:lnTo>
                      <a:pt x="5" y="10"/>
                    </a:lnTo>
                    <a:lnTo>
                      <a:pt x="0" y="10"/>
                    </a:lnTo>
                    <a:lnTo>
                      <a:pt x="5" y="6"/>
                    </a:lnTo>
                    <a:lnTo>
                      <a:pt x="0" y="6"/>
                    </a:lnTo>
                    <a:lnTo>
                      <a:pt x="0" y="2"/>
                    </a:lnTo>
                    <a:lnTo>
                      <a:pt x="7" y="0"/>
                    </a:lnTo>
                    <a:lnTo>
                      <a:pt x="11" y="2"/>
                    </a:lnTo>
                    <a:lnTo>
                      <a:pt x="17" y="2"/>
                    </a:lnTo>
                    <a:lnTo>
                      <a:pt x="17"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3" name="Freeform 1231"/>
              <p:cNvSpPr>
                <a:spLocks/>
              </p:cNvSpPr>
              <p:nvPr/>
            </p:nvSpPr>
            <p:spPr bwMode="auto">
              <a:xfrm>
                <a:off x="1345" y="3831"/>
                <a:ext cx="6" cy="13"/>
              </a:xfrm>
              <a:custGeom>
                <a:avLst/>
                <a:gdLst>
                  <a:gd name="T0" fmla="*/ 2 w 6"/>
                  <a:gd name="T1" fmla="*/ 0 h 13"/>
                  <a:gd name="T2" fmla="*/ 6 w 6"/>
                  <a:gd name="T3" fmla="*/ 5 h 13"/>
                  <a:gd name="T4" fmla="*/ 6 w 6"/>
                  <a:gd name="T5" fmla="*/ 9 h 13"/>
                  <a:gd name="T6" fmla="*/ 4 w 6"/>
                  <a:gd name="T7" fmla="*/ 13 h 13"/>
                  <a:gd name="T8" fmla="*/ 0 w 6"/>
                  <a:gd name="T9" fmla="*/ 11 h 13"/>
                  <a:gd name="T10" fmla="*/ 0 w 6"/>
                  <a:gd name="T11" fmla="*/ 0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6" y="5"/>
                    </a:lnTo>
                    <a:lnTo>
                      <a:pt x="6" y="9"/>
                    </a:lnTo>
                    <a:lnTo>
                      <a:pt x="4" y="13"/>
                    </a:lnTo>
                    <a:lnTo>
                      <a:pt x="0" y="11"/>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4" name="Freeform 1232"/>
              <p:cNvSpPr>
                <a:spLocks/>
              </p:cNvSpPr>
              <p:nvPr/>
            </p:nvSpPr>
            <p:spPr bwMode="auto">
              <a:xfrm>
                <a:off x="1345" y="3831"/>
                <a:ext cx="6" cy="13"/>
              </a:xfrm>
              <a:custGeom>
                <a:avLst/>
                <a:gdLst>
                  <a:gd name="T0" fmla="*/ 2 w 6"/>
                  <a:gd name="T1" fmla="*/ 0 h 13"/>
                  <a:gd name="T2" fmla="*/ 6 w 6"/>
                  <a:gd name="T3" fmla="*/ 5 h 13"/>
                  <a:gd name="T4" fmla="*/ 6 w 6"/>
                  <a:gd name="T5" fmla="*/ 9 h 13"/>
                  <a:gd name="T6" fmla="*/ 4 w 6"/>
                  <a:gd name="T7" fmla="*/ 13 h 13"/>
                  <a:gd name="T8" fmla="*/ 0 w 6"/>
                  <a:gd name="T9" fmla="*/ 11 h 13"/>
                  <a:gd name="T10" fmla="*/ 0 w 6"/>
                  <a:gd name="T11" fmla="*/ 0 h 13"/>
                  <a:gd name="T12" fmla="*/ 2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2" y="0"/>
                    </a:moveTo>
                    <a:lnTo>
                      <a:pt x="6" y="5"/>
                    </a:lnTo>
                    <a:lnTo>
                      <a:pt x="6" y="9"/>
                    </a:lnTo>
                    <a:lnTo>
                      <a:pt x="4" y="13"/>
                    </a:lnTo>
                    <a:lnTo>
                      <a:pt x="0" y="11"/>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5" name="Freeform 1233"/>
              <p:cNvSpPr>
                <a:spLocks/>
              </p:cNvSpPr>
              <p:nvPr/>
            </p:nvSpPr>
            <p:spPr bwMode="auto">
              <a:xfrm>
                <a:off x="1349" y="3819"/>
                <a:ext cx="51" cy="51"/>
              </a:xfrm>
              <a:custGeom>
                <a:avLst/>
                <a:gdLst>
                  <a:gd name="T0" fmla="*/ 24 w 51"/>
                  <a:gd name="T1" fmla="*/ 49 h 51"/>
                  <a:gd name="T2" fmla="*/ 19 w 51"/>
                  <a:gd name="T3" fmla="*/ 42 h 51"/>
                  <a:gd name="T4" fmla="*/ 17 w 51"/>
                  <a:gd name="T5" fmla="*/ 38 h 51"/>
                  <a:gd name="T6" fmla="*/ 11 w 51"/>
                  <a:gd name="T7" fmla="*/ 38 h 51"/>
                  <a:gd name="T8" fmla="*/ 9 w 51"/>
                  <a:gd name="T9" fmla="*/ 32 h 51"/>
                  <a:gd name="T10" fmla="*/ 5 w 51"/>
                  <a:gd name="T11" fmla="*/ 29 h 51"/>
                  <a:gd name="T12" fmla="*/ 2 w 51"/>
                  <a:gd name="T13" fmla="*/ 23 h 51"/>
                  <a:gd name="T14" fmla="*/ 5 w 51"/>
                  <a:gd name="T15" fmla="*/ 19 h 51"/>
                  <a:gd name="T16" fmla="*/ 9 w 51"/>
                  <a:gd name="T17" fmla="*/ 21 h 51"/>
                  <a:gd name="T18" fmla="*/ 0 w 51"/>
                  <a:gd name="T19" fmla="*/ 14 h 51"/>
                  <a:gd name="T20" fmla="*/ 2 w 51"/>
                  <a:gd name="T21" fmla="*/ 10 h 51"/>
                  <a:gd name="T22" fmla="*/ 2 w 51"/>
                  <a:gd name="T23" fmla="*/ 4 h 51"/>
                  <a:gd name="T24" fmla="*/ 7 w 51"/>
                  <a:gd name="T25" fmla="*/ 8 h 51"/>
                  <a:gd name="T26" fmla="*/ 7 w 51"/>
                  <a:gd name="T27" fmla="*/ 4 h 51"/>
                  <a:gd name="T28" fmla="*/ 13 w 51"/>
                  <a:gd name="T29" fmla="*/ 4 h 51"/>
                  <a:gd name="T30" fmla="*/ 17 w 51"/>
                  <a:gd name="T31" fmla="*/ 0 h 51"/>
                  <a:gd name="T32" fmla="*/ 22 w 51"/>
                  <a:gd name="T33" fmla="*/ 2 h 51"/>
                  <a:gd name="T34" fmla="*/ 26 w 51"/>
                  <a:gd name="T35" fmla="*/ 4 h 51"/>
                  <a:gd name="T36" fmla="*/ 26 w 51"/>
                  <a:gd name="T37" fmla="*/ 8 h 51"/>
                  <a:gd name="T38" fmla="*/ 19 w 51"/>
                  <a:gd name="T39" fmla="*/ 12 h 51"/>
                  <a:gd name="T40" fmla="*/ 24 w 51"/>
                  <a:gd name="T41" fmla="*/ 14 h 51"/>
                  <a:gd name="T42" fmla="*/ 28 w 51"/>
                  <a:gd name="T43" fmla="*/ 6 h 51"/>
                  <a:gd name="T44" fmla="*/ 32 w 51"/>
                  <a:gd name="T45" fmla="*/ 6 h 51"/>
                  <a:gd name="T46" fmla="*/ 39 w 51"/>
                  <a:gd name="T47" fmla="*/ 6 h 51"/>
                  <a:gd name="T48" fmla="*/ 43 w 51"/>
                  <a:gd name="T49" fmla="*/ 8 h 51"/>
                  <a:gd name="T50" fmla="*/ 45 w 51"/>
                  <a:gd name="T51" fmla="*/ 14 h 51"/>
                  <a:gd name="T52" fmla="*/ 45 w 51"/>
                  <a:gd name="T53" fmla="*/ 19 h 51"/>
                  <a:gd name="T54" fmla="*/ 41 w 51"/>
                  <a:gd name="T55" fmla="*/ 19 h 51"/>
                  <a:gd name="T56" fmla="*/ 43 w 51"/>
                  <a:gd name="T57" fmla="*/ 23 h 51"/>
                  <a:gd name="T58" fmla="*/ 39 w 51"/>
                  <a:gd name="T59" fmla="*/ 25 h 51"/>
                  <a:gd name="T60" fmla="*/ 34 w 51"/>
                  <a:gd name="T61" fmla="*/ 23 h 51"/>
                  <a:gd name="T62" fmla="*/ 24 w 51"/>
                  <a:gd name="T63" fmla="*/ 19 h 51"/>
                  <a:gd name="T64" fmla="*/ 19 w 51"/>
                  <a:gd name="T65" fmla="*/ 17 h 51"/>
                  <a:gd name="T66" fmla="*/ 32 w 51"/>
                  <a:gd name="T67" fmla="*/ 23 h 51"/>
                  <a:gd name="T68" fmla="*/ 37 w 51"/>
                  <a:gd name="T69" fmla="*/ 27 h 51"/>
                  <a:gd name="T70" fmla="*/ 43 w 51"/>
                  <a:gd name="T71" fmla="*/ 25 h 51"/>
                  <a:gd name="T72" fmla="*/ 47 w 51"/>
                  <a:gd name="T73" fmla="*/ 25 h 51"/>
                  <a:gd name="T74" fmla="*/ 51 w 51"/>
                  <a:gd name="T75" fmla="*/ 38 h 51"/>
                  <a:gd name="T76" fmla="*/ 51 w 51"/>
                  <a:gd name="T77" fmla="*/ 42 h 51"/>
                  <a:gd name="T78" fmla="*/ 45 w 51"/>
                  <a:gd name="T79" fmla="*/ 42 h 51"/>
                  <a:gd name="T80" fmla="*/ 28 w 51"/>
                  <a:gd name="T81" fmla="*/ 32 h 51"/>
                  <a:gd name="T82" fmla="*/ 24 w 51"/>
                  <a:gd name="T83" fmla="*/ 29 h 51"/>
                  <a:gd name="T84" fmla="*/ 26 w 51"/>
                  <a:gd name="T85" fmla="*/ 36 h 51"/>
                  <a:gd name="T86" fmla="*/ 30 w 51"/>
                  <a:gd name="T87" fmla="*/ 42 h 51"/>
                  <a:gd name="T88" fmla="*/ 28 w 51"/>
                  <a:gd name="T89" fmla="*/ 51 h 51"/>
                  <a:gd name="T90" fmla="*/ 22 w 51"/>
                  <a:gd name="T91" fmla="*/ 51 h 51"/>
                  <a:gd name="T92" fmla="*/ 19 w 51"/>
                  <a:gd name="T93" fmla="*/ 44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2"/>
                    </a:lnTo>
                    <a:lnTo>
                      <a:pt x="17" y="38"/>
                    </a:lnTo>
                    <a:lnTo>
                      <a:pt x="11" y="38"/>
                    </a:lnTo>
                    <a:lnTo>
                      <a:pt x="9" y="32"/>
                    </a:lnTo>
                    <a:lnTo>
                      <a:pt x="5" y="29"/>
                    </a:lnTo>
                    <a:lnTo>
                      <a:pt x="2" y="23"/>
                    </a:lnTo>
                    <a:lnTo>
                      <a:pt x="5" y="19"/>
                    </a:lnTo>
                    <a:lnTo>
                      <a:pt x="9" y="21"/>
                    </a:lnTo>
                    <a:lnTo>
                      <a:pt x="0" y="14"/>
                    </a:lnTo>
                    <a:lnTo>
                      <a:pt x="2" y="10"/>
                    </a:lnTo>
                    <a:lnTo>
                      <a:pt x="2" y="4"/>
                    </a:lnTo>
                    <a:lnTo>
                      <a:pt x="7" y="8"/>
                    </a:lnTo>
                    <a:lnTo>
                      <a:pt x="7" y="4"/>
                    </a:lnTo>
                    <a:lnTo>
                      <a:pt x="13" y="4"/>
                    </a:lnTo>
                    <a:lnTo>
                      <a:pt x="17" y="0"/>
                    </a:lnTo>
                    <a:lnTo>
                      <a:pt x="22" y="2"/>
                    </a:lnTo>
                    <a:lnTo>
                      <a:pt x="26" y="4"/>
                    </a:lnTo>
                    <a:lnTo>
                      <a:pt x="26" y="8"/>
                    </a:lnTo>
                    <a:lnTo>
                      <a:pt x="19" y="12"/>
                    </a:lnTo>
                    <a:lnTo>
                      <a:pt x="24" y="14"/>
                    </a:lnTo>
                    <a:lnTo>
                      <a:pt x="28" y="6"/>
                    </a:lnTo>
                    <a:lnTo>
                      <a:pt x="32" y="6"/>
                    </a:lnTo>
                    <a:lnTo>
                      <a:pt x="39" y="6"/>
                    </a:lnTo>
                    <a:lnTo>
                      <a:pt x="43" y="8"/>
                    </a:lnTo>
                    <a:lnTo>
                      <a:pt x="45" y="14"/>
                    </a:lnTo>
                    <a:lnTo>
                      <a:pt x="45" y="19"/>
                    </a:lnTo>
                    <a:lnTo>
                      <a:pt x="41" y="19"/>
                    </a:lnTo>
                    <a:lnTo>
                      <a:pt x="43" y="23"/>
                    </a:lnTo>
                    <a:lnTo>
                      <a:pt x="39" y="25"/>
                    </a:lnTo>
                    <a:lnTo>
                      <a:pt x="34" y="23"/>
                    </a:lnTo>
                    <a:lnTo>
                      <a:pt x="24" y="19"/>
                    </a:lnTo>
                    <a:lnTo>
                      <a:pt x="19" y="17"/>
                    </a:lnTo>
                    <a:lnTo>
                      <a:pt x="32" y="23"/>
                    </a:lnTo>
                    <a:lnTo>
                      <a:pt x="37" y="27"/>
                    </a:lnTo>
                    <a:lnTo>
                      <a:pt x="43" y="25"/>
                    </a:lnTo>
                    <a:lnTo>
                      <a:pt x="47" y="25"/>
                    </a:lnTo>
                    <a:lnTo>
                      <a:pt x="51" y="38"/>
                    </a:lnTo>
                    <a:lnTo>
                      <a:pt x="51" y="42"/>
                    </a:lnTo>
                    <a:lnTo>
                      <a:pt x="45" y="42"/>
                    </a:lnTo>
                    <a:lnTo>
                      <a:pt x="28" y="32"/>
                    </a:lnTo>
                    <a:lnTo>
                      <a:pt x="24" y="29"/>
                    </a:lnTo>
                    <a:lnTo>
                      <a:pt x="26" y="36"/>
                    </a:lnTo>
                    <a:lnTo>
                      <a:pt x="30" y="42"/>
                    </a:lnTo>
                    <a:lnTo>
                      <a:pt x="28" y="51"/>
                    </a:lnTo>
                    <a:lnTo>
                      <a:pt x="22" y="51"/>
                    </a:lnTo>
                    <a:lnTo>
                      <a:pt x="19" y="44"/>
                    </a:lnTo>
                    <a:lnTo>
                      <a:pt x="24"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6" name="Freeform 1234"/>
              <p:cNvSpPr>
                <a:spLocks/>
              </p:cNvSpPr>
              <p:nvPr/>
            </p:nvSpPr>
            <p:spPr bwMode="auto">
              <a:xfrm>
                <a:off x="1349" y="3819"/>
                <a:ext cx="51" cy="51"/>
              </a:xfrm>
              <a:custGeom>
                <a:avLst/>
                <a:gdLst>
                  <a:gd name="T0" fmla="*/ 24 w 51"/>
                  <a:gd name="T1" fmla="*/ 49 h 51"/>
                  <a:gd name="T2" fmla="*/ 19 w 51"/>
                  <a:gd name="T3" fmla="*/ 42 h 51"/>
                  <a:gd name="T4" fmla="*/ 17 w 51"/>
                  <a:gd name="T5" fmla="*/ 38 h 51"/>
                  <a:gd name="T6" fmla="*/ 11 w 51"/>
                  <a:gd name="T7" fmla="*/ 38 h 51"/>
                  <a:gd name="T8" fmla="*/ 9 w 51"/>
                  <a:gd name="T9" fmla="*/ 32 h 51"/>
                  <a:gd name="T10" fmla="*/ 5 w 51"/>
                  <a:gd name="T11" fmla="*/ 29 h 51"/>
                  <a:gd name="T12" fmla="*/ 2 w 51"/>
                  <a:gd name="T13" fmla="*/ 23 h 51"/>
                  <a:gd name="T14" fmla="*/ 5 w 51"/>
                  <a:gd name="T15" fmla="*/ 19 h 51"/>
                  <a:gd name="T16" fmla="*/ 9 w 51"/>
                  <a:gd name="T17" fmla="*/ 21 h 51"/>
                  <a:gd name="T18" fmla="*/ 0 w 51"/>
                  <a:gd name="T19" fmla="*/ 14 h 51"/>
                  <a:gd name="T20" fmla="*/ 2 w 51"/>
                  <a:gd name="T21" fmla="*/ 10 h 51"/>
                  <a:gd name="T22" fmla="*/ 2 w 51"/>
                  <a:gd name="T23" fmla="*/ 4 h 51"/>
                  <a:gd name="T24" fmla="*/ 7 w 51"/>
                  <a:gd name="T25" fmla="*/ 8 h 51"/>
                  <a:gd name="T26" fmla="*/ 7 w 51"/>
                  <a:gd name="T27" fmla="*/ 4 h 51"/>
                  <a:gd name="T28" fmla="*/ 13 w 51"/>
                  <a:gd name="T29" fmla="*/ 4 h 51"/>
                  <a:gd name="T30" fmla="*/ 17 w 51"/>
                  <a:gd name="T31" fmla="*/ 0 h 51"/>
                  <a:gd name="T32" fmla="*/ 22 w 51"/>
                  <a:gd name="T33" fmla="*/ 2 h 51"/>
                  <a:gd name="T34" fmla="*/ 26 w 51"/>
                  <a:gd name="T35" fmla="*/ 4 h 51"/>
                  <a:gd name="T36" fmla="*/ 26 w 51"/>
                  <a:gd name="T37" fmla="*/ 8 h 51"/>
                  <a:gd name="T38" fmla="*/ 19 w 51"/>
                  <a:gd name="T39" fmla="*/ 12 h 51"/>
                  <a:gd name="T40" fmla="*/ 24 w 51"/>
                  <a:gd name="T41" fmla="*/ 14 h 51"/>
                  <a:gd name="T42" fmla="*/ 28 w 51"/>
                  <a:gd name="T43" fmla="*/ 6 h 51"/>
                  <a:gd name="T44" fmla="*/ 32 w 51"/>
                  <a:gd name="T45" fmla="*/ 6 h 51"/>
                  <a:gd name="T46" fmla="*/ 39 w 51"/>
                  <a:gd name="T47" fmla="*/ 6 h 51"/>
                  <a:gd name="T48" fmla="*/ 43 w 51"/>
                  <a:gd name="T49" fmla="*/ 8 h 51"/>
                  <a:gd name="T50" fmla="*/ 45 w 51"/>
                  <a:gd name="T51" fmla="*/ 14 h 51"/>
                  <a:gd name="T52" fmla="*/ 45 w 51"/>
                  <a:gd name="T53" fmla="*/ 19 h 51"/>
                  <a:gd name="T54" fmla="*/ 41 w 51"/>
                  <a:gd name="T55" fmla="*/ 19 h 51"/>
                  <a:gd name="T56" fmla="*/ 43 w 51"/>
                  <a:gd name="T57" fmla="*/ 23 h 51"/>
                  <a:gd name="T58" fmla="*/ 39 w 51"/>
                  <a:gd name="T59" fmla="*/ 25 h 51"/>
                  <a:gd name="T60" fmla="*/ 34 w 51"/>
                  <a:gd name="T61" fmla="*/ 23 h 51"/>
                  <a:gd name="T62" fmla="*/ 24 w 51"/>
                  <a:gd name="T63" fmla="*/ 19 h 51"/>
                  <a:gd name="T64" fmla="*/ 19 w 51"/>
                  <a:gd name="T65" fmla="*/ 17 h 51"/>
                  <a:gd name="T66" fmla="*/ 32 w 51"/>
                  <a:gd name="T67" fmla="*/ 23 h 51"/>
                  <a:gd name="T68" fmla="*/ 37 w 51"/>
                  <a:gd name="T69" fmla="*/ 27 h 51"/>
                  <a:gd name="T70" fmla="*/ 43 w 51"/>
                  <a:gd name="T71" fmla="*/ 25 h 51"/>
                  <a:gd name="T72" fmla="*/ 47 w 51"/>
                  <a:gd name="T73" fmla="*/ 25 h 51"/>
                  <a:gd name="T74" fmla="*/ 51 w 51"/>
                  <a:gd name="T75" fmla="*/ 38 h 51"/>
                  <a:gd name="T76" fmla="*/ 51 w 51"/>
                  <a:gd name="T77" fmla="*/ 42 h 51"/>
                  <a:gd name="T78" fmla="*/ 45 w 51"/>
                  <a:gd name="T79" fmla="*/ 42 h 51"/>
                  <a:gd name="T80" fmla="*/ 28 w 51"/>
                  <a:gd name="T81" fmla="*/ 32 h 51"/>
                  <a:gd name="T82" fmla="*/ 24 w 51"/>
                  <a:gd name="T83" fmla="*/ 29 h 51"/>
                  <a:gd name="T84" fmla="*/ 26 w 51"/>
                  <a:gd name="T85" fmla="*/ 36 h 51"/>
                  <a:gd name="T86" fmla="*/ 30 w 51"/>
                  <a:gd name="T87" fmla="*/ 42 h 51"/>
                  <a:gd name="T88" fmla="*/ 28 w 51"/>
                  <a:gd name="T89" fmla="*/ 51 h 51"/>
                  <a:gd name="T90" fmla="*/ 22 w 51"/>
                  <a:gd name="T91" fmla="*/ 51 h 51"/>
                  <a:gd name="T92" fmla="*/ 19 w 51"/>
                  <a:gd name="T93" fmla="*/ 44 h 51"/>
                  <a:gd name="T94" fmla="*/ 24 w 51"/>
                  <a:gd name="T95" fmla="*/ 4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1" h="51">
                    <a:moveTo>
                      <a:pt x="24" y="49"/>
                    </a:moveTo>
                    <a:lnTo>
                      <a:pt x="19" y="42"/>
                    </a:lnTo>
                    <a:lnTo>
                      <a:pt x="17" y="38"/>
                    </a:lnTo>
                    <a:lnTo>
                      <a:pt x="11" y="38"/>
                    </a:lnTo>
                    <a:lnTo>
                      <a:pt x="9" y="32"/>
                    </a:lnTo>
                    <a:lnTo>
                      <a:pt x="5" y="29"/>
                    </a:lnTo>
                    <a:lnTo>
                      <a:pt x="2" y="23"/>
                    </a:lnTo>
                    <a:lnTo>
                      <a:pt x="5" y="19"/>
                    </a:lnTo>
                    <a:lnTo>
                      <a:pt x="9" y="21"/>
                    </a:lnTo>
                    <a:lnTo>
                      <a:pt x="0" y="14"/>
                    </a:lnTo>
                    <a:lnTo>
                      <a:pt x="2" y="10"/>
                    </a:lnTo>
                    <a:lnTo>
                      <a:pt x="2" y="4"/>
                    </a:lnTo>
                    <a:lnTo>
                      <a:pt x="7" y="8"/>
                    </a:lnTo>
                    <a:lnTo>
                      <a:pt x="7" y="4"/>
                    </a:lnTo>
                    <a:lnTo>
                      <a:pt x="13" y="4"/>
                    </a:lnTo>
                    <a:lnTo>
                      <a:pt x="17" y="0"/>
                    </a:lnTo>
                    <a:lnTo>
                      <a:pt x="22" y="2"/>
                    </a:lnTo>
                    <a:lnTo>
                      <a:pt x="26" y="4"/>
                    </a:lnTo>
                    <a:lnTo>
                      <a:pt x="26" y="8"/>
                    </a:lnTo>
                    <a:lnTo>
                      <a:pt x="19" y="12"/>
                    </a:lnTo>
                    <a:lnTo>
                      <a:pt x="24" y="14"/>
                    </a:lnTo>
                    <a:lnTo>
                      <a:pt x="28" y="6"/>
                    </a:lnTo>
                    <a:lnTo>
                      <a:pt x="32" y="6"/>
                    </a:lnTo>
                    <a:lnTo>
                      <a:pt x="39" y="6"/>
                    </a:lnTo>
                    <a:lnTo>
                      <a:pt x="43" y="8"/>
                    </a:lnTo>
                    <a:lnTo>
                      <a:pt x="45" y="14"/>
                    </a:lnTo>
                    <a:lnTo>
                      <a:pt x="45" y="19"/>
                    </a:lnTo>
                    <a:lnTo>
                      <a:pt x="41" y="19"/>
                    </a:lnTo>
                    <a:lnTo>
                      <a:pt x="43" y="23"/>
                    </a:lnTo>
                    <a:lnTo>
                      <a:pt x="39" y="25"/>
                    </a:lnTo>
                    <a:lnTo>
                      <a:pt x="34" y="23"/>
                    </a:lnTo>
                    <a:lnTo>
                      <a:pt x="24" y="19"/>
                    </a:lnTo>
                    <a:lnTo>
                      <a:pt x="19" y="17"/>
                    </a:lnTo>
                    <a:lnTo>
                      <a:pt x="32" y="23"/>
                    </a:lnTo>
                    <a:lnTo>
                      <a:pt x="37" y="27"/>
                    </a:lnTo>
                    <a:lnTo>
                      <a:pt x="43" y="25"/>
                    </a:lnTo>
                    <a:lnTo>
                      <a:pt x="47" y="25"/>
                    </a:lnTo>
                    <a:lnTo>
                      <a:pt x="51" y="38"/>
                    </a:lnTo>
                    <a:lnTo>
                      <a:pt x="51" y="42"/>
                    </a:lnTo>
                    <a:lnTo>
                      <a:pt x="45" y="42"/>
                    </a:lnTo>
                    <a:lnTo>
                      <a:pt x="28" y="32"/>
                    </a:lnTo>
                    <a:lnTo>
                      <a:pt x="24" y="29"/>
                    </a:lnTo>
                    <a:lnTo>
                      <a:pt x="26" y="36"/>
                    </a:lnTo>
                    <a:lnTo>
                      <a:pt x="30" y="42"/>
                    </a:lnTo>
                    <a:lnTo>
                      <a:pt x="28" y="51"/>
                    </a:lnTo>
                    <a:lnTo>
                      <a:pt x="22" y="51"/>
                    </a:lnTo>
                    <a:lnTo>
                      <a:pt x="19" y="44"/>
                    </a:lnTo>
                    <a:lnTo>
                      <a:pt x="24" y="4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7" name="Freeform 1235"/>
              <p:cNvSpPr>
                <a:spLocks/>
              </p:cNvSpPr>
              <p:nvPr/>
            </p:nvSpPr>
            <p:spPr bwMode="auto">
              <a:xfrm>
                <a:off x="1371" y="3872"/>
                <a:ext cx="10" cy="19"/>
              </a:xfrm>
              <a:custGeom>
                <a:avLst/>
                <a:gdLst>
                  <a:gd name="T0" fmla="*/ 4 w 10"/>
                  <a:gd name="T1" fmla="*/ 0 h 19"/>
                  <a:gd name="T2" fmla="*/ 10 w 10"/>
                  <a:gd name="T3" fmla="*/ 4 h 19"/>
                  <a:gd name="T4" fmla="*/ 10 w 10"/>
                  <a:gd name="T5" fmla="*/ 15 h 19"/>
                  <a:gd name="T6" fmla="*/ 8 w 10"/>
                  <a:gd name="T7" fmla="*/ 19 h 19"/>
                  <a:gd name="T8" fmla="*/ 4 w 10"/>
                  <a:gd name="T9" fmla="*/ 17 h 19"/>
                  <a:gd name="T10" fmla="*/ 6 w 10"/>
                  <a:gd name="T11" fmla="*/ 13 h 19"/>
                  <a:gd name="T12" fmla="*/ 0 w 10"/>
                  <a:gd name="T13" fmla="*/ 0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10" y="4"/>
                    </a:lnTo>
                    <a:lnTo>
                      <a:pt x="10" y="15"/>
                    </a:lnTo>
                    <a:lnTo>
                      <a:pt x="8" y="19"/>
                    </a:lnTo>
                    <a:lnTo>
                      <a:pt x="4" y="17"/>
                    </a:lnTo>
                    <a:lnTo>
                      <a:pt x="6" y="13"/>
                    </a:lnTo>
                    <a:lnTo>
                      <a:pt x="0"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28" name="Freeform 1236"/>
              <p:cNvSpPr>
                <a:spLocks/>
              </p:cNvSpPr>
              <p:nvPr/>
            </p:nvSpPr>
            <p:spPr bwMode="auto">
              <a:xfrm>
                <a:off x="1371" y="3872"/>
                <a:ext cx="10" cy="19"/>
              </a:xfrm>
              <a:custGeom>
                <a:avLst/>
                <a:gdLst>
                  <a:gd name="T0" fmla="*/ 4 w 10"/>
                  <a:gd name="T1" fmla="*/ 0 h 19"/>
                  <a:gd name="T2" fmla="*/ 10 w 10"/>
                  <a:gd name="T3" fmla="*/ 4 h 19"/>
                  <a:gd name="T4" fmla="*/ 10 w 10"/>
                  <a:gd name="T5" fmla="*/ 15 h 19"/>
                  <a:gd name="T6" fmla="*/ 8 w 10"/>
                  <a:gd name="T7" fmla="*/ 19 h 19"/>
                  <a:gd name="T8" fmla="*/ 4 w 10"/>
                  <a:gd name="T9" fmla="*/ 17 h 19"/>
                  <a:gd name="T10" fmla="*/ 6 w 10"/>
                  <a:gd name="T11" fmla="*/ 13 h 19"/>
                  <a:gd name="T12" fmla="*/ 0 w 10"/>
                  <a:gd name="T13" fmla="*/ 0 h 19"/>
                  <a:gd name="T14" fmla="*/ 4 w 10"/>
                  <a:gd name="T15" fmla="*/ 0 h 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 h="19">
                    <a:moveTo>
                      <a:pt x="4" y="0"/>
                    </a:moveTo>
                    <a:lnTo>
                      <a:pt x="10" y="4"/>
                    </a:lnTo>
                    <a:lnTo>
                      <a:pt x="10" y="15"/>
                    </a:lnTo>
                    <a:lnTo>
                      <a:pt x="8" y="19"/>
                    </a:lnTo>
                    <a:lnTo>
                      <a:pt x="4" y="17"/>
                    </a:lnTo>
                    <a:lnTo>
                      <a:pt x="6" y="13"/>
                    </a:lnTo>
                    <a:lnTo>
                      <a:pt x="0" y="0"/>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29" name="Freeform 1237"/>
              <p:cNvSpPr>
                <a:spLocks/>
              </p:cNvSpPr>
              <p:nvPr/>
            </p:nvSpPr>
            <p:spPr bwMode="auto">
              <a:xfrm>
                <a:off x="1400" y="3863"/>
                <a:ext cx="5" cy="7"/>
              </a:xfrm>
              <a:custGeom>
                <a:avLst/>
                <a:gdLst>
                  <a:gd name="T0" fmla="*/ 3 w 5"/>
                  <a:gd name="T1" fmla="*/ 0 h 7"/>
                  <a:gd name="T2" fmla="*/ 5 w 5"/>
                  <a:gd name="T3" fmla="*/ 7 h 7"/>
                  <a:gd name="T4" fmla="*/ 0 w 5"/>
                  <a:gd name="T5" fmla="*/ 2 h 7"/>
                  <a:gd name="T6" fmla="*/ 3 w 5"/>
                  <a:gd name="T7" fmla="*/ 0 h 7"/>
                </a:gdLst>
                <a:ahLst/>
                <a:cxnLst>
                  <a:cxn ang="0">
                    <a:pos x="T0" y="T1"/>
                  </a:cxn>
                  <a:cxn ang="0">
                    <a:pos x="T2" y="T3"/>
                  </a:cxn>
                  <a:cxn ang="0">
                    <a:pos x="T4" y="T5"/>
                  </a:cxn>
                  <a:cxn ang="0">
                    <a:pos x="T6" y="T7"/>
                  </a:cxn>
                </a:cxnLst>
                <a:rect l="0" t="0" r="r" b="b"/>
                <a:pathLst>
                  <a:path w="5" h="7">
                    <a:moveTo>
                      <a:pt x="3" y="0"/>
                    </a:moveTo>
                    <a:lnTo>
                      <a:pt x="5" y="7"/>
                    </a:lnTo>
                    <a:lnTo>
                      <a:pt x="0" y="2"/>
                    </a:lnTo>
                    <a:lnTo>
                      <a:pt x="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0" name="Freeform 1238"/>
              <p:cNvSpPr>
                <a:spLocks/>
              </p:cNvSpPr>
              <p:nvPr/>
            </p:nvSpPr>
            <p:spPr bwMode="auto">
              <a:xfrm>
                <a:off x="1400" y="3863"/>
                <a:ext cx="5" cy="7"/>
              </a:xfrm>
              <a:custGeom>
                <a:avLst/>
                <a:gdLst>
                  <a:gd name="T0" fmla="*/ 3 w 5"/>
                  <a:gd name="T1" fmla="*/ 0 h 7"/>
                  <a:gd name="T2" fmla="*/ 5 w 5"/>
                  <a:gd name="T3" fmla="*/ 7 h 7"/>
                  <a:gd name="T4" fmla="*/ 0 w 5"/>
                  <a:gd name="T5" fmla="*/ 2 h 7"/>
                  <a:gd name="T6" fmla="*/ 3 w 5"/>
                  <a:gd name="T7" fmla="*/ 0 h 7"/>
                </a:gdLst>
                <a:ahLst/>
                <a:cxnLst>
                  <a:cxn ang="0">
                    <a:pos x="T0" y="T1"/>
                  </a:cxn>
                  <a:cxn ang="0">
                    <a:pos x="T2" y="T3"/>
                  </a:cxn>
                  <a:cxn ang="0">
                    <a:pos x="T4" y="T5"/>
                  </a:cxn>
                  <a:cxn ang="0">
                    <a:pos x="T6" y="T7"/>
                  </a:cxn>
                </a:cxnLst>
                <a:rect l="0" t="0" r="r" b="b"/>
                <a:pathLst>
                  <a:path w="5" h="7">
                    <a:moveTo>
                      <a:pt x="3" y="0"/>
                    </a:moveTo>
                    <a:lnTo>
                      <a:pt x="5" y="7"/>
                    </a:lnTo>
                    <a:lnTo>
                      <a:pt x="0" y="2"/>
                    </a:lnTo>
                    <a:lnTo>
                      <a:pt x="3"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1" name="Freeform 1239"/>
              <p:cNvSpPr>
                <a:spLocks/>
              </p:cNvSpPr>
              <p:nvPr/>
            </p:nvSpPr>
            <p:spPr bwMode="auto">
              <a:xfrm>
                <a:off x="1392" y="3810"/>
                <a:ext cx="40" cy="72"/>
              </a:xfrm>
              <a:custGeom>
                <a:avLst/>
                <a:gdLst>
                  <a:gd name="T0" fmla="*/ 17 w 40"/>
                  <a:gd name="T1" fmla="*/ 47 h 72"/>
                  <a:gd name="T2" fmla="*/ 13 w 40"/>
                  <a:gd name="T3" fmla="*/ 38 h 72"/>
                  <a:gd name="T4" fmla="*/ 6 w 40"/>
                  <a:gd name="T5" fmla="*/ 15 h 72"/>
                  <a:gd name="T6" fmla="*/ 2 w 40"/>
                  <a:gd name="T7" fmla="*/ 9 h 72"/>
                  <a:gd name="T8" fmla="*/ 0 w 40"/>
                  <a:gd name="T9" fmla="*/ 4 h 72"/>
                  <a:gd name="T10" fmla="*/ 0 w 40"/>
                  <a:gd name="T11" fmla="*/ 0 h 72"/>
                  <a:gd name="T12" fmla="*/ 4 w 40"/>
                  <a:gd name="T13" fmla="*/ 4 h 72"/>
                  <a:gd name="T14" fmla="*/ 8 w 40"/>
                  <a:gd name="T15" fmla="*/ 9 h 72"/>
                  <a:gd name="T16" fmla="*/ 13 w 40"/>
                  <a:gd name="T17" fmla="*/ 9 h 72"/>
                  <a:gd name="T18" fmla="*/ 19 w 40"/>
                  <a:gd name="T19" fmla="*/ 9 h 72"/>
                  <a:gd name="T20" fmla="*/ 23 w 40"/>
                  <a:gd name="T21" fmla="*/ 9 h 72"/>
                  <a:gd name="T22" fmla="*/ 25 w 40"/>
                  <a:gd name="T23" fmla="*/ 13 h 72"/>
                  <a:gd name="T24" fmla="*/ 30 w 40"/>
                  <a:gd name="T25" fmla="*/ 19 h 72"/>
                  <a:gd name="T26" fmla="*/ 36 w 40"/>
                  <a:gd name="T27" fmla="*/ 30 h 72"/>
                  <a:gd name="T28" fmla="*/ 38 w 40"/>
                  <a:gd name="T29" fmla="*/ 36 h 72"/>
                  <a:gd name="T30" fmla="*/ 34 w 40"/>
                  <a:gd name="T31" fmla="*/ 32 h 72"/>
                  <a:gd name="T32" fmla="*/ 32 w 40"/>
                  <a:gd name="T33" fmla="*/ 26 h 72"/>
                  <a:gd name="T34" fmla="*/ 28 w 40"/>
                  <a:gd name="T35" fmla="*/ 21 h 72"/>
                  <a:gd name="T36" fmla="*/ 25 w 40"/>
                  <a:gd name="T37" fmla="*/ 15 h 72"/>
                  <a:gd name="T38" fmla="*/ 19 w 40"/>
                  <a:gd name="T39" fmla="*/ 13 h 72"/>
                  <a:gd name="T40" fmla="*/ 21 w 40"/>
                  <a:gd name="T41" fmla="*/ 17 h 72"/>
                  <a:gd name="T42" fmla="*/ 23 w 40"/>
                  <a:gd name="T43" fmla="*/ 23 h 72"/>
                  <a:gd name="T44" fmla="*/ 30 w 40"/>
                  <a:gd name="T45" fmla="*/ 32 h 72"/>
                  <a:gd name="T46" fmla="*/ 36 w 40"/>
                  <a:gd name="T47" fmla="*/ 36 h 72"/>
                  <a:gd name="T48" fmla="*/ 36 w 40"/>
                  <a:gd name="T49" fmla="*/ 43 h 72"/>
                  <a:gd name="T50" fmla="*/ 36 w 40"/>
                  <a:gd name="T51" fmla="*/ 47 h 72"/>
                  <a:gd name="T52" fmla="*/ 40 w 40"/>
                  <a:gd name="T53" fmla="*/ 51 h 72"/>
                  <a:gd name="T54" fmla="*/ 36 w 40"/>
                  <a:gd name="T55" fmla="*/ 55 h 72"/>
                  <a:gd name="T56" fmla="*/ 30 w 40"/>
                  <a:gd name="T57" fmla="*/ 51 h 72"/>
                  <a:gd name="T58" fmla="*/ 34 w 40"/>
                  <a:gd name="T59" fmla="*/ 58 h 72"/>
                  <a:gd name="T60" fmla="*/ 32 w 40"/>
                  <a:gd name="T61" fmla="*/ 62 h 72"/>
                  <a:gd name="T62" fmla="*/ 28 w 40"/>
                  <a:gd name="T63" fmla="*/ 66 h 72"/>
                  <a:gd name="T64" fmla="*/ 25 w 40"/>
                  <a:gd name="T65" fmla="*/ 70 h 72"/>
                  <a:gd name="T66" fmla="*/ 21 w 40"/>
                  <a:gd name="T67" fmla="*/ 72 h 72"/>
                  <a:gd name="T68" fmla="*/ 19 w 40"/>
                  <a:gd name="T69" fmla="*/ 68 h 72"/>
                  <a:gd name="T70" fmla="*/ 23 w 40"/>
                  <a:gd name="T71" fmla="*/ 53 h 72"/>
                  <a:gd name="T72" fmla="*/ 19 w 40"/>
                  <a:gd name="T73" fmla="*/ 47 h 72"/>
                  <a:gd name="T74" fmla="*/ 23 w 40"/>
                  <a:gd name="T75" fmla="*/ 43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13" y="38"/>
                    </a:lnTo>
                    <a:lnTo>
                      <a:pt x="6" y="15"/>
                    </a:lnTo>
                    <a:lnTo>
                      <a:pt x="2" y="9"/>
                    </a:lnTo>
                    <a:lnTo>
                      <a:pt x="0" y="4"/>
                    </a:lnTo>
                    <a:lnTo>
                      <a:pt x="0" y="0"/>
                    </a:lnTo>
                    <a:lnTo>
                      <a:pt x="4" y="4"/>
                    </a:lnTo>
                    <a:lnTo>
                      <a:pt x="8" y="9"/>
                    </a:lnTo>
                    <a:lnTo>
                      <a:pt x="13" y="9"/>
                    </a:lnTo>
                    <a:lnTo>
                      <a:pt x="19" y="9"/>
                    </a:lnTo>
                    <a:lnTo>
                      <a:pt x="23" y="9"/>
                    </a:lnTo>
                    <a:lnTo>
                      <a:pt x="25" y="13"/>
                    </a:lnTo>
                    <a:lnTo>
                      <a:pt x="30" y="19"/>
                    </a:lnTo>
                    <a:lnTo>
                      <a:pt x="36" y="30"/>
                    </a:lnTo>
                    <a:lnTo>
                      <a:pt x="38" y="36"/>
                    </a:lnTo>
                    <a:lnTo>
                      <a:pt x="34" y="32"/>
                    </a:lnTo>
                    <a:lnTo>
                      <a:pt x="32" y="26"/>
                    </a:lnTo>
                    <a:lnTo>
                      <a:pt x="28" y="21"/>
                    </a:lnTo>
                    <a:lnTo>
                      <a:pt x="25" y="15"/>
                    </a:lnTo>
                    <a:lnTo>
                      <a:pt x="19" y="13"/>
                    </a:lnTo>
                    <a:lnTo>
                      <a:pt x="21" y="17"/>
                    </a:lnTo>
                    <a:lnTo>
                      <a:pt x="23" y="23"/>
                    </a:lnTo>
                    <a:lnTo>
                      <a:pt x="30" y="32"/>
                    </a:lnTo>
                    <a:lnTo>
                      <a:pt x="36" y="36"/>
                    </a:lnTo>
                    <a:lnTo>
                      <a:pt x="36" y="43"/>
                    </a:lnTo>
                    <a:lnTo>
                      <a:pt x="36" y="47"/>
                    </a:lnTo>
                    <a:lnTo>
                      <a:pt x="40" y="51"/>
                    </a:lnTo>
                    <a:lnTo>
                      <a:pt x="36" y="55"/>
                    </a:lnTo>
                    <a:lnTo>
                      <a:pt x="30" y="51"/>
                    </a:lnTo>
                    <a:lnTo>
                      <a:pt x="34" y="58"/>
                    </a:lnTo>
                    <a:lnTo>
                      <a:pt x="32" y="62"/>
                    </a:lnTo>
                    <a:lnTo>
                      <a:pt x="28" y="66"/>
                    </a:lnTo>
                    <a:lnTo>
                      <a:pt x="25" y="70"/>
                    </a:lnTo>
                    <a:lnTo>
                      <a:pt x="21" y="72"/>
                    </a:lnTo>
                    <a:lnTo>
                      <a:pt x="19" y="68"/>
                    </a:lnTo>
                    <a:lnTo>
                      <a:pt x="23" y="53"/>
                    </a:lnTo>
                    <a:lnTo>
                      <a:pt x="19" y="47"/>
                    </a:lnTo>
                    <a:lnTo>
                      <a:pt x="23" y="43"/>
                    </a:lnTo>
                    <a:lnTo>
                      <a:pt x="17" y="4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2" name="Freeform 1240"/>
              <p:cNvSpPr>
                <a:spLocks/>
              </p:cNvSpPr>
              <p:nvPr/>
            </p:nvSpPr>
            <p:spPr bwMode="auto">
              <a:xfrm>
                <a:off x="1392" y="3810"/>
                <a:ext cx="40" cy="72"/>
              </a:xfrm>
              <a:custGeom>
                <a:avLst/>
                <a:gdLst>
                  <a:gd name="T0" fmla="*/ 17 w 40"/>
                  <a:gd name="T1" fmla="*/ 47 h 72"/>
                  <a:gd name="T2" fmla="*/ 13 w 40"/>
                  <a:gd name="T3" fmla="*/ 38 h 72"/>
                  <a:gd name="T4" fmla="*/ 6 w 40"/>
                  <a:gd name="T5" fmla="*/ 15 h 72"/>
                  <a:gd name="T6" fmla="*/ 2 w 40"/>
                  <a:gd name="T7" fmla="*/ 9 h 72"/>
                  <a:gd name="T8" fmla="*/ 0 w 40"/>
                  <a:gd name="T9" fmla="*/ 4 h 72"/>
                  <a:gd name="T10" fmla="*/ 0 w 40"/>
                  <a:gd name="T11" fmla="*/ 0 h 72"/>
                  <a:gd name="T12" fmla="*/ 4 w 40"/>
                  <a:gd name="T13" fmla="*/ 4 h 72"/>
                  <a:gd name="T14" fmla="*/ 8 w 40"/>
                  <a:gd name="T15" fmla="*/ 9 h 72"/>
                  <a:gd name="T16" fmla="*/ 13 w 40"/>
                  <a:gd name="T17" fmla="*/ 9 h 72"/>
                  <a:gd name="T18" fmla="*/ 19 w 40"/>
                  <a:gd name="T19" fmla="*/ 9 h 72"/>
                  <a:gd name="T20" fmla="*/ 23 w 40"/>
                  <a:gd name="T21" fmla="*/ 9 h 72"/>
                  <a:gd name="T22" fmla="*/ 25 w 40"/>
                  <a:gd name="T23" fmla="*/ 13 h 72"/>
                  <a:gd name="T24" fmla="*/ 30 w 40"/>
                  <a:gd name="T25" fmla="*/ 19 h 72"/>
                  <a:gd name="T26" fmla="*/ 36 w 40"/>
                  <a:gd name="T27" fmla="*/ 30 h 72"/>
                  <a:gd name="T28" fmla="*/ 38 w 40"/>
                  <a:gd name="T29" fmla="*/ 36 h 72"/>
                  <a:gd name="T30" fmla="*/ 34 w 40"/>
                  <a:gd name="T31" fmla="*/ 32 h 72"/>
                  <a:gd name="T32" fmla="*/ 32 w 40"/>
                  <a:gd name="T33" fmla="*/ 26 h 72"/>
                  <a:gd name="T34" fmla="*/ 28 w 40"/>
                  <a:gd name="T35" fmla="*/ 21 h 72"/>
                  <a:gd name="T36" fmla="*/ 25 w 40"/>
                  <a:gd name="T37" fmla="*/ 15 h 72"/>
                  <a:gd name="T38" fmla="*/ 19 w 40"/>
                  <a:gd name="T39" fmla="*/ 13 h 72"/>
                  <a:gd name="T40" fmla="*/ 21 w 40"/>
                  <a:gd name="T41" fmla="*/ 17 h 72"/>
                  <a:gd name="T42" fmla="*/ 23 w 40"/>
                  <a:gd name="T43" fmla="*/ 23 h 72"/>
                  <a:gd name="T44" fmla="*/ 30 w 40"/>
                  <a:gd name="T45" fmla="*/ 32 h 72"/>
                  <a:gd name="T46" fmla="*/ 36 w 40"/>
                  <a:gd name="T47" fmla="*/ 36 h 72"/>
                  <a:gd name="T48" fmla="*/ 36 w 40"/>
                  <a:gd name="T49" fmla="*/ 43 h 72"/>
                  <a:gd name="T50" fmla="*/ 36 w 40"/>
                  <a:gd name="T51" fmla="*/ 47 h 72"/>
                  <a:gd name="T52" fmla="*/ 40 w 40"/>
                  <a:gd name="T53" fmla="*/ 51 h 72"/>
                  <a:gd name="T54" fmla="*/ 36 w 40"/>
                  <a:gd name="T55" fmla="*/ 55 h 72"/>
                  <a:gd name="T56" fmla="*/ 30 w 40"/>
                  <a:gd name="T57" fmla="*/ 51 h 72"/>
                  <a:gd name="T58" fmla="*/ 34 w 40"/>
                  <a:gd name="T59" fmla="*/ 58 h 72"/>
                  <a:gd name="T60" fmla="*/ 32 w 40"/>
                  <a:gd name="T61" fmla="*/ 62 h 72"/>
                  <a:gd name="T62" fmla="*/ 28 w 40"/>
                  <a:gd name="T63" fmla="*/ 66 h 72"/>
                  <a:gd name="T64" fmla="*/ 25 w 40"/>
                  <a:gd name="T65" fmla="*/ 70 h 72"/>
                  <a:gd name="T66" fmla="*/ 21 w 40"/>
                  <a:gd name="T67" fmla="*/ 72 h 72"/>
                  <a:gd name="T68" fmla="*/ 19 w 40"/>
                  <a:gd name="T69" fmla="*/ 68 h 72"/>
                  <a:gd name="T70" fmla="*/ 23 w 40"/>
                  <a:gd name="T71" fmla="*/ 53 h 72"/>
                  <a:gd name="T72" fmla="*/ 19 w 40"/>
                  <a:gd name="T73" fmla="*/ 47 h 72"/>
                  <a:gd name="T74" fmla="*/ 23 w 40"/>
                  <a:gd name="T75" fmla="*/ 43 h 72"/>
                  <a:gd name="T76" fmla="*/ 17 w 40"/>
                  <a:gd name="T77" fmla="*/ 47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 h="72">
                    <a:moveTo>
                      <a:pt x="17" y="47"/>
                    </a:moveTo>
                    <a:lnTo>
                      <a:pt x="13" y="38"/>
                    </a:lnTo>
                    <a:lnTo>
                      <a:pt x="6" y="15"/>
                    </a:lnTo>
                    <a:lnTo>
                      <a:pt x="2" y="9"/>
                    </a:lnTo>
                    <a:lnTo>
                      <a:pt x="0" y="4"/>
                    </a:lnTo>
                    <a:lnTo>
                      <a:pt x="0" y="0"/>
                    </a:lnTo>
                    <a:lnTo>
                      <a:pt x="4" y="4"/>
                    </a:lnTo>
                    <a:lnTo>
                      <a:pt x="8" y="9"/>
                    </a:lnTo>
                    <a:lnTo>
                      <a:pt x="13" y="9"/>
                    </a:lnTo>
                    <a:lnTo>
                      <a:pt x="19" y="9"/>
                    </a:lnTo>
                    <a:lnTo>
                      <a:pt x="23" y="9"/>
                    </a:lnTo>
                    <a:lnTo>
                      <a:pt x="25" y="13"/>
                    </a:lnTo>
                    <a:lnTo>
                      <a:pt x="30" y="19"/>
                    </a:lnTo>
                    <a:lnTo>
                      <a:pt x="36" y="30"/>
                    </a:lnTo>
                    <a:lnTo>
                      <a:pt x="38" y="36"/>
                    </a:lnTo>
                    <a:lnTo>
                      <a:pt x="34" y="32"/>
                    </a:lnTo>
                    <a:lnTo>
                      <a:pt x="32" y="26"/>
                    </a:lnTo>
                    <a:lnTo>
                      <a:pt x="28" y="21"/>
                    </a:lnTo>
                    <a:lnTo>
                      <a:pt x="25" y="15"/>
                    </a:lnTo>
                    <a:lnTo>
                      <a:pt x="19" y="13"/>
                    </a:lnTo>
                    <a:lnTo>
                      <a:pt x="21" y="17"/>
                    </a:lnTo>
                    <a:lnTo>
                      <a:pt x="23" y="23"/>
                    </a:lnTo>
                    <a:lnTo>
                      <a:pt x="30" y="32"/>
                    </a:lnTo>
                    <a:lnTo>
                      <a:pt x="36" y="36"/>
                    </a:lnTo>
                    <a:lnTo>
                      <a:pt x="36" y="43"/>
                    </a:lnTo>
                    <a:lnTo>
                      <a:pt x="36" y="47"/>
                    </a:lnTo>
                    <a:lnTo>
                      <a:pt x="40" y="51"/>
                    </a:lnTo>
                    <a:lnTo>
                      <a:pt x="36" y="55"/>
                    </a:lnTo>
                    <a:lnTo>
                      <a:pt x="30" y="51"/>
                    </a:lnTo>
                    <a:lnTo>
                      <a:pt x="34" y="58"/>
                    </a:lnTo>
                    <a:lnTo>
                      <a:pt x="32" y="62"/>
                    </a:lnTo>
                    <a:lnTo>
                      <a:pt x="28" y="66"/>
                    </a:lnTo>
                    <a:lnTo>
                      <a:pt x="25" y="70"/>
                    </a:lnTo>
                    <a:lnTo>
                      <a:pt x="21" y="72"/>
                    </a:lnTo>
                    <a:lnTo>
                      <a:pt x="19" y="68"/>
                    </a:lnTo>
                    <a:lnTo>
                      <a:pt x="23" y="53"/>
                    </a:lnTo>
                    <a:lnTo>
                      <a:pt x="19" y="47"/>
                    </a:lnTo>
                    <a:lnTo>
                      <a:pt x="23" y="43"/>
                    </a:lnTo>
                    <a:lnTo>
                      <a:pt x="17" y="47"/>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3" name="Freeform 1241"/>
              <p:cNvSpPr>
                <a:spLocks/>
              </p:cNvSpPr>
              <p:nvPr/>
            </p:nvSpPr>
            <p:spPr bwMode="auto">
              <a:xfrm>
                <a:off x="1417" y="3833"/>
                <a:ext cx="5" cy="5"/>
              </a:xfrm>
              <a:custGeom>
                <a:avLst/>
                <a:gdLst>
                  <a:gd name="T0" fmla="*/ 0 w 5"/>
                  <a:gd name="T1" fmla="*/ 0 h 5"/>
                  <a:gd name="T2" fmla="*/ 5 w 5"/>
                  <a:gd name="T3" fmla="*/ 5 h 5"/>
                  <a:gd name="T4" fmla="*/ 0 w 5"/>
                  <a:gd name="T5" fmla="*/ 0 h 5"/>
                  <a:gd name="T6" fmla="*/ 0 w 5"/>
                  <a:gd name="T7" fmla="*/ 0 h 5"/>
                </a:gdLst>
                <a:ahLst/>
                <a:cxnLst>
                  <a:cxn ang="0">
                    <a:pos x="T0" y="T1"/>
                  </a:cxn>
                  <a:cxn ang="0">
                    <a:pos x="T2" y="T3"/>
                  </a:cxn>
                  <a:cxn ang="0">
                    <a:pos x="T4" y="T5"/>
                  </a:cxn>
                  <a:cxn ang="0">
                    <a:pos x="T6" y="T7"/>
                  </a:cxn>
                </a:cxnLst>
                <a:rect l="0" t="0" r="r" b="b"/>
                <a:pathLst>
                  <a:path w="5" h="5">
                    <a:moveTo>
                      <a:pt x="0" y="0"/>
                    </a:moveTo>
                    <a:lnTo>
                      <a:pt x="5" y="5"/>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4" name="Freeform 1242"/>
              <p:cNvSpPr>
                <a:spLocks/>
              </p:cNvSpPr>
              <p:nvPr/>
            </p:nvSpPr>
            <p:spPr bwMode="auto">
              <a:xfrm>
                <a:off x="1417" y="3833"/>
                <a:ext cx="5" cy="5"/>
              </a:xfrm>
              <a:custGeom>
                <a:avLst/>
                <a:gdLst>
                  <a:gd name="T0" fmla="*/ 0 w 5"/>
                  <a:gd name="T1" fmla="*/ 0 h 5"/>
                  <a:gd name="T2" fmla="*/ 5 w 5"/>
                  <a:gd name="T3" fmla="*/ 5 h 5"/>
                  <a:gd name="T4" fmla="*/ 0 w 5"/>
                  <a:gd name="T5" fmla="*/ 0 h 5"/>
                  <a:gd name="T6" fmla="*/ 0 w 5"/>
                  <a:gd name="T7" fmla="*/ 0 h 5"/>
                </a:gdLst>
                <a:ahLst/>
                <a:cxnLst>
                  <a:cxn ang="0">
                    <a:pos x="T0" y="T1"/>
                  </a:cxn>
                  <a:cxn ang="0">
                    <a:pos x="T2" y="T3"/>
                  </a:cxn>
                  <a:cxn ang="0">
                    <a:pos x="T4" y="T5"/>
                  </a:cxn>
                  <a:cxn ang="0">
                    <a:pos x="T6" y="T7"/>
                  </a:cxn>
                </a:cxnLst>
                <a:rect l="0" t="0" r="r" b="b"/>
                <a:pathLst>
                  <a:path w="5" h="5">
                    <a:moveTo>
                      <a:pt x="0" y="0"/>
                    </a:moveTo>
                    <a:lnTo>
                      <a:pt x="5" y="5"/>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5" name="Freeform 1243"/>
              <p:cNvSpPr>
                <a:spLocks/>
              </p:cNvSpPr>
              <p:nvPr/>
            </p:nvSpPr>
            <p:spPr bwMode="auto">
              <a:xfrm>
                <a:off x="1377" y="3857"/>
                <a:ext cx="40" cy="74"/>
              </a:xfrm>
              <a:custGeom>
                <a:avLst/>
                <a:gdLst>
                  <a:gd name="T0" fmla="*/ 23 w 40"/>
                  <a:gd name="T1" fmla="*/ 55 h 74"/>
                  <a:gd name="T2" fmla="*/ 23 w 40"/>
                  <a:gd name="T3" fmla="*/ 51 h 74"/>
                  <a:gd name="T4" fmla="*/ 23 w 40"/>
                  <a:gd name="T5" fmla="*/ 47 h 74"/>
                  <a:gd name="T6" fmla="*/ 19 w 40"/>
                  <a:gd name="T7" fmla="*/ 49 h 74"/>
                  <a:gd name="T8" fmla="*/ 21 w 40"/>
                  <a:gd name="T9" fmla="*/ 45 h 74"/>
                  <a:gd name="T10" fmla="*/ 15 w 40"/>
                  <a:gd name="T11" fmla="*/ 45 h 74"/>
                  <a:gd name="T12" fmla="*/ 13 w 40"/>
                  <a:gd name="T13" fmla="*/ 34 h 74"/>
                  <a:gd name="T14" fmla="*/ 17 w 40"/>
                  <a:gd name="T15" fmla="*/ 30 h 74"/>
                  <a:gd name="T16" fmla="*/ 13 w 40"/>
                  <a:gd name="T17" fmla="*/ 28 h 74"/>
                  <a:gd name="T18" fmla="*/ 9 w 40"/>
                  <a:gd name="T19" fmla="*/ 23 h 74"/>
                  <a:gd name="T20" fmla="*/ 11 w 40"/>
                  <a:gd name="T21" fmla="*/ 17 h 74"/>
                  <a:gd name="T22" fmla="*/ 4 w 40"/>
                  <a:gd name="T23" fmla="*/ 19 h 74"/>
                  <a:gd name="T24" fmla="*/ 0 w 40"/>
                  <a:gd name="T25" fmla="*/ 15 h 74"/>
                  <a:gd name="T26" fmla="*/ 2 w 40"/>
                  <a:gd name="T27" fmla="*/ 11 h 74"/>
                  <a:gd name="T28" fmla="*/ 6 w 40"/>
                  <a:gd name="T29" fmla="*/ 0 h 74"/>
                  <a:gd name="T30" fmla="*/ 11 w 40"/>
                  <a:gd name="T31" fmla="*/ 2 h 74"/>
                  <a:gd name="T32" fmla="*/ 6 w 40"/>
                  <a:gd name="T33" fmla="*/ 6 h 74"/>
                  <a:gd name="T34" fmla="*/ 13 w 40"/>
                  <a:gd name="T35" fmla="*/ 4 h 74"/>
                  <a:gd name="T36" fmla="*/ 21 w 40"/>
                  <a:gd name="T37" fmla="*/ 11 h 74"/>
                  <a:gd name="T38" fmla="*/ 23 w 40"/>
                  <a:gd name="T39" fmla="*/ 15 h 74"/>
                  <a:gd name="T40" fmla="*/ 28 w 40"/>
                  <a:gd name="T41" fmla="*/ 19 h 74"/>
                  <a:gd name="T42" fmla="*/ 36 w 40"/>
                  <a:gd name="T43" fmla="*/ 43 h 74"/>
                  <a:gd name="T44" fmla="*/ 40 w 40"/>
                  <a:gd name="T45" fmla="*/ 53 h 74"/>
                  <a:gd name="T46" fmla="*/ 38 w 40"/>
                  <a:gd name="T47" fmla="*/ 57 h 74"/>
                  <a:gd name="T48" fmla="*/ 40 w 40"/>
                  <a:gd name="T49" fmla="*/ 68 h 74"/>
                  <a:gd name="T50" fmla="*/ 40 w 40"/>
                  <a:gd name="T51" fmla="*/ 74 h 74"/>
                  <a:gd name="T52" fmla="*/ 36 w 40"/>
                  <a:gd name="T53" fmla="*/ 70 h 74"/>
                  <a:gd name="T54" fmla="*/ 32 w 40"/>
                  <a:gd name="T55" fmla="*/ 66 h 74"/>
                  <a:gd name="T56" fmla="*/ 28 w 40"/>
                  <a:gd name="T57" fmla="*/ 62 h 74"/>
                  <a:gd name="T58" fmla="*/ 26 w 40"/>
                  <a:gd name="T59" fmla="*/ 55 h 74"/>
                  <a:gd name="T60" fmla="*/ 26 w 40"/>
                  <a:gd name="T61" fmla="*/ 49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3" y="51"/>
                    </a:lnTo>
                    <a:lnTo>
                      <a:pt x="23" y="47"/>
                    </a:lnTo>
                    <a:lnTo>
                      <a:pt x="19" y="49"/>
                    </a:lnTo>
                    <a:lnTo>
                      <a:pt x="21" y="45"/>
                    </a:lnTo>
                    <a:lnTo>
                      <a:pt x="15" y="45"/>
                    </a:lnTo>
                    <a:lnTo>
                      <a:pt x="13" y="34"/>
                    </a:lnTo>
                    <a:lnTo>
                      <a:pt x="17" y="30"/>
                    </a:lnTo>
                    <a:lnTo>
                      <a:pt x="13" y="28"/>
                    </a:lnTo>
                    <a:lnTo>
                      <a:pt x="9" y="23"/>
                    </a:lnTo>
                    <a:lnTo>
                      <a:pt x="11" y="17"/>
                    </a:lnTo>
                    <a:lnTo>
                      <a:pt x="4" y="19"/>
                    </a:lnTo>
                    <a:lnTo>
                      <a:pt x="0" y="15"/>
                    </a:lnTo>
                    <a:lnTo>
                      <a:pt x="2" y="11"/>
                    </a:lnTo>
                    <a:lnTo>
                      <a:pt x="6" y="0"/>
                    </a:lnTo>
                    <a:lnTo>
                      <a:pt x="11" y="2"/>
                    </a:lnTo>
                    <a:lnTo>
                      <a:pt x="6" y="6"/>
                    </a:lnTo>
                    <a:lnTo>
                      <a:pt x="13" y="4"/>
                    </a:lnTo>
                    <a:lnTo>
                      <a:pt x="21" y="11"/>
                    </a:lnTo>
                    <a:lnTo>
                      <a:pt x="23" y="15"/>
                    </a:lnTo>
                    <a:lnTo>
                      <a:pt x="28" y="19"/>
                    </a:lnTo>
                    <a:lnTo>
                      <a:pt x="36" y="43"/>
                    </a:lnTo>
                    <a:lnTo>
                      <a:pt x="40" y="53"/>
                    </a:lnTo>
                    <a:lnTo>
                      <a:pt x="38" y="57"/>
                    </a:lnTo>
                    <a:lnTo>
                      <a:pt x="40" y="68"/>
                    </a:lnTo>
                    <a:lnTo>
                      <a:pt x="40" y="74"/>
                    </a:lnTo>
                    <a:lnTo>
                      <a:pt x="36" y="70"/>
                    </a:lnTo>
                    <a:lnTo>
                      <a:pt x="32" y="66"/>
                    </a:lnTo>
                    <a:lnTo>
                      <a:pt x="28" y="62"/>
                    </a:lnTo>
                    <a:lnTo>
                      <a:pt x="26" y="55"/>
                    </a:lnTo>
                    <a:lnTo>
                      <a:pt x="26" y="49"/>
                    </a:lnTo>
                    <a:lnTo>
                      <a:pt x="23" y="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6" name="Freeform 1244"/>
              <p:cNvSpPr>
                <a:spLocks/>
              </p:cNvSpPr>
              <p:nvPr/>
            </p:nvSpPr>
            <p:spPr bwMode="auto">
              <a:xfrm>
                <a:off x="1377" y="3857"/>
                <a:ext cx="40" cy="74"/>
              </a:xfrm>
              <a:custGeom>
                <a:avLst/>
                <a:gdLst>
                  <a:gd name="T0" fmla="*/ 23 w 40"/>
                  <a:gd name="T1" fmla="*/ 55 h 74"/>
                  <a:gd name="T2" fmla="*/ 23 w 40"/>
                  <a:gd name="T3" fmla="*/ 51 h 74"/>
                  <a:gd name="T4" fmla="*/ 23 w 40"/>
                  <a:gd name="T5" fmla="*/ 47 h 74"/>
                  <a:gd name="T6" fmla="*/ 19 w 40"/>
                  <a:gd name="T7" fmla="*/ 49 h 74"/>
                  <a:gd name="T8" fmla="*/ 21 w 40"/>
                  <a:gd name="T9" fmla="*/ 45 h 74"/>
                  <a:gd name="T10" fmla="*/ 15 w 40"/>
                  <a:gd name="T11" fmla="*/ 45 h 74"/>
                  <a:gd name="T12" fmla="*/ 13 w 40"/>
                  <a:gd name="T13" fmla="*/ 34 h 74"/>
                  <a:gd name="T14" fmla="*/ 17 w 40"/>
                  <a:gd name="T15" fmla="*/ 30 h 74"/>
                  <a:gd name="T16" fmla="*/ 13 w 40"/>
                  <a:gd name="T17" fmla="*/ 28 h 74"/>
                  <a:gd name="T18" fmla="*/ 9 w 40"/>
                  <a:gd name="T19" fmla="*/ 23 h 74"/>
                  <a:gd name="T20" fmla="*/ 11 w 40"/>
                  <a:gd name="T21" fmla="*/ 17 h 74"/>
                  <a:gd name="T22" fmla="*/ 4 w 40"/>
                  <a:gd name="T23" fmla="*/ 19 h 74"/>
                  <a:gd name="T24" fmla="*/ 0 w 40"/>
                  <a:gd name="T25" fmla="*/ 15 h 74"/>
                  <a:gd name="T26" fmla="*/ 2 w 40"/>
                  <a:gd name="T27" fmla="*/ 11 h 74"/>
                  <a:gd name="T28" fmla="*/ 6 w 40"/>
                  <a:gd name="T29" fmla="*/ 0 h 74"/>
                  <a:gd name="T30" fmla="*/ 11 w 40"/>
                  <a:gd name="T31" fmla="*/ 2 h 74"/>
                  <a:gd name="T32" fmla="*/ 6 w 40"/>
                  <a:gd name="T33" fmla="*/ 6 h 74"/>
                  <a:gd name="T34" fmla="*/ 13 w 40"/>
                  <a:gd name="T35" fmla="*/ 4 h 74"/>
                  <a:gd name="T36" fmla="*/ 21 w 40"/>
                  <a:gd name="T37" fmla="*/ 11 h 74"/>
                  <a:gd name="T38" fmla="*/ 23 w 40"/>
                  <a:gd name="T39" fmla="*/ 15 h 74"/>
                  <a:gd name="T40" fmla="*/ 28 w 40"/>
                  <a:gd name="T41" fmla="*/ 19 h 74"/>
                  <a:gd name="T42" fmla="*/ 36 w 40"/>
                  <a:gd name="T43" fmla="*/ 43 h 74"/>
                  <a:gd name="T44" fmla="*/ 40 w 40"/>
                  <a:gd name="T45" fmla="*/ 53 h 74"/>
                  <a:gd name="T46" fmla="*/ 38 w 40"/>
                  <a:gd name="T47" fmla="*/ 57 h 74"/>
                  <a:gd name="T48" fmla="*/ 40 w 40"/>
                  <a:gd name="T49" fmla="*/ 68 h 74"/>
                  <a:gd name="T50" fmla="*/ 40 w 40"/>
                  <a:gd name="T51" fmla="*/ 74 h 74"/>
                  <a:gd name="T52" fmla="*/ 36 w 40"/>
                  <a:gd name="T53" fmla="*/ 70 h 74"/>
                  <a:gd name="T54" fmla="*/ 32 w 40"/>
                  <a:gd name="T55" fmla="*/ 66 h 74"/>
                  <a:gd name="T56" fmla="*/ 28 w 40"/>
                  <a:gd name="T57" fmla="*/ 62 h 74"/>
                  <a:gd name="T58" fmla="*/ 26 w 40"/>
                  <a:gd name="T59" fmla="*/ 55 h 74"/>
                  <a:gd name="T60" fmla="*/ 26 w 40"/>
                  <a:gd name="T61" fmla="*/ 49 h 74"/>
                  <a:gd name="T62" fmla="*/ 23 w 40"/>
                  <a:gd name="T63" fmla="*/ 55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0" h="74">
                    <a:moveTo>
                      <a:pt x="23" y="55"/>
                    </a:moveTo>
                    <a:lnTo>
                      <a:pt x="23" y="51"/>
                    </a:lnTo>
                    <a:lnTo>
                      <a:pt x="23" y="47"/>
                    </a:lnTo>
                    <a:lnTo>
                      <a:pt x="19" y="49"/>
                    </a:lnTo>
                    <a:lnTo>
                      <a:pt x="21" y="45"/>
                    </a:lnTo>
                    <a:lnTo>
                      <a:pt x="15" y="45"/>
                    </a:lnTo>
                    <a:lnTo>
                      <a:pt x="13" y="34"/>
                    </a:lnTo>
                    <a:lnTo>
                      <a:pt x="17" y="30"/>
                    </a:lnTo>
                    <a:lnTo>
                      <a:pt x="13" y="28"/>
                    </a:lnTo>
                    <a:lnTo>
                      <a:pt x="9" y="23"/>
                    </a:lnTo>
                    <a:lnTo>
                      <a:pt x="11" y="17"/>
                    </a:lnTo>
                    <a:lnTo>
                      <a:pt x="4" y="19"/>
                    </a:lnTo>
                    <a:lnTo>
                      <a:pt x="0" y="15"/>
                    </a:lnTo>
                    <a:lnTo>
                      <a:pt x="2" y="11"/>
                    </a:lnTo>
                    <a:lnTo>
                      <a:pt x="6" y="0"/>
                    </a:lnTo>
                    <a:lnTo>
                      <a:pt x="11" y="2"/>
                    </a:lnTo>
                    <a:lnTo>
                      <a:pt x="6" y="6"/>
                    </a:lnTo>
                    <a:lnTo>
                      <a:pt x="13" y="4"/>
                    </a:lnTo>
                    <a:lnTo>
                      <a:pt x="21" y="11"/>
                    </a:lnTo>
                    <a:lnTo>
                      <a:pt x="23" y="15"/>
                    </a:lnTo>
                    <a:lnTo>
                      <a:pt x="28" y="19"/>
                    </a:lnTo>
                    <a:lnTo>
                      <a:pt x="36" y="43"/>
                    </a:lnTo>
                    <a:lnTo>
                      <a:pt x="40" y="53"/>
                    </a:lnTo>
                    <a:lnTo>
                      <a:pt x="38" y="57"/>
                    </a:lnTo>
                    <a:lnTo>
                      <a:pt x="40" y="68"/>
                    </a:lnTo>
                    <a:lnTo>
                      <a:pt x="40" y="74"/>
                    </a:lnTo>
                    <a:lnTo>
                      <a:pt x="36" y="70"/>
                    </a:lnTo>
                    <a:lnTo>
                      <a:pt x="32" y="66"/>
                    </a:lnTo>
                    <a:lnTo>
                      <a:pt x="28" y="62"/>
                    </a:lnTo>
                    <a:lnTo>
                      <a:pt x="26" y="55"/>
                    </a:lnTo>
                    <a:lnTo>
                      <a:pt x="26" y="49"/>
                    </a:lnTo>
                    <a:lnTo>
                      <a:pt x="23" y="55"/>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7" name="Freeform 1245"/>
              <p:cNvSpPr>
                <a:spLocks/>
              </p:cNvSpPr>
              <p:nvPr/>
            </p:nvSpPr>
            <p:spPr bwMode="auto">
              <a:xfrm>
                <a:off x="1422" y="3889"/>
                <a:ext cx="21" cy="51"/>
              </a:xfrm>
              <a:custGeom>
                <a:avLst/>
                <a:gdLst>
                  <a:gd name="T0" fmla="*/ 15 w 21"/>
                  <a:gd name="T1" fmla="*/ 51 h 51"/>
                  <a:gd name="T2" fmla="*/ 10 w 21"/>
                  <a:gd name="T3" fmla="*/ 45 h 51"/>
                  <a:gd name="T4" fmla="*/ 8 w 21"/>
                  <a:gd name="T5" fmla="*/ 34 h 51"/>
                  <a:gd name="T6" fmla="*/ 8 w 21"/>
                  <a:gd name="T7" fmla="*/ 30 h 51"/>
                  <a:gd name="T8" fmla="*/ 15 w 21"/>
                  <a:gd name="T9" fmla="*/ 28 h 51"/>
                  <a:gd name="T10" fmla="*/ 6 w 21"/>
                  <a:gd name="T11" fmla="*/ 19 h 51"/>
                  <a:gd name="T12" fmla="*/ 8 w 21"/>
                  <a:gd name="T13" fmla="*/ 15 h 51"/>
                  <a:gd name="T14" fmla="*/ 4 w 21"/>
                  <a:gd name="T15" fmla="*/ 15 h 51"/>
                  <a:gd name="T16" fmla="*/ 0 w 21"/>
                  <a:gd name="T17" fmla="*/ 11 h 51"/>
                  <a:gd name="T18" fmla="*/ 4 w 21"/>
                  <a:gd name="T19" fmla="*/ 6 h 51"/>
                  <a:gd name="T20" fmla="*/ 2 w 21"/>
                  <a:gd name="T21" fmla="*/ 2 h 51"/>
                  <a:gd name="T22" fmla="*/ 8 w 21"/>
                  <a:gd name="T23" fmla="*/ 2 h 51"/>
                  <a:gd name="T24" fmla="*/ 4 w 21"/>
                  <a:gd name="T25" fmla="*/ 0 h 51"/>
                  <a:gd name="T26" fmla="*/ 8 w 21"/>
                  <a:gd name="T27" fmla="*/ 0 h 51"/>
                  <a:gd name="T28" fmla="*/ 13 w 21"/>
                  <a:gd name="T29" fmla="*/ 4 h 51"/>
                  <a:gd name="T30" fmla="*/ 15 w 21"/>
                  <a:gd name="T31" fmla="*/ 8 h 51"/>
                  <a:gd name="T32" fmla="*/ 15 w 21"/>
                  <a:gd name="T33" fmla="*/ 15 h 51"/>
                  <a:gd name="T34" fmla="*/ 17 w 21"/>
                  <a:gd name="T35" fmla="*/ 11 h 51"/>
                  <a:gd name="T36" fmla="*/ 15 w 21"/>
                  <a:gd name="T37" fmla="*/ 4 h 51"/>
                  <a:gd name="T38" fmla="*/ 21 w 21"/>
                  <a:gd name="T39" fmla="*/ 8 h 51"/>
                  <a:gd name="T40" fmla="*/ 21 w 21"/>
                  <a:gd name="T41" fmla="*/ 13 h 51"/>
                  <a:gd name="T42" fmla="*/ 19 w 21"/>
                  <a:gd name="T43" fmla="*/ 17 h 51"/>
                  <a:gd name="T44" fmla="*/ 19 w 21"/>
                  <a:gd name="T45" fmla="*/ 28 h 51"/>
                  <a:gd name="T46" fmla="*/ 17 w 21"/>
                  <a:gd name="T47" fmla="*/ 32 h 51"/>
                  <a:gd name="T48" fmla="*/ 19 w 21"/>
                  <a:gd name="T49" fmla="*/ 38 h 51"/>
                  <a:gd name="T50" fmla="*/ 17 w 21"/>
                  <a:gd name="T51" fmla="*/ 42 h 51"/>
                  <a:gd name="T52" fmla="*/ 15 w 21"/>
                  <a:gd name="T53" fmla="*/ 38 h 51"/>
                  <a:gd name="T54" fmla="*/ 10 w 21"/>
                  <a:gd name="T55" fmla="*/ 42 h 51"/>
                  <a:gd name="T56" fmla="*/ 15 w 21"/>
                  <a:gd name="T57" fmla="*/ 47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0" y="45"/>
                    </a:lnTo>
                    <a:lnTo>
                      <a:pt x="8" y="34"/>
                    </a:lnTo>
                    <a:lnTo>
                      <a:pt x="8" y="30"/>
                    </a:lnTo>
                    <a:lnTo>
                      <a:pt x="15" y="28"/>
                    </a:lnTo>
                    <a:lnTo>
                      <a:pt x="6" y="19"/>
                    </a:lnTo>
                    <a:lnTo>
                      <a:pt x="8" y="15"/>
                    </a:lnTo>
                    <a:lnTo>
                      <a:pt x="4" y="15"/>
                    </a:lnTo>
                    <a:lnTo>
                      <a:pt x="0" y="11"/>
                    </a:lnTo>
                    <a:lnTo>
                      <a:pt x="4" y="6"/>
                    </a:lnTo>
                    <a:lnTo>
                      <a:pt x="2" y="2"/>
                    </a:lnTo>
                    <a:lnTo>
                      <a:pt x="8" y="2"/>
                    </a:lnTo>
                    <a:lnTo>
                      <a:pt x="4" y="0"/>
                    </a:lnTo>
                    <a:lnTo>
                      <a:pt x="8" y="0"/>
                    </a:lnTo>
                    <a:lnTo>
                      <a:pt x="13" y="4"/>
                    </a:lnTo>
                    <a:lnTo>
                      <a:pt x="15" y="8"/>
                    </a:lnTo>
                    <a:lnTo>
                      <a:pt x="15" y="15"/>
                    </a:lnTo>
                    <a:lnTo>
                      <a:pt x="17" y="11"/>
                    </a:lnTo>
                    <a:lnTo>
                      <a:pt x="15" y="4"/>
                    </a:lnTo>
                    <a:lnTo>
                      <a:pt x="21" y="8"/>
                    </a:lnTo>
                    <a:lnTo>
                      <a:pt x="21" y="13"/>
                    </a:lnTo>
                    <a:lnTo>
                      <a:pt x="19" y="17"/>
                    </a:lnTo>
                    <a:lnTo>
                      <a:pt x="19" y="28"/>
                    </a:lnTo>
                    <a:lnTo>
                      <a:pt x="17" y="32"/>
                    </a:lnTo>
                    <a:lnTo>
                      <a:pt x="19" y="38"/>
                    </a:lnTo>
                    <a:lnTo>
                      <a:pt x="17" y="42"/>
                    </a:lnTo>
                    <a:lnTo>
                      <a:pt x="15" y="38"/>
                    </a:lnTo>
                    <a:lnTo>
                      <a:pt x="10" y="42"/>
                    </a:lnTo>
                    <a:lnTo>
                      <a:pt x="15" y="47"/>
                    </a:lnTo>
                    <a:lnTo>
                      <a:pt x="15" y="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38" name="Freeform 1246"/>
              <p:cNvSpPr>
                <a:spLocks/>
              </p:cNvSpPr>
              <p:nvPr/>
            </p:nvSpPr>
            <p:spPr bwMode="auto">
              <a:xfrm>
                <a:off x="1422" y="3889"/>
                <a:ext cx="21" cy="51"/>
              </a:xfrm>
              <a:custGeom>
                <a:avLst/>
                <a:gdLst>
                  <a:gd name="T0" fmla="*/ 15 w 21"/>
                  <a:gd name="T1" fmla="*/ 51 h 51"/>
                  <a:gd name="T2" fmla="*/ 10 w 21"/>
                  <a:gd name="T3" fmla="*/ 45 h 51"/>
                  <a:gd name="T4" fmla="*/ 8 w 21"/>
                  <a:gd name="T5" fmla="*/ 34 h 51"/>
                  <a:gd name="T6" fmla="*/ 8 w 21"/>
                  <a:gd name="T7" fmla="*/ 30 h 51"/>
                  <a:gd name="T8" fmla="*/ 15 w 21"/>
                  <a:gd name="T9" fmla="*/ 28 h 51"/>
                  <a:gd name="T10" fmla="*/ 6 w 21"/>
                  <a:gd name="T11" fmla="*/ 19 h 51"/>
                  <a:gd name="T12" fmla="*/ 8 w 21"/>
                  <a:gd name="T13" fmla="*/ 15 h 51"/>
                  <a:gd name="T14" fmla="*/ 4 w 21"/>
                  <a:gd name="T15" fmla="*/ 15 h 51"/>
                  <a:gd name="T16" fmla="*/ 0 w 21"/>
                  <a:gd name="T17" fmla="*/ 11 h 51"/>
                  <a:gd name="T18" fmla="*/ 4 w 21"/>
                  <a:gd name="T19" fmla="*/ 6 h 51"/>
                  <a:gd name="T20" fmla="*/ 2 w 21"/>
                  <a:gd name="T21" fmla="*/ 2 h 51"/>
                  <a:gd name="T22" fmla="*/ 8 w 21"/>
                  <a:gd name="T23" fmla="*/ 2 h 51"/>
                  <a:gd name="T24" fmla="*/ 4 w 21"/>
                  <a:gd name="T25" fmla="*/ 0 h 51"/>
                  <a:gd name="T26" fmla="*/ 8 w 21"/>
                  <a:gd name="T27" fmla="*/ 0 h 51"/>
                  <a:gd name="T28" fmla="*/ 13 w 21"/>
                  <a:gd name="T29" fmla="*/ 4 h 51"/>
                  <a:gd name="T30" fmla="*/ 15 w 21"/>
                  <a:gd name="T31" fmla="*/ 8 h 51"/>
                  <a:gd name="T32" fmla="*/ 15 w 21"/>
                  <a:gd name="T33" fmla="*/ 15 h 51"/>
                  <a:gd name="T34" fmla="*/ 17 w 21"/>
                  <a:gd name="T35" fmla="*/ 11 h 51"/>
                  <a:gd name="T36" fmla="*/ 15 w 21"/>
                  <a:gd name="T37" fmla="*/ 4 h 51"/>
                  <a:gd name="T38" fmla="*/ 21 w 21"/>
                  <a:gd name="T39" fmla="*/ 8 h 51"/>
                  <a:gd name="T40" fmla="*/ 21 w 21"/>
                  <a:gd name="T41" fmla="*/ 13 h 51"/>
                  <a:gd name="T42" fmla="*/ 19 w 21"/>
                  <a:gd name="T43" fmla="*/ 17 h 51"/>
                  <a:gd name="T44" fmla="*/ 19 w 21"/>
                  <a:gd name="T45" fmla="*/ 28 h 51"/>
                  <a:gd name="T46" fmla="*/ 17 w 21"/>
                  <a:gd name="T47" fmla="*/ 32 h 51"/>
                  <a:gd name="T48" fmla="*/ 19 w 21"/>
                  <a:gd name="T49" fmla="*/ 38 h 51"/>
                  <a:gd name="T50" fmla="*/ 17 w 21"/>
                  <a:gd name="T51" fmla="*/ 42 h 51"/>
                  <a:gd name="T52" fmla="*/ 15 w 21"/>
                  <a:gd name="T53" fmla="*/ 38 h 51"/>
                  <a:gd name="T54" fmla="*/ 10 w 21"/>
                  <a:gd name="T55" fmla="*/ 42 h 51"/>
                  <a:gd name="T56" fmla="*/ 15 w 21"/>
                  <a:gd name="T57" fmla="*/ 47 h 51"/>
                  <a:gd name="T58" fmla="*/ 15 w 21"/>
                  <a:gd name="T5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 h="51">
                    <a:moveTo>
                      <a:pt x="15" y="51"/>
                    </a:moveTo>
                    <a:lnTo>
                      <a:pt x="10" y="45"/>
                    </a:lnTo>
                    <a:lnTo>
                      <a:pt x="8" y="34"/>
                    </a:lnTo>
                    <a:lnTo>
                      <a:pt x="8" y="30"/>
                    </a:lnTo>
                    <a:lnTo>
                      <a:pt x="15" y="28"/>
                    </a:lnTo>
                    <a:lnTo>
                      <a:pt x="6" y="19"/>
                    </a:lnTo>
                    <a:lnTo>
                      <a:pt x="8" y="15"/>
                    </a:lnTo>
                    <a:lnTo>
                      <a:pt x="4" y="15"/>
                    </a:lnTo>
                    <a:lnTo>
                      <a:pt x="0" y="11"/>
                    </a:lnTo>
                    <a:lnTo>
                      <a:pt x="4" y="6"/>
                    </a:lnTo>
                    <a:lnTo>
                      <a:pt x="2" y="2"/>
                    </a:lnTo>
                    <a:lnTo>
                      <a:pt x="8" y="2"/>
                    </a:lnTo>
                    <a:lnTo>
                      <a:pt x="4" y="0"/>
                    </a:lnTo>
                    <a:lnTo>
                      <a:pt x="8" y="0"/>
                    </a:lnTo>
                    <a:lnTo>
                      <a:pt x="13" y="4"/>
                    </a:lnTo>
                    <a:lnTo>
                      <a:pt x="15" y="8"/>
                    </a:lnTo>
                    <a:lnTo>
                      <a:pt x="15" y="15"/>
                    </a:lnTo>
                    <a:lnTo>
                      <a:pt x="17" y="11"/>
                    </a:lnTo>
                    <a:lnTo>
                      <a:pt x="15" y="4"/>
                    </a:lnTo>
                    <a:lnTo>
                      <a:pt x="21" y="8"/>
                    </a:lnTo>
                    <a:lnTo>
                      <a:pt x="21" y="13"/>
                    </a:lnTo>
                    <a:lnTo>
                      <a:pt x="19" y="17"/>
                    </a:lnTo>
                    <a:lnTo>
                      <a:pt x="19" y="28"/>
                    </a:lnTo>
                    <a:lnTo>
                      <a:pt x="17" y="32"/>
                    </a:lnTo>
                    <a:lnTo>
                      <a:pt x="19" y="38"/>
                    </a:lnTo>
                    <a:lnTo>
                      <a:pt x="17" y="42"/>
                    </a:lnTo>
                    <a:lnTo>
                      <a:pt x="15" y="38"/>
                    </a:lnTo>
                    <a:lnTo>
                      <a:pt x="10" y="42"/>
                    </a:lnTo>
                    <a:lnTo>
                      <a:pt x="15" y="47"/>
                    </a:lnTo>
                    <a:lnTo>
                      <a:pt x="15" y="51"/>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39" name="Freeform 1247"/>
              <p:cNvSpPr>
                <a:spLocks/>
              </p:cNvSpPr>
              <p:nvPr/>
            </p:nvSpPr>
            <p:spPr bwMode="auto">
              <a:xfrm>
                <a:off x="1430" y="3946"/>
                <a:ext cx="9" cy="5"/>
              </a:xfrm>
              <a:custGeom>
                <a:avLst/>
                <a:gdLst>
                  <a:gd name="T0" fmla="*/ 9 w 9"/>
                  <a:gd name="T1" fmla="*/ 0 h 5"/>
                  <a:gd name="T2" fmla="*/ 5 w 9"/>
                  <a:gd name="T3" fmla="*/ 5 h 5"/>
                  <a:gd name="T4" fmla="*/ 0 w 9"/>
                  <a:gd name="T5" fmla="*/ 0 h 5"/>
                  <a:gd name="T6" fmla="*/ 9 w 9"/>
                  <a:gd name="T7" fmla="*/ 0 h 5"/>
                </a:gdLst>
                <a:ahLst/>
                <a:cxnLst>
                  <a:cxn ang="0">
                    <a:pos x="T0" y="T1"/>
                  </a:cxn>
                  <a:cxn ang="0">
                    <a:pos x="T2" y="T3"/>
                  </a:cxn>
                  <a:cxn ang="0">
                    <a:pos x="T4" y="T5"/>
                  </a:cxn>
                  <a:cxn ang="0">
                    <a:pos x="T6" y="T7"/>
                  </a:cxn>
                </a:cxnLst>
                <a:rect l="0" t="0" r="r" b="b"/>
                <a:pathLst>
                  <a:path w="9" h="5">
                    <a:moveTo>
                      <a:pt x="9" y="0"/>
                    </a:moveTo>
                    <a:lnTo>
                      <a:pt x="5" y="5"/>
                    </a:lnTo>
                    <a:lnTo>
                      <a:pt x="0"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0" name="Freeform 1248"/>
              <p:cNvSpPr>
                <a:spLocks/>
              </p:cNvSpPr>
              <p:nvPr/>
            </p:nvSpPr>
            <p:spPr bwMode="auto">
              <a:xfrm>
                <a:off x="1430" y="3946"/>
                <a:ext cx="9" cy="5"/>
              </a:xfrm>
              <a:custGeom>
                <a:avLst/>
                <a:gdLst>
                  <a:gd name="T0" fmla="*/ 9 w 9"/>
                  <a:gd name="T1" fmla="*/ 0 h 5"/>
                  <a:gd name="T2" fmla="*/ 5 w 9"/>
                  <a:gd name="T3" fmla="*/ 5 h 5"/>
                  <a:gd name="T4" fmla="*/ 0 w 9"/>
                  <a:gd name="T5" fmla="*/ 0 h 5"/>
                  <a:gd name="T6" fmla="*/ 9 w 9"/>
                  <a:gd name="T7" fmla="*/ 0 h 5"/>
                </a:gdLst>
                <a:ahLst/>
                <a:cxnLst>
                  <a:cxn ang="0">
                    <a:pos x="T0" y="T1"/>
                  </a:cxn>
                  <a:cxn ang="0">
                    <a:pos x="T2" y="T3"/>
                  </a:cxn>
                  <a:cxn ang="0">
                    <a:pos x="T4" y="T5"/>
                  </a:cxn>
                  <a:cxn ang="0">
                    <a:pos x="T6" y="T7"/>
                  </a:cxn>
                </a:cxnLst>
                <a:rect l="0" t="0" r="r" b="b"/>
                <a:pathLst>
                  <a:path w="9" h="5">
                    <a:moveTo>
                      <a:pt x="9" y="0"/>
                    </a:moveTo>
                    <a:lnTo>
                      <a:pt x="5" y="5"/>
                    </a:lnTo>
                    <a:lnTo>
                      <a:pt x="0" y="0"/>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1" name="Freeform 1249"/>
              <p:cNvSpPr>
                <a:spLocks/>
              </p:cNvSpPr>
              <p:nvPr/>
            </p:nvSpPr>
            <p:spPr bwMode="auto">
              <a:xfrm>
                <a:off x="1430" y="3878"/>
                <a:ext cx="39" cy="34"/>
              </a:xfrm>
              <a:custGeom>
                <a:avLst/>
                <a:gdLst>
                  <a:gd name="T0" fmla="*/ 22 w 39"/>
                  <a:gd name="T1" fmla="*/ 34 h 34"/>
                  <a:gd name="T2" fmla="*/ 17 w 39"/>
                  <a:gd name="T3" fmla="*/ 32 h 34"/>
                  <a:gd name="T4" fmla="*/ 17 w 39"/>
                  <a:gd name="T5" fmla="*/ 26 h 34"/>
                  <a:gd name="T6" fmla="*/ 11 w 39"/>
                  <a:gd name="T7" fmla="*/ 15 h 34"/>
                  <a:gd name="T8" fmla="*/ 9 w 39"/>
                  <a:gd name="T9" fmla="*/ 9 h 34"/>
                  <a:gd name="T10" fmla="*/ 5 w 39"/>
                  <a:gd name="T11" fmla="*/ 7 h 34"/>
                  <a:gd name="T12" fmla="*/ 0 w 39"/>
                  <a:gd name="T13" fmla="*/ 2 h 34"/>
                  <a:gd name="T14" fmla="*/ 7 w 39"/>
                  <a:gd name="T15" fmla="*/ 0 h 34"/>
                  <a:gd name="T16" fmla="*/ 17 w 39"/>
                  <a:gd name="T17" fmla="*/ 0 h 34"/>
                  <a:gd name="T18" fmla="*/ 22 w 39"/>
                  <a:gd name="T19" fmla="*/ 2 h 34"/>
                  <a:gd name="T20" fmla="*/ 26 w 39"/>
                  <a:gd name="T21" fmla="*/ 4 h 34"/>
                  <a:gd name="T22" fmla="*/ 28 w 39"/>
                  <a:gd name="T23" fmla="*/ 0 h 34"/>
                  <a:gd name="T24" fmla="*/ 32 w 39"/>
                  <a:gd name="T25" fmla="*/ 2 h 34"/>
                  <a:gd name="T26" fmla="*/ 36 w 39"/>
                  <a:gd name="T27" fmla="*/ 7 h 34"/>
                  <a:gd name="T28" fmla="*/ 34 w 39"/>
                  <a:gd name="T29" fmla="*/ 11 h 34"/>
                  <a:gd name="T30" fmla="*/ 36 w 39"/>
                  <a:gd name="T31" fmla="*/ 17 h 34"/>
                  <a:gd name="T32" fmla="*/ 39 w 39"/>
                  <a:gd name="T33" fmla="*/ 22 h 34"/>
                  <a:gd name="T34" fmla="*/ 32 w 39"/>
                  <a:gd name="T35" fmla="*/ 19 h 34"/>
                  <a:gd name="T36" fmla="*/ 28 w 39"/>
                  <a:gd name="T37" fmla="*/ 15 h 34"/>
                  <a:gd name="T38" fmla="*/ 24 w 39"/>
                  <a:gd name="T39" fmla="*/ 13 h 34"/>
                  <a:gd name="T40" fmla="*/ 28 w 39"/>
                  <a:gd name="T41" fmla="*/ 15 h 34"/>
                  <a:gd name="T42" fmla="*/ 34 w 39"/>
                  <a:gd name="T43" fmla="*/ 28 h 34"/>
                  <a:gd name="T44" fmla="*/ 30 w 39"/>
                  <a:gd name="T45" fmla="*/ 30 h 34"/>
                  <a:gd name="T46" fmla="*/ 24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17" y="32"/>
                    </a:lnTo>
                    <a:lnTo>
                      <a:pt x="17" y="26"/>
                    </a:lnTo>
                    <a:lnTo>
                      <a:pt x="11" y="15"/>
                    </a:lnTo>
                    <a:lnTo>
                      <a:pt x="9" y="9"/>
                    </a:lnTo>
                    <a:lnTo>
                      <a:pt x="5" y="7"/>
                    </a:lnTo>
                    <a:lnTo>
                      <a:pt x="0" y="2"/>
                    </a:lnTo>
                    <a:lnTo>
                      <a:pt x="7" y="0"/>
                    </a:lnTo>
                    <a:lnTo>
                      <a:pt x="17" y="0"/>
                    </a:lnTo>
                    <a:lnTo>
                      <a:pt x="22" y="2"/>
                    </a:lnTo>
                    <a:lnTo>
                      <a:pt x="26" y="4"/>
                    </a:lnTo>
                    <a:lnTo>
                      <a:pt x="28" y="0"/>
                    </a:lnTo>
                    <a:lnTo>
                      <a:pt x="32" y="2"/>
                    </a:lnTo>
                    <a:lnTo>
                      <a:pt x="36" y="7"/>
                    </a:lnTo>
                    <a:lnTo>
                      <a:pt x="34" y="11"/>
                    </a:lnTo>
                    <a:lnTo>
                      <a:pt x="36" y="17"/>
                    </a:lnTo>
                    <a:lnTo>
                      <a:pt x="39" y="22"/>
                    </a:lnTo>
                    <a:lnTo>
                      <a:pt x="32" y="19"/>
                    </a:lnTo>
                    <a:lnTo>
                      <a:pt x="28" y="15"/>
                    </a:lnTo>
                    <a:lnTo>
                      <a:pt x="24" y="13"/>
                    </a:lnTo>
                    <a:lnTo>
                      <a:pt x="28" y="15"/>
                    </a:lnTo>
                    <a:lnTo>
                      <a:pt x="34" y="28"/>
                    </a:lnTo>
                    <a:lnTo>
                      <a:pt x="30" y="30"/>
                    </a:lnTo>
                    <a:lnTo>
                      <a:pt x="24" y="32"/>
                    </a:lnTo>
                    <a:lnTo>
                      <a:pt x="22" y="3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2" name="Freeform 1250"/>
              <p:cNvSpPr>
                <a:spLocks/>
              </p:cNvSpPr>
              <p:nvPr/>
            </p:nvSpPr>
            <p:spPr bwMode="auto">
              <a:xfrm>
                <a:off x="1430" y="3878"/>
                <a:ext cx="39" cy="34"/>
              </a:xfrm>
              <a:custGeom>
                <a:avLst/>
                <a:gdLst>
                  <a:gd name="T0" fmla="*/ 22 w 39"/>
                  <a:gd name="T1" fmla="*/ 34 h 34"/>
                  <a:gd name="T2" fmla="*/ 17 w 39"/>
                  <a:gd name="T3" fmla="*/ 32 h 34"/>
                  <a:gd name="T4" fmla="*/ 17 w 39"/>
                  <a:gd name="T5" fmla="*/ 26 h 34"/>
                  <a:gd name="T6" fmla="*/ 11 w 39"/>
                  <a:gd name="T7" fmla="*/ 15 h 34"/>
                  <a:gd name="T8" fmla="*/ 9 w 39"/>
                  <a:gd name="T9" fmla="*/ 9 h 34"/>
                  <a:gd name="T10" fmla="*/ 5 w 39"/>
                  <a:gd name="T11" fmla="*/ 7 h 34"/>
                  <a:gd name="T12" fmla="*/ 0 w 39"/>
                  <a:gd name="T13" fmla="*/ 2 h 34"/>
                  <a:gd name="T14" fmla="*/ 7 w 39"/>
                  <a:gd name="T15" fmla="*/ 0 h 34"/>
                  <a:gd name="T16" fmla="*/ 17 w 39"/>
                  <a:gd name="T17" fmla="*/ 0 h 34"/>
                  <a:gd name="T18" fmla="*/ 22 w 39"/>
                  <a:gd name="T19" fmla="*/ 2 h 34"/>
                  <a:gd name="T20" fmla="*/ 26 w 39"/>
                  <a:gd name="T21" fmla="*/ 4 h 34"/>
                  <a:gd name="T22" fmla="*/ 28 w 39"/>
                  <a:gd name="T23" fmla="*/ 0 h 34"/>
                  <a:gd name="T24" fmla="*/ 32 w 39"/>
                  <a:gd name="T25" fmla="*/ 2 h 34"/>
                  <a:gd name="T26" fmla="*/ 36 w 39"/>
                  <a:gd name="T27" fmla="*/ 7 h 34"/>
                  <a:gd name="T28" fmla="*/ 34 w 39"/>
                  <a:gd name="T29" fmla="*/ 11 h 34"/>
                  <a:gd name="T30" fmla="*/ 36 w 39"/>
                  <a:gd name="T31" fmla="*/ 17 h 34"/>
                  <a:gd name="T32" fmla="*/ 39 w 39"/>
                  <a:gd name="T33" fmla="*/ 22 h 34"/>
                  <a:gd name="T34" fmla="*/ 32 w 39"/>
                  <a:gd name="T35" fmla="*/ 19 h 34"/>
                  <a:gd name="T36" fmla="*/ 28 w 39"/>
                  <a:gd name="T37" fmla="*/ 15 h 34"/>
                  <a:gd name="T38" fmla="*/ 24 w 39"/>
                  <a:gd name="T39" fmla="*/ 13 h 34"/>
                  <a:gd name="T40" fmla="*/ 28 w 39"/>
                  <a:gd name="T41" fmla="*/ 15 h 34"/>
                  <a:gd name="T42" fmla="*/ 34 w 39"/>
                  <a:gd name="T43" fmla="*/ 28 h 34"/>
                  <a:gd name="T44" fmla="*/ 30 w 39"/>
                  <a:gd name="T45" fmla="*/ 30 h 34"/>
                  <a:gd name="T46" fmla="*/ 24 w 39"/>
                  <a:gd name="T47" fmla="*/ 32 h 34"/>
                  <a:gd name="T48" fmla="*/ 22 w 39"/>
                  <a:gd name="T49"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9" h="34">
                    <a:moveTo>
                      <a:pt x="22" y="34"/>
                    </a:moveTo>
                    <a:lnTo>
                      <a:pt x="17" y="32"/>
                    </a:lnTo>
                    <a:lnTo>
                      <a:pt x="17" y="26"/>
                    </a:lnTo>
                    <a:lnTo>
                      <a:pt x="11" y="15"/>
                    </a:lnTo>
                    <a:lnTo>
                      <a:pt x="9" y="9"/>
                    </a:lnTo>
                    <a:lnTo>
                      <a:pt x="5" y="7"/>
                    </a:lnTo>
                    <a:lnTo>
                      <a:pt x="0" y="2"/>
                    </a:lnTo>
                    <a:lnTo>
                      <a:pt x="7" y="0"/>
                    </a:lnTo>
                    <a:lnTo>
                      <a:pt x="17" y="0"/>
                    </a:lnTo>
                    <a:lnTo>
                      <a:pt x="22" y="2"/>
                    </a:lnTo>
                    <a:lnTo>
                      <a:pt x="26" y="4"/>
                    </a:lnTo>
                    <a:lnTo>
                      <a:pt x="28" y="0"/>
                    </a:lnTo>
                    <a:lnTo>
                      <a:pt x="32" y="2"/>
                    </a:lnTo>
                    <a:lnTo>
                      <a:pt x="36" y="7"/>
                    </a:lnTo>
                    <a:lnTo>
                      <a:pt x="34" y="11"/>
                    </a:lnTo>
                    <a:lnTo>
                      <a:pt x="36" y="17"/>
                    </a:lnTo>
                    <a:lnTo>
                      <a:pt x="39" y="22"/>
                    </a:lnTo>
                    <a:lnTo>
                      <a:pt x="32" y="19"/>
                    </a:lnTo>
                    <a:lnTo>
                      <a:pt x="28" y="15"/>
                    </a:lnTo>
                    <a:lnTo>
                      <a:pt x="24" y="13"/>
                    </a:lnTo>
                    <a:lnTo>
                      <a:pt x="28" y="15"/>
                    </a:lnTo>
                    <a:lnTo>
                      <a:pt x="34" y="28"/>
                    </a:lnTo>
                    <a:lnTo>
                      <a:pt x="30" y="30"/>
                    </a:lnTo>
                    <a:lnTo>
                      <a:pt x="24" y="32"/>
                    </a:lnTo>
                    <a:lnTo>
                      <a:pt x="22" y="3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3" name="Freeform 1251"/>
              <p:cNvSpPr>
                <a:spLocks/>
              </p:cNvSpPr>
              <p:nvPr/>
            </p:nvSpPr>
            <p:spPr bwMode="auto">
              <a:xfrm>
                <a:off x="1445"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4" name="Freeform 1252"/>
              <p:cNvSpPr>
                <a:spLocks/>
              </p:cNvSpPr>
              <p:nvPr/>
            </p:nvSpPr>
            <p:spPr bwMode="auto">
              <a:xfrm>
                <a:off x="1445"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5" name="Freeform 1253"/>
              <p:cNvSpPr>
                <a:spLocks/>
              </p:cNvSpPr>
              <p:nvPr/>
            </p:nvSpPr>
            <p:spPr bwMode="auto">
              <a:xfrm>
                <a:off x="1449" y="3919"/>
                <a:ext cx="71" cy="85"/>
              </a:xfrm>
              <a:custGeom>
                <a:avLst/>
                <a:gdLst>
                  <a:gd name="T0" fmla="*/ 11 w 71"/>
                  <a:gd name="T1" fmla="*/ 10 h 85"/>
                  <a:gd name="T2" fmla="*/ 11 w 71"/>
                  <a:gd name="T3" fmla="*/ 8 h 85"/>
                  <a:gd name="T4" fmla="*/ 7 w 71"/>
                  <a:gd name="T5" fmla="*/ 8 h 85"/>
                  <a:gd name="T6" fmla="*/ 3 w 71"/>
                  <a:gd name="T7" fmla="*/ 4 h 85"/>
                  <a:gd name="T8" fmla="*/ 0 w 71"/>
                  <a:gd name="T9" fmla="*/ 0 h 85"/>
                  <a:gd name="T10" fmla="*/ 17 w 71"/>
                  <a:gd name="T11" fmla="*/ 0 h 85"/>
                  <a:gd name="T12" fmla="*/ 20 w 71"/>
                  <a:gd name="T13" fmla="*/ 6 h 85"/>
                  <a:gd name="T14" fmla="*/ 17 w 71"/>
                  <a:gd name="T15" fmla="*/ 10 h 85"/>
                  <a:gd name="T16" fmla="*/ 24 w 71"/>
                  <a:gd name="T17" fmla="*/ 12 h 85"/>
                  <a:gd name="T18" fmla="*/ 32 w 71"/>
                  <a:gd name="T19" fmla="*/ 15 h 85"/>
                  <a:gd name="T20" fmla="*/ 37 w 71"/>
                  <a:gd name="T21" fmla="*/ 19 h 85"/>
                  <a:gd name="T22" fmla="*/ 41 w 71"/>
                  <a:gd name="T23" fmla="*/ 23 h 85"/>
                  <a:gd name="T24" fmla="*/ 45 w 71"/>
                  <a:gd name="T25" fmla="*/ 27 h 85"/>
                  <a:gd name="T26" fmla="*/ 45 w 71"/>
                  <a:gd name="T27" fmla="*/ 34 h 85"/>
                  <a:gd name="T28" fmla="*/ 52 w 71"/>
                  <a:gd name="T29" fmla="*/ 36 h 85"/>
                  <a:gd name="T30" fmla="*/ 54 w 71"/>
                  <a:gd name="T31" fmla="*/ 40 h 85"/>
                  <a:gd name="T32" fmla="*/ 49 w 71"/>
                  <a:gd name="T33" fmla="*/ 40 h 85"/>
                  <a:gd name="T34" fmla="*/ 45 w 71"/>
                  <a:gd name="T35" fmla="*/ 40 h 85"/>
                  <a:gd name="T36" fmla="*/ 43 w 71"/>
                  <a:gd name="T37" fmla="*/ 44 h 85"/>
                  <a:gd name="T38" fmla="*/ 49 w 71"/>
                  <a:gd name="T39" fmla="*/ 40 h 85"/>
                  <a:gd name="T40" fmla="*/ 52 w 71"/>
                  <a:gd name="T41" fmla="*/ 47 h 85"/>
                  <a:gd name="T42" fmla="*/ 56 w 71"/>
                  <a:gd name="T43" fmla="*/ 47 h 85"/>
                  <a:gd name="T44" fmla="*/ 60 w 71"/>
                  <a:gd name="T45" fmla="*/ 51 h 85"/>
                  <a:gd name="T46" fmla="*/ 60 w 71"/>
                  <a:gd name="T47" fmla="*/ 55 h 85"/>
                  <a:gd name="T48" fmla="*/ 66 w 71"/>
                  <a:gd name="T49" fmla="*/ 55 h 85"/>
                  <a:gd name="T50" fmla="*/ 64 w 71"/>
                  <a:gd name="T51" fmla="*/ 59 h 85"/>
                  <a:gd name="T52" fmla="*/ 62 w 71"/>
                  <a:gd name="T53" fmla="*/ 64 h 85"/>
                  <a:gd name="T54" fmla="*/ 64 w 71"/>
                  <a:gd name="T55" fmla="*/ 70 h 85"/>
                  <a:gd name="T56" fmla="*/ 69 w 71"/>
                  <a:gd name="T57" fmla="*/ 66 h 85"/>
                  <a:gd name="T58" fmla="*/ 71 w 71"/>
                  <a:gd name="T59" fmla="*/ 76 h 85"/>
                  <a:gd name="T60" fmla="*/ 71 w 71"/>
                  <a:gd name="T61" fmla="*/ 81 h 85"/>
                  <a:gd name="T62" fmla="*/ 64 w 71"/>
                  <a:gd name="T63" fmla="*/ 85 h 85"/>
                  <a:gd name="T64" fmla="*/ 60 w 71"/>
                  <a:gd name="T65" fmla="*/ 85 h 85"/>
                  <a:gd name="T66" fmla="*/ 62 w 71"/>
                  <a:gd name="T67" fmla="*/ 78 h 85"/>
                  <a:gd name="T68" fmla="*/ 54 w 71"/>
                  <a:gd name="T69" fmla="*/ 72 h 85"/>
                  <a:gd name="T70" fmla="*/ 47 w 71"/>
                  <a:gd name="T71" fmla="*/ 72 h 85"/>
                  <a:gd name="T72" fmla="*/ 52 w 71"/>
                  <a:gd name="T73" fmla="*/ 68 h 85"/>
                  <a:gd name="T74" fmla="*/ 45 w 71"/>
                  <a:gd name="T75" fmla="*/ 64 h 85"/>
                  <a:gd name="T76" fmla="*/ 43 w 71"/>
                  <a:gd name="T77" fmla="*/ 57 h 85"/>
                  <a:gd name="T78" fmla="*/ 41 w 71"/>
                  <a:gd name="T79" fmla="*/ 61 h 85"/>
                  <a:gd name="T80" fmla="*/ 37 w 71"/>
                  <a:gd name="T81" fmla="*/ 57 h 85"/>
                  <a:gd name="T82" fmla="*/ 30 w 71"/>
                  <a:gd name="T83" fmla="*/ 61 h 85"/>
                  <a:gd name="T84" fmla="*/ 34 w 71"/>
                  <a:gd name="T85" fmla="*/ 57 h 85"/>
                  <a:gd name="T86" fmla="*/ 30 w 71"/>
                  <a:gd name="T87" fmla="*/ 57 h 85"/>
                  <a:gd name="T88" fmla="*/ 24 w 71"/>
                  <a:gd name="T89" fmla="*/ 57 h 85"/>
                  <a:gd name="T90" fmla="*/ 24 w 71"/>
                  <a:gd name="T91" fmla="*/ 53 h 85"/>
                  <a:gd name="T92" fmla="*/ 28 w 71"/>
                  <a:gd name="T93" fmla="*/ 53 h 85"/>
                  <a:gd name="T94" fmla="*/ 34 w 71"/>
                  <a:gd name="T95" fmla="*/ 53 h 85"/>
                  <a:gd name="T96" fmla="*/ 26 w 71"/>
                  <a:gd name="T97" fmla="*/ 42 h 85"/>
                  <a:gd name="T98" fmla="*/ 26 w 71"/>
                  <a:gd name="T99" fmla="*/ 38 h 85"/>
                  <a:gd name="T100" fmla="*/ 22 w 71"/>
                  <a:gd name="T101" fmla="*/ 42 h 85"/>
                  <a:gd name="T102" fmla="*/ 15 w 71"/>
                  <a:gd name="T103" fmla="*/ 40 h 85"/>
                  <a:gd name="T104" fmla="*/ 17 w 71"/>
                  <a:gd name="T105" fmla="*/ 34 h 85"/>
                  <a:gd name="T106" fmla="*/ 20 w 71"/>
                  <a:gd name="T107" fmla="*/ 30 h 85"/>
                  <a:gd name="T108" fmla="*/ 20 w 71"/>
                  <a:gd name="T109" fmla="*/ 25 h 85"/>
                  <a:gd name="T110" fmla="*/ 17 w 71"/>
                  <a:gd name="T111" fmla="*/ 19 h 85"/>
                  <a:gd name="T112" fmla="*/ 15 w 71"/>
                  <a:gd name="T113" fmla="*/ 15 h 85"/>
                  <a:gd name="T114" fmla="*/ 13 w 71"/>
                  <a:gd name="T115" fmla="*/ 12 h 85"/>
                  <a:gd name="T116" fmla="*/ 13 w 71"/>
                  <a:gd name="T117" fmla="*/ 10 h 85"/>
                  <a:gd name="T118" fmla="*/ 13 w 71"/>
                  <a:gd name="T119" fmla="*/ 8 h 85"/>
                  <a:gd name="T120" fmla="*/ 11 w 71"/>
                  <a:gd name="T121"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85">
                    <a:moveTo>
                      <a:pt x="11" y="10"/>
                    </a:moveTo>
                    <a:lnTo>
                      <a:pt x="11" y="8"/>
                    </a:lnTo>
                    <a:lnTo>
                      <a:pt x="7" y="8"/>
                    </a:lnTo>
                    <a:lnTo>
                      <a:pt x="3" y="4"/>
                    </a:lnTo>
                    <a:lnTo>
                      <a:pt x="0" y="0"/>
                    </a:lnTo>
                    <a:lnTo>
                      <a:pt x="17" y="0"/>
                    </a:lnTo>
                    <a:lnTo>
                      <a:pt x="20" y="6"/>
                    </a:lnTo>
                    <a:lnTo>
                      <a:pt x="17" y="10"/>
                    </a:lnTo>
                    <a:lnTo>
                      <a:pt x="24" y="12"/>
                    </a:lnTo>
                    <a:lnTo>
                      <a:pt x="32" y="15"/>
                    </a:lnTo>
                    <a:lnTo>
                      <a:pt x="37" y="19"/>
                    </a:lnTo>
                    <a:lnTo>
                      <a:pt x="41" y="23"/>
                    </a:lnTo>
                    <a:lnTo>
                      <a:pt x="45" y="27"/>
                    </a:lnTo>
                    <a:lnTo>
                      <a:pt x="45" y="34"/>
                    </a:lnTo>
                    <a:lnTo>
                      <a:pt x="52" y="36"/>
                    </a:lnTo>
                    <a:lnTo>
                      <a:pt x="54" y="40"/>
                    </a:lnTo>
                    <a:lnTo>
                      <a:pt x="49" y="40"/>
                    </a:lnTo>
                    <a:lnTo>
                      <a:pt x="45" y="40"/>
                    </a:lnTo>
                    <a:lnTo>
                      <a:pt x="43" y="44"/>
                    </a:lnTo>
                    <a:lnTo>
                      <a:pt x="49" y="40"/>
                    </a:lnTo>
                    <a:lnTo>
                      <a:pt x="52" y="47"/>
                    </a:lnTo>
                    <a:lnTo>
                      <a:pt x="56" y="47"/>
                    </a:lnTo>
                    <a:lnTo>
                      <a:pt x="60" y="51"/>
                    </a:lnTo>
                    <a:lnTo>
                      <a:pt x="60" y="55"/>
                    </a:lnTo>
                    <a:lnTo>
                      <a:pt x="66" y="55"/>
                    </a:lnTo>
                    <a:lnTo>
                      <a:pt x="64" y="59"/>
                    </a:lnTo>
                    <a:lnTo>
                      <a:pt x="62" y="64"/>
                    </a:lnTo>
                    <a:lnTo>
                      <a:pt x="64" y="70"/>
                    </a:lnTo>
                    <a:lnTo>
                      <a:pt x="69" y="66"/>
                    </a:lnTo>
                    <a:lnTo>
                      <a:pt x="71" y="76"/>
                    </a:lnTo>
                    <a:lnTo>
                      <a:pt x="71" y="81"/>
                    </a:lnTo>
                    <a:lnTo>
                      <a:pt x="64" y="85"/>
                    </a:lnTo>
                    <a:lnTo>
                      <a:pt x="60" y="85"/>
                    </a:lnTo>
                    <a:lnTo>
                      <a:pt x="62" y="78"/>
                    </a:lnTo>
                    <a:lnTo>
                      <a:pt x="54" y="72"/>
                    </a:lnTo>
                    <a:lnTo>
                      <a:pt x="47" y="72"/>
                    </a:lnTo>
                    <a:lnTo>
                      <a:pt x="52" y="68"/>
                    </a:lnTo>
                    <a:lnTo>
                      <a:pt x="45" y="64"/>
                    </a:lnTo>
                    <a:lnTo>
                      <a:pt x="43" y="57"/>
                    </a:lnTo>
                    <a:lnTo>
                      <a:pt x="41" y="61"/>
                    </a:lnTo>
                    <a:lnTo>
                      <a:pt x="37" y="57"/>
                    </a:lnTo>
                    <a:lnTo>
                      <a:pt x="30" y="61"/>
                    </a:lnTo>
                    <a:lnTo>
                      <a:pt x="34" y="57"/>
                    </a:lnTo>
                    <a:lnTo>
                      <a:pt x="30" y="57"/>
                    </a:lnTo>
                    <a:lnTo>
                      <a:pt x="24" y="57"/>
                    </a:lnTo>
                    <a:lnTo>
                      <a:pt x="24" y="53"/>
                    </a:lnTo>
                    <a:lnTo>
                      <a:pt x="28" y="53"/>
                    </a:lnTo>
                    <a:lnTo>
                      <a:pt x="34" y="53"/>
                    </a:lnTo>
                    <a:lnTo>
                      <a:pt x="26" y="42"/>
                    </a:lnTo>
                    <a:lnTo>
                      <a:pt x="26" y="38"/>
                    </a:lnTo>
                    <a:lnTo>
                      <a:pt x="22" y="42"/>
                    </a:lnTo>
                    <a:lnTo>
                      <a:pt x="15" y="40"/>
                    </a:lnTo>
                    <a:lnTo>
                      <a:pt x="17" y="34"/>
                    </a:lnTo>
                    <a:lnTo>
                      <a:pt x="20" y="30"/>
                    </a:lnTo>
                    <a:lnTo>
                      <a:pt x="20" y="25"/>
                    </a:lnTo>
                    <a:lnTo>
                      <a:pt x="17" y="19"/>
                    </a:lnTo>
                    <a:lnTo>
                      <a:pt x="15" y="15"/>
                    </a:lnTo>
                    <a:lnTo>
                      <a:pt x="13" y="12"/>
                    </a:lnTo>
                    <a:lnTo>
                      <a:pt x="13" y="10"/>
                    </a:lnTo>
                    <a:lnTo>
                      <a:pt x="13" y="8"/>
                    </a:lnTo>
                    <a:lnTo>
                      <a:pt x="11" y="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6" name="Freeform 1254"/>
              <p:cNvSpPr>
                <a:spLocks/>
              </p:cNvSpPr>
              <p:nvPr/>
            </p:nvSpPr>
            <p:spPr bwMode="auto">
              <a:xfrm>
                <a:off x="1449" y="3919"/>
                <a:ext cx="71" cy="85"/>
              </a:xfrm>
              <a:custGeom>
                <a:avLst/>
                <a:gdLst>
                  <a:gd name="T0" fmla="*/ 11 w 71"/>
                  <a:gd name="T1" fmla="*/ 10 h 85"/>
                  <a:gd name="T2" fmla="*/ 11 w 71"/>
                  <a:gd name="T3" fmla="*/ 8 h 85"/>
                  <a:gd name="T4" fmla="*/ 7 w 71"/>
                  <a:gd name="T5" fmla="*/ 8 h 85"/>
                  <a:gd name="T6" fmla="*/ 3 w 71"/>
                  <a:gd name="T7" fmla="*/ 4 h 85"/>
                  <a:gd name="T8" fmla="*/ 0 w 71"/>
                  <a:gd name="T9" fmla="*/ 0 h 85"/>
                  <a:gd name="T10" fmla="*/ 17 w 71"/>
                  <a:gd name="T11" fmla="*/ 0 h 85"/>
                  <a:gd name="T12" fmla="*/ 20 w 71"/>
                  <a:gd name="T13" fmla="*/ 6 h 85"/>
                  <a:gd name="T14" fmla="*/ 17 w 71"/>
                  <a:gd name="T15" fmla="*/ 10 h 85"/>
                  <a:gd name="T16" fmla="*/ 24 w 71"/>
                  <a:gd name="T17" fmla="*/ 12 h 85"/>
                  <a:gd name="T18" fmla="*/ 32 w 71"/>
                  <a:gd name="T19" fmla="*/ 15 h 85"/>
                  <a:gd name="T20" fmla="*/ 37 w 71"/>
                  <a:gd name="T21" fmla="*/ 19 h 85"/>
                  <a:gd name="T22" fmla="*/ 41 w 71"/>
                  <a:gd name="T23" fmla="*/ 23 h 85"/>
                  <a:gd name="T24" fmla="*/ 45 w 71"/>
                  <a:gd name="T25" fmla="*/ 27 h 85"/>
                  <a:gd name="T26" fmla="*/ 45 w 71"/>
                  <a:gd name="T27" fmla="*/ 34 h 85"/>
                  <a:gd name="T28" fmla="*/ 52 w 71"/>
                  <a:gd name="T29" fmla="*/ 36 h 85"/>
                  <a:gd name="T30" fmla="*/ 54 w 71"/>
                  <a:gd name="T31" fmla="*/ 40 h 85"/>
                  <a:gd name="T32" fmla="*/ 49 w 71"/>
                  <a:gd name="T33" fmla="*/ 40 h 85"/>
                  <a:gd name="T34" fmla="*/ 45 w 71"/>
                  <a:gd name="T35" fmla="*/ 40 h 85"/>
                  <a:gd name="T36" fmla="*/ 43 w 71"/>
                  <a:gd name="T37" fmla="*/ 44 h 85"/>
                  <a:gd name="T38" fmla="*/ 49 w 71"/>
                  <a:gd name="T39" fmla="*/ 40 h 85"/>
                  <a:gd name="T40" fmla="*/ 52 w 71"/>
                  <a:gd name="T41" fmla="*/ 47 h 85"/>
                  <a:gd name="T42" fmla="*/ 56 w 71"/>
                  <a:gd name="T43" fmla="*/ 47 h 85"/>
                  <a:gd name="T44" fmla="*/ 60 w 71"/>
                  <a:gd name="T45" fmla="*/ 51 h 85"/>
                  <a:gd name="T46" fmla="*/ 60 w 71"/>
                  <a:gd name="T47" fmla="*/ 55 h 85"/>
                  <a:gd name="T48" fmla="*/ 66 w 71"/>
                  <a:gd name="T49" fmla="*/ 55 h 85"/>
                  <a:gd name="T50" fmla="*/ 64 w 71"/>
                  <a:gd name="T51" fmla="*/ 59 h 85"/>
                  <a:gd name="T52" fmla="*/ 62 w 71"/>
                  <a:gd name="T53" fmla="*/ 64 h 85"/>
                  <a:gd name="T54" fmla="*/ 64 w 71"/>
                  <a:gd name="T55" fmla="*/ 70 h 85"/>
                  <a:gd name="T56" fmla="*/ 69 w 71"/>
                  <a:gd name="T57" fmla="*/ 66 h 85"/>
                  <a:gd name="T58" fmla="*/ 71 w 71"/>
                  <a:gd name="T59" fmla="*/ 76 h 85"/>
                  <a:gd name="T60" fmla="*/ 71 w 71"/>
                  <a:gd name="T61" fmla="*/ 81 h 85"/>
                  <a:gd name="T62" fmla="*/ 64 w 71"/>
                  <a:gd name="T63" fmla="*/ 85 h 85"/>
                  <a:gd name="T64" fmla="*/ 60 w 71"/>
                  <a:gd name="T65" fmla="*/ 85 h 85"/>
                  <a:gd name="T66" fmla="*/ 62 w 71"/>
                  <a:gd name="T67" fmla="*/ 78 h 85"/>
                  <a:gd name="T68" fmla="*/ 54 w 71"/>
                  <a:gd name="T69" fmla="*/ 72 h 85"/>
                  <a:gd name="T70" fmla="*/ 47 w 71"/>
                  <a:gd name="T71" fmla="*/ 72 h 85"/>
                  <a:gd name="T72" fmla="*/ 52 w 71"/>
                  <a:gd name="T73" fmla="*/ 68 h 85"/>
                  <a:gd name="T74" fmla="*/ 45 w 71"/>
                  <a:gd name="T75" fmla="*/ 64 h 85"/>
                  <a:gd name="T76" fmla="*/ 43 w 71"/>
                  <a:gd name="T77" fmla="*/ 57 h 85"/>
                  <a:gd name="T78" fmla="*/ 41 w 71"/>
                  <a:gd name="T79" fmla="*/ 61 h 85"/>
                  <a:gd name="T80" fmla="*/ 37 w 71"/>
                  <a:gd name="T81" fmla="*/ 57 h 85"/>
                  <a:gd name="T82" fmla="*/ 30 w 71"/>
                  <a:gd name="T83" fmla="*/ 61 h 85"/>
                  <a:gd name="T84" fmla="*/ 34 w 71"/>
                  <a:gd name="T85" fmla="*/ 57 h 85"/>
                  <a:gd name="T86" fmla="*/ 30 w 71"/>
                  <a:gd name="T87" fmla="*/ 57 h 85"/>
                  <a:gd name="T88" fmla="*/ 24 w 71"/>
                  <a:gd name="T89" fmla="*/ 57 h 85"/>
                  <a:gd name="T90" fmla="*/ 24 w 71"/>
                  <a:gd name="T91" fmla="*/ 53 h 85"/>
                  <a:gd name="T92" fmla="*/ 28 w 71"/>
                  <a:gd name="T93" fmla="*/ 53 h 85"/>
                  <a:gd name="T94" fmla="*/ 34 w 71"/>
                  <a:gd name="T95" fmla="*/ 53 h 85"/>
                  <a:gd name="T96" fmla="*/ 26 w 71"/>
                  <a:gd name="T97" fmla="*/ 42 h 85"/>
                  <a:gd name="T98" fmla="*/ 26 w 71"/>
                  <a:gd name="T99" fmla="*/ 38 h 85"/>
                  <a:gd name="T100" fmla="*/ 22 w 71"/>
                  <a:gd name="T101" fmla="*/ 42 h 85"/>
                  <a:gd name="T102" fmla="*/ 15 w 71"/>
                  <a:gd name="T103" fmla="*/ 40 h 85"/>
                  <a:gd name="T104" fmla="*/ 17 w 71"/>
                  <a:gd name="T105" fmla="*/ 34 h 85"/>
                  <a:gd name="T106" fmla="*/ 20 w 71"/>
                  <a:gd name="T107" fmla="*/ 30 h 85"/>
                  <a:gd name="T108" fmla="*/ 20 w 71"/>
                  <a:gd name="T109" fmla="*/ 25 h 85"/>
                  <a:gd name="T110" fmla="*/ 17 w 71"/>
                  <a:gd name="T111" fmla="*/ 19 h 85"/>
                  <a:gd name="T112" fmla="*/ 15 w 71"/>
                  <a:gd name="T113" fmla="*/ 15 h 85"/>
                  <a:gd name="T114" fmla="*/ 13 w 71"/>
                  <a:gd name="T115" fmla="*/ 12 h 85"/>
                  <a:gd name="T116" fmla="*/ 13 w 71"/>
                  <a:gd name="T117" fmla="*/ 10 h 85"/>
                  <a:gd name="T118" fmla="*/ 13 w 71"/>
                  <a:gd name="T119" fmla="*/ 8 h 85"/>
                  <a:gd name="T120" fmla="*/ 11 w 71"/>
                  <a:gd name="T121" fmla="*/ 10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 h="85">
                    <a:moveTo>
                      <a:pt x="11" y="10"/>
                    </a:moveTo>
                    <a:lnTo>
                      <a:pt x="11" y="8"/>
                    </a:lnTo>
                    <a:lnTo>
                      <a:pt x="7" y="8"/>
                    </a:lnTo>
                    <a:lnTo>
                      <a:pt x="3" y="4"/>
                    </a:lnTo>
                    <a:lnTo>
                      <a:pt x="0" y="0"/>
                    </a:lnTo>
                    <a:lnTo>
                      <a:pt x="17" y="0"/>
                    </a:lnTo>
                    <a:lnTo>
                      <a:pt x="20" y="6"/>
                    </a:lnTo>
                    <a:lnTo>
                      <a:pt x="17" y="10"/>
                    </a:lnTo>
                    <a:lnTo>
                      <a:pt x="24" y="12"/>
                    </a:lnTo>
                    <a:lnTo>
                      <a:pt x="32" y="15"/>
                    </a:lnTo>
                    <a:lnTo>
                      <a:pt x="37" y="19"/>
                    </a:lnTo>
                    <a:lnTo>
                      <a:pt x="41" y="23"/>
                    </a:lnTo>
                    <a:lnTo>
                      <a:pt x="45" y="27"/>
                    </a:lnTo>
                    <a:lnTo>
                      <a:pt x="45" y="34"/>
                    </a:lnTo>
                    <a:lnTo>
                      <a:pt x="52" y="36"/>
                    </a:lnTo>
                    <a:lnTo>
                      <a:pt x="54" y="40"/>
                    </a:lnTo>
                    <a:lnTo>
                      <a:pt x="49" y="40"/>
                    </a:lnTo>
                    <a:lnTo>
                      <a:pt x="45" y="40"/>
                    </a:lnTo>
                    <a:lnTo>
                      <a:pt x="43" y="44"/>
                    </a:lnTo>
                    <a:lnTo>
                      <a:pt x="49" y="40"/>
                    </a:lnTo>
                    <a:lnTo>
                      <a:pt x="52" y="47"/>
                    </a:lnTo>
                    <a:lnTo>
                      <a:pt x="56" y="47"/>
                    </a:lnTo>
                    <a:lnTo>
                      <a:pt x="60" y="51"/>
                    </a:lnTo>
                    <a:lnTo>
                      <a:pt x="60" y="55"/>
                    </a:lnTo>
                    <a:lnTo>
                      <a:pt x="66" y="55"/>
                    </a:lnTo>
                    <a:lnTo>
                      <a:pt x="64" y="59"/>
                    </a:lnTo>
                    <a:lnTo>
                      <a:pt x="62" y="64"/>
                    </a:lnTo>
                    <a:lnTo>
                      <a:pt x="64" y="70"/>
                    </a:lnTo>
                    <a:lnTo>
                      <a:pt x="69" y="66"/>
                    </a:lnTo>
                    <a:lnTo>
                      <a:pt x="71" y="76"/>
                    </a:lnTo>
                    <a:lnTo>
                      <a:pt x="71" y="81"/>
                    </a:lnTo>
                    <a:lnTo>
                      <a:pt x="64" y="85"/>
                    </a:lnTo>
                    <a:lnTo>
                      <a:pt x="60" y="85"/>
                    </a:lnTo>
                    <a:lnTo>
                      <a:pt x="62" y="78"/>
                    </a:lnTo>
                    <a:lnTo>
                      <a:pt x="54" y="72"/>
                    </a:lnTo>
                    <a:lnTo>
                      <a:pt x="47" y="72"/>
                    </a:lnTo>
                    <a:lnTo>
                      <a:pt x="52" y="68"/>
                    </a:lnTo>
                    <a:lnTo>
                      <a:pt x="45" y="64"/>
                    </a:lnTo>
                    <a:lnTo>
                      <a:pt x="43" y="57"/>
                    </a:lnTo>
                    <a:lnTo>
                      <a:pt x="41" y="61"/>
                    </a:lnTo>
                    <a:lnTo>
                      <a:pt x="37" y="57"/>
                    </a:lnTo>
                    <a:lnTo>
                      <a:pt x="30" y="61"/>
                    </a:lnTo>
                    <a:lnTo>
                      <a:pt x="34" y="57"/>
                    </a:lnTo>
                    <a:lnTo>
                      <a:pt x="30" y="57"/>
                    </a:lnTo>
                    <a:lnTo>
                      <a:pt x="24" y="57"/>
                    </a:lnTo>
                    <a:lnTo>
                      <a:pt x="24" y="53"/>
                    </a:lnTo>
                    <a:lnTo>
                      <a:pt x="28" y="53"/>
                    </a:lnTo>
                    <a:lnTo>
                      <a:pt x="34" y="53"/>
                    </a:lnTo>
                    <a:lnTo>
                      <a:pt x="26" y="42"/>
                    </a:lnTo>
                    <a:lnTo>
                      <a:pt x="26" y="38"/>
                    </a:lnTo>
                    <a:lnTo>
                      <a:pt x="22" y="42"/>
                    </a:lnTo>
                    <a:lnTo>
                      <a:pt x="15" y="40"/>
                    </a:lnTo>
                    <a:lnTo>
                      <a:pt x="17" y="34"/>
                    </a:lnTo>
                    <a:lnTo>
                      <a:pt x="20" y="30"/>
                    </a:lnTo>
                    <a:lnTo>
                      <a:pt x="20" y="25"/>
                    </a:lnTo>
                    <a:lnTo>
                      <a:pt x="17" y="19"/>
                    </a:lnTo>
                    <a:lnTo>
                      <a:pt x="15" y="15"/>
                    </a:lnTo>
                    <a:lnTo>
                      <a:pt x="13" y="12"/>
                    </a:lnTo>
                    <a:lnTo>
                      <a:pt x="13" y="10"/>
                    </a:lnTo>
                    <a:lnTo>
                      <a:pt x="13" y="8"/>
                    </a:lnTo>
                    <a:lnTo>
                      <a:pt x="11" y="1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7" name="Freeform 1255"/>
              <p:cNvSpPr>
                <a:spLocks/>
              </p:cNvSpPr>
              <p:nvPr/>
            </p:nvSpPr>
            <p:spPr bwMode="auto">
              <a:xfrm>
                <a:off x="1454" y="3966"/>
                <a:ext cx="6" cy="4"/>
              </a:xfrm>
              <a:custGeom>
                <a:avLst/>
                <a:gdLst>
                  <a:gd name="T0" fmla="*/ 4 w 6"/>
                  <a:gd name="T1" fmla="*/ 4 h 4"/>
                  <a:gd name="T2" fmla="*/ 0 w 6"/>
                  <a:gd name="T3" fmla="*/ 0 h 4"/>
                  <a:gd name="T4" fmla="*/ 6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0" y="0"/>
                    </a:lnTo>
                    <a:lnTo>
                      <a:pt x="6" y="0"/>
                    </a:lnTo>
                    <a:lnTo>
                      <a:pt x="4"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48" name="Freeform 1256"/>
              <p:cNvSpPr>
                <a:spLocks/>
              </p:cNvSpPr>
              <p:nvPr/>
            </p:nvSpPr>
            <p:spPr bwMode="auto">
              <a:xfrm>
                <a:off x="1454" y="3966"/>
                <a:ext cx="6" cy="4"/>
              </a:xfrm>
              <a:custGeom>
                <a:avLst/>
                <a:gdLst>
                  <a:gd name="T0" fmla="*/ 4 w 6"/>
                  <a:gd name="T1" fmla="*/ 4 h 4"/>
                  <a:gd name="T2" fmla="*/ 0 w 6"/>
                  <a:gd name="T3" fmla="*/ 0 h 4"/>
                  <a:gd name="T4" fmla="*/ 6 w 6"/>
                  <a:gd name="T5" fmla="*/ 0 h 4"/>
                  <a:gd name="T6" fmla="*/ 4 w 6"/>
                  <a:gd name="T7" fmla="*/ 4 h 4"/>
                </a:gdLst>
                <a:ahLst/>
                <a:cxnLst>
                  <a:cxn ang="0">
                    <a:pos x="T0" y="T1"/>
                  </a:cxn>
                  <a:cxn ang="0">
                    <a:pos x="T2" y="T3"/>
                  </a:cxn>
                  <a:cxn ang="0">
                    <a:pos x="T4" y="T5"/>
                  </a:cxn>
                  <a:cxn ang="0">
                    <a:pos x="T6" y="T7"/>
                  </a:cxn>
                </a:cxnLst>
                <a:rect l="0" t="0" r="r" b="b"/>
                <a:pathLst>
                  <a:path w="6" h="4">
                    <a:moveTo>
                      <a:pt x="4" y="4"/>
                    </a:moveTo>
                    <a:lnTo>
                      <a:pt x="0" y="0"/>
                    </a:lnTo>
                    <a:lnTo>
                      <a:pt x="6" y="0"/>
                    </a:lnTo>
                    <a:lnTo>
                      <a:pt x="4" y="4"/>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49" name="Freeform 1257"/>
              <p:cNvSpPr>
                <a:spLocks/>
              </p:cNvSpPr>
              <p:nvPr/>
            </p:nvSpPr>
            <p:spPr bwMode="auto">
              <a:xfrm>
                <a:off x="1456" y="3949"/>
                <a:ext cx="10" cy="6"/>
              </a:xfrm>
              <a:custGeom>
                <a:avLst/>
                <a:gdLst>
                  <a:gd name="T0" fmla="*/ 10 w 10"/>
                  <a:gd name="T1" fmla="*/ 0 h 6"/>
                  <a:gd name="T2" fmla="*/ 4 w 10"/>
                  <a:gd name="T3" fmla="*/ 2 h 6"/>
                  <a:gd name="T4" fmla="*/ 4 w 10"/>
                  <a:gd name="T5" fmla="*/ 6 h 6"/>
                  <a:gd name="T6" fmla="*/ 0 w 10"/>
                  <a:gd name="T7" fmla="*/ 4 h 6"/>
                  <a:gd name="T8" fmla="*/ 0 w 10"/>
                  <a:gd name="T9" fmla="*/ 0 h 6"/>
                  <a:gd name="T10" fmla="*/ 6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4" y="2"/>
                    </a:lnTo>
                    <a:lnTo>
                      <a:pt x="4" y="6"/>
                    </a:lnTo>
                    <a:lnTo>
                      <a:pt x="0" y="4"/>
                    </a:lnTo>
                    <a:lnTo>
                      <a:pt x="0" y="0"/>
                    </a:lnTo>
                    <a:lnTo>
                      <a:pt x="6" y="2"/>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0" name="Freeform 1258"/>
              <p:cNvSpPr>
                <a:spLocks/>
              </p:cNvSpPr>
              <p:nvPr/>
            </p:nvSpPr>
            <p:spPr bwMode="auto">
              <a:xfrm>
                <a:off x="1456" y="3949"/>
                <a:ext cx="10" cy="6"/>
              </a:xfrm>
              <a:custGeom>
                <a:avLst/>
                <a:gdLst>
                  <a:gd name="T0" fmla="*/ 10 w 10"/>
                  <a:gd name="T1" fmla="*/ 0 h 6"/>
                  <a:gd name="T2" fmla="*/ 4 w 10"/>
                  <a:gd name="T3" fmla="*/ 2 h 6"/>
                  <a:gd name="T4" fmla="*/ 4 w 10"/>
                  <a:gd name="T5" fmla="*/ 6 h 6"/>
                  <a:gd name="T6" fmla="*/ 0 w 10"/>
                  <a:gd name="T7" fmla="*/ 4 h 6"/>
                  <a:gd name="T8" fmla="*/ 0 w 10"/>
                  <a:gd name="T9" fmla="*/ 0 h 6"/>
                  <a:gd name="T10" fmla="*/ 6 w 10"/>
                  <a:gd name="T11" fmla="*/ 2 h 6"/>
                  <a:gd name="T12" fmla="*/ 10 w 10"/>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10" h="6">
                    <a:moveTo>
                      <a:pt x="10" y="0"/>
                    </a:moveTo>
                    <a:lnTo>
                      <a:pt x="4" y="2"/>
                    </a:lnTo>
                    <a:lnTo>
                      <a:pt x="4" y="6"/>
                    </a:lnTo>
                    <a:lnTo>
                      <a:pt x="0" y="4"/>
                    </a:lnTo>
                    <a:lnTo>
                      <a:pt x="0" y="0"/>
                    </a:lnTo>
                    <a:lnTo>
                      <a:pt x="6" y="2"/>
                    </a:lnTo>
                    <a:lnTo>
                      <a:pt x="1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1" name="Freeform 1259"/>
              <p:cNvSpPr>
                <a:spLocks/>
              </p:cNvSpPr>
              <p:nvPr/>
            </p:nvSpPr>
            <p:spPr bwMode="auto">
              <a:xfrm>
                <a:off x="1462" y="3966"/>
                <a:ext cx="0" cy="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lnTo>
                      <a:pt x="0" y="4"/>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2" name="Freeform 1260"/>
              <p:cNvSpPr>
                <a:spLocks/>
              </p:cNvSpPr>
              <p:nvPr/>
            </p:nvSpPr>
            <p:spPr bwMode="auto">
              <a:xfrm>
                <a:off x="1462" y="3966"/>
                <a:ext cx="0" cy="4"/>
              </a:xfrm>
              <a:custGeom>
                <a:avLst/>
                <a:gdLst>
                  <a:gd name="T0" fmla="*/ 0 h 4"/>
                  <a:gd name="T1" fmla="*/ 4 h 4"/>
                  <a:gd name="T2" fmla="*/ 0 h 4"/>
                  <a:gd name="T3" fmla="*/ 0 h 4"/>
                </a:gdLst>
                <a:ahLst/>
                <a:cxnLst>
                  <a:cxn ang="0">
                    <a:pos x="0" y="T0"/>
                  </a:cxn>
                  <a:cxn ang="0">
                    <a:pos x="0" y="T1"/>
                  </a:cxn>
                  <a:cxn ang="0">
                    <a:pos x="0" y="T2"/>
                  </a:cxn>
                  <a:cxn ang="0">
                    <a:pos x="0" y="T3"/>
                  </a:cxn>
                </a:cxnLst>
                <a:rect l="0" t="0" r="r" b="b"/>
                <a:pathLst>
                  <a:path h="4">
                    <a:moveTo>
                      <a:pt x="0" y="0"/>
                    </a:moveTo>
                    <a:lnTo>
                      <a:pt x="0" y="4"/>
                    </a:lnTo>
                    <a:lnTo>
                      <a:pt x="0" y="0"/>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3" name="Freeform 1261"/>
              <p:cNvSpPr>
                <a:spLocks/>
              </p:cNvSpPr>
              <p:nvPr/>
            </p:nvSpPr>
            <p:spPr bwMode="auto">
              <a:xfrm>
                <a:off x="1464"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4" name="Freeform 1262"/>
              <p:cNvSpPr>
                <a:spLocks/>
              </p:cNvSpPr>
              <p:nvPr/>
            </p:nvSpPr>
            <p:spPr bwMode="auto">
              <a:xfrm>
                <a:off x="1464" y="3944"/>
                <a:ext cx="2" cy="5"/>
              </a:xfrm>
              <a:custGeom>
                <a:avLst/>
                <a:gdLst>
                  <a:gd name="T0" fmla="*/ 2 w 2"/>
                  <a:gd name="T1" fmla="*/ 0 h 5"/>
                  <a:gd name="T2" fmla="*/ 2 w 2"/>
                  <a:gd name="T3" fmla="*/ 5 h 5"/>
                  <a:gd name="T4" fmla="*/ 0 w 2"/>
                  <a:gd name="T5" fmla="*/ 0 h 5"/>
                  <a:gd name="T6" fmla="*/ 2 w 2"/>
                  <a:gd name="T7" fmla="*/ 0 h 5"/>
                </a:gdLst>
                <a:ahLst/>
                <a:cxnLst>
                  <a:cxn ang="0">
                    <a:pos x="T0" y="T1"/>
                  </a:cxn>
                  <a:cxn ang="0">
                    <a:pos x="T2" y="T3"/>
                  </a:cxn>
                  <a:cxn ang="0">
                    <a:pos x="T4" y="T5"/>
                  </a:cxn>
                  <a:cxn ang="0">
                    <a:pos x="T6" y="T7"/>
                  </a:cxn>
                </a:cxnLst>
                <a:rect l="0" t="0" r="r" b="b"/>
                <a:pathLst>
                  <a:path w="2" h="5">
                    <a:moveTo>
                      <a:pt x="2" y="0"/>
                    </a:moveTo>
                    <a:lnTo>
                      <a:pt x="2" y="5"/>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5" name="Freeform 1263"/>
              <p:cNvSpPr>
                <a:spLocks/>
              </p:cNvSpPr>
              <p:nvPr/>
            </p:nvSpPr>
            <p:spPr bwMode="auto">
              <a:xfrm>
                <a:off x="1469" y="3908"/>
                <a:ext cx="12" cy="13"/>
              </a:xfrm>
              <a:custGeom>
                <a:avLst/>
                <a:gdLst>
                  <a:gd name="T0" fmla="*/ 8 w 12"/>
                  <a:gd name="T1" fmla="*/ 0 h 13"/>
                  <a:gd name="T2" fmla="*/ 12 w 12"/>
                  <a:gd name="T3" fmla="*/ 4 h 13"/>
                  <a:gd name="T4" fmla="*/ 10 w 12"/>
                  <a:gd name="T5" fmla="*/ 11 h 13"/>
                  <a:gd name="T6" fmla="*/ 6 w 12"/>
                  <a:gd name="T7" fmla="*/ 13 h 13"/>
                  <a:gd name="T8" fmla="*/ 2 w 12"/>
                  <a:gd name="T9" fmla="*/ 9 h 13"/>
                  <a:gd name="T10" fmla="*/ 0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12" y="4"/>
                    </a:lnTo>
                    <a:lnTo>
                      <a:pt x="10" y="11"/>
                    </a:lnTo>
                    <a:lnTo>
                      <a:pt x="6" y="13"/>
                    </a:lnTo>
                    <a:lnTo>
                      <a:pt x="2" y="9"/>
                    </a:lnTo>
                    <a:lnTo>
                      <a:pt x="0" y="4"/>
                    </a:lnTo>
                    <a:lnTo>
                      <a:pt x="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6" name="Freeform 1264"/>
              <p:cNvSpPr>
                <a:spLocks/>
              </p:cNvSpPr>
              <p:nvPr/>
            </p:nvSpPr>
            <p:spPr bwMode="auto">
              <a:xfrm>
                <a:off x="1469" y="3908"/>
                <a:ext cx="12" cy="13"/>
              </a:xfrm>
              <a:custGeom>
                <a:avLst/>
                <a:gdLst>
                  <a:gd name="T0" fmla="*/ 8 w 12"/>
                  <a:gd name="T1" fmla="*/ 0 h 13"/>
                  <a:gd name="T2" fmla="*/ 12 w 12"/>
                  <a:gd name="T3" fmla="*/ 4 h 13"/>
                  <a:gd name="T4" fmla="*/ 10 w 12"/>
                  <a:gd name="T5" fmla="*/ 11 h 13"/>
                  <a:gd name="T6" fmla="*/ 6 w 12"/>
                  <a:gd name="T7" fmla="*/ 13 h 13"/>
                  <a:gd name="T8" fmla="*/ 2 w 12"/>
                  <a:gd name="T9" fmla="*/ 9 h 13"/>
                  <a:gd name="T10" fmla="*/ 0 w 12"/>
                  <a:gd name="T11" fmla="*/ 4 h 13"/>
                  <a:gd name="T12" fmla="*/ 8 w 12"/>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12" h="13">
                    <a:moveTo>
                      <a:pt x="8" y="0"/>
                    </a:moveTo>
                    <a:lnTo>
                      <a:pt x="12" y="4"/>
                    </a:lnTo>
                    <a:lnTo>
                      <a:pt x="10" y="11"/>
                    </a:lnTo>
                    <a:lnTo>
                      <a:pt x="6" y="13"/>
                    </a:lnTo>
                    <a:lnTo>
                      <a:pt x="2" y="9"/>
                    </a:lnTo>
                    <a:lnTo>
                      <a:pt x="0" y="4"/>
                    </a:lnTo>
                    <a:lnTo>
                      <a:pt x="8"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7" name="Freeform 1265"/>
              <p:cNvSpPr>
                <a:spLocks/>
              </p:cNvSpPr>
              <p:nvPr/>
            </p:nvSpPr>
            <p:spPr bwMode="auto">
              <a:xfrm>
                <a:off x="1460" y="3972"/>
                <a:ext cx="4" cy="8"/>
              </a:xfrm>
              <a:custGeom>
                <a:avLst/>
                <a:gdLst>
                  <a:gd name="T0" fmla="*/ 4 w 4"/>
                  <a:gd name="T1" fmla="*/ 0 h 8"/>
                  <a:gd name="T2" fmla="*/ 0 w 4"/>
                  <a:gd name="T3" fmla="*/ 4 h 8"/>
                  <a:gd name="T4" fmla="*/ 2 w 4"/>
                  <a:gd name="T5" fmla="*/ 8 h 8"/>
                  <a:gd name="T6" fmla="*/ 0 w 4"/>
                  <a:gd name="T7" fmla="*/ 4 h 8"/>
                  <a:gd name="T8" fmla="*/ 2 w 4"/>
                  <a:gd name="T9" fmla="*/ 0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0" y="4"/>
                    </a:lnTo>
                    <a:lnTo>
                      <a:pt x="2" y="8"/>
                    </a:lnTo>
                    <a:lnTo>
                      <a:pt x="0" y="4"/>
                    </a:lnTo>
                    <a:lnTo>
                      <a:pt x="2" y="0"/>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58" name="Freeform 1266"/>
              <p:cNvSpPr>
                <a:spLocks/>
              </p:cNvSpPr>
              <p:nvPr/>
            </p:nvSpPr>
            <p:spPr bwMode="auto">
              <a:xfrm>
                <a:off x="1460" y="3972"/>
                <a:ext cx="4" cy="8"/>
              </a:xfrm>
              <a:custGeom>
                <a:avLst/>
                <a:gdLst>
                  <a:gd name="T0" fmla="*/ 4 w 4"/>
                  <a:gd name="T1" fmla="*/ 0 h 8"/>
                  <a:gd name="T2" fmla="*/ 0 w 4"/>
                  <a:gd name="T3" fmla="*/ 4 h 8"/>
                  <a:gd name="T4" fmla="*/ 2 w 4"/>
                  <a:gd name="T5" fmla="*/ 8 h 8"/>
                  <a:gd name="T6" fmla="*/ 0 w 4"/>
                  <a:gd name="T7" fmla="*/ 4 h 8"/>
                  <a:gd name="T8" fmla="*/ 2 w 4"/>
                  <a:gd name="T9" fmla="*/ 0 h 8"/>
                  <a:gd name="T10" fmla="*/ 4 w 4"/>
                  <a:gd name="T11" fmla="*/ 0 h 8"/>
                </a:gdLst>
                <a:ahLst/>
                <a:cxnLst>
                  <a:cxn ang="0">
                    <a:pos x="T0" y="T1"/>
                  </a:cxn>
                  <a:cxn ang="0">
                    <a:pos x="T2" y="T3"/>
                  </a:cxn>
                  <a:cxn ang="0">
                    <a:pos x="T4" y="T5"/>
                  </a:cxn>
                  <a:cxn ang="0">
                    <a:pos x="T6" y="T7"/>
                  </a:cxn>
                  <a:cxn ang="0">
                    <a:pos x="T8" y="T9"/>
                  </a:cxn>
                  <a:cxn ang="0">
                    <a:pos x="T10" y="T11"/>
                  </a:cxn>
                </a:cxnLst>
                <a:rect l="0" t="0" r="r" b="b"/>
                <a:pathLst>
                  <a:path w="4" h="8">
                    <a:moveTo>
                      <a:pt x="4" y="0"/>
                    </a:moveTo>
                    <a:lnTo>
                      <a:pt x="0" y="4"/>
                    </a:lnTo>
                    <a:lnTo>
                      <a:pt x="2" y="8"/>
                    </a:lnTo>
                    <a:lnTo>
                      <a:pt x="0" y="4"/>
                    </a:lnTo>
                    <a:lnTo>
                      <a:pt x="2" y="0"/>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59" name="Freeform 1267"/>
              <p:cNvSpPr>
                <a:spLocks/>
              </p:cNvSpPr>
              <p:nvPr/>
            </p:nvSpPr>
            <p:spPr bwMode="auto">
              <a:xfrm>
                <a:off x="1464" y="3963"/>
                <a:ext cx="5" cy="5"/>
              </a:xfrm>
              <a:custGeom>
                <a:avLst/>
                <a:gdLst>
                  <a:gd name="T0" fmla="*/ 5 w 5"/>
                  <a:gd name="T1" fmla="*/ 0 h 5"/>
                  <a:gd name="T2" fmla="*/ 5 w 5"/>
                  <a:gd name="T3" fmla="*/ 5 h 5"/>
                  <a:gd name="T4" fmla="*/ 0 w 5"/>
                  <a:gd name="T5" fmla="*/ 0 h 5"/>
                  <a:gd name="T6" fmla="*/ 5 w 5"/>
                  <a:gd name="T7" fmla="*/ 0 h 5"/>
                </a:gdLst>
                <a:ahLst/>
                <a:cxnLst>
                  <a:cxn ang="0">
                    <a:pos x="T0" y="T1"/>
                  </a:cxn>
                  <a:cxn ang="0">
                    <a:pos x="T2" y="T3"/>
                  </a:cxn>
                  <a:cxn ang="0">
                    <a:pos x="T4" y="T5"/>
                  </a:cxn>
                  <a:cxn ang="0">
                    <a:pos x="T6" y="T7"/>
                  </a:cxn>
                </a:cxnLst>
                <a:rect l="0" t="0" r="r" b="b"/>
                <a:pathLst>
                  <a:path w="5" h="5">
                    <a:moveTo>
                      <a:pt x="5" y="0"/>
                    </a:moveTo>
                    <a:lnTo>
                      <a:pt x="5" y="5"/>
                    </a:lnTo>
                    <a:lnTo>
                      <a:pt x="0" y="0"/>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0" name="Freeform 1268"/>
              <p:cNvSpPr>
                <a:spLocks/>
              </p:cNvSpPr>
              <p:nvPr/>
            </p:nvSpPr>
            <p:spPr bwMode="auto">
              <a:xfrm>
                <a:off x="1464" y="3963"/>
                <a:ext cx="5" cy="5"/>
              </a:xfrm>
              <a:custGeom>
                <a:avLst/>
                <a:gdLst>
                  <a:gd name="T0" fmla="*/ 5 w 5"/>
                  <a:gd name="T1" fmla="*/ 0 h 5"/>
                  <a:gd name="T2" fmla="*/ 5 w 5"/>
                  <a:gd name="T3" fmla="*/ 5 h 5"/>
                  <a:gd name="T4" fmla="*/ 0 w 5"/>
                  <a:gd name="T5" fmla="*/ 0 h 5"/>
                  <a:gd name="T6" fmla="*/ 5 w 5"/>
                  <a:gd name="T7" fmla="*/ 0 h 5"/>
                </a:gdLst>
                <a:ahLst/>
                <a:cxnLst>
                  <a:cxn ang="0">
                    <a:pos x="T0" y="T1"/>
                  </a:cxn>
                  <a:cxn ang="0">
                    <a:pos x="T2" y="T3"/>
                  </a:cxn>
                  <a:cxn ang="0">
                    <a:pos x="T4" y="T5"/>
                  </a:cxn>
                  <a:cxn ang="0">
                    <a:pos x="T6" y="T7"/>
                  </a:cxn>
                </a:cxnLst>
                <a:rect l="0" t="0" r="r" b="b"/>
                <a:pathLst>
                  <a:path w="5" h="5">
                    <a:moveTo>
                      <a:pt x="5" y="0"/>
                    </a:moveTo>
                    <a:lnTo>
                      <a:pt x="5" y="5"/>
                    </a:lnTo>
                    <a:lnTo>
                      <a:pt x="0" y="0"/>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1" name="Freeform 1269"/>
              <p:cNvSpPr>
                <a:spLocks/>
              </p:cNvSpPr>
              <p:nvPr/>
            </p:nvSpPr>
            <p:spPr bwMode="auto">
              <a:xfrm>
                <a:off x="1466" y="3974"/>
                <a:ext cx="7" cy="9"/>
              </a:xfrm>
              <a:custGeom>
                <a:avLst/>
                <a:gdLst>
                  <a:gd name="T0" fmla="*/ 5 w 7"/>
                  <a:gd name="T1" fmla="*/ 0 h 9"/>
                  <a:gd name="T2" fmla="*/ 7 w 7"/>
                  <a:gd name="T3" fmla="*/ 6 h 9"/>
                  <a:gd name="T4" fmla="*/ 0 w 7"/>
                  <a:gd name="T5" fmla="*/ 9 h 9"/>
                  <a:gd name="T6" fmla="*/ 0 w 7"/>
                  <a:gd name="T7" fmla="*/ 4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7" y="6"/>
                    </a:lnTo>
                    <a:lnTo>
                      <a:pt x="0" y="9"/>
                    </a:lnTo>
                    <a:lnTo>
                      <a:pt x="0" y="4"/>
                    </a:lnTo>
                    <a:lnTo>
                      <a:pt x="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62" name="Freeform 1270"/>
              <p:cNvSpPr>
                <a:spLocks/>
              </p:cNvSpPr>
              <p:nvPr/>
            </p:nvSpPr>
            <p:spPr bwMode="auto">
              <a:xfrm>
                <a:off x="1466" y="3974"/>
                <a:ext cx="7" cy="9"/>
              </a:xfrm>
              <a:custGeom>
                <a:avLst/>
                <a:gdLst>
                  <a:gd name="T0" fmla="*/ 5 w 7"/>
                  <a:gd name="T1" fmla="*/ 0 h 9"/>
                  <a:gd name="T2" fmla="*/ 7 w 7"/>
                  <a:gd name="T3" fmla="*/ 6 h 9"/>
                  <a:gd name="T4" fmla="*/ 0 w 7"/>
                  <a:gd name="T5" fmla="*/ 9 h 9"/>
                  <a:gd name="T6" fmla="*/ 0 w 7"/>
                  <a:gd name="T7" fmla="*/ 4 h 9"/>
                  <a:gd name="T8" fmla="*/ 5 w 7"/>
                  <a:gd name="T9" fmla="*/ 0 h 9"/>
                </a:gdLst>
                <a:ahLst/>
                <a:cxnLst>
                  <a:cxn ang="0">
                    <a:pos x="T0" y="T1"/>
                  </a:cxn>
                  <a:cxn ang="0">
                    <a:pos x="T2" y="T3"/>
                  </a:cxn>
                  <a:cxn ang="0">
                    <a:pos x="T4" y="T5"/>
                  </a:cxn>
                  <a:cxn ang="0">
                    <a:pos x="T6" y="T7"/>
                  </a:cxn>
                  <a:cxn ang="0">
                    <a:pos x="T8" y="T9"/>
                  </a:cxn>
                </a:cxnLst>
                <a:rect l="0" t="0" r="r" b="b"/>
                <a:pathLst>
                  <a:path w="7" h="9">
                    <a:moveTo>
                      <a:pt x="5" y="0"/>
                    </a:moveTo>
                    <a:lnTo>
                      <a:pt x="7" y="6"/>
                    </a:lnTo>
                    <a:lnTo>
                      <a:pt x="0" y="9"/>
                    </a:lnTo>
                    <a:lnTo>
                      <a:pt x="0" y="4"/>
                    </a:lnTo>
                    <a:lnTo>
                      <a:pt x="5"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1063" name="Freeform 1271"/>
              <p:cNvSpPr>
                <a:spLocks/>
              </p:cNvSpPr>
              <p:nvPr/>
            </p:nvSpPr>
            <p:spPr bwMode="auto">
              <a:xfrm>
                <a:off x="1490" y="3904"/>
                <a:ext cx="13" cy="19"/>
              </a:xfrm>
              <a:custGeom>
                <a:avLst/>
                <a:gdLst>
                  <a:gd name="T0" fmla="*/ 0 w 13"/>
                  <a:gd name="T1" fmla="*/ 0 h 19"/>
                  <a:gd name="T2" fmla="*/ 13 w 13"/>
                  <a:gd name="T3" fmla="*/ 8 h 19"/>
                  <a:gd name="T4" fmla="*/ 13 w 13"/>
                  <a:gd name="T5" fmla="*/ 15 h 19"/>
                  <a:gd name="T6" fmla="*/ 13 w 13"/>
                  <a:gd name="T7" fmla="*/ 19 h 19"/>
                  <a:gd name="T8" fmla="*/ 8 w 13"/>
                  <a:gd name="T9" fmla="*/ 15 h 19"/>
                  <a:gd name="T10" fmla="*/ 2 w 13"/>
                  <a:gd name="T11" fmla="*/ 15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13" y="8"/>
                    </a:lnTo>
                    <a:lnTo>
                      <a:pt x="13" y="15"/>
                    </a:lnTo>
                    <a:lnTo>
                      <a:pt x="13" y="19"/>
                    </a:lnTo>
                    <a:lnTo>
                      <a:pt x="8" y="15"/>
                    </a:lnTo>
                    <a:lnTo>
                      <a:pt x="2" y="1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80" name="Freeform 1273"/>
            <p:cNvSpPr>
              <a:spLocks/>
            </p:cNvSpPr>
            <p:nvPr/>
          </p:nvSpPr>
          <p:spPr bwMode="auto">
            <a:xfrm>
              <a:off x="2522537" y="5959475"/>
              <a:ext cx="20638" cy="30163"/>
            </a:xfrm>
            <a:custGeom>
              <a:avLst/>
              <a:gdLst>
                <a:gd name="T0" fmla="*/ 0 w 13"/>
                <a:gd name="T1" fmla="*/ 0 h 19"/>
                <a:gd name="T2" fmla="*/ 13 w 13"/>
                <a:gd name="T3" fmla="*/ 8 h 19"/>
                <a:gd name="T4" fmla="*/ 13 w 13"/>
                <a:gd name="T5" fmla="*/ 15 h 19"/>
                <a:gd name="T6" fmla="*/ 13 w 13"/>
                <a:gd name="T7" fmla="*/ 19 h 19"/>
                <a:gd name="T8" fmla="*/ 8 w 13"/>
                <a:gd name="T9" fmla="*/ 15 h 19"/>
                <a:gd name="T10" fmla="*/ 2 w 13"/>
                <a:gd name="T11" fmla="*/ 15 h 19"/>
                <a:gd name="T12" fmla="*/ 0 w 13"/>
                <a:gd name="T13" fmla="*/ 0 h 19"/>
              </a:gdLst>
              <a:ahLst/>
              <a:cxnLst>
                <a:cxn ang="0">
                  <a:pos x="T0" y="T1"/>
                </a:cxn>
                <a:cxn ang="0">
                  <a:pos x="T2" y="T3"/>
                </a:cxn>
                <a:cxn ang="0">
                  <a:pos x="T4" y="T5"/>
                </a:cxn>
                <a:cxn ang="0">
                  <a:pos x="T6" y="T7"/>
                </a:cxn>
                <a:cxn ang="0">
                  <a:pos x="T8" y="T9"/>
                </a:cxn>
                <a:cxn ang="0">
                  <a:pos x="T10" y="T11"/>
                </a:cxn>
                <a:cxn ang="0">
                  <a:pos x="T12" y="T13"/>
                </a:cxn>
              </a:cxnLst>
              <a:rect l="0" t="0" r="r" b="b"/>
              <a:pathLst>
                <a:path w="13" h="19">
                  <a:moveTo>
                    <a:pt x="0" y="0"/>
                  </a:moveTo>
                  <a:lnTo>
                    <a:pt x="13" y="8"/>
                  </a:lnTo>
                  <a:lnTo>
                    <a:pt x="13" y="15"/>
                  </a:lnTo>
                  <a:lnTo>
                    <a:pt x="13" y="19"/>
                  </a:lnTo>
                  <a:lnTo>
                    <a:pt x="8" y="15"/>
                  </a:lnTo>
                  <a:lnTo>
                    <a:pt x="2" y="1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1" name="Freeform 1274"/>
            <p:cNvSpPr>
              <a:spLocks/>
            </p:cNvSpPr>
            <p:nvPr/>
          </p:nvSpPr>
          <p:spPr bwMode="auto">
            <a:xfrm>
              <a:off x="2508250" y="5972175"/>
              <a:ext cx="34925" cy="38100"/>
            </a:xfrm>
            <a:custGeom>
              <a:avLst/>
              <a:gdLst>
                <a:gd name="T0" fmla="*/ 9 w 22"/>
                <a:gd name="T1" fmla="*/ 0 h 24"/>
                <a:gd name="T2" fmla="*/ 9 w 22"/>
                <a:gd name="T3" fmla="*/ 5 h 24"/>
                <a:gd name="T4" fmla="*/ 17 w 22"/>
                <a:gd name="T5" fmla="*/ 11 h 24"/>
                <a:gd name="T6" fmla="*/ 17 w 22"/>
                <a:gd name="T7" fmla="*/ 15 h 24"/>
                <a:gd name="T8" fmla="*/ 22 w 22"/>
                <a:gd name="T9" fmla="*/ 22 h 24"/>
                <a:gd name="T10" fmla="*/ 15 w 22"/>
                <a:gd name="T11" fmla="*/ 24 h 24"/>
                <a:gd name="T12" fmla="*/ 7 w 22"/>
                <a:gd name="T13" fmla="*/ 17 h 24"/>
                <a:gd name="T14" fmla="*/ 2 w 22"/>
                <a:gd name="T15" fmla="*/ 15 h 24"/>
                <a:gd name="T16" fmla="*/ 0 w 22"/>
                <a:gd name="T17" fmla="*/ 11 h 24"/>
                <a:gd name="T18" fmla="*/ 2 w 22"/>
                <a:gd name="T19" fmla="*/ 7 h 24"/>
                <a:gd name="T20" fmla="*/ 2 w 22"/>
                <a:gd name="T21" fmla="*/ 0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9" y="5"/>
                  </a:lnTo>
                  <a:lnTo>
                    <a:pt x="17" y="11"/>
                  </a:lnTo>
                  <a:lnTo>
                    <a:pt x="17" y="15"/>
                  </a:lnTo>
                  <a:lnTo>
                    <a:pt x="22" y="22"/>
                  </a:lnTo>
                  <a:lnTo>
                    <a:pt x="15" y="24"/>
                  </a:lnTo>
                  <a:lnTo>
                    <a:pt x="7" y="17"/>
                  </a:lnTo>
                  <a:lnTo>
                    <a:pt x="2" y="15"/>
                  </a:lnTo>
                  <a:lnTo>
                    <a:pt x="0" y="11"/>
                  </a:lnTo>
                  <a:lnTo>
                    <a:pt x="2" y="7"/>
                  </a:lnTo>
                  <a:lnTo>
                    <a:pt x="2"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2" name="Freeform 1275"/>
            <p:cNvSpPr>
              <a:spLocks/>
            </p:cNvSpPr>
            <p:nvPr/>
          </p:nvSpPr>
          <p:spPr bwMode="auto">
            <a:xfrm>
              <a:off x="2508250" y="5972175"/>
              <a:ext cx="34925" cy="38100"/>
            </a:xfrm>
            <a:custGeom>
              <a:avLst/>
              <a:gdLst>
                <a:gd name="T0" fmla="*/ 9 w 22"/>
                <a:gd name="T1" fmla="*/ 0 h 24"/>
                <a:gd name="T2" fmla="*/ 9 w 22"/>
                <a:gd name="T3" fmla="*/ 5 h 24"/>
                <a:gd name="T4" fmla="*/ 17 w 22"/>
                <a:gd name="T5" fmla="*/ 11 h 24"/>
                <a:gd name="T6" fmla="*/ 17 w 22"/>
                <a:gd name="T7" fmla="*/ 15 h 24"/>
                <a:gd name="T8" fmla="*/ 22 w 22"/>
                <a:gd name="T9" fmla="*/ 22 h 24"/>
                <a:gd name="T10" fmla="*/ 15 w 22"/>
                <a:gd name="T11" fmla="*/ 24 h 24"/>
                <a:gd name="T12" fmla="*/ 7 w 22"/>
                <a:gd name="T13" fmla="*/ 17 h 24"/>
                <a:gd name="T14" fmla="*/ 2 w 22"/>
                <a:gd name="T15" fmla="*/ 15 h 24"/>
                <a:gd name="T16" fmla="*/ 0 w 22"/>
                <a:gd name="T17" fmla="*/ 11 h 24"/>
                <a:gd name="T18" fmla="*/ 2 w 22"/>
                <a:gd name="T19" fmla="*/ 7 h 24"/>
                <a:gd name="T20" fmla="*/ 2 w 22"/>
                <a:gd name="T21" fmla="*/ 0 h 24"/>
                <a:gd name="T22" fmla="*/ 9 w 22"/>
                <a:gd name="T23" fmla="*/ 0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2" h="24">
                  <a:moveTo>
                    <a:pt x="9" y="0"/>
                  </a:moveTo>
                  <a:lnTo>
                    <a:pt x="9" y="5"/>
                  </a:lnTo>
                  <a:lnTo>
                    <a:pt x="17" y="11"/>
                  </a:lnTo>
                  <a:lnTo>
                    <a:pt x="17" y="15"/>
                  </a:lnTo>
                  <a:lnTo>
                    <a:pt x="22" y="22"/>
                  </a:lnTo>
                  <a:lnTo>
                    <a:pt x="15" y="24"/>
                  </a:lnTo>
                  <a:lnTo>
                    <a:pt x="7" y="17"/>
                  </a:lnTo>
                  <a:lnTo>
                    <a:pt x="2" y="15"/>
                  </a:lnTo>
                  <a:lnTo>
                    <a:pt x="0" y="11"/>
                  </a:lnTo>
                  <a:lnTo>
                    <a:pt x="2" y="7"/>
                  </a:lnTo>
                  <a:lnTo>
                    <a:pt x="2" y="0"/>
                  </a:lnTo>
                  <a:lnTo>
                    <a:pt x="9"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3" name="Freeform 1276"/>
            <p:cNvSpPr>
              <a:spLocks/>
            </p:cNvSpPr>
            <p:nvPr/>
          </p:nvSpPr>
          <p:spPr bwMode="auto">
            <a:xfrm>
              <a:off x="2498725" y="6076950"/>
              <a:ext cx="33338" cy="47625"/>
            </a:xfrm>
            <a:custGeom>
              <a:avLst/>
              <a:gdLst>
                <a:gd name="T0" fmla="*/ 2 w 21"/>
                <a:gd name="T1" fmla="*/ 0 h 30"/>
                <a:gd name="T2" fmla="*/ 4 w 21"/>
                <a:gd name="T3" fmla="*/ 7 h 30"/>
                <a:gd name="T4" fmla="*/ 8 w 21"/>
                <a:gd name="T5" fmla="*/ 11 h 30"/>
                <a:gd name="T6" fmla="*/ 11 w 21"/>
                <a:gd name="T7" fmla="*/ 15 h 30"/>
                <a:gd name="T8" fmla="*/ 19 w 21"/>
                <a:gd name="T9" fmla="*/ 24 h 30"/>
                <a:gd name="T10" fmla="*/ 21 w 21"/>
                <a:gd name="T11" fmla="*/ 30 h 30"/>
                <a:gd name="T12" fmla="*/ 17 w 21"/>
                <a:gd name="T13" fmla="*/ 30 h 30"/>
                <a:gd name="T14" fmla="*/ 4 w 21"/>
                <a:gd name="T15" fmla="*/ 17 h 30"/>
                <a:gd name="T16" fmla="*/ 0 w 21"/>
                <a:gd name="T17" fmla="*/ 11 h 30"/>
                <a:gd name="T18" fmla="*/ 2 w 21"/>
                <a:gd name="T19" fmla="*/ 0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4" y="7"/>
                  </a:lnTo>
                  <a:lnTo>
                    <a:pt x="8" y="11"/>
                  </a:lnTo>
                  <a:lnTo>
                    <a:pt x="11" y="15"/>
                  </a:lnTo>
                  <a:lnTo>
                    <a:pt x="19" y="24"/>
                  </a:lnTo>
                  <a:lnTo>
                    <a:pt x="21" y="30"/>
                  </a:lnTo>
                  <a:lnTo>
                    <a:pt x="17" y="30"/>
                  </a:lnTo>
                  <a:lnTo>
                    <a:pt x="4" y="17"/>
                  </a:lnTo>
                  <a:lnTo>
                    <a:pt x="0" y="11"/>
                  </a:lnTo>
                  <a:lnTo>
                    <a:pt x="2"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4" name="Freeform 1277"/>
            <p:cNvSpPr>
              <a:spLocks/>
            </p:cNvSpPr>
            <p:nvPr/>
          </p:nvSpPr>
          <p:spPr bwMode="auto">
            <a:xfrm>
              <a:off x="2498725" y="6076950"/>
              <a:ext cx="33338" cy="47625"/>
            </a:xfrm>
            <a:custGeom>
              <a:avLst/>
              <a:gdLst>
                <a:gd name="T0" fmla="*/ 2 w 21"/>
                <a:gd name="T1" fmla="*/ 0 h 30"/>
                <a:gd name="T2" fmla="*/ 4 w 21"/>
                <a:gd name="T3" fmla="*/ 7 h 30"/>
                <a:gd name="T4" fmla="*/ 8 w 21"/>
                <a:gd name="T5" fmla="*/ 11 h 30"/>
                <a:gd name="T6" fmla="*/ 11 w 21"/>
                <a:gd name="T7" fmla="*/ 15 h 30"/>
                <a:gd name="T8" fmla="*/ 19 w 21"/>
                <a:gd name="T9" fmla="*/ 24 h 30"/>
                <a:gd name="T10" fmla="*/ 21 w 21"/>
                <a:gd name="T11" fmla="*/ 30 h 30"/>
                <a:gd name="T12" fmla="*/ 17 w 21"/>
                <a:gd name="T13" fmla="*/ 30 h 30"/>
                <a:gd name="T14" fmla="*/ 4 w 21"/>
                <a:gd name="T15" fmla="*/ 17 h 30"/>
                <a:gd name="T16" fmla="*/ 0 w 21"/>
                <a:gd name="T17" fmla="*/ 11 h 30"/>
                <a:gd name="T18" fmla="*/ 2 w 21"/>
                <a:gd name="T19" fmla="*/ 0 h 30"/>
                <a:gd name="T20" fmla="*/ 2 w 21"/>
                <a:gd name="T21" fmla="*/ 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2" y="0"/>
                  </a:moveTo>
                  <a:lnTo>
                    <a:pt x="4" y="7"/>
                  </a:lnTo>
                  <a:lnTo>
                    <a:pt x="8" y="11"/>
                  </a:lnTo>
                  <a:lnTo>
                    <a:pt x="11" y="15"/>
                  </a:lnTo>
                  <a:lnTo>
                    <a:pt x="19" y="24"/>
                  </a:lnTo>
                  <a:lnTo>
                    <a:pt x="21" y="30"/>
                  </a:lnTo>
                  <a:lnTo>
                    <a:pt x="17" y="30"/>
                  </a:lnTo>
                  <a:lnTo>
                    <a:pt x="4" y="17"/>
                  </a:lnTo>
                  <a:lnTo>
                    <a:pt x="0" y="11"/>
                  </a:lnTo>
                  <a:lnTo>
                    <a:pt x="2"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5" name="Freeform 1278"/>
            <p:cNvSpPr>
              <a:spLocks/>
            </p:cNvSpPr>
            <p:nvPr/>
          </p:nvSpPr>
          <p:spPr bwMode="auto">
            <a:xfrm>
              <a:off x="2519362" y="6080125"/>
              <a:ext cx="6350" cy="14288"/>
            </a:xfrm>
            <a:custGeom>
              <a:avLst/>
              <a:gdLst>
                <a:gd name="T0" fmla="*/ 0 w 4"/>
                <a:gd name="T1" fmla="*/ 0 h 9"/>
                <a:gd name="T2" fmla="*/ 4 w 4"/>
                <a:gd name="T3" fmla="*/ 5 h 9"/>
                <a:gd name="T4" fmla="*/ 4 w 4"/>
                <a:gd name="T5" fmla="*/ 9 h 9"/>
                <a:gd name="T6" fmla="*/ 0 w 4"/>
                <a:gd name="T7" fmla="*/ 9 h 9"/>
                <a:gd name="T8" fmla="*/ 0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4" y="5"/>
                  </a:lnTo>
                  <a:lnTo>
                    <a:pt x="4" y="9"/>
                  </a:lnTo>
                  <a:lnTo>
                    <a:pt x="0" y="9"/>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6" name="Freeform 1279"/>
            <p:cNvSpPr>
              <a:spLocks/>
            </p:cNvSpPr>
            <p:nvPr/>
          </p:nvSpPr>
          <p:spPr bwMode="auto">
            <a:xfrm>
              <a:off x="2519362" y="6080125"/>
              <a:ext cx="6350" cy="14288"/>
            </a:xfrm>
            <a:custGeom>
              <a:avLst/>
              <a:gdLst>
                <a:gd name="T0" fmla="*/ 0 w 4"/>
                <a:gd name="T1" fmla="*/ 0 h 9"/>
                <a:gd name="T2" fmla="*/ 4 w 4"/>
                <a:gd name="T3" fmla="*/ 5 h 9"/>
                <a:gd name="T4" fmla="*/ 4 w 4"/>
                <a:gd name="T5" fmla="*/ 9 h 9"/>
                <a:gd name="T6" fmla="*/ 0 w 4"/>
                <a:gd name="T7" fmla="*/ 9 h 9"/>
                <a:gd name="T8" fmla="*/ 0 w 4"/>
                <a:gd name="T9" fmla="*/ 5 h 9"/>
                <a:gd name="T10" fmla="*/ 0 w 4"/>
                <a:gd name="T11" fmla="*/ 0 h 9"/>
              </a:gdLst>
              <a:ahLst/>
              <a:cxnLst>
                <a:cxn ang="0">
                  <a:pos x="T0" y="T1"/>
                </a:cxn>
                <a:cxn ang="0">
                  <a:pos x="T2" y="T3"/>
                </a:cxn>
                <a:cxn ang="0">
                  <a:pos x="T4" y="T5"/>
                </a:cxn>
                <a:cxn ang="0">
                  <a:pos x="T6" y="T7"/>
                </a:cxn>
                <a:cxn ang="0">
                  <a:pos x="T8" y="T9"/>
                </a:cxn>
                <a:cxn ang="0">
                  <a:pos x="T10" y="T11"/>
                </a:cxn>
              </a:cxnLst>
              <a:rect l="0" t="0" r="r" b="b"/>
              <a:pathLst>
                <a:path w="4" h="9">
                  <a:moveTo>
                    <a:pt x="0" y="0"/>
                  </a:moveTo>
                  <a:lnTo>
                    <a:pt x="4" y="5"/>
                  </a:lnTo>
                  <a:lnTo>
                    <a:pt x="4" y="9"/>
                  </a:lnTo>
                  <a:lnTo>
                    <a:pt x="0" y="9"/>
                  </a:lnTo>
                  <a:lnTo>
                    <a:pt x="0"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7" name="Freeform 1280"/>
            <p:cNvSpPr>
              <a:spLocks/>
            </p:cNvSpPr>
            <p:nvPr/>
          </p:nvSpPr>
          <p:spPr bwMode="auto">
            <a:xfrm>
              <a:off x="2528887" y="6103938"/>
              <a:ext cx="6350" cy="11113"/>
            </a:xfrm>
            <a:custGeom>
              <a:avLst/>
              <a:gdLst>
                <a:gd name="T0" fmla="*/ 2 w 4"/>
                <a:gd name="T1" fmla="*/ 0 h 7"/>
                <a:gd name="T2" fmla="*/ 4 w 4"/>
                <a:gd name="T3" fmla="*/ 7 h 7"/>
                <a:gd name="T4" fmla="*/ 0 w 4"/>
                <a:gd name="T5" fmla="*/ 5 h 7"/>
                <a:gd name="T6" fmla="*/ 0 w 4"/>
                <a:gd name="T7" fmla="*/ 0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4" y="7"/>
                  </a:lnTo>
                  <a:lnTo>
                    <a:pt x="0" y="5"/>
                  </a:lnTo>
                  <a:lnTo>
                    <a:pt x="0" y="0"/>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8" name="Freeform 1281"/>
            <p:cNvSpPr>
              <a:spLocks/>
            </p:cNvSpPr>
            <p:nvPr/>
          </p:nvSpPr>
          <p:spPr bwMode="auto">
            <a:xfrm>
              <a:off x="2528887" y="6103938"/>
              <a:ext cx="6350" cy="11113"/>
            </a:xfrm>
            <a:custGeom>
              <a:avLst/>
              <a:gdLst>
                <a:gd name="T0" fmla="*/ 2 w 4"/>
                <a:gd name="T1" fmla="*/ 0 h 7"/>
                <a:gd name="T2" fmla="*/ 4 w 4"/>
                <a:gd name="T3" fmla="*/ 7 h 7"/>
                <a:gd name="T4" fmla="*/ 0 w 4"/>
                <a:gd name="T5" fmla="*/ 5 h 7"/>
                <a:gd name="T6" fmla="*/ 0 w 4"/>
                <a:gd name="T7" fmla="*/ 0 h 7"/>
                <a:gd name="T8" fmla="*/ 2 w 4"/>
                <a:gd name="T9" fmla="*/ 0 h 7"/>
              </a:gdLst>
              <a:ahLst/>
              <a:cxnLst>
                <a:cxn ang="0">
                  <a:pos x="T0" y="T1"/>
                </a:cxn>
                <a:cxn ang="0">
                  <a:pos x="T2" y="T3"/>
                </a:cxn>
                <a:cxn ang="0">
                  <a:pos x="T4" y="T5"/>
                </a:cxn>
                <a:cxn ang="0">
                  <a:pos x="T6" y="T7"/>
                </a:cxn>
                <a:cxn ang="0">
                  <a:pos x="T8" y="T9"/>
                </a:cxn>
              </a:cxnLst>
              <a:rect l="0" t="0" r="r" b="b"/>
              <a:pathLst>
                <a:path w="4" h="7">
                  <a:moveTo>
                    <a:pt x="2" y="0"/>
                  </a:moveTo>
                  <a:lnTo>
                    <a:pt x="4" y="7"/>
                  </a:lnTo>
                  <a:lnTo>
                    <a:pt x="0" y="5"/>
                  </a:lnTo>
                  <a:lnTo>
                    <a:pt x="0" y="0"/>
                  </a:lnTo>
                  <a:lnTo>
                    <a:pt x="2"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89" name="Freeform 1282"/>
            <p:cNvSpPr>
              <a:spLocks/>
            </p:cNvSpPr>
            <p:nvPr/>
          </p:nvSpPr>
          <p:spPr bwMode="auto">
            <a:xfrm>
              <a:off x="2566987" y="6049963"/>
              <a:ext cx="9525" cy="20638"/>
            </a:xfrm>
            <a:custGeom>
              <a:avLst/>
              <a:gdLst>
                <a:gd name="T0" fmla="*/ 0 w 6"/>
                <a:gd name="T1" fmla="*/ 0 h 13"/>
                <a:gd name="T2" fmla="*/ 4 w 6"/>
                <a:gd name="T3" fmla="*/ 2 h 13"/>
                <a:gd name="T4" fmla="*/ 6 w 6"/>
                <a:gd name="T5" fmla="*/ 9 h 13"/>
                <a:gd name="T6" fmla="*/ 6 w 6"/>
                <a:gd name="T7" fmla="*/ 13 h 13"/>
                <a:gd name="T8" fmla="*/ 2 w 6"/>
                <a:gd name="T9" fmla="*/ 11 h 13"/>
                <a:gd name="T10" fmla="*/ 0 w 6"/>
                <a:gd name="T11" fmla="*/ 5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4" y="2"/>
                  </a:lnTo>
                  <a:lnTo>
                    <a:pt x="6" y="9"/>
                  </a:lnTo>
                  <a:lnTo>
                    <a:pt x="6" y="13"/>
                  </a:lnTo>
                  <a:lnTo>
                    <a:pt x="2" y="11"/>
                  </a:lnTo>
                  <a:lnTo>
                    <a:pt x="0" y="5"/>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0" name="Freeform 1283"/>
            <p:cNvSpPr>
              <a:spLocks/>
            </p:cNvSpPr>
            <p:nvPr/>
          </p:nvSpPr>
          <p:spPr bwMode="auto">
            <a:xfrm>
              <a:off x="2566987" y="6049963"/>
              <a:ext cx="9525" cy="20638"/>
            </a:xfrm>
            <a:custGeom>
              <a:avLst/>
              <a:gdLst>
                <a:gd name="T0" fmla="*/ 0 w 6"/>
                <a:gd name="T1" fmla="*/ 0 h 13"/>
                <a:gd name="T2" fmla="*/ 4 w 6"/>
                <a:gd name="T3" fmla="*/ 2 h 13"/>
                <a:gd name="T4" fmla="*/ 6 w 6"/>
                <a:gd name="T5" fmla="*/ 9 h 13"/>
                <a:gd name="T6" fmla="*/ 6 w 6"/>
                <a:gd name="T7" fmla="*/ 13 h 13"/>
                <a:gd name="T8" fmla="*/ 2 w 6"/>
                <a:gd name="T9" fmla="*/ 11 h 13"/>
                <a:gd name="T10" fmla="*/ 0 w 6"/>
                <a:gd name="T11" fmla="*/ 5 h 13"/>
                <a:gd name="T12" fmla="*/ 0 w 6"/>
                <a:gd name="T13" fmla="*/ 0 h 13"/>
              </a:gdLst>
              <a:ahLst/>
              <a:cxnLst>
                <a:cxn ang="0">
                  <a:pos x="T0" y="T1"/>
                </a:cxn>
                <a:cxn ang="0">
                  <a:pos x="T2" y="T3"/>
                </a:cxn>
                <a:cxn ang="0">
                  <a:pos x="T4" y="T5"/>
                </a:cxn>
                <a:cxn ang="0">
                  <a:pos x="T6" y="T7"/>
                </a:cxn>
                <a:cxn ang="0">
                  <a:pos x="T8" y="T9"/>
                </a:cxn>
                <a:cxn ang="0">
                  <a:pos x="T10" y="T11"/>
                </a:cxn>
                <a:cxn ang="0">
                  <a:pos x="T12" y="T13"/>
                </a:cxn>
              </a:cxnLst>
              <a:rect l="0" t="0" r="r" b="b"/>
              <a:pathLst>
                <a:path w="6" h="13">
                  <a:moveTo>
                    <a:pt x="0" y="0"/>
                  </a:moveTo>
                  <a:lnTo>
                    <a:pt x="4" y="2"/>
                  </a:lnTo>
                  <a:lnTo>
                    <a:pt x="6" y="9"/>
                  </a:lnTo>
                  <a:lnTo>
                    <a:pt x="6" y="13"/>
                  </a:lnTo>
                  <a:lnTo>
                    <a:pt x="2" y="11"/>
                  </a:lnTo>
                  <a:lnTo>
                    <a:pt x="0" y="5"/>
                  </a:lnTo>
                  <a:lnTo>
                    <a:pt x="0"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1" name="Freeform 1284"/>
            <p:cNvSpPr>
              <a:spLocks/>
            </p:cNvSpPr>
            <p:nvPr/>
          </p:nvSpPr>
          <p:spPr bwMode="auto">
            <a:xfrm>
              <a:off x="2566987" y="5995988"/>
              <a:ext cx="42863" cy="68263"/>
            </a:xfrm>
            <a:custGeom>
              <a:avLst/>
              <a:gdLst>
                <a:gd name="T0" fmla="*/ 8 w 27"/>
                <a:gd name="T1" fmla="*/ 39 h 43"/>
                <a:gd name="T2" fmla="*/ 4 w 27"/>
                <a:gd name="T3" fmla="*/ 36 h 43"/>
                <a:gd name="T4" fmla="*/ 0 w 27"/>
                <a:gd name="T5" fmla="*/ 34 h 43"/>
                <a:gd name="T6" fmla="*/ 2 w 27"/>
                <a:gd name="T7" fmla="*/ 28 h 43"/>
                <a:gd name="T8" fmla="*/ 4 w 27"/>
                <a:gd name="T9" fmla="*/ 24 h 43"/>
                <a:gd name="T10" fmla="*/ 0 w 27"/>
                <a:gd name="T11" fmla="*/ 19 h 43"/>
                <a:gd name="T12" fmla="*/ 6 w 27"/>
                <a:gd name="T13" fmla="*/ 15 h 43"/>
                <a:gd name="T14" fmla="*/ 0 w 27"/>
                <a:gd name="T15" fmla="*/ 15 h 43"/>
                <a:gd name="T16" fmla="*/ 6 w 27"/>
                <a:gd name="T17" fmla="*/ 11 h 43"/>
                <a:gd name="T18" fmla="*/ 0 w 27"/>
                <a:gd name="T19" fmla="*/ 9 h 43"/>
                <a:gd name="T20" fmla="*/ 4 w 27"/>
                <a:gd name="T21" fmla="*/ 4 h 43"/>
                <a:gd name="T22" fmla="*/ 8 w 27"/>
                <a:gd name="T23" fmla="*/ 0 h 43"/>
                <a:gd name="T24" fmla="*/ 14 w 27"/>
                <a:gd name="T25" fmla="*/ 0 h 43"/>
                <a:gd name="T26" fmla="*/ 19 w 27"/>
                <a:gd name="T27" fmla="*/ 4 h 43"/>
                <a:gd name="T28" fmla="*/ 25 w 27"/>
                <a:gd name="T29" fmla="*/ 17 h 43"/>
                <a:gd name="T30" fmla="*/ 25 w 27"/>
                <a:gd name="T31" fmla="*/ 22 h 43"/>
                <a:gd name="T32" fmla="*/ 27 w 27"/>
                <a:gd name="T33" fmla="*/ 28 h 43"/>
                <a:gd name="T34" fmla="*/ 25 w 27"/>
                <a:gd name="T35" fmla="*/ 39 h 43"/>
                <a:gd name="T36" fmla="*/ 23 w 27"/>
                <a:gd name="T37" fmla="*/ 43 h 43"/>
                <a:gd name="T38" fmla="*/ 19 w 27"/>
                <a:gd name="T39" fmla="*/ 41 h 43"/>
                <a:gd name="T40" fmla="*/ 17 w 27"/>
                <a:gd name="T41" fmla="*/ 34 h 43"/>
                <a:gd name="T42" fmla="*/ 19 w 27"/>
                <a:gd name="T43" fmla="*/ 39 h 43"/>
                <a:gd name="T44" fmla="*/ 12 w 27"/>
                <a:gd name="T45" fmla="*/ 39 h 43"/>
                <a:gd name="T46" fmla="*/ 14 w 27"/>
                <a:gd name="T47" fmla="*/ 34 h 43"/>
                <a:gd name="T48" fmla="*/ 17 w 27"/>
                <a:gd name="T49" fmla="*/ 28 h 43"/>
                <a:gd name="T50" fmla="*/ 12 w 27"/>
                <a:gd name="T51" fmla="*/ 24 h 43"/>
                <a:gd name="T52" fmla="*/ 14 w 27"/>
                <a:gd name="T53" fmla="*/ 28 h 43"/>
                <a:gd name="T54" fmla="*/ 12 w 27"/>
                <a:gd name="T55" fmla="*/ 32 h 43"/>
                <a:gd name="T56" fmla="*/ 8 w 27"/>
                <a:gd name="T57" fmla="*/ 28 h 43"/>
                <a:gd name="T58" fmla="*/ 12 w 27"/>
                <a:gd name="T59" fmla="*/ 34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4" y="36"/>
                  </a:lnTo>
                  <a:lnTo>
                    <a:pt x="0" y="34"/>
                  </a:lnTo>
                  <a:lnTo>
                    <a:pt x="2" y="28"/>
                  </a:lnTo>
                  <a:lnTo>
                    <a:pt x="4" y="24"/>
                  </a:lnTo>
                  <a:lnTo>
                    <a:pt x="0" y="19"/>
                  </a:lnTo>
                  <a:lnTo>
                    <a:pt x="6" y="15"/>
                  </a:lnTo>
                  <a:lnTo>
                    <a:pt x="0" y="15"/>
                  </a:lnTo>
                  <a:lnTo>
                    <a:pt x="6" y="11"/>
                  </a:lnTo>
                  <a:lnTo>
                    <a:pt x="0" y="9"/>
                  </a:lnTo>
                  <a:lnTo>
                    <a:pt x="4" y="4"/>
                  </a:lnTo>
                  <a:lnTo>
                    <a:pt x="8" y="0"/>
                  </a:lnTo>
                  <a:lnTo>
                    <a:pt x="14" y="0"/>
                  </a:lnTo>
                  <a:lnTo>
                    <a:pt x="19" y="4"/>
                  </a:lnTo>
                  <a:lnTo>
                    <a:pt x="25" y="17"/>
                  </a:lnTo>
                  <a:lnTo>
                    <a:pt x="25" y="22"/>
                  </a:lnTo>
                  <a:lnTo>
                    <a:pt x="27" y="28"/>
                  </a:lnTo>
                  <a:lnTo>
                    <a:pt x="25" y="39"/>
                  </a:lnTo>
                  <a:lnTo>
                    <a:pt x="23" y="43"/>
                  </a:lnTo>
                  <a:lnTo>
                    <a:pt x="19" y="41"/>
                  </a:lnTo>
                  <a:lnTo>
                    <a:pt x="17" y="34"/>
                  </a:lnTo>
                  <a:lnTo>
                    <a:pt x="19" y="39"/>
                  </a:lnTo>
                  <a:lnTo>
                    <a:pt x="12" y="39"/>
                  </a:lnTo>
                  <a:lnTo>
                    <a:pt x="14" y="34"/>
                  </a:lnTo>
                  <a:lnTo>
                    <a:pt x="17" y="28"/>
                  </a:lnTo>
                  <a:lnTo>
                    <a:pt x="12" y="24"/>
                  </a:lnTo>
                  <a:lnTo>
                    <a:pt x="14" y="28"/>
                  </a:lnTo>
                  <a:lnTo>
                    <a:pt x="12" y="32"/>
                  </a:lnTo>
                  <a:lnTo>
                    <a:pt x="8" y="28"/>
                  </a:lnTo>
                  <a:lnTo>
                    <a:pt x="12" y="34"/>
                  </a:lnTo>
                  <a:lnTo>
                    <a:pt x="8" y="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2" name="Freeform 1285"/>
            <p:cNvSpPr>
              <a:spLocks/>
            </p:cNvSpPr>
            <p:nvPr/>
          </p:nvSpPr>
          <p:spPr bwMode="auto">
            <a:xfrm>
              <a:off x="2566987" y="5995988"/>
              <a:ext cx="42863" cy="68263"/>
            </a:xfrm>
            <a:custGeom>
              <a:avLst/>
              <a:gdLst>
                <a:gd name="T0" fmla="*/ 8 w 27"/>
                <a:gd name="T1" fmla="*/ 39 h 43"/>
                <a:gd name="T2" fmla="*/ 4 w 27"/>
                <a:gd name="T3" fmla="*/ 36 h 43"/>
                <a:gd name="T4" fmla="*/ 0 w 27"/>
                <a:gd name="T5" fmla="*/ 34 h 43"/>
                <a:gd name="T6" fmla="*/ 2 w 27"/>
                <a:gd name="T7" fmla="*/ 28 h 43"/>
                <a:gd name="T8" fmla="*/ 4 w 27"/>
                <a:gd name="T9" fmla="*/ 24 h 43"/>
                <a:gd name="T10" fmla="*/ 0 w 27"/>
                <a:gd name="T11" fmla="*/ 19 h 43"/>
                <a:gd name="T12" fmla="*/ 6 w 27"/>
                <a:gd name="T13" fmla="*/ 15 h 43"/>
                <a:gd name="T14" fmla="*/ 0 w 27"/>
                <a:gd name="T15" fmla="*/ 15 h 43"/>
                <a:gd name="T16" fmla="*/ 6 w 27"/>
                <a:gd name="T17" fmla="*/ 11 h 43"/>
                <a:gd name="T18" fmla="*/ 0 w 27"/>
                <a:gd name="T19" fmla="*/ 9 h 43"/>
                <a:gd name="T20" fmla="*/ 4 w 27"/>
                <a:gd name="T21" fmla="*/ 4 h 43"/>
                <a:gd name="T22" fmla="*/ 8 w 27"/>
                <a:gd name="T23" fmla="*/ 0 h 43"/>
                <a:gd name="T24" fmla="*/ 14 w 27"/>
                <a:gd name="T25" fmla="*/ 0 h 43"/>
                <a:gd name="T26" fmla="*/ 19 w 27"/>
                <a:gd name="T27" fmla="*/ 4 h 43"/>
                <a:gd name="T28" fmla="*/ 25 w 27"/>
                <a:gd name="T29" fmla="*/ 17 h 43"/>
                <a:gd name="T30" fmla="*/ 25 w 27"/>
                <a:gd name="T31" fmla="*/ 22 h 43"/>
                <a:gd name="T32" fmla="*/ 27 w 27"/>
                <a:gd name="T33" fmla="*/ 28 h 43"/>
                <a:gd name="T34" fmla="*/ 25 w 27"/>
                <a:gd name="T35" fmla="*/ 39 h 43"/>
                <a:gd name="T36" fmla="*/ 23 w 27"/>
                <a:gd name="T37" fmla="*/ 43 h 43"/>
                <a:gd name="T38" fmla="*/ 19 w 27"/>
                <a:gd name="T39" fmla="*/ 41 h 43"/>
                <a:gd name="T40" fmla="*/ 17 w 27"/>
                <a:gd name="T41" fmla="*/ 34 h 43"/>
                <a:gd name="T42" fmla="*/ 19 w 27"/>
                <a:gd name="T43" fmla="*/ 39 h 43"/>
                <a:gd name="T44" fmla="*/ 12 w 27"/>
                <a:gd name="T45" fmla="*/ 39 h 43"/>
                <a:gd name="T46" fmla="*/ 14 w 27"/>
                <a:gd name="T47" fmla="*/ 34 h 43"/>
                <a:gd name="T48" fmla="*/ 17 w 27"/>
                <a:gd name="T49" fmla="*/ 28 h 43"/>
                <a:gd name="T50" fmla="*/ 12 w 27"/>
                <a:gd name="T51" fmla="*/ 24 h 43"/>
                <a:gd name="T52" fmla="*/ 14 w 27"/>
                <a:gd name="T53" fmla="*/ 28 h 43"/>
                <a:gd name="T54" fmla="*/ 12 w 27"/>
                <a:gd name="T55" fmla="*/ 32 h 43"/>
                <a:gd name="T56" fmla="*/ 8 w 27"/>
                <a:gd name="T57" fmla="*/ 28 h 43"/>
                <a:gd name="T58" fmla="*/ 12 w 27"/>
                <a:gd name="T59" fmla="*/ 34 h 43"/>
                <a:gd name="T60" fmla="*/ 8 w 27"/>
                <a:gd name="T61" fmla="*/ 39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 h="43">
                  <a:moveTo>
                    <a:pt x="8" y="39"/>
                  </a:moveTo>
                  <a:lnTo>
                    <a:pt x="4" y="36"/>
                  </a:lnTo>
                  <a:lnTo>
                    <a:pt x="0" y="34"/>
                  </a:lnTo>
                  <a:lnTo>
                    <a:pt x="2" y="28"/>
                  </a:lnTo>
                  <a:lnTo>
                    <a:pt x="4" y="24"/>
                  </a:lnTo>
                  <a:lnTo>
                    <a:pt x="0" y="19"/>
                  </a:lnTo>
                  <a:lnTo>
                    <a:pt x="6" y="15"/>
                  </a:lnTo>
                  <a:lnTo>
                    <a:pt x="0" y="15"/>
                  </a:lnTo>
                  <a:lnTo>
                    <a:pt x="6" y="11"/>
                  </a:lnTo>
                  <a:lnTo>
                    <a:pt x="0" y="9"/>
                  </a:lnTo>
                  <a:lnTo>
                    <a:pt x="4" y="4"/>
                  </a:lnTo>
                  <a:lnTo>
                    <a:pt x="8" y="0"/>
                  </a:lnTo>
                  <a:lnTo>
                    <a:pt x="14" y="0"/>
                  </a:lnTo>
                  <a:lnTo>
                    <a:pt x="19" y="4"/>
                  </a:lnTo>
                  <a:lnTo>
                    <a:pt x="25" y="17"/>
                  </a:lnTo>
                  <a:lnTo>
                    <a:pt x="25" y="22"/>
                  </a:lnTo>
                  <a:lnTo>
                    <a:pt x="27" y="28"/>
                  </a:lnTo>
                  <a:lnTo>
                    <a:pt x="25" y="39"/>
                  </a:lnTo>
                  <a:lnTo>
                    <a:pt x="23" y="43"/>
                  </a:lnTo>
                  <a:lnTo>
                    <a:pt x="19" y="41"/>
                  </a:lnTo>
                  <a:lnTo>
                    <a:pt x="17" y="34"/>
                  </a:lnTo>
                  <a:lnTo>
                    <a:pt x="19" y="39"/>
                  </a:lnTo>
                  <a:lnTo>
                    <a:pt x="12" y="39"/>
                  </a:lnTo>
                  <a:lnTo>
                    <a:pt x="14" y="34"/>
                  </a:lnTo>
                  <a:lnTo>
                    <a:pt x="17" y="28"/>
                  </a:lnTo>
                  <a:lnTo>
                    <a:pt x="12" y="24"/>
                  </a:lnTo>
                  <a:lnTo>
                    <a:pt x="14" y="28"/>
                  </a:lnTo>
                  <a:lnTo>
                    <a:pt x="12" y="32"/>
                  </a:lnTo>
                  <a:lnTo>
                    <a:pt x="8" y="28"/>
                  </a:lnTo>
                  <a:lnTo>
                    <a:pt x="12" y="34"/>
                  </a:lnTo>
                  <a:lnTo>
                    <a:pt x="8" y="39"/>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3" name="Freeform 1286"/>
            <p:cNvSpPr>
              <a:spLocks/>
            </p:cNvSpPr>
            <p:nvPr/>
          </p:nvSpPr>
          <p:spPr bwMode="auto">
            <a:xfrm>
              <a:off x="2582862" y="6061075"/>
              <a:ext cx="14288" cy="15875"/>
            </a:xfrm>
            <a:custGeom>
              <a:avLst/>
              <a:gdLst>
                <a:gd name="T0" fmla="*/ 2 w 9"/>
                <a:gd name="T1" fmla="*/ 2 h 10"/>
                <a:gd name="T2" fmla="*/ 7 w 9"/>
                <a:gd name="T3" fmla="*/ 4 h 10"/>
                <a:gd name="T4" fmla="*/ 9 w 9"/>
                <a:gd name="T5" fmla="*/ 10 h 10"/>
                <a:gd name="T6" fmla="*/ 4 w 9"/>
                <a:gd name="T7" fmla="*/ 10 h 10"/>
                <a:gd name="T8" fmla="*/ 0 w 9"/>
                <a:gd name="T9" fmla="*/ 6 h 10"/>
                <a:gd name="T10" fmla="*/ 0 w 9"/>
                <a:gd name="T11" fmla="*/ 0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7" y="4"/>
                  </a:lnTo>
                  <a:lnTo>
                    <a:pt x="9" y="10"/>
                  </a:lnTo>
                  <a:lnTo>
                    <a:pt x="4" y="10"/>
                  </a:lnTo>
                  <a:lnTo>
                    <a:pt x="0" y="6"/>
                  </a:lnTo>
                  <a:lnTo>
                    <a:pt x="0" y="0"/>
                  </a:lnTo>
                  <a:lnTo>
                    <a:pt x="2" y="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4" name="Freeform 1287"/>
            <p:cNvSpPr>
              <a:spLocks/>
            </p:cNvSpPr>
            <p:nvPr/>
          </p:nvSpPr>
          <p:spPr bwMode="auto">
            <a:xfrm>
              <a:off x="2582862" y="6061075"/>
              <a:ext cx="14288" cy="15875"/>
            </a:xfrm>
            <a:custGeom>
              <a:avLst/>
              <a:gdLst>
                <a:gd name="T0" fmla="*/ 2 w 9"/>
                <a:gd name="T1" fmla="*/ 2 h 10"/>
                <a:gd name="T2" fmla="*/ 7 w 9"/>
                <a:gd name="T3" fmla="*/ 4 h 10"/>
                <a:gd name="T4" fmla="*/ 9 w 9"/>
                <a:gd name="T5" fmla="*/ 10 h 10"/>
                <a:gd name="T6" fmla="*/ 4 w 9"/>
                <a:gd name="T7" fmla="*/ 10 h 10"/>
                <a:gd name="T8" fmla="*/ 0 w 9"/>
                <a:gd name="T9" fmla="*/ 6 h 10"/>
                <a:gd name="T10" fmla="*/ 0 w 9"/>
                <a:gd name="T11" fmla="*/ 0 h 10"/>
                <a:gd name="T12" fmla="*/ 2 w 9"/>
                <a:gd name="T13" fmla="*/ 2 h 10"/>
              </a:gdLst>
              <a:ahLst/>
              <a:cxnLst>
                <a:cxn ang="0">
                  <a:pos x="T0" y="T1"/>
                </a:cxn>
                <a:cxn ang="0">
                  <a:pos x="T2" y="T3"/>
                </a:cxn>
                <a:cxn ang="0">
                  <a:pos x="T4" y="T5"/>
                </a:cxn>
                <a:cxn ang="0">
                  <a:pos x="T6" y="T7"/>
                </a:cxn>
                <a:cxn ang="0">
                  <a:pos x="T8" y="T9"/>
                </a:cxn>
                <a:cxn ang="0">
                  <a:pos x="T10" y="T11"/>
                </a:cxn>
                <a:cxn ang="0">
                  <a:pos x="T12" y="T13"/>
                </a:cxn>
              </a:cxnLst>
              <a:rect l="0" t="0" r="r" b="b"/>
              <a:pathLst>
                <a:path w="9" h="10">
                  <a:moveTo>
                    <a:pt x="2" y="2"/>
                  </a:moveTo>
                  <a:lnTo>
                    <a:pt x="7" y="4"/>
                  </a:lnTo>
                  <a:lnTo>
                    <a:pt x="9" y="10"/>
                  </a:lnTo>
                  <a:lnTo>
                    <a:pt x="4" y="10"/>
                  </a:lnTo>
                  <a:lnTo>
                    <a:pt x="0" y="6"/>
                  </a:lnTo>
                  <a:lnTo>
                    <a:pt x="0" y="0"/>
                  </a:lnTo>
                  <a:lnTo>
                    <a:pt x="2" y="2"/>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sp>
          <p:nvSpPr>
            <p:cNvPr id="695" name="Freeform 1288"/>
            <p:cNvSpPr>
              <a:spLocks/>
            </p:cNvSpPr>
            <p:nvPr/>
          </p:nvSpPr>
          <p:spPr bwMode="auto">
            <a:xfrm>
              <a:off x="2597150" y="6084888"/>
              <a:ext cx="9525" cy="9525"/>
            </a:xfrm>
            <a:custGeom>
              <a:avLst/>
              <a:gdLst>
                <a:gd name="T0" fmla="*/ 4 w 6"/>
                <a:gd name="T1" fmla="*/ 0 h 6"/>
                <a:gd name="T2" fmla="*/ 6 w 6"/>
                <a:gd name="T3" fmla="*/ 4 h 6"/>
                <a:gd name="T4" fmla="*/ 0 w 6"/>
                <a:gd name="T5" fmla="*/ 6 h 6"/>
                <a:gd name="T6" fmla="*/ 2 w 6"/>
                <a:gd name="T7" fmla="*/ 2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6" y="4"/>
                  </a:lnTo>
                  <a:lnTo>
                    <a:pt x="0" y="6"/>
                  </a:lnTo>
                  <a:lnTo>
                    <a:pt x="2" y="2"/>
                  </a:lnTo>
                  <a:lnTo>
                    <a:pt x="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6" name="Freeform 1289"/>
            <p:cNvSpPr>
              <a:spLocks/>
            </p:cNvSpPr>
            <p:nvPr/>
          </p:nvSpPr>
          <p:spPr bwMode="auto">
            <a:xfrm>
              <a:off x="2597150" y="6084888"/>
              <a:ext cx="9525" cy="9525"/>
            </a:xfrm>
            <a:custGeom>
              <a:avLst/>
              <a:gdLst>
                <a:gd name="T0" fmla="*/ 4 w 6"/>
                <a:gd name="T1" fmla="*/ 0 h 6"/>
                <a:gd name="T2" fmla="*/ 6 w 6"/>
                <a:gd name="T3" fmla="*/ 4 h 6"/>
                <a:gd name="T4" fmla="*/ 0 w 6"/>
                <a:gd name="T5" fmla="*/ 6 h 6"/>
                <a:gd name="T6" fmla="*/ 2 w 6"/>
                <a:gd name="T7" fmla="*/ 2 h 6"/>
                <a:gd name="T8" fmla="*/ 4 w 6"/>
                <a:gd name="T9" fmla="*/ 0 h 6"/>
              </a:gdLst>
              <a:ahLst/>
              <a:cxnLst>
                <a:cxn ang="0">
                  <a:pos x="T0" y="T1"/>
                </a:cxn>
                <a:cxn ang="0">
                  <a:pos x="T2" y="T3"/>
                </a:cxn>
                <a:cxn ang="0">
                  <a:pos x="T4" y="T5"/>
                </a:cxn>
                <a:cxn ang="0">
                  <a:pos x="T6" y="T7"/>
                </a:cxn>
                <a:cxn ang="0">
                  <a:pos x="T8" y="T9"/>
                </a:cxn>
              </a:cxnLst>
              <a:rect l="0" t="0" r="r" b="b"/>
              <a:pathLst>
                <a:path w="6" h="6">
                  <a:moveTo>
                    <a:pt x="4" y="0"/>
                  </a:moveTo>
                  <a:lnTo>
                    <a:pt x="6" y="4"/>
                  </a:lnTo>
                  <a:lnTo>
                    <a:pt x="0" y="6"/>
                  </a:lnTo>
                  <a:lnTo>
                    <a:pt x="2" y="2"/>
                  </a:lnTo>
                  <a:lnTo>
                    <a:pt x="4" y="0"/>
                  </a:lnTo>
                </a:path>
              </a:pathLst>
            </a:custGeom>
            <a:grpFill/>
            <a:ln w="6350" cap="flat">
              <a:solidFill>
                <a:srgbClr val="FFFFFF"/>
              </a:solidFill>
              <a:prstDash val="solid"/>
              <a:miter lim="800000"/>
              <a:headEnd/>
              <a:tailEnd/>
            </a:ln>
          </p:spPr>
          <p:txBody>
            <a:bodyPr vert="horz" wrap="square" lIns="91440" tIns="45720" rIns="91440" bIns="45720" numCol="1" anchor="t" anchorCtr="0" compatLnSpc="1">
              <a:prstTxWarp prst="textNoShape">
                <a:avLst/>
              </a:prstTxWarp>
            </a:bodyPr>
            <a:lstStyle/>
            <a:p>
              <a:endParaRPr lang="en-US"/>
            </a:p>
          </p:txBody>
        </p:sp>
      </p:grpSp>
      <p:sp>
        <p:nvSpPr>
          <p:cNvPr id="697" name="Line 1290"/>
          <p:cNvSpPr>
            <a:spLocks noChangeShapeType="1"/>
          </p:cNvSpPr>
          <p:nvPr/>
        </p:nvSpPr>
        <p:spPr bwMode="auto">
          <a:xfrm>
            <a:off x="8458200" y="2551113"/>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8" name="Line 1291"/>
          <p:cNvSpPr>
            <a:spLocks noChangeShapeType="1"/>
          </p:cNvSpPr>
          <p:nvPr/>
        </p:nvSpPr>
        <p:spPr bwMode="auto">
          <a:xfrm>
            <a:off x="8458200" y="2551113"/>
            <a:ext cx="0" cy="0"/>
          </a:xfrm>
          <a:prstGeom prst="line">
            <a:avLst/>
          </a:prstGeom>
          <a:noFill/>
          <a:ln w="14288"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699" name="Line 1292"/>
          <p:cNvSpPr>
            <a:spLocks noChangeShapeType="1"/>
          </p:cNvSpPr>
          <p:nvPr/>
        </p:nvSpPr>
        <p:spPr bwMode="auto">
          <a:xfrm>
            <a:off x="7329487" y="2182934"/>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0" name="Line 1293"/>
          <p:cNvSpPr>
            <a:spLocks noChangeShapeType="1"/>
          </p:cNvSpPr>
          <p:nvPr/>
        </p:nvSpPr>
        <p:spPr bwMode="auto">
          <a:xfrm>
            <a:off x="7329487" y="2182934"/>
            <a:ext cx="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1" name="Line 1294"/>
          <p:cNvSpPr>
            <a:spLocks noChangeShapeType="1"/>
          </p:cNvSpPr>
          <p:nvPr/>
        </p:nvSpPr>
        <p:spPr bwMode="auto">
          <a:xfrm>
            <a:off x="7329487" y="2006721"/>
            <a:ext cx="0" cy="0"/>
          </a:xfrm>
          <a:prstGeom prst="line">
            <a:avLst/>
          </a:prstGeom>
          <a:noFill/>
          <a:ln>
            <a:noFill/>
          </a:ln>
          <a:extLst>
            <a:ext uri="{909E8E84-426E-40DD-AFC4-6F175D3DCCD1}">
              <a14:hiddenFill xmlns:a14="http://schemas.microsoft.com/office/drawing/2010/main">
                <a:no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2" name="Line 1295"/>
          <p:cNvSpPr>
            <a:spLocks noChangeShapeType="1"/>
          </p:cNvSpPr>
          <p:nvPr/>
        </p:nvSpPr>
        <p:spPr bwMode="auto">
          <a:xfrm>
            <a:off x="7329487" y="2006721"/>
            <a:ext cx="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3" name="Freeform 1296"/>
          <p:cNvSpPr>
            <a:spLocks/>
          </p:cNvSpPr>
          <p:nvPr/>
        </p:nvSpPr>
        <p:spPr bwMode="auto">
          <a:xfrm>
            <a:off x="7551737" y="2432171"/>
            <a:ext cx="190500" cy="0"/>
          </a:xfrm>
          <a:custGeom>
            <a:avLst/>
            <a:gdLst>
              <a:gd name="T0" fmla="*/ 120 w 120"/>
              <a:gd name="T1" fmla="*/ 0 w 120"/>
              <a:gd name="T2" fmla="*/ 120 w 120"/>
            </a:gdLst>
            <a:ahLst/>
            <a:cxnLst>
              <a:cxn ang="0">
                <a:pos x="T0" y="0"/>
              </a:cxn>
              <a:cxn ang="0">
                <a:pos x="T1" y="0"/>
              </a:cxn>
              <a:cxn ang="0">
                <a:pos x="T2" y="0"/>
              </a:cxn>
            </a:cxnLst>
            <a:rect l="0" t="0" r="r" b="b"/>
            <a:pathLst>
              <a:path w="120">
                <a:moveTo>
                  <a:pt x="120" y="0"/>
                </a:moveTo>
                <a:lnTo>
                  <a:pt x="0" y="0"/>
                </a:lnTo>
                <a:lnTo>
                  <a:pt x="1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4" name="Line 1297"/>
          <p:cNvSpPr>
            <a:spLocks noChangeShapeType="1"/>
          </p:cNvSpPr>
          <p:nvPr/>
        </p:nvSpPr>
        <p:spPr bwMode="auto">
          <a:xfrm flipH="1">
            <a:off x="7551737" y="2432171"/>
            <a:ext cx="19050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5" name="Freeform 1298"/>
          <p:cNvSpPr>
            <a:spLocks/>
          </p:cNvSpPr>
          <p:nvPr/>
        </p:nvSpPr>
        <p:spPr bwMode="auto">
          <a:xfrm>
            <a:off x="7497762" y="2255959"/>
            <a:ext cx="244475" cy="0"/>
          </a:xfrm>
          <a:custGeom>
            <a:avLst/>
            <a:gdLst>
              <a:gd name="T0" fmla="*/ 154 w 154"/>
              <a:gd name="T1" fmla="*/ 0 w 154"/>
              <a:gd name="T2" fmla="*/ 154 w 154"/>
            </a:gdLst>
            <a:ahLst/>
            <a:cxnLst>
              <a:cxn ang="0">
                <a:pos x="T0" y="0"/>
              </a:cxn>
              <a:cxn ang="0">
                <a:pos x="T1" y="0"/>
              </a:cxn>
              <a:cxn ang="0">
                <a:pos x="T2" y="0"/>
              </a:cxn>
            </a:cxnLst>
            <a:rect l="0" t="0" r="r" b="b"/>
            <a:pathLst>
              <a:path w="154">
                <a:moveTo>
                  <a:pt x="154" y="0"/>
                </a:moveTo>
                <a:lnTo>
                  <a:pt x="0" y="0"/>
                </a:lnTo>
                <a:lnTo>
                  <a:pt x="154"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6" name="Line 1299"/>
          <p:cNvSpPr>
            <a:spLocks noChangeShapeType="1"/>
          </p:cNvSpPr>
          <p:nvPr/>
        </p:nvSpPr>
        <p:spPr bwMode="auto">
          <a:xfrm flipH="1">
            <a:off x="7497762" y="2255959"/>
            <a:ext cx="244475"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7" name="Freeform 1300"/>
          <p:cNvSpPr>
            <a:spLocks/>
          </p:cNvSpPr>
          <p:nvPr/>
        </p:nvSpPr>
        <p:spPr bwMode="auto">
          <a:xfrm>
            <a:off x="7578725" y="2608384"/>
            <a:ext cx="163513" cy="0"/>
          </a:xfrm>
          <a:custGeom>
            <a:avLst/>
            <a:gdLst>
              <a:gd name="T0" fmla="*/ 103 w 103"/>
              <a:gd name="T1" fmla="*/ 0 w 103"/>
              <a:gd name="T2" fmla="*/ 103 w 103"/>
            </a:gdLst>
            <a:ahLst/>
            <a:cxnLst>
              <a:cxn ang="0">
                <a:pos x="T0" y="0"/>
              </a:cxn>
              <a:cxn ang="0">
                <a:pos x="T1" y="0"/>
              </a:cxn>
              <a:cxn ang="0">
                <a:pos x="T2" y="0"/>
              </a:cxn>
            </a:cxnLst>
            <a:rect l="0" t="0" r="r" b="b"/>
            <a:pathLst>
              <a:path w="103">
                <a:moveTo>
                  <a:pt x="103" y="0"/>
                </a:moveTo>
                <a:lnTo>
                  <a:pt x="0" y="0"/>
                </a:lnTo>
                <a:lnTo>
                  <a:pt x="103"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8" name="Line 1301"/>
          <p:cNvSpPr>
            <a:spLocks noChangeShapeType="1"/>
          </p:cNvSpPr>
          <p:nvPr/>
        </p:nvSpPr>
        <p:spPr bwMode="auto">
          <a:xfrm flipH="1">
            <a:off x="7578725" y="2608384"/>
            <a:ext cx="163513"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09" name="Freeform 1302"/>
          <p:cNvSpPr>
            <a:spLocks/>
          </p:cNvSpPr>
          <p:nvPr/>
        </p:nvSpPr>
        <p:spPr bwMode="auto">
          <a:xfrm>
            <a:off x="7267575" y="2986209"/>
            <a:ext cx="109538" cy="0"/>
          </a:xfrm>
          <a:custGeom>
            <a:avLst/>
            <a:gdLst>
              <a:gd name="T0" fmla="*/ 69 w 69"/>
              <a:gd name="T1" fmla="*/ 0 w 69"/>
              <a:gd name="T2" fmla="*/ 69 w 69"/>
            </a:gdLst>
            <a:ahLst/>
            <a:cxnLst>
              <a:cxn ang="0">
                <a:pos x="T0" y="0"/>
              </a:cxn>
              <a:cxn ang="0">
                <a:pos x="T1" y="0"/>
              </a:cxn>
              <a:cxn ang="0">
                <a:pos x="T2" y="0"/>
              </a:cxn>
            </a:cxnLst>
            <a:rect l="0" t="0" r="r" b="b"/>
            <a:pathLst>
              <a:path w="69">
                <a:moveTo>
                  <a:pt x="69" y="0"/>
                </a:moveTo>
                <a:lnTo>
                  <a:pt x="0" y="0"/>
                </a:lnTo>
                <a:lnTo>
                  <a:pt x="69" y="0"/>
                </a:lnTo>
                <a:close/>
              </a:path>
            </a:pathLst>
          </a:custGeom>
          <a:solidFill>
            <a:srgbClr val="CCCCC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0" name="Line 1303"/>
          <p:cNvSpPr>
            <a:spLocks noChangeShapeType="1"/>
          </p:cNvSpPr>
          <p:nvPr/>
        </p:nvSpPr>
        <p:spPr bwMode="auto">
          <a:xfrm flipH="1">
            <a:off x="7267575" y="2986209"/>
            <a:ext cx="109538"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11" name="Freeform 1304"/>
          <p:cNvSpPr>
            <a:spLocks/>
          </p:cNvSpPr>
          <p:nvPr/>
        </p:nvSpPr>
        <p:spPr bwMode="auto">
          <a:xfrm>
            <a:off x="7186612" y="3216396"/>
            <a:ext cx="190500" cy="0"/>
          </a:xfrm>
          <a:custGeom>
            <a:avLst/>
            <a:gdLst>
              <a:gd name="T0" fmla="*/ 120 w 120"/>
              <a:gd name="T1" fmla="*/ 0 w 120"/>
              <a:gd name="T2" fmla="*/ 120 w 120"/>
            </a:gdLst>
            <a:ahLst/>
            <a:cxnLst>
              <a:cxn ang="0">
                <a:pos x="T0" y="0"/>
              </a:cxn>
              <a:cxn ang="0">
                <a:pos x="T1" y="0"/>
              </a:cxn>
              <a:cxn ang="0">
                <a:pos x="T2" y="0"/>
              </a:cxn>
            </a:cxnLst>
            <a:rect l="0" t="0" r="r" b="b"/>
            <a:pathLst>
              <a:path w="120">
                <a:moveTo>
                  <a:pt x="120" y="0"/>
                </a:moveTo>
                <a:lnTo>
                  <a:pt x="0" y="0"/>
                </a:lnTo>
                <a:lnTo>
                  <a:pt x="120"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2" name="Line 1305"/>
          <p:cNvSpPr>
            <a:spLocks noChangeShapeType="1"/>
          </p:cNvSpPr>
          <p:nvPr/>
        </p:nvSpPr>
        <p:spPr bwMode="auto">
          <a:xfrm flipH="1">
            <a:off x="7186612" y="3216396"/>
            <a:ext cx="190500" cy="0"/>
          </a:xfrm>
          <a:prstGeom prst="line">
            <a:avLst/>
          </a:prstGeom>
          <a:noFill/>
          <a:ln w="11113" cap="flat">
            <a:solidFill>
              <a:srgbClr val="000000"/>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46" name="Rectangle 1339"/>
          <p:cNvSpPr>
            <a:spLocks noChangeArrowheads="1"/>
          </p:cNvSpPr>
          <p:nvPr/>
        </p:nvSpPr>
        <p:spPr bwMode="auto">
          <a:xfrm>
            <a:off x="2535237" y="1913852"/>
            <a:ext cx="4016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on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48" name="Rectangle 1341"/>
          <p:cNvSpPr>
            <a:spLocks noChangeArrowheads="1"/>
          </p:cNvSpPr>
          <p:nvPr/>
        </p:nvSpPr>
        <p:spPr bwMode="auto">
          <a:xfrm>
            <a:off x="3740942" y="2974144"/>
            <a:ext cx="3381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eb.</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51" name="Rectangle 1344"/>
          <p:cNvSpPr>
            <a:spLocks noChangeArrowheads="1"/>
          </p:cNvSpPr>
          <p:nvPr/>
        </p:nvSpPr>
        <p:spPr bwMode="auto">
          <a:xfrm>
            <a:off x="6729600" y="3441069"/>
            <a:ext cx="19075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V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54" name="Rectangle 1347"/>
          <p:cNvSpPr>
            <a:spLocks noChangeArrowheads="1"/>
          </p:cNvSpPr>
          <p:nvPr/>
        </p:nvSpPr>
        <p:spPr bwMode="auto">
          <a:xfrm>
            <a:off x="6294546" y="3341809"/>
            <a:ext cx="33374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kern="100" cap="none" normalizeH="0" dirty="0">
                <a:ln>
                  <a:noFill/>
                </a:ln>
                <a:solidFill>
                  <a:srgbClr val="000000"/>
                </a:solidFill>
                <a:effectLst/>
                <a:latin typeface="Arial" pitchFamily="34" charset="0"/>
                <a:cs typeface="Arial" pitchFamily="34" charset="0"/>
              </a:rPr>
              <a:t>W.Va.</a:t>
            </a:r>
            <a:endParaRPr kumimoji="0" lang="en-US" altLang="en-US" sz="1800" b="0" i="0" u="none" strike="noStrike" kern="100" cap="none" normalizeH="0" dirty="0">
              <a:ln>
                <a:noFill/>
              </a:ln>
              <a:solidFill>
                <a:schemeClr val="tx1"/>
              </a:solidFill>
              <a:effectLst/>
              <a:latin typeface="Arial" pitchFamily="34" charset="0"/>
              <a:cs typeface="Arial" pitchFamily="34" charset="0"/>
            </a:endParaRPr>
          </a:p>
        </p:txBody>
      </p:sp>
      <p:sp>
        <p:nvSpPr>
          <p:cNvPr id="758" name="Rectangle 1351"/>
          <p:cNvSpPr>
            <a:spLocks noChangeArrowheads="1"/>
          </p:cNvSpPr>
          <p:nvPr/>
        </p:nvSpPr>
        <p:spPr bwMode="auto">
          <a:xfrm>
            <a:off x="6157912" y="4418928"/>
            <a:ext cx="254878"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Ga.*</a:t>
            </a:r>
            <a:endParaRPr kumimoji="0" lang="en-US" altLang="en-US" sz="1800" b="0" i="0" u="none" strike="noStrike" cap="none" normalizeH="0" baseline="0" dirty="0">
              <a:ln>
                <a:noFill/>
              </a:ln>
              <a:solidFill>
                <a:srgbClr val="FF0000"/>
              </a:solidFill>
              <a:effectLst/>
              <a:latin typeface="Arial" pitchFamily="34" charset="0"/>
              <a:cs typeface="Arial" pitchFamily="34" charset="0"/>
            </a:endParaRPr>
          </a:p>
        </p:txBody>
      </p:sp>
      <p:sp>
        <p:nvSpPr>
          <p:cNvPr id="760" name="Rectangle 1353"/>
          <p:cNvSpPr>
            <a:spLocks noChangeArrowheads="1"/>
          </p:cNvSpPr>
          <p:nvPr/>
        </p:nvSpPr>
        <p:spPr bwMode="auto">
          <a:xfrm>
            <a:off x="1880547" y="2456778"/>
            <a:ext cx="4032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dah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2" name="Rectangle 1355"/>
          <p:cNvSpPr>
            <a:spLocks noChangeArrowheads="1"/>
          </p:cNvSpPr>
          <p:nvPr/>
        </p:nvSpPr>
        <p:spPr bwMode="auto">
          <a:xfrm>
            <a:off x="5249544" y="3205284"/>
            <a:ext cx="2063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ll.</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4" name="Rectangle 1357"/>
          <p:cNvSpPr>
            <a:spLocks noChangeArrowheads="1"/>
          </p:cNvSpPr>
          <p:nvPr/>
        </p:nvSpPr>
        <p:spPr bwMode="auto">
          <a:xfrm>
            <a:off x="4562475" y="2871908"/>
            <a:ext cx="3476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ow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6" name="Rectangle 1359"/>
          <p:cNvSpPr>
            <a:spLocks noChangeArrowheads="1"/>
          </p:cNvSpPr>
          <p:nvPr/>
        </p:nvSpPr>
        <p:spPr bwMode="auto">
          <a:xfrm>
            <a:off x="3881437" y="3508973"/>
            <a:ext cx="3381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Ka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69" name="Rectangle 1362"/>
          <p:cNvSpPr>
            <a:spLocks noChangeArrowheads="1"/>
          </p:cNvSpPr>
          <p:nvPr/>
        </p:nvSpPr>
        <p:spPr bwMode="auto">
          <a:xfrm>
            <a:off x="5827455" y="3564158"/>
            <a:ext cx="19877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Ky.</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72" name="Rectangle 1365"/>
          <p:cNvSpPr>
            <a:spLocks noChangeArrowheads="1"/>
          </p:cNvSpPr>
          <p:nvPr/>
        </p:nvSpPr>
        <p:spPr bwMode="auto">
          <a:xfrm>
            <a:off x="4832350" y="4791989"/>
            <a:ext cx="2460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L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74" name="Rectangle 1367"/>
          <p:cNvSpPr>
            <a:spLocks noChangeArrowheads="1"/>
          </p:cNvSpPr>
          <p:nvPr/>
        </p:nvSpPr>
        <p:spPr bwMode="auto">
          <a:xfrm>
            <a:off x="7549991" y="1800346"/>
            <a:ext cx="4254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aine</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76" name="Rectangle 1369"/>
          <p:cNvSpPr>
            <a:spLocks noChangeArrowheads="1"/>
          </p:cNvSpPr>
          <p:nvPr/>
        </p:nvSpPr>
        <p:spPr bwMode="auto">
          <a:xfrm>
            <a:off x="2874962" y="3391656"/>
            <a:ext cx="3825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Col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78" name="Rectangle 1371"/>
          <p:cNvSpPr>
            <a:spLocks noChangeArrowheads="1"/>
          </p:cNvSpPr>
          <p:nvPr/>
        </p:nvSpPr>
        <p:spPr bwMode="auto">
          <a:xfrm>
            <a:off x="7418387" y="3135434"/>
            <a:ext cx="2984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Del.</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80" name="Rectangle 1373"/>
          <p:cNvSpPr>
            <a:spLocks noChangeArrowheads="1"/>
          </p:cNvSpPr>
          <p:nvPr/>
        </p:nvSpPr>
        <p:spPr bwMode="auto">
          <a:xfrm>
            <a:off x="7418387" y="2910009"/>
            <a:ext cx="2968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N.J.</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782" name="Rectangle 1375"/>
          <p:cNvSpPr>
            <a:spLocks noChangeArrowheads="1"/>
          </p:cNvSpPr>
          <p:nvPr/>
        </p:nvSpPr>
        <p:spPr bwMode="auto">
          <a:xfrm>
            <a:off x="7777162" y="2416175"/>
            <a:ext cx="4191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Mass.</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784" name="Rectangle 1377"/>
          <p:cNvSpPr>
            <a:spLocks noChangeArrowheads="1"/>
          </p:cNvSpPr>
          <p:nvPr/>
        </p:nvSpPr>
        <p:spPr bwMode="auto">
          <a:xfrm>
            <a:off x="6644323" y="3799009"/>
            <a:ext cx="317500"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C.</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86" name="Rectangle 1379"/>
          <p:cNvSpPr>
            <a:spLocks noChangeArrowheads="1"/>
          </p:cNvSpPr>
          <p:nvPr/>
        </p:nvSpPr>
        <p:spPr bwMode="auto">
          <a:xfrm>
            <a:off x="6492875" y="4137046"/>
            <a:ext cx="3111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S.C.</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88" name="Rectangle 1381"/>
          <p:cNvSpPr>
            <a:spLocks noChangeArrowheads="1"/>
          </p:cNvSpPr>
          <p:nvPr/>
        </p:nvSpPr>
        <p:spPr bwMode="auto">
          <a:xfrm>
            <a:off x="5704608" y="2578220"/>
            <a:ext cx="3889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ich.</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90" name="Rectangle 1383"/>
          <p:cNvSpPr>
            <a:spLocks noChangeArrowheads="1"/>
          </p:cNvSpPr>
          <p:nvPr/>
        </p:nvSpPr>
        <p:spPr bwMode="auto">
          <a:xfrm>
            <a:off x="4384674" y="2158327"/>
            <a:ext cx="3952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in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92" name="Rectangle 1385"/>
          <p:cNvSpPr>
            <a:spLocks noChangeArrowheads="1"/>
          </p:cNvSpPr>
          <p:nvPr/>
        </p:nvSpPr>
        <p:spPr bwMode="auto">
          <a:xfrm>
            <a:off x="5175250" y="4492429"/>
            <a:ext cx="3810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iss.</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94" name="Rectangle 1387"/>
          <p:cNvSpPr>
            <a:spLocks noChangeArrowheads="1"/>
          </p:cNvSpPr>
          <p:nvPr/>
        </p:nvSpPr>
        <p:spPr bwMode="auto">
          <a:xfrm>
            <a:off x="7780337" y="2554409"/>
            <a:ext cx="2635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R.I.</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796" name="Rectangle 1389"/>
          <p:cNvSpPr>
            <a:spLocks noChangeArrowheads="1"/>
          </p:cNvSpPr>
          <p:nvPr/>
        </p:nvSpPr>
        <p:spPr bwMode="auto">
          <a:xfrm>
            <a:off x="2793841" y="4190089"/>
            <a:ext cx="3317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M.</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799" name="Rectangle 1392"/>
          <p:cNvSpPr>
            <a:spLocks noChangeArrowheads="1"/>
          </p:cNvSpPr>
          <p:nvPr/>
        </p:nvSpPr>
        <p:spPr bwMode="auto">
          <a:xfrm>
            <a:off x="3748954" y="4740496"/>
            <a:ext cx="36067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Texas</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2" name="Rectangle 1395"/>
          <p:cNvSpPr>
            <a:spLocks noChangeArrowheads="1"/>
          </p:cNvSpPr>
          <p:nvPr/>
        </p:nvSpPr>
        <p:spPr bwMode="auto">
          <a:xfrm>
            <a:off x="2729126" y="2618009"/>
            <a:ext cx="30617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Wy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4" name="Rectangle 1397"/>
          <p:cNvSpPr>
            <a:spLocks noChangeArrowheads="1"/>
          </p:cNvSpPr>
          <p:nvPr/>
        </p:nvSpPr>
        <p:spPr bwMode="auto">
          <a:xfrm>
            <a:off x="3678237" y="2454396"/>
            <a:ext cx="3111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S.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7" name="Rectangle 1400"/>
          <p:cNvSpPr>
            <a:spLocks noChangeArrowheads="1"/>
          </p:cNvSpPr>
          <p:nvPr/>
        </p:nvSpPr>
        <p:spPr bwMode="auto">
          <a:xfrm>
            <a:off x="5572792" y="3927597"/>
            <a:ext cx="34144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Tenn.</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09" name="Rectangle 1402"/>
          <p:cNvSpPr>
            <a:spLocks noChangeArrowheads="1"/>
          </p:cNvSpPr>
          <p:nvPr/>
        </p:nvSpPr>
        <p:spPr bwMode="auto">
          <a:xfrm>
            <a:off x="4045743" y="4047770"/>
            <a:ext cx="37465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Okl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1" name="Rectangle 1404"/>
          <p:cNvSpPr>
            <a:spLocks noChangeArrowheads="1"/>
          </p:cNvSpPr>
          <p:nvPr/>
        </p:nvSpPr>
        <p:spPr bwMode="auto">
          <a:xfrm>
            <a:off x="1101724" y="2158327"/>
            <a:ext cx="3206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Ore.</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3" name="Rectangle 1406"/>
          <p:cNvSpPr>
            <a:spLocks noChangeArrowheads="1"/>
          </p:cNvSpPr>
          <p:nvPr/>
        </p:nvSpPr>
        <p:spPr bwMode="auto">
          <a:xfrm>
            <a:off x="4764087" y="4168102"/>
            <a:ext cx="3079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rk.</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5" name="Rectangle 1408"/>
          <p:cNvSpPr>
            <a:spLocks noChangeArrowheads="1"/>
          </p:cNvSpPr>
          <p:nvPr/>
        </p:nvSpPr>
        <p:spPr bwMode="auto">
          <a:xfrm>
            <a:off x="7780337" y="2187696"/>
            <a:ext cx="3175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N.H.</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817" name="Rectangle 1410"/>
          <p:cNvSpPr>
            <a:spLocks noChangeArrowheads="1"/>
          </p:cNvSpPr>
          <p:nvPr/>
        </p:nvSpPr>
        <p:spPr bwMode="auto">
          <a:xfrm>
            <a:off x="1440656" y="5057579"/>
            <a:ext cx="4699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lask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19" name="Rectangle 1412"/>
          <p:cNvSpPr>
            <a:spLocks noChangeArrowheads="1"/>
          </p:cNvSpPr>
          <p:nvPr/>
        </p:nvSpPr>
        <p:spPr bwMode="auto">
          <a:xfrm>
            <a:off x="2945606" y="5744489"/>
            <a:ext cx="4699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Hawaii</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21" name="Rectangle 1414"/>
          <p:cNvSpPr>
            <a:spLocks noChangeArrowheads="1"/>
          </p:cNvSpPr>
          <p:nvPr/>
        </p:nvSpPr>
        <p:spPr bwMode="auto">
          <a:xfrm>
            <a:off x="5664676" y="4457821"/>
            <a:ext cx="295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l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23" name="Freeform 1416"/>
          <p:cNvSpPr>
            <a:spLocks/>
          </p:cNvSpPr>
          <p:nvPr/>
        </p:nvSpPr>
        <p:spPr bwMode="auto">
          <a:xfrm>
            <a:off x="7400925" y="2675059"/>
            <a:ext cx="249238" cy="74613"/>
          </a:xfrm>
          <a:custGeom>
            <a:avLst/>
            <a:gdLst>
              <a:gd name="T0" fmla="*/ 0 w 157"/>
              <a:gd name="T1" fmla="*/ 0 h 47"/>
              <a:gd name="T2" fmla="*/ 157 w 157"/>
              <a:gd name="T3" fmla="*/ 0 h 47"/>
              <a:gd name="T4" fmla="*/ 157 w 157"/>
              <a:gd name="T5" fmla="*/ 47 h 47"/>
            </a:gdLst>
            <a:ahLst/>
            <a:cxnLst>
              <a:cxn ang="0">
                <a:pos x="T0" y="T1"/>
              </a:cxn>
              <a:cxn ang="0">
                <a:pos x="T2" y="T3"/>
              </a:cxn>
              <a:cxn ang="0">
                <a:pos x="T4" y="T5"/>
              </a:cxn>
            </a:cxnLst>
            <a:rect l="0" t="0" r="r" b="b"/>
            <a:pathLst>
              <a:path w="157" h="47">
                <a:moveTo>
                  <a:pt x="0" y="0"/>
                </a:moveTo>
                <a:lnTo>
                  <a:pt x="157" y="0"/>
                </a:lnTo>
                <a:lnTo>
                  <a:pt x="157" y="47"/>
                </a:lnTo>
              </a:path>
            </a:pathLst>
          </a:custGeom>
          <a:noFill/>
          <a:ln w="11113"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4" name="Freeform 1417"/>
          <p:cNvSpPr>
            <a:spLocks/>
          </p:cNvSpPr>
          <p:nvPr/>
        </p:nvSpPr>
        <p:spPr bwMode="auto">
          <a:xfrm>
            <a:off x="7000876" y="3168772"/>
            <a:ext cx="331786" cy="142875"/>
          </a:xfrm>
          <a:custGeom>
            <a:avLst/>
            <a:gdLst>
              <a:gd name="T0" fmla="*/ 200 w 200"/>
              <a:gd name="T1" fmla="*/ 107 h 107"/>
              <a:gd name="T2" fmla="*/ 0 w 200"/>
              <a:gd name="T3" fmla="*/ 107 h 107"/>
              <a:gd name="T4" fmla="*/ 0 w 200"/>
              <a:gd name="T5" fmla="*/ 0 h 107"/>
            </a:gdLst>
            <a:ahLst/>
            <a:cxnLst>
              <a:cxn ang="0">
                <a:pos x="T0" y="T1"/>
              </a:cxn>
              <a:cxn ang="0">
                <a:pos x="T2" y="T3"/>
              </a:cxn>
              <a:cxn ang="0">
                <a:pos x="T4" y="T5"/>
              </a:cxn>
            </a:cxnLst>
            <a:rect l="0" t="0" r="r" b="b"/>
            <a:pathLst>
              <a:path w="200" h="107">
                <a:moveTo>
                  <a:pt x="200" y="107"/>
                </a:moveTo>
                <a:lnTo>
                  <a:pt x="0" y="107"/>
                </a:lnTo>
                <a:lnTo>
                  <a:pt x="0" y="0"/>
                </a:lnTo>
              </a:path>
            </a:pathLst>
          </a:custGeom>
          <a:noFill/>
          <a:ln w="11113"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25" name="Rectangle 1418"/>
          <p:cNvSpPr>
            <a:spLocks noChangeArrowheads="1"/>
          </p:cNvSpPr>
          <p:nvPr/>
        </p:nvSpPr>
        <p:spPr bwMode="auto">
          <a:xfrm>
            <a:off x="4764087" y="3530434"/>
            <a:ext cx="2794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27" name="Rectangle 1420"/>
          <p:cNvSpPr>
            <a:spLocks noChangeArrowheads="1"/>
          </p:cNvSpPr>
          <p:nvPr/>
        </p:nvSpPr>
        <p:spPr bwMode="auto">
          <a:xfrm>
            <a:off x="1411491" y="3120829"/>
            <a:ext cx="26930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ev.</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1" name="Rectangle 1424"/>
          <p:cNvSpPr>
            <a:spLocks noChangeArrowheads="1"/>
          </p:cNvSpPr>
          <p:nvPr/>
        </p:nvSpPr>
        <p:spPr bwMode="auto">
          <a:xfrm>
            <a:off x="7236142" y="2059110"/>
            <a:ext cx="3206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Vt.</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3" name="Rectangle 1426"/>
          <p:cNvSpPr>
            <a:spLocks noChangeArrowheads="1"/>
          </p:cNvSpPr>
          <p:nvPr/>
        </p:nvSpPr>
        <p:spPr bwMode="auto">
          <a:xfrm>
            <a:off x="2085974" y="3239891"/>
            <a:ext cx="3444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Utah</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5" name="Rectangle 1428"/>
          <p:cNvSpPr>
            <a:spLocks noChangeArrowheads="1"/>
          </p:cNvSpPr>
          <p:nvPr/>
        </p:nvSpPr>
        <p:spPr bwMode="auto">
          <a:xfrm>
            <a:off x="6557168" y="5165053"/>
            <a:ext cx="28416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Fl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7" name="Rectangle 1430"/>
          <p:cNvSpPr>
            <a:spLocks noChangeArrowheads="1"/>
          </p:cNvSpPr>
          <p:nvPr/>
        </p:nvSpPr>
        <p:spPr bwMode="auto">
          <a:xfrm>
            <a:off x="5609615" y="3185936"/>
            <a:ext cx="290513"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In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39" name="Rectangle 1432"/>
          <p:cNvSpPr>
            <a:spLocks noChangeArrowheads="1"/>
          </p:cNvSpPr>
          <p:nvPr/>
        </p:nvSpPr>
        <p:spPr bwMode="auto">
          <a:xfrm>
            <a:off x="5991860" y="3081718"/>
            <a:ext cx="35242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Ohio</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41" name="Rectangle 1434"/>
          <p:cNvSpPr>
            <a:spLocks noChangeArrowheads="1"/>
          </p:cNvSpPr>
          <p:nvPr/>
        </p:nvSpPr>
        <p:spPr bwMode="auto">
          <a:xfrm>
            <a:off x="7375525" y="3251321"/>
            <a:ext cx="28098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M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44" name="Rectangle 1437"/>
          <p:cNvSpPr>
            <a:spLocks noChangeArrowheads="1"/>
          </p:cNvSpPr>
          <p:nvPr/>
        </p:nvSpPr>
        <p:spPr bwMode="auto">
          <a:xfrm>
            <a:off x="6933770" y="2415602"/>
            <a:ext cx="24846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Y.</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48" name="Rectangle 1441"/>
          <p:cNvSpPr>
            <a:spLocks noChangeArrowheads="1"/>
          </p:cNvSpPr>
          <p:nvPr/>
        </p:nvSpPr>
        <p:spPr bwMode="auto">
          <a:xfrm>
            <a:off x="5040313" y="2418777"/>
            <a:ext cx="262892"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Wis.</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50" name="Rectangle 1443"/>
          <p:cNvSpPr>
            <a:spLocks noChangeArrowheads="1"/>
          </p:cNvSpPr>
          <p:nvPr/>
        </p:nvSpPr>
        <p:spPr bwMode="auto">
          <a:xfrm>
            <a:off x="7488237" y="2722684"/>
            <a:ext cx="422275"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a:ln>
                  <a:noFill/>
                </a:ln>
                <a:solidFill>
                  <a:srgbClr val="000000"/>
                </a:solidFill>
                <a:effectLst/>
                <a:latin typeface="Arial" pitchFamily="34" charset="0"/>
                <a:cs typeface="Arial" pitchFamily="34" charset="0"/>
              </a:rPr>
              <a:t>Conn.</a:t>
            </a:r>
            <a:endParaRPr kumimoji="0" lang="en-US" altLang="en-US" sz="1800" b="0" i="0" u="none" strike="noStrike" cap="none" normalizeH="0" baseline="0">
              <a:ln>
                <a:noFill/>
              </a:ln>
              <a:solidFill>
                <a:schemeClr val="tx1"/>
              </a:solidFill>
              <a:effectLst/>
              <a:latin typeface="Arial" pitchFamily="34" charset="0"/>
              <a:cs typeface="Arial" pitchFamily="34" charset="0"/>
            </a:endParaRPr>
          </a:p>
        </p:txBody>
      </p:sp>
      <p:sp>
        <p:nvSpPr>
          <p:cNvPr id="852" name="Rectangle 1445"/>
          <p:cNvSpPr>
            <a:spLocks noChangeArrowheads="1"/>
          </p:cNvSpPr>
          <p:nvPr/>
        </p:nvSpPr>
        <p:spPr bwMode="auto">
          <a:xfrm>
            <a:off x="1945499" y="4087023"/>
            <a:ext cx="327013"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Ariz.*</a:t>
            </a:r>
            <a:endParaRPr kumimoji="0" lang="en-US" altLang="en-US" sz="1800" i="0" u="none" strike="noStrike" cap="none" normalizeH="0" baseline="0" dirty="0">
              <a:ln>
                <a:noFill/>
              </a:ln>
              <a:solidFill>
                <a:schemeClr val="tx1"/>
              </a:solidFill>
              <a:effectLst/>
              <a:latin typeface="Arial" pitchFamily="34" charset="0"/>
              <a:cs typeface="Arial" pitchFamily="34" charset="0"/>
            </a:endParaRPr>
          </a:p>
        </p:txBody>
      </p:sp>
      <p:sp>
        <p:nvSpPr>
          <p:cNvPr id="854" name="Rectangle 1447"/>
          <p:cNvSpPr>
            <a:spLocks noChangeArrowheads="1"/>
          </p:cNvSpPr>
          <p:nvPr/>
        </p:nvSpPr>
        <p:spPr bwMode="auto">
          <a:xfrm>
            <a:off x="3689351" y="1939253"/>
            <a:ext cx="317500"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N.D.</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56" name="Rectangle 1449"/>
          <p:cNvSpPr>
            <a:spLocks noChangeArrowheads="1"/>
          </p:cNvSpPr>
          <p:nvPr/>
        </p:nvSpPr>
        <p:spPr bwMode="auto">
          <a:xfrm>
            <a:off x="6696869" y="2839842"/>
            <a:ext cx="254000"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Pa.</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59" name="Rectangle 1452"/>
          <p:cNvSpPr>
            <a:spLocks noChangeArrowheads="1"/>
          </p:cNvSpPr>
          <p:nvPr/>
        </p:nvSpPr>
        <p:spPr bwMode="auto">
          <a:xfrm>
            <a:off x="1261195" y="1621901"/>
            <a:ext cx="376706"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Wash.</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sp>
        <p:nvSpPr>
          <p:cNvPr id="861" name="Rectangle 1454"/>
          <p:cNvSpPr>
            <a:spLocks noChangeArrowheads="1"/>
          </p:cNvSpPr>
          <p:nvPr/>
        </p:nvSpPr>
        <p:spPr bwMode="auto">
          <a:xfrm>
            <a:off x="895350" y="3433884"/>
            <a:ext cx="376238" cy="185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000" b="1" i="0" u="none" strike="noStrike" cap="none" normalizeH="0" baseline="0" dirty="0">
                <a:ln>
                  <a:noFill/>
                </a:ln>
                <a:solidFill>
                  <a:srgbClr val="000000"/>
                </a:solidFill>
                <a:effectLst/>
                <a:latin typeface="Arial" pitchFamily="34" charset="0"/>
                <a:cs typeface="Arial" pitchFamily="34" charset="0"/>
              </a:rPr>
              <a:t>Calif.</a:t>
            </a:r>
            <a:endParaRPr kumimoji="0" lang="en-US" altLang="en-US" sz="1800" b="0" i="0" u="none" strike="noStrike" cap="none" normalizeH="0" baseline="0" dirty="0">
              <a:ln>
                <a:noFill/>
              </a:ln>
              <a:solidFill>
                <a:schemeClr val="tx1"/>
              </a:solidFill>
              <a:effectLst/>
              <a:latin typeface="Arial" pitchFamily="34" charset="0"/>
              <a:cs typeface="Arial" pitchFamily="34" charset="0"/>
            </a:endParaRPr>
          </a:p>
        </p:txBody>
      </p:sp>
      <p:grpSp>
        <p:nvGrpSpPr>
          <p:cNvPr id="10" name="Group 9"/>
          <p:cNvGrpSpPr/>
          <p:nvPr/>
        </p:nvGrpSpPr>
        <p:grpSpPr>
          <a:xfrm>
            <a:off x="5122748" y="835026"/>
            <a:ext cx="2874296" cy="610048"/>
            <a:chOff x="3737410" y="913660"/>
            <a:chExt cx="2874296" cy="610048"/>
          </a:xfrm>
        </p:grpSpPr>
        <p:sp>
          <p:nvSpPr>
            <p:cNvPr id="713" name="Rectangle 1306"/>
            <p:cNvSpPr>
              <a:spLocks noChangeArrowheads="1"/>
            </p:cNvSpPr>
            <p:nvPr/>
          </p:nvSpPr>
          <p:spPr bwMode="auto">
            <a:xfrm>
              <a:off x="5502428" y="1128126"/>
              <a:ext cx="110927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ikely Republican</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15" name="Rectangle 1308"/>
            <p:cNvSpPr>
              <a:spLocks noChangeArrowheads="1"/>
            </p:cNvSpPr>
            <p:nvPr/>
          </p:nvSpPr>
          <p:spPr bwMode="auto">
            <a:xfrm>
              <a:off x="5494831" y="920750"/>
              <a:ext cx="106279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Solid Republican</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38" name="Rectangle 1331"/>
            <p:cNvSpPr>
              <a:spLocks noChangeArrowheads="1"/>
            </p:cNvSpPr>
            <p:nvPr/>
          </p:nvSpPr>
          <p:spPr bwMode="auto">
            <a:xfrm>
              <a:off x="3945048" y="1137485"/>
              <a:ext cx="111408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ikely Democratic</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0" name="Rectangle 1333"/>
            <p:cNvSpPr>
              <a:spLocks noChangeArrowheads="1"/>
            </p:cNvSpPr>
            <p:nvPr/>
          </p:nvSpPr>
          <p:spPr bwMode="auto">
            <a:xfrm>
              <a:off x="3945048" y="1354431"/>
              <a:ext cx="1065997"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ean Democratic</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1" name="Rectangle 1332"/>
            <p:cNvSpPr>
              <a:spLocks noChangeArrowheads="1"/>
            </p:cNvSpPr>
            <p:nvPr/>
          </p:nvSpPr>
          <p:spPr bwMode="auto">
            <a:xfrm>
              <a:off x="3737410" y="952207"/>
              <a:ext cx="144065" cy="107950"/>
            </a:xfrm>
            <a:prstGeom prst="rect">
              <a:avLst/>
            </a:prstGeom>
            <a:solidFill>
              <a:srgbClr val="0070C0"/>
            </a:solidFill>
            <a:ln>
              <a:noFill/>
            </a:ln>
          </p:spPr>
          <p:txBody>
            <a:bodyPr vert="horz" wrap="square" lIns="91440" tIns="45720" rIns="91440" bIns="45720" numCol="1" anchor="t" anchorCtr="0" compatLnSpc="1">
              <a:prstTxWarp prst="textNoShape">
                <a:avLst/>
              </a:prstTxWarp>
            </a:bodyPr>
            <a:lstStyle/>
            <a:p>
              <a:endParaRPr lang="en-US"/>
            </a:p>
          </p:txBody>
        </p:sp>
        <p:sp>
          <p:nvSpPr>
            <p:cNvPr id="722" name="Rectangle 1333"/>
            <p:cNvSpPr>
              <a:spLocks noChangeArrowheads="1"/>
            </p:cNvSpPr>
            <p:nvPr/>
          </p:nvSpPr>
          <p:spPr bwMode="auto">
            <a:xfrm>
              <a:off x="3934330" y="913660"/>
              <a:ext cx="1067600"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Solid Democratic</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3" name="Rectangle 1308"/>
            <p:cNvSpPr>
              <a:spLocks noChangeArrowheads="1"/>
            </p:cNvSpPr>
            <p:nvPr/>
          </p:nvSpPr>
          <p:spPr bwMode="auto">
            <a:xfrm>
              <a:off x="5495633" y="1334596"/>
              <a:ext cx="1061188"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Lean Republican</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24" name="Rectangle 1332"/>
            <p:cNvSpPr>
              <a:spLocks noChangeArrowheads="1"/>
            </p:cNvSpPr>
            <p:nvPr/>
          </p:nvSpPr>
          <p:spPr bwMode="auto">
            <a:xfrm>
              <a:off x="3737410" y="1176337"/>
              <a:ext cx="144065" cy="107950"/>
            </a:xfrm>
            <a:prstGeom prst="rect">
              <a:avLst/>
            </a:prstGeom>
            <a:solidFill>
              <a:srgbClr val="21A0FF"/>
            </a:solidFill>
            <a:ln>
              <a:noFill/>
            </a:ln>
          </p:spPr>
          <p:txBody>
            <a:bodyPr vert="horz" wrap="square" lIns="91440" tIns="45720" rIns="91440" bIns="45720" numCol="1" anchor="t" anchorCtr="0" compatLnSpc="1">
              <a:prstTxWarp prst="textNoShape">
                <a:avLst/>
              </a:prstTxWarp>
            </a:bodyPr>
            <a:lstStyle/>
            <a:p>
              <a:endParaRPr lang="en-US"/>
            </a:p>
          </p:txBody>
        </p:sp>
        <p:sp>
          <p:nvSpPr>
            <p:cNvPr id="725" name="Rectangle 1332"/>
            <p:cNvSpPr>
              <a:spLocks noChangeArrowheads="1"/>
            </p:cNvSpPr>
            <p:nvPr/>
          </p:nvSpPr>
          <p:spPr bwMode="auto">
            <a:xfrm>
              <a:off x="3737410" y="1381125"/>
              <a:ext cx="144065" cy="107950"/>
            </a:xfrm>
            <a:prstGeom prst="rect">
              <a:avLst/>
            </a:prstGeom>
            <a:solidFill>
              <a:srgbClr val="9BD4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6" name="Rectangle 1332"/>
            <p:cNvSpPr>
              <a:spLocks noChangeArrowheads="1"/>
            </p:cNvSpPr>
            <p:nvPr/>
          </p:nvSpPr>
          <p:spPr bwMode="auto">
            <a:xfrm>
              <a:off x="5269364" y="958850"/>
              <a:ext cx="144065" cy="107950"/>
            </a:xfrm>
            <a:prstGeom prst="rect">
              <a:avLst/>
            </a:prstGeom>
            <a:solidFill>
              <a:srgbClr val="C00000"/>
            </a:solidFill>
            <a:ln>
              <a:noFill/>
            </a:ln>
          </p:spPr>
          <p:txBody>
            <a:bodyPr vert="horz" wrap="square" lIns="91440" tIns="45720" rIns="91440" bIns="45720" numCol="1" anchor="t" anchorCtr="0" compatLnSpc="1">
              <a:prstTxWarp prst="textNoShape">
                <a:avLst/>
              </a:prstTxWarp>
            </a:bodyPr>
            <a:lstStyle/>
            <a:p>
              <a:endParaRPr lang="en-US"/>
            </a:p>
          </p:txBody>
        </p:sp>
        <p:sp>
          <p:nvSpPr>
            <p:cNvPr id="727" name="Rectangle 1332"/>
            <p:cNvSpPr>
              <a:spLocks noChangeArrowheads="1"/>
            </p:cNvSpPr>
            <p:nvPr/>
          </p:nvSpPr>
          <p:spPr bwMode="auto">
            <a:xfrm>
              <a:off x="5269818" y="1170985"/>
              <a:ext cx="144065" cy="107950"/>
            </a:xfrm>
            <a:prstGeom prst="rect">
              <a:avLst/>
            </a:prstGeom>
            <a:solidFill>
              <a:srgbClr val="FF696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8" name="Rectangle 1332"/>
            <p:cNvSpPr>
              <a:spLocks noChangeArrowheads="1"/>
            </p:cNvSpPr>
            <p:nvPr/>
          </p:nvSpPr>
          <p:spPr bwMode="auto">
            <a:xfrm>
              <a:off x="5269364" y="1373642"/>
              <a:ext cx="144065" cy="107950"/>
            </a:xfrm>
            <a:prstGeom prst="rect">
              <a:avLst/>
            </a:prstGeom>
            <a:solidFill>
              <a:srgbClr val="FFC9C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14" name="Rectangle 1307"/>
          <p:cNvSpPr>
            <a:spLocks noChangeArrowheads="1"/>
          </p:cNvSpPr>
          <p:nvPr/>
        </p:nvSpPr>
        <p:spPr bwMode="auto">
          <a:xfrm>
            <a:off x="8148422" y="1084417"/>
            <a:ext cx="144065" cy="107950"/>
          </a:xfrm>
          <a:prstGeom prst="rect">
            <a:avLst/>
          </a:pr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sp>
        <p:nvSpPr>
          <p:cNvPr id="716" name="Rectangle 1306"/>
          <p:cNvSpPr>
            <a:spLocks noChangeArrowheads="1"/>
          </p:cNvSpPr>
          <p:nvPr/>
        </p:nvSpPr>
        <p:spPr bwMode="auto">
          <a:xfrm>
            <a:off x="8370546" y="1045538"/>
            <a:ext cx="493725" cy="169277"/>
          </a:xfrm>
          <a:prstGeom prst="rect">
            <a:avLst/>
          </a:prstGeom>
          <a:noFill/>
          <a:ln>
            <a:noFill/>
          </a:ln>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No race</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
        <p:nvSpPr>
          <p:cNvPr id="717" name="Rectangle 1307"/>
          <p:cNvSpPr>
            <a:spLocks noChangeArrowheads="1"/>
          </p:cNvSpPr>
          <p:nvPr/>
        </p:nvSpPr>
        <p:spPr bwMode="auto">
          <a:xfrm>
            <a:off x="8148422" y="880216"/>
            <a:ext cx="144065" cy="107950"/>
          </a:xfrm>
          <a:prstGeom prst="rect">
            <a:avLst/>
          </a:prstGeom>
          <a:solidFill>
            <a:schemeClr val="accent5">
              <a:lumMod val="75000"/>
            </a:schemeClr>
          </a:solidFill>
          <a:ln>
            <a:noFill/>
          </a:ln>
        </p:spPr>
        <p:txBody>
          <a:bodyPr vert="horz" wrap="square" lIns="91440" tIns="45720" rIns="91440" bIns="45720" numCol="1" anchor="t" anchorCtr="0" compatLnSpc="1">
            <a:prstTxWarp prst="textNoShape">
              <a:avLst/>
            </a:prstTxWarp>
          </a:bodyPr>
          <a:lstStyle/>
          <a:p>
            <a:endParaRPr lang="en-US"/>
          </a:p>
        </p:txBody>
      </p:sp>
      <p:sp>
        <p:nvSpPr>
          <p:cNvPr id="718" name="Rectangle 1306"/>
          <p:cNvSpPr>
            <a:spLocks noChangeArrowheads="1"/>
          </p:cNvSpPr>
          <p:nvPr/>
        </p:nvSpPr>
        <p:spPr bwMode="auto">
          <a:xfrm>
            <a:off x="8370546" y="841337"/>
            <a:ext cx="501740" cy="169277"/>
          </a:xfrm>
          <a:prstGeom prst="rect">
            <a:avLst/>
          </a:prstGeom>
          <a:noFill/>
          <a:ln>
            <a:noFill/>
          </a:ln>
        </p:spPr>
        <p:txBody>
          <a:bodyPr vert="horz" wrap="none" lIns="0" tIns="0" rIns="0" bIns="0" numCol="1" anchor="ctr" anchorCtr="0" compatLnSpc="1">
            <a:prstTxWarp prst="textNoShape">
              <a:avLst/>
            </a:prstTxWarp>
            <a:spAutoFit/>
          </a:bodyPr>
          <a:lstStyle>
            <a:lvl1pPr fontAlgn="base">
              <a:spcBef>
                <a:spcPct val="0"/>
              </a:spcBef>
              <a:spcAft>
                <a:spcPct val="0"/>
              </a:spcAft>
              <a:defRPr>
                <a:solidFill>
                  <a:schemeClr val="tx1"/>
                </a:solidFill>
                <a:latin typeface="Arial" pitchFamily="34" charset="0"/>
                <a:cs typeface="Arial" pitchFamily="34" charset="0"/>
              </a:defRPr>
            </a:lvl1pPr>
            <a:lvl2pPr fontAlgn="base">
              <a:spcBef>
                <a:spcPct val="0"/>
              </a:spcBef>
              <a:spcAft>
                <a:spcPct val="0"/>
              </a:spcAft>
              <a:defRPr>
                <a:solidFill>
                  <a:schemeClr val="tx1"/>
                </a:solidFill>
                <a:latin typeface="Arial" pitchFamily="34" charset="0"/>
                <a:cs typeface="Arial" pitchFamily="34" charset="0"/>
              </a:defRPr>
            </a:lvl2pPr>
            <a:lvl3pPr fontAlgn="base">
              <a:spcBef>
                <a:spcPct val="0"/>
              </a:spcBef>
              <a:spcAft>
                <a:spcPct val="0"/>
              </a:spcAft>
              <a:defRPr>
                <a:solidFill>
                  <a:schemeClr val="tx1"/>
                </a:solidFill>
                <a:latin typeface="Arial" pitchFamily="34" charset="0"/>
                <a:cs typeface="Arial" pitchFamily="34" charset="0"/>
              </a:defRPr>
            </a:lvl3pPr>
            <a:lvl4pPr fontAlgn="base">
              <a:spcBef>
                <a:spcPct val="0"/>
              </a:spcBef>
              <a:spcAft>
                <a:spcPct val="0"/>
              </a:spcAft>
              <a:defRPr>
                <a:solidFill>
                  <a:schemeClr val="tx1"/>
                </a:solidFill>
                <a:latin typeface="Arial" pitchFamily="34" charset="0"/>
                <a:cs typeface="Arial" pitchFamily="34" charset="0"/>
              </a:defRPr>
            </a:lvl4pPr>
            <a:lvl5pPr fontAlgn="base">
              <a:spcBef>
                <a:spcPct val="0"/>
              </a:spcBef>
              <a:spcAft>
                <a:spcPct val="0"/>
              </a:spcAft>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altLang="en-US" sz="1100" b="0" i="0" u="none" strike="noStrike" cap="none" normalizeH="0" baseline="0" dirty="0">
                <a:ln>
                  <a:noFill/>
                </a:ln>
                <a:solidFill>
                  <a:srgbClr val="231F20"/>
                </a:solidFill>
                <a:effectLst/>
                <a:latin typeface="Arial" pitchFamily="34" charset="0"/>
                <a:cs typeface="Arial" pitchFamily="34" charset="0"/>
              </a:rPr>
              <a:t>Toss up</a:t>
            </a:r>
            <a:endParaRPr kumimoji="0" lang="en-US" altLang="en-US" sz="1100" b="0" i="0" u="none" strike="noStrike" cap="none" normalizeH="0" baseline="0" dirty="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4142796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2020 Republican-Held Senate Seats (1 of 2)</a:t>
            </a:r>
          </a:p>
        </p:txBody>
      </p:sp>
      <p:graphicFrame>
        <p:nvGraphicFramePr>
          <p:cNvPr id="6" name="Table 5"/>
          <p:cNvGraphicFramePr>
            <a:graphicFrameLocks noGrp="1"/>
          </p:cNvGraphicFramePr>
          <p:nvPr>
            <p:extLst>
              <p:ext uri="{D42A27DB-BD31-4B8C-83A1-F6EECF244321}">
                <p14:modId xmlns:p14="http://schemas.microsoft.com/office/powerpoint/2010/main" val="33683228"/>
              </p:ext>
            </p:extLst>
          </p:nvPr>
        </p:nvGraphicFramePr>
        <p:xfrm>
          <a:off x="457201" y="1481779"/>
          <a:ext cx="8117456" cy="4346916"/>
        </p:xfrm>
        <a:graphic>
          <a:graphicData uri="http://schemas.openxmlformats.org/drawingml/2006/table">
            <a:tbl>
              <a:tblPr firstRow="1" bandRow="1">
                <a:tableStyleId>{B301B821-A1FF-4177-AEE7-76D212191A09}</a:tableStyleId>
              </a:tblPr>
              <a:tblGrid>
                <a:gridCol w="1843176">
                  <a:extLst>
                    <a:ext uri="{9D8B030D-6E8A-4147-A177-3AD203B41FA5}">
                      <a16:colId xmlns:a16="http://schemas.microsoft.com/office/drawing/2014/main" val="20000"/>
                    </a:ext>
                  </a:extLst>
                </a:gridCol>
                <a:gridCol w="1254856">
                  <a:extLst>
                    <a:ext uri="{9D8B030D-6E8A-4147-A177-3AD203B41FA5}">
                      <a16:colId xmlns:a16="http://schemas.microsoft.com/office/drawing/2014/main" val="20001"/>
                    </a:ext>
                  </a:extLst>
                </a:gridCol>
                <a:gridCol w="1254856">
                  <a:extLst>
                    <a:ext uri="{9D8B030D-6E8A-4147-A177-3AD203B41FA5}">
                      <a16:colId xmlns:a16="http://schemas.microsoft.com/office/drawing/2014/main" val="20002"/>
                    </a:ext>
                  </a:extLst>
                </a:gridCol>
                <a:gridCol w="1254856">
                  <a:extLst>
                    <a:ext uri="{9D8B030D-6E8A-4147-A177-3AD203B41FA5}">
                      <a16:colId xmlns:a16="http://schemas.microsoft.com/office/drawing/2014/main" val="20003"/>
                    </a:ext>
                  </a:extLst>
                </a:gridCol>
                <a:gridCol w="1254856">
                  <a:extLst>
                    <a:ext uri="{9D8B030D-6E8A-4147-A177-3AD203B41FA5}">
                      <a16:colId xmlns:a16="http://schemas.microsoft.com/office/drawing/2014/main" val="20004"/>
                    </a:ext>
                  </a:extLst>
                </a:gridCol>
                <a:gridCol w="1254856">
                  <a:extLst>
                    <a:ext uri="{9D8B030D-6E8A-4147-A177-3AD203B41FA5}">
                      <a16:colId xmlns:a16="http://schemas.microsoft.com/office/drawing/2014/main" val="20005"/>
                    </a:ext>
                  </a:extLst>
                </a:gridCol>
              </a:tblGrid>
              <a:tr h="316523">
                <a:tc>
                  <a:txBody>
                    <a:bodyPr/>
                    <a:lstStyle/>
                    <a:p>
                      <a:pPr marL="0" marR="0" algn="l">
                        <a:lnSpc>
                          <a:spcPct val="107000"/>
                        </a:lnSpc>
                        <a:spcBef>
                          <a:spcPts val="0"/>
                        </a:spcBef>
                        <a:spcAft>
                          <a:spcPts val="0"/>
                        </a:spcAft>
                      </a:pPr>
                      <a:r>
                        <a:rPr lang="en-US" sz="1000" dirty="0">
                          <a:effectLst/>
                        </a:rPr>
                        <a:t>Incumbent</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ctr"/>
                      <a:r>
                        <a:rPr lang="en-US" sz="1000" u="none" strike="noStrike" dirty="0">
                          <a:effectLst/>
                        </a:rPr>
                        <a:t>2016 </a:t>
                      </a:r>
                      <a:br>
                        <a:rPr lang="en-US" sz="1000" u="none" strike="noStrike" dirty="0">
                          <a:effectLst/>
                        </a:rPr>
                      </a:br>
                      <a:r>
                        <a:rPr lang="en-US" sz="1000" u="none" strike="noStrike" dirty="0">
                          <a:effectLst/>
                        </a:rPr>
                        <a:t>Presidential</a:t>
                      </a:r>
                      <a:r>
                        <a:rPr lang="en-US" sz="1000" u="none" strike="noStrike" baseline="0" dirty="0">
                          <a:effectLst/>
                        </a:rPr>
                        <a:t> </a:t>
                      </a:r>
                      <a:r>
                        <a:rPr lang="en-US" sz="1000" u="none" strike="noStrike" dirty="0">
                          <a:effectLst/>
                        </a:rPr>
                        <a:t>Winner</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6 Percentage</a:t>
                      </a:r>
                      <a:br>
                        <a:rPr lang="en-US" sz="1000" u="none" strike="noStrike" dirty="0">
                          <a:effectLst/>
                        </a:rPr>
                      </a:br>
                      <a:r>
                        <a:rPr lang="en-US" sz="1000" u="none" strike="noStrike" dirty="0">
                          <a:effectLst/>
                        </a:rPr>
                        <a:t>Point Margin</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2 </a:t>
                      </a:r>
                      <a:br>
                        <a:rPr lang="en-US" sz="1000" u="none" strike="noStrike" dirty="0">
                          <a:effectLst/>
                        </a:rPr>
                      </a:br>
                      <a:r>
                        <a:rPr lang="en-US" sz="1000" u="none" strike="noStrike" dirty="0">
                          <a:effectLst/>
                        </a:rPr>
                        <a:t>Presidential</a:t>
                      </a:r>
                      <a:r>
                        <a:rPr lang="en-US" sz="1000" u="none" strike="noStrike" baseline="0" dirty="0">
                          <a:effectLst/>
                        </a:rPr>
                        <a:t> Winner</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2 Percentage</a:t>
                      </a:r>
                      <a:br>
                        <a:rPr lang="en-US" sz="1000" u="none" strike="noStrike" dirty="0">
                          <a:effectLst/>
                        </a:rPr>
                      </a:br>
                      <a:r>
                        <a:rPr lang="en-US" sz="1000" u="none" strike="noStrike" dirty="0">
                          <a:effectLst/>
                        </a:rPr>
                        <a:t>Point Margin</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Cash on</a:t>
                      </a:r>
                      <a:r>
                        <a:rPr lang="en-US" sz="1000" u="none" strike="noStrike" baseline="0" dirty="0">
                          <a:effectLst/>
                        </a:rPr>
                        <a:t> Hand</a:t>
                      </a:r>
                      <a:br>
                        <a:rPr lang="en-US" sz="1000" u="none" strike="noStrike" baseline="0" dirty="0">
                          <a:effectLst/>
                        </a:rPr>
                      </a:br>
                      <a:r>
                        <a:rPr lang="en-US" sz="1000" u="none" strike="noStrike" dirty="0">
                          <a:effectLst/>
                        </a:rPr>
                        <a:t>(Dec.</a:t>
                      </a:r>
                      <a:r>
                        <a:rPr lang="en-US" sz="1000" u="none" strike="noStrike" baseline="0" dirty="0">
                          <a:effectLst/>
                        </a:rPr>
                        <a:t> 31</a:t>
                      </a:r>
                      <a:r>
                        <a:rPr lang="en-US" sz="1000" u="none" strike="noStrike" dirty="0">
                          <a:effectLst/>
                        </a:rPr>
                        <a:t>)</a:t>
                      </a:r>
                      <a:endParaRPr lang="en-US" sz="1000" b="1" i="0" u="none" strike="noStrike" dirty="0">
                        <a:solidFill>
                          <a:schemeClr val="tx1"/>
                        </a:solidFill>
                        <a:effectLst/>
                        <a:latin typeface="+mn-lt"/>
                      </a:endParaRPr>
                    </a:p>
                  </a:txBody>
                  <a:tcPr anchor="ctr"/>
                </a:tc>
                <a:extLst>
                  <a:ext uri="{0D108BD9-81ED-4DB2-BD59-A6C34878D82A}">
                    <a16:rowId xmlns:a16="http://schemas.microsoft.com/office/drawing/2014/main" val="10000"/>
                  </a:ext>
                </a:extLst>
              </a:tr>
              <a:tr h="316523">
                <a:tc>
                  <a:txBody>
                    <a:bodyPr/>
                    <a:lstStyle/>
                    <a:p>
                      <a:pPr marL="0" marR="0" algn="l">
                        <a:lnSpc>
                          <a:spcPct val="107000"/>
                        </a:lnSpc>
                        <a:spcBef>
                          <a:spcPts val="0"/>
                        </a:spcBef>
                        <a:spcAft>
                          <a:spcPts val="0"/>
                        </a:spcAft>
                      </a:pPr>
                      <a:r>
                        <a:rPr lang="en-US" sz="1000" dirty="0">
                          <a:effectLst/>
                          <a:latin typeface="+mn-lt"/>
                        </a:rPr>
                        <a:t>Dan Sullivan (Alask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4.7%</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4.0%</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4,191,819 </a:t>
                      </a:r>
                    </a:p>
                  </a:txBody>
                  <a:tcPr marL="9525" marR="9525" marT="9525" marB="0" anchor="ctr"/>
                </a:tc>
                <a:extLst>
                  <a:ext uri="{0D108BD9-81ED-4DB2-BD59-A6C34878D82A}">
                    <a16:rowId xmlns:a16="http://schemas.microsoft.com/office/drawing/2014/main" val="10001"/>
                  </a:ext>
                </a:extLst>
              </a:tr>
              <a:tr h="316523">
                <a:tc>
                  <a:txBody>
                    <a:bodyPr/>
                    <a:lstStyle/>
                    <a:p>
                      <a:pPr marL="0" marR="0" algn="l">
                        <a:lnSpc>
                          <a:spcPct val="107000"/>
                        </a:lnSpc>
                        <a:spcBef>
                          <a:spcPts val="0"/>
                        </a:spcBef>
                        <a:spcAft>
                          <a:spcPts val="0"/>
                        </a:spcAft>
                      </a:pPr>
                      <a:r>
                        <a:rPr lang="en-US" sz="1000" dirty="0">
                          <a:effectLst/>
                          <a:latin typeface="+mn-lt"/>
                        </a:rPr>
                        <a:t>Martha McSally (Ariz.)</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3.5%</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9.1%</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7,659,881 </a:t>
                      </a:r>
                    </a:p>
                  </a:txBody>
                  <a:tcPr marL="9525" marR="9525" marT="9525" marB="0" anchor="ctr"/>
                </a:tc>
                <a:extLst>
                  <a:ext uri="{0D108BD9-81ED-4DB2-BD59-A6C34878D82A}">
                    <a16:rowId xmlns:a16="http://schemas.microsoft.com/office/drawing/2014/main" val="10002"/>
                  </a:ext>
                </a:extLst>
              </a:tr>
              <a:tr h="316523">
                <a:tc>
                  <a:txBody>
                    <a:bodyPr/>
                    <a:lstStyle/>
                    <a:p>
                      <a:pPr marL="0" marR="0" algn="l">
                        <a:lnSpc>
                          <a:spcPct val="107000"/>
                        </a:lnSpc>
                        <a:spcBef>
                          <a:spcPts val="0"/>
                        </a:spcBef>
                        <a:spcAft>
                          <a:spcPts val="0"/>
                        </a:spcAft>
                      </a:pPr>
                      <a:r>
                        <a:rPr lang="en-US" sz="1000" dirty="0">
                          <a:effectLst/>
                          <a:latin typeface="+mn-lt"/>
                        </a:rPr>
                        <a:t>Tom Cotton (Ark.)</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a:effectLst/>
                          <a:latin typeface="+mn-lt"/>
                        </a:rPr>
                        <a:t>26.9%</a:t>
                      </a:r>
                      <a:endParaRPr lang="en-US" sz="1000" b="0" i="0" u="none" strike="noStrike">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3.7%</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4,506,909</a:t>
                      </a:r>
                    </a:p>
                  </a:txBody>
                  <a:tcPr marL="9525" marR="9525" marT="9525" marB="0" anchor="ctr"/>
                </a:tc>
                <a:extLst>
                  <a:ext uri="{0D108BD9-81ED-4DB2-BD59-A6C34878D82A}">
                    <a16:rowId xmlns:a16="http://schemas.microsoft.com/office/drawing/2014/main" val="10003"/>
                  </a:ext>
                </a:extLst>
              </a:tr>
              <a:tr h="316523">
                <a:tc>
                  <a:txBody>
                    <a:bodyPr/>
                    <a:lstStyle/>
                    <a:p>
                      <a:pPr marL="0" marR="0" algn="l">
                        <a:lnSpc>
                          <a:spcPct val="107000"/>
                        </a:lnSpc>
                        <a:spcBef>
                          <a:spcPts val="0"/>
                        </a:spcBef>
                        <a:spcAft>
                          <a:spcPts val="0"/>
                        </a:spcAft>
                      </a:pPr>
                      <a:r>
                        <a:rPr lang="en-US" sz="1000" dirty="0">
                          <a:effectLst/>
                          <a:latin typeface="+mn-lt"/>
                        </a:rPr>
                        <a:t>Cory Gardner (Colo.)</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4.9%</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5.4%</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7,752,392</a:t>
                      </a:r>
                    </a:p>
                  </a:txBody>
                  <a:tcPr marL="9525" marR="9525" marT="9525" marB="0" anchor="ctr"/>
                </a:tc>
                <a:extLst>
                  <a:ext uri="{0D108BD9-81ED-4DB2-BD59-A6C34878D82A}">
                    <a16:rowId xmlns:a16="http://schemas.microsoft.com/office/drawing/2014/main" val="10004"/>
                  </a:ext>
                </a:extLst>
              </a:tr>
              <a:tr h="316523">
                <a:tc>
                  <a:txBody>
                    <a:bodyPr/>
                    <a:lstStyle/>
                    <a:p>
                      <a:pPr marL="0" marR="0" algn="l">
                        <a:lnSpc>
                          <a:spcPct val="107000"/>
                        </a:lnSpc>
                        <a:spcBef>
                          <a:spcPts val="0"/>
                        </a:spcBef>
                        <a:spcAft>
                          <a:spcPts val="0"/>
                        </a:spcAft>
                      </a:pPr>
                      <a:r>
                        <a:rPr lang="en-US" sz="1000" dirty="0">
                          <a:solidFill>
                            <a:schemeClr val="tx1"/>
                          </a:solidFill>
                          <a:effectLst/>
                          <a:latin typeface="+mn-lt"/>
                          <a:ea typeface="Calibri" panose="020F0502020204030204" pitchFamily="34" charset="0"/>
                          <a:cs typeface="Times New Roman" panose="02020603050405020304" pitchFamily="18" charset="0"/>
                        </a:rPr>
                        <a:t>Kelly Loeffler</a:t>
                      </a:r>
                      <a:r>
                        <a:rPr lang="en-US" sz="1000" baseline="0" dirty="0">
                          <a:solidFill>
                            <a:schemeClr val="tx1"/>
                          </a:solidFill>
                          <a:effectLst/>
                          <a:latin typeface="+mn-lt"/>
                          <a:ea typeface="Calibri" panose="020F0502020204030204" pitchFamily="34" charset="0"/>
                          <a:cs typeface="Times New Roman" panose="02020603050405020304" pitchFamily="18" charset="0"/>
                        </a:rPr>
                        <a:t> (G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b="0" i="0" u="none" strike="noStrike" dirty="0">
                          <a:solidFill>
                            <a:srgbClr val="D22332"/>
                          </a:solidFill>
                          <a:effectLst/>
                          <a:latin typeface="+mn-lt"/>
                        </a:rPr>
                        <a:t>Trump</a:t>
                      </a:r>
                    </a:p>
                  </a:txBody>
                  <a:tcPr anchor="ctr"/>
                </a:tc>
                <a:tc>
                  <a:txBody>
                    <a:bodyPr/>
                    <a:lstStyle/>
                    <a:p>
                      <a:pPr marL="0" marR="0" lvl="0" indent="0" algn="r" defTabSz="914400" rtl="0" eaLnBrk="1" fontAlgn="b" latinLnBrk="0" hangingPunct="1">
                        <a:lnSpc>
                          <a:spcPct val="100000"/>
                        </a:lnSpc>
                        <a:spcBef>
                          <a:spcPts val="0"/>
                        </a:spcBef>
                        <a:spcAft>
                          <a:spcPts val="0"/>
                        </a:spcAft>
                        <a:buClrTx/>
                        <a:buSzTx/>
                        <a:buFontTx/>
                        <a:buNone/>
                        <a:tabLst/>
                        <a:defRPr/>
                      </a:pPr>
                      <a:r>
                        <a:rPr lang="en-US" sz="1000" u="none" strike="noStrike" dirty="0">
                          <a:effectLst/>
                          <a:latin typeface="+mn-lt"/>
                        </a:rPr>
                        <a:t>5.1%</a:t>
                      </a:r>
                      <a:endParaRPr lang="en-US" sz="1000" b="0" i="0" u="none" strike="noStrike" dirty="0">
                        <a:solidFill>
                          <a:srgbClr val="000000"/>
                        </a:solidFill>
                        <a:effectLst/>
                        <a:latin typeface="+mn-lt"/>
                      </a:endParaRPr>
                    </a:p>
                  </a:txBody>
                  <a:tcPr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b="0" i="0" u="none" strike="noStrike" dirty="0">
                          <a:solidFill>
                            <a:schemeClr val="tx1"/>
                          </a:solidFill>
                          <a:effectLst/>
                          <a:latin typeface="+mn-lt"/>
                        </a:rPr>
                        <a:t>7.8%</a:t>
                      </a:r>
                    </a:p>
                  </a:txBody>
                  <a:tcPr anchor="ctr"/>
                </a:tc>
                <a:tc>
                  <a:txBody>
                    <a:bodyPr/>
                    <a:lstStyle/>
                    <a:p>
                      <a:pPr marL="0" marR="0" algn="r">
                        <a:spcBef>
                          <a:spcPts val="0"/>
                        </a:spcBef>
                        <a:spcAft>
                          <a:spcPts val="0"/>
                        </a:spcAft>
                      </a:pPr>
                      <a:r>
                        <a:rPr lang="en-US" sz="1000" dirty="0">
                          <a:solidFill>
                            <a:schemeClr val="tx1"/>
                          </a:solidFill>
                          <a:effectLst/>
                          <a:latin typeface="+mn-lt"/>
                          <a:ea typeface="Calibri" panose="020F0502020204030204" pitchFamily="34" charset="0"/>
                          <a:cs typeface="Arial" panose="020B0604020202020204" pitchFamily="34" charset="0"/>
                        </a:rPr>
                        <a:t>   $5,449,122</a:t>
                      </a:r>
                    </a:p>
                  </a:txBody>
                  <a:tcPr anchor="ctr"/>
                </a:tc>
                <a:extLst>
                  <a:ext uri="{0D108BD9-81ED-4DB2-BD59-A6C34878D82A}">
                    <a16:rowId xmlns:a16="http://schemas.microsoft.com/office/drawing/2014/main" val="10009"/>
                  </a:ext>
                </a:extLst>
              </a:tr>
              <a:tr h="316523">
                <a:tc>
                  <a:txBody>
                    <a:bodyPr/>
                    <a:lstStyle/>
                    <a:p>
                      <a:pPr marL="0" marR="0" algn="l">
                        <a:lnSpc>
                          <a:spcPct val="107000"/>
                        </a:lnSpc>
                        <a:spcBef>
                          <a:spcPts val="0"/>
                        </a:spcBef>
                        <a:spcAft>
                          <a:spcPts val="0"/>
                        </a:spcAft>
                      </a:pPr>
                      <a:r>
                        <a:rPr lang="en-US" sz="1000" dirty="0">
                          <a:effectLst/>
                          <a:latin typeface="+mn-lt"/>
                        </a:rPr>
                        <a:t>David Perdue (G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5.1%</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7.8%</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7,829,655</a:t>
                      </a:r>
                    </a:p>
                  </a:txBody>
                  <a:tcPr marL="9525" marR="9525" marT="9525" marB="0" anchor="ctr"/>
                </a:tc>
                <a:extLst>
                  <a:ext uri="{0D108BD9-81ED-4DB2-BD59-A6C34878D82A}">
                    <a16:rowId xmlns:a16="http://schemas.microsoft.com/office/drawing/2014/main" val="10005"/>
                  </a:ext>
                </a:extLst>
              </a:tr>
              <a:tr h="316523">
                <a:tc>
                  <a:txBody>
                    <a:bodyPr/>
                    <a:lstStyle/>
                    <a:p>
                      <a:pPr marL="0" marR="0" algn="l">
                        <a:lnSpc>
                          <a:spcPct val="107000"/>
                        </a:lnSpc>
                        <a:spcBef>
                          <a:spcPts val="0"/>
                        </a:spcBef>
                        <a:spcAft>
                          <a:spcPts val="0"/>
                        </a:spcAft>
                      </a:pPr>
                      <a:r>
                        <a:rPr lang="en-US" sz="1000" dirty="0">
                          <a:effectLst/>
                          <a:latin typeface="+mn-lt"/>
                        </a:rPr>
                        <a:t>Jim Risch (Idaho)</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31.8%</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31.9%</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1,975,388</a:t>
                      </a:r>
                    </a:p>
                  </a:txBody>
                  <a:tcPr marL="9525" marR="9525" marT="9525" marB="0" anchor="ctr"/>
                </a:tc>
                <a:extLst>
                  <a:ext uri="{0D108BD9-81ED-4DB2-BD59-A6C34878D82A}">
                    <a16:rowId xmlns:a16="http://schemas.microsoft.com/office/drawing/2014/main" val="10006"/>
                  </a:ext>
                </a:extLst>
              </a:tr>
              <a:tr h="316523">
                <a:tc>
                  <a:txBody>
                    <a:bodyPr/>
                    <a:lstStyle/>
                    <a:p>
                      <a:pPr marL="0" marR="0" algn="l">
                        <a:lnSpc>
                          <a:spcPct val="107000"/>
                        </a:lnSpc>
                        <a:spcBef>
                          <a:spcPts val="0"/>
                        </a:spcBef>
                        <a:spcAft>
                          <a:spcPts val="0"/>
                        </a:spcAft>
                      </a:pPr>
                      <a:r>
                        <a:rPr lang="en-US" sz="1000" dirty="0">
                          <a:effectLst/>
                          <a:latin typeface="+mn-lt"/>
                        </a:rPr>
                        <a:t>Joni Ernst (Iow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9.4%</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5.8%</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4,856,481</a:t>
                      </a:r>
                    </a:p>
                  </a:txBody>
                  <a:tcPr marL="9525" marR="9525" marT="9525" marB="0" anchor="ctr"/>
                </a:tc>
                <a:extLst>
                  <a:ext uri="{0D108BD9-81ED-4DB2-BD59-A6C34878D82A}">
                    <a16:rowId xmlns:a16="http://schemas.microsoft.com/office/drawing/2014/main" val="10010"/>
                  </a:ext>
                </a:extLst>
              </a:tr>
              <a:tr h="316523">
                <a:tc>
                  <a:txBody>
                    <a:bodyPr/>
                    <a:lstStyle/>
                    <a:p>
                      <a:pPr marL="0" marR="0" algn="l">
                        <a:lnSpc>
                          <a:spcPct val="107000"/>
                        </a:lnSpc>
                        <a:spcBef>
                          <a:spcPts val="0"/>
                        </a:spcBef>
                        <a:spcAft>
                          <a:spcPts val="0"/>
                        </a:spcAft>
                      </a:pPr>
                      <a:r>
                        <a:rPr lang="en-US" sz="1000" dirty="0">
                          <a:effectLst/>
                          <a:latin typeface="+mn-lt"/>
                        </a:rPr>
                        <a:t>Open (Kan.)</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0.6%</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1.7%</a:t>
                      </a:r>
                      <a:endParaRPr lang="en-US" sz="1000" b="0" i="0" u="none" strike="noStrike" dirty="0">
                        <a:solidFill>
                          <a:srgbClr val="000000"/>
                        </a:solidFill>
                        <a:effectLst/>
                        <a:latin typeface="+mn-lt"/>
                      </a:endParaRPr>
                    </a:p>
                  </a:txBody>
                  <a:tcPr anchor="ctr"/>
                </a:tc>
                <a:tc>
                  <a:txBody>
                    <a:bodyPr/>
                    <a:lstStyle/>
                    <a:p>
                      <a:pPr algn="r"/>
                      <a:r>
                        <a:rPr lang="en-US" sz="1000" dirty="0">
                          <a:solidFill>
                            <a:schemeClr val="tx1"/>
                          </a:solidFill>
                          <a:latin typeface="+mn-lt"/>
                        </a:rPr>
                        <a:t>N/A</a:t>
                      </a:r>
                      <a:endParaRPr lang="en-US" sz="1000" dirty="0">
                        <a:solidFill>
                          <a:schemeClr val="tx1"/>
                        </a:solidFill>
                        <a:latin typeface="+mn-lt"/>
                        <a:cs typeface="Arial" panose="020B0604020202020204" pitchFamily="34" charset="0"/>
                      </a:endParaRPr>
                    </a:p>
                  </a:txBody>
                  <a:tcPr anchor="ctr"/>
                </a:tc>
                <a:extLst>
                  <a:ext uri="{0D108BD9-81ED-4DB2-BD59-A6C34878D82A}">
                    <a16:rowId xmlns:a16="http://schemas.microsoft.com/office/drawing/2014/main" val="10007"/>
                  </a:ext>
                </a:extLst>
              </a:tr>
              <a:tr h="31652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effectLst/>
                          <a:latin typeface="+mn-lt"/>
                        </a:rPr>
                        <a:t>Mitch McConnell (Ky.)</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9.8%</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2.7%</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11,579,011</a:t>
                      </a:r>
                    </a:p>
                  </a:txBody>
                  <a:tcPr marL="9525" marR="9525" marT="9525" marB="0" anchor="ctr"/>
                </a:tc>
                <a:extLst>
                  <a:ext uri="{0D108BD9-81ED-4DB2-BD59-A6C34878D82A}">
                    <a16:rowId xmlns:a16="http://schemas.microsoft.com/office/drawing/2014/main" val="10008"/>
                  </a:ext>
                </a:extLst>
              </a:tr>
              <a:tr h="316523">
                <a:tc>
                  <a:txBody>
                    <a:bodyPr/>
                    <a:lstStyle/>
                    <a:p>
                      <a:pPr marL="0" marR="0" algn="l">
                        <a:lnSpc>
                          <a:spcPct val="107000"/>
                        </a:lnSpc>
                        <a:spcBef>
                          <a:spcPts val="0"/>
                        </a:spcBef>
                        <a:spcAft>
                          <a:spcPts val="0"/>
                        </a:spcAft>
                      </a:pPr>
                      <a:r>
                        <a:rPr lang="en-US" sz="1000" dirty="0">
                          <a:effectLst/>
                          <a:latin typeface="+mn-lt"/>
                        </a:rPr>
                        <a:t>Bill Cassidy (L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9.6%</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7.2%</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5,320,961</a:t>
                      </a:r>
                    </a:p>
                  </a:txBody>
                  <a:tcPr marL="9525" marR="9525" marT="9525" marB="0" anchor="ctr"/>
                </a:tc>
                <a:extLst>
                  <a:ext uri="{0D108BD9-81ED-4DB2-BD59-A6C34878D82A}">
                    <a16:rowId xmlns:a16="http://schemas.microsoft.com/office/drawing/2014/main" val="10011"/>
                  </a:ext>
                </a:extLst>
              </a:tr>
              <a:tr h="316523">
                <a:tc>
                  <a:txBody>
                    <a:bodyPr/>
                    <a:lstStyle/>
                    <a:p>
                      <a:pPr marL="0" marR="0" algn="l">
                        <a:lnSpc>
                          <a:spcPct val="107000"/>
                        </a:lnSpc>
                        <a:spcBef>
                          <a:spcPts val="0"/>
                        </a:spcBef>
                        <a:spcAft>
                          <a:spcPts val="0"/>
                        </a:spcAft>
                      </a:pPr>
                      <a:r>
                        <a:rPr lang="en-US" sz="1000" dirty="0">
                          <a:effectLst/>
                          <a:latin typeface="+mn-lt"/>
                        </a:rPr>
                        <a:t>Susan Collins (Maine)</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0070C0"/>
                          </a:solidFill>
                          <a:effectLst/>
                          <a:latin typeface="+mn-lt"/>
                        </a:rPr>
                        <a:t>Clinton</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3.0%</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0070C0"/>
                          </a:solidFill>
                          <a:effectLst/>
                          <a:latin typeface="+mn-lt"/>
                        </a:rPr>
                        <a:t>Obama</a:t>
                      </a:r>
                      <a:endParaRPr lang="en-US" sz="1000" b="0" i="0" u="none" strike="noStrike" dirty="0">
                        <a:solidFill>
                          <a:srgbClr val="0070C0"/>
                        </a:solidFill>
                        <a:effectLst/>
                        <a:latin typeface="+mn-lt"/>
                      </a:endParaRPr>
                    </a:p>
                  </a:txBody>
                  <a:tcPr anchor="ctr"/>
                </a:tc>
                <a:tc>
                  <a:txBody>
                    <a:bodyPr/>
                    <a:lstStyle/>
                    <a:p>
                      <a:pPr algn="r" fontAlgn="b"/>
                      <a:r>
                        <a:rPr lang="en-US" sz="1000" u="none" strike="noStrike" dirty="0">
                          <a:effectLst/>
                          <a:latin typeface="+mn-lt"/>
                        </a:rPr>
                        <a:t>15.3%</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7,195,342</a:t>
                      </a:r>
                    </a:p>
                  </a:txBody>
                  <a:tcPr marL="9525" marR="9525" marT="9525" marB="0" anchor="ctr"/>
                </a:tc>
                <a:extLst>
                  <a:ext uri="{0D108BD9-81ED-4DB2-BD59-A6C34878D82A}">
                    <a16:rowId xmlns:a16="http://schemas.microsoft.com/office/drawing/2014/main" val="10012"/>
                  </a:ext>
                </a:extLst>
              </a:tr>
            </a:tbl>
          </a:graphicData>
        </a:graphic>
      </p:graphicFrame>
      <p:sp>
        <p:nvSpPr>
          <p:cNvPr id="7" name="TextBox 6"/>
          <p:cNvSpPr txBox="1"/>
          <p:nvPr/>
        </p:nvSpPr>
        <p:spPr>
          <a:xfrm>
            <a:off x="457200" y="5934526"/>
            <a:ext cx="8117457" cy="457200"/>
          </a:xfrm>
          <a:prstGeom prst="rect">
            <a:avLst/>
          </a:prstGeom>
          <a:noFill/>
        </p:spPr>
        <p:txBody>
          <a:bodyPr wrap="square" lIns="0" tIns="45720" rIns="0" bIns="45720" rtlCol="0">
            <a:noAutofit/>
          </a:bodyPr>
          <a:lstStyle/>
          <a:p>
            <a:pPr>
              <a:buClr>
                <a:srgbClr val="FFFFFF"/>
              </a:buClr>
            </a:pPr>
            <a:r>
              <a:rPr lang="en-US" sz="1000" dirty="0">
                <a:solidFill>
                  <a:srgbClr val="000000"/>
                </a:solidFill>
                <a:latin typeface="Arial" pitchFamily="34" charset="0"/>
                <a:cs typeface="Arial" pitchFamily="34" charset="0"/>
              </a:rPr>
              <a:t>Source: Bloomberg Government; Federal Election Commission</a:t>
            </a:r>
          </a:p>
          <a:p>
            <a:pPr>
              <a:buClr>
                <a:srgbClr val="FFFFFF"/>
              </a:buClr>
            </a:pPr>
            <a:r>
              <a:rPr lang="en-US" sz="1000" dirty="0"/>
              <a:t>Note: Pat Roberts (R-Kan.) is retiring; Cotton cash-on-hand total is current to Feb. 12</a:t>
            </a:r>
            <a:endParaRPr lang="en-US" sz="10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18187997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688975"/>
            <a:ext cx="8228013" cy="430887"/>
          </a:xfrm>
        </p:spPr>
        <p:txBody>
          <a:bodyPr/>
          <a:lstStyle/>
          <a:p>
            <a:r>
              <a:rPr lang="en-US" dirty="0"/>
              <a:t>2020 Republican-Held Senate Seats (2 of 2)</a:t>
            </a:r>
          </a:p>
        </p:txBody>
      </p:sp>
      <p:graphicFrame>
        <p:nvGraphicFramePr>
          <p:cNvPr id="6" name="Table 5"/>
          <p:cNvGraphicFramePr>
            <a:graphicFrameLocks noGrp="1"/>
          </p:cNvGraphicFramePr>
          <p:nvPr>
            <p:extLst>
              <p:ext uri="{D42A27DB-BD31-4B8C-83A1-F6EECF244321}">
                <p14:modId xmlns:p14="http://schemas.microsoft.com/office/powerpoint/2010/main" val="856627303"/>
              </p:ext>
            </p:extLst>
          </p:nvPr>
        </p:nvGraphicFramePr>
        <p:xfrm>
          <a:off x="457200" y="1481779"/>
          <a:ext cx="8123208" cy="4030393"/>
        </p:xfrm>
        <a:graphic>
          <a:graphicData uri="http://schemas.openxmlformats.org/drawingml/2006/table">
            <a:tbl>
              <a:tblPr firstRow="1" bandRow="1">
                <a:tableStyleId>{B301B821-A1FF-4177-AEE7-76D212191A09}</a:tableStyleId>
              </a:tblPr>
              <a:tblGrid>
                <a:gridCol w="1877683">
                  <a:extLst>
                    <a:ext uri="{9D8B030D-6E8A-4147-A177-3AD203B41FA5}">
                      <a16:colId xmlns:a16="http://schemas.microsoft.com/office/drawing/2014/main" val="20000"/>
                    </a:ext>
                  </a:extLst>
                </a:gridCol>
                <a:gridCol w="1226101">
                  <a:extLst>
                    <a:ext uri="{9D8B030D-6E8A-4147-A177-3AD203B41FA5}">
                      <a16:colId xmlns:a16="http://schemas.microsoft.com/office/drawing/2014/main" val="20001"/>
                    </a:ext>
                  </a:extLst>
                </a:gridCol>
                <a:gridCol w="1254856">
                  <a:extLst>
                    <a:ext uri="{9D8B030D-6E8A-4147-A177-3AD203B41FA5}">
                      <a16:colId xmlns:a16="http://schemas.microsoft.com/office/drawing/2014/main" val="20002"/>
                    </a:ext>
                  </a:extLst>
                </a:gridCol>
                <a:gridCol w="1254856">
                  <a:extLst>
                    <a:ext uri="{9D8B030D-6E8A-4147-A177-3AD203B41FA5}">
                      <a16:colId xmlns:a16="http://schemas.microsoft.com/office/drawing/2014/main" val="20003"/>
                    </a:ext>
                  </a:extLst>
                </a:gridCol>
                <a:gridCol w="1254856">
                  <a:extLst>
                    <a:ext uri="{9D8B030D-6E8A-4147-A177-3AD203B41FA5}">
                      <a16:colId xmlns:a16="http://schemas.microsoft.com/office/drawing/2014/main" val="20004"/>
                    </a:ext>
                  </a:extLst>
                </a:gridCol>
                <a:gridCol w="1254856">
                  <a:extLst>
                    <a:ext uri="{9D8B030D-6E8A-4147-A177-3AD203B41FA5}">
                      <a16:colId xmlns:a16="http://schemas.microsoft.com/office/drawing/2014/main" val="20005"/>
                    </a:ext>
                  </a:extLst>
                </a:gridCol>
              </a:tblGrid>
              <a:tr h="316523">
                <a:tc>
                  <a:txBody>
                    <a:bodyPr/>
                    <a:lstStyle/>
                    <a:p>
                      <a:pPr marL="0" marR="0" algn="l">
                        <a:lnSpc>
                          <a:spcPct val="107000"/>
                        </a:lnSpc>
                        <a:spcBef>
                          <a:spcPts val="0"/>
                        </a:spcBef>
                        <a:spcAft>
                          <a:spcPts val="0"/>
                        </a:spcAft>
                      </a:pPr>
                      <a:r>
                        <a:rPr lang="en-US" sz="1000" dirty="0">
                          <a:effectLst/>
                        </a:rPr>
                        <a:t>Incumbent</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ctr"/>
                      <a:r>
                        <a:rPr lang="en-US" sz="1000" u="none" strike="noStrike" dirty="0">
                          <a:effectLst/>
                        </a:rPr>
                        <a:t>2016 </a:t>
                      </a:r>
                      <a:br>
                        <a:rPr lang="en-US" sz="1000" u="none" strike="noStrike" dirty="0">
                          <a:effectLst/>
                        </a:rPr>
                      </a:br>
                      <a:r>
                        <a:rPr lang="en-US" sz="1000" u="none" strike="noStrike" dirty="0">
                          <a:effectLst/>
                        </a:rPr>
                        <a:t>Presidential</a:t>
                      </a:r>
                      <a:r>
                        <a:rPr lang="en-US" sz="1000" u="none" strike="noStrike" baseline="0" dirty="0">
                          <a:effectLst/>
                        </a:rPr>
                        <a:t> </a:t>
                      </a:r>
                      <a:r>
                        <a:rPr lang="en-US" sz="1000" u="none" strike="noStrike" dirty="0">
                          <a:effectLst/>
                        </a:rPr>
                        <a:t>Winner</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6 Percentage</a:t>
                      </a:r>
                      <a:br>
                        <a:rPr lang="en-US" sz="1000" u="none" strike="noStrike" dirty="0">
                          <a:effectLst/>
                        </a:rPr>
                      </a:br>
                      <a:r>
                        <a:rPr lang="en-US" sz="1000" u="none" strike="noStrike" dirty="0">
                          <a:effectLst/>
                        </a:rPr>
                        <a:t>Point Margin</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2 </a:t>
                      </a:r>
                      <a:br>
                        <a:rPr lang="en-US" sz="1000" u="none" strike="noStrike" dirty="0">
                          <a:effectLst/>
                        </a:rPr>
                      </a:br>
                      <a:r>
                        <a:rPr lang="en-US" sz="1000" u="none" strike="noStrike" dirty="0">
                          <a:effectLst/>
                        </a:rPr>
                        <a:t>Presidential</a:t>
                      </a:r>
                      <a:r>
                        <a:rPr lang="en-US" sz="1000" u="none" strike="noStrike" baseline="0" dirty="0">
                          <a:effectLst/>
                        </a:rPr>
                        <a:t> Winner</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2012 Percentage</a:t>
                      </a:r>
                      <a:br>
                        <a:rPr lang="en-US" sz="1000" u="none" strike="noStrike" dirty="0">
                          <a:effectLst/>
                        </a:rPr>
                      </a:br>
                      <a:r>
                        <a:rPr lang="en-US" sz="1000" u="none" strike="noStrike" dirty="0">
                          <a:effectLst/>
                        </a:rPr>
                        <a:t>Point Margin</a:t>
                      </a:r>
                      <a:endParaRPr lang="en-US" sz="1000" b="1" i="0" u="none" strike="noStrike" dirty="0">
                        <a:solidFill>
                          <a:schemeClr val="tx1"/>
                        </a:solidFill>
                        <a:effectLst/>
                        <a:latin typeface="+mn-lt"/>
                      </a:endParaRPr>
                    </a:p>
                  </a:txBody>
                  <a:tcPr anchor="ctr"/>
                </a:tc>
                <a:tc>
                  <a:txBody>
                    <a:bodyPr/>
                    <a:lstStyle/>
                    <a:p>
                      <a:pPr algn="ctr" fontAlgn="ctr"/>
                      <a:r>
                        <a:rPr lang="en-US" sz="1000" u="none" strike="noStrike" dirty="0">
                          <a:effectLst/>
                        </a:rPr>
                        <a:t>Cash on</a:t>
                      </a:r>
                      <a:r>
                        <a:rPr lang="en-US" sz="1000" u="none" strike="noStrike" baseline="0" dirty="0">
                          <a:effectLst/>
                        </a:rPr>
                        <a:t> Hand</a:t>
                      </a:r>
                      <a:br>
                        <a:rPr lang="en-US" sz="1000" u="none" strike="noStrike" baseline="0" dirty="0">
                          <a:effectLst/>
                        </a:rPr>
                      </a:br>
                      <a:r>
                        <a:rPr lang="en-US" sz="1000" u="none" strike="noStrike" dirty="0">
                          <a:effectLst/>
                        </a:rPr>
                        <a:t>(Dec. 31)</a:t>
                      </a:r>
                      <a:endParaRPr lang="en-US" sz="1000" b="1" i="0" u="none" strike="noStrike" dirty="0">
                        <a:solidFill>
                          <a:schemeClr val="tx1"/>
                        </a:solidFill>
                        <a:effectLst/>
                        <a:latin typeface="+mn-lt"/>
                      </a:endParaRPr>
                    </a:p>
                  </a:txBody>
                  <a:tcPr anchor="ctr"/>
                </a:tc>
                <a:extLst>
                  <a:ext uri="{0D108BD9-81ED-4DB2-BD59-A6C34878D82A}">
                    <a16:rowId xmlns:a16="http://schemas.microsoft.com/office/drawing/2014/main" val="10000"/>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Cindy Hyde-Smith (Miss.)</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7.8%</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1.5%</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783,909</a:t>
                      </a:r>
                    </a:p>
                  </a:txBody>
                  <a:tcPr marL="9525" marR="9525" marT="9525" marB="0" anchor="ctr"/>
                </a:tc>
                <a:extLst>
                  <a:ext uri="{0D108BD9-81ED-4DB2-BD59-A6C34878D82A}">
                    <a16:rowId xmlns:a16="http://schemas.microsoft.com/office/drawing/2014/main" val="10009"/>
                  </a:ext>
                </a:extLst>
              </a:tr>
              <a:tr h="316523">
                <a:tc>
                  <a:txBody>
                    <a:bodyPr/>
                    <a:lstStyle/>
                    <a:p>
                      <a:pPr marL="0" marR="0" algn="l">
                        <a:lnSpc>
                          <a:spcPct val="107000"/>
                        </a:lnSpc>
                        <a:spcBef>
                          <a:spcPts val="0"/>
                        </a:spcBef>
                        <a:spcAft>
                          <a:spcPts val="0"/>
                        </a:spcAft>
                      </a:pPr>
                      <a:r>
                        <a:rPr lang="en-US" sz="1000" dirty="0">
                          <a:effectLst/>
                          <a:latin typeface="+mn-lt"/>
                        </a:rPr>
                        <a:t>Steve Daines (Mont.)</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0.4%</a:t>
                      </a:r>
                      <a:endParaRPr lang="en-US" sz="1000" b="0" i="0" u="none" strike="noStrike" dirty="0">
                        <a:solidFill>
                          <a:schemeClr val="tx1"/>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3.7%</a:t>
                      </a:r>
                      <a:endParaRPr lang="en-US" sz="1000" b="0" i="0" u="none" strike="noStrike" dirty="0">
                        <a:solidFill>
                          <a:schemeClr val="tx1"/>
                        </a:solidFill>
                        <a:effectLst/>
                        <a:latin typeface="+mn-lt"/>
                      </a:endParaRPr>
                    </a:p>
                  </a:txBody>
                  <a:tcPr anchor="ctr"/>
                </a:tc>
                <a:tc>
                  <a:txBody>
                    <a:bodyPr/>
                    <a:lstStyle/>
                    <a:p>
                      <a:pPr algn="r" fontAlgn="b"/>
                      <a:r>
                        <a:rPr lang="en-US" sz="1000" b="0" i="0" u="none" strike="noStrike" dirty="0">
                          <a:solidFill>
                            <a:schemeClr val="tx1"/>
                          </a:solidFill>
                          <a:effectLst/>
                          <a:latin typeface="+mn-lt"/>
                        </a:rPr>
                        <a:t> $5,036,999</a:t>
                      </a:r>
                    </a:p>
                  </a:txBody>
                  <a:tcPr marL="9525" marR="9525" marT="9525" marB="0" anchor="ctr"/>
                </a:tc>
                <a:extLst>
                  <a:ext uri="{0D108BD9-81ED-4DB2-BD59-A6C34878D82A}">
                    <a16:rowId xmlns:a16="http://schemas.microsoft.com/office/drawing/2014/main" val="10010"/>
                  </a:ext>
                </a:extLst>
              </a:tr>
              <a:tr h="316523">
                <a:tc>
                  <a:txBody>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lang="en-US" sz="1000" dirty="0">
                          <a:effectLst/>
                          <a:latin typeface="+mn-lt"/>
                        </a:rPr>
                        <a:t>Ben Sasse (Neb.)</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5.0%</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1.8%</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3,066,874</a:t>
                      </a:r>
                    </a:p>
                  </a:txBody>
                  <a:tcPr marL="9525" marR="9525" marT="9525" marB="0" anchor="ctr"/>
                </a:tc>
                <a:extLst>
                  <a:ext uri="{0D108BD9-81ED-4DB2-BD59-A6C34878D82A}">
                    <a16:rowId xmlns:a16="http://schemas.microsoft.com/office/drawing/2014/main" val="10001"/>
                  </a:ext>
                </a:extLst>
              </a:tr>
              <a:tr h="316523">
                <a:tc>
                  <a:txBody>
                    <a:bodyPr/>
                    <a:lstStyle/>
                    <a:p>
                      <a:pPr marL="0" marR="0" algn="l">
                        <a:lnSpc>
                          <a:spcPct val="107000"/>
                        </a:lnSpc>
                        <a:spcBef>
                          <a:spcPts val="0"/>
                        </a:spcBef>
                        <a:spcAft>
                          <a:spcPts val="0"/>
                        </a:spcAft>
                      </a:pPr>
                      <a:r>
                        <a:rPr lang="en-US" sz="1000" dirty="0">
                          <a:effectLst/>
                          <a:latin typeface="+mn-lt"/>
                        </a:rPr>
                        <a:t>Thom Tillis (N.C.)</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3.7%</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0%</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a:solidFill>
                            <a:schemeClr val="tx1"/>
                          </a:solidFill>
                          <a:effectLst/>
                          <a:latin typeface="+mn-lt"/>
                        </a:rPr>
                        <a:t> $5,403,423</a:t>
                      </a:r>
                      <a:endParaRPr lang="en-US" sz="1000" b="0" i="0" u="none" strike="noStrike" dirty="0">
                        <a:solidFill>
                          <a:schemeClr val="tx1"/>
                        </a:solidFill>
                        <a:effectLst/>
                        <a:latin typeface="+mn-lt"/>
                      </a:endParaRPr>
                    </a:p>
                  </a:txBody>
                  <a:tcPr marL="9525" marR="9525" marT="9525" marB="0" anchor="ctr"/>
                </a:tc>
                <a:extLst>
                  <a:ext uri="{0D108BD9-81ED-4DB2-BD59-A6C34878D82A}">
                    <a16:rowId xmlns:a16="http://schemas.microsoft.com/office/drawing/2014/main" val="10002"/>
                  </a:ext>
                </a:extLst>
              </a:tr>
              <a:tr h="316523">
                <a:tc>
                  <a:txBody>
                    <a:bodyPr/>
                    <a:lstStyle/>
                    <a:p>
                      <a:pPr marL="0" marR="0" algn="l">
                        <a:lnSpc>
                          <a:spcPct val="107000"/>
                        </a:lnSpc>
                        <a:spcBef>
                          <a:spcPts val="0"/>
                        </a:spcBef>
                        <a:spcAft>
                          <a:spcPts val="0"/>
                        </a:spcAft>
                      </a:pPr>
                      <a:r>
                        <a:rPr lang="en-US" sz="1000" dirty="0">
                          <a:effectLst/>
                          <a:latin typeface="+mn-lt"/>
                        </a:rPr>
                        <a:t>Jim Inhofe (Okl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36.4%</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33.5%</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2,317,019</a:t>
                      </a:r>
                    </a:p>
                  </a:txBody>
                  <a:tcPr marL="9525" marR="9525" marT="9525" marB="0" anchor="ctr"/>
                </a:tc>
                <a:extLst>
                  <a:ext uri="{0D108BD9-81ED-4DB2-BD59-A6C34878D82A}">
                    <a16:rowId xmlns:a16="http://schemas.microsoft.com/office/drawing/2014/main" val="10003"/>
                  </a:ext>
                </a:extLst>
              </a:tr>
              <a:tr h="316523">
                <a:tc>
                  <a:txBody>
                    <a:bodyPr/>
                    <a:lstStyle/>
                    <a:p>
                      <a:pPr marL="0" marR="0" algn="l">
                        <a:lnSpc>
                          <a:spcPct val="107000"/>
                        </a:lnSpc>
                        <a:spcBef>
                          <a:spcPts val="0"/>
                        </a:spcBef>
                        <a:spcAft>
                          <a:spcPts val="0"/>
                        </a:spcAft>
                      </a:pPr>
                      <a:r>
                        <a:rPr lang="en-US" sz="1000" dirty="0">
                          <a:effectLst/>
                          <a:latin typeface="+mn-lt"/>
                        </a:rPr>
                        <a:t>Lindsey Graham (S.C.)</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4.3%</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0.5%</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10,336,750</a:t>
                      </a:r>
                    </a:p>
                  </a:txBody>
                  <a:tcPr marL="9525" marR="9525" marT="9525" marB="0" anchor="ctr"/>
                </a:tc>
                <a:extLst>
                  <a:ext uri="{0D108BD9-81ED-4DB2-BD59-A6C34878D82A}">
                    <a16:rowId xmlns:a16="http://schemas.microsoft.com/office/drawing/2014/main" val="10004"/>
                  </a:ext>
                </a:extLst>
              </a:tr>
              <a:tr h="316523">
                <a:tc>
                  <a:txBody>
                    <a:bodyPr/>
                    <a:lstStyle/>
                    <a:p>
                      <a:pPr marL="0" marR="0" algn="l">
                        <a:lnSpc>
                          <a:spcPct val="107000"/>
                        </a:lnSpc>
                        <a:spcBef>
                          <a:spcPts val="0"/>
                        </a:spcBef>
                        <a:spcAft>
                          <a:spcPts val="0"/>
                        </a:spcAft>
                      </a:pPr>
                      <a:r>
                        <a:rPr lang="en-US" sz="1000" dirty="0">
                          <a:effectLst/>
                          <a:latin typeface="+mn-lt"/>
                        </a:rPr>
                        <a:t>Mike Rounds (S.D.)</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9.8%</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8.0%</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1,812,832</a:t>
                      </a:r>
                    </a:p>
                  </a:txBody>
                  <a:tcPr marL="9525" marR="9525" marT="9525" marB="0" anchor="ctr"/>
                </a:tc>
                <a:extLst>
                  <a:ext uri="{0D108BD9-81ED-4DB2-BD59-A6C34878D82A}">
                    <a16:rowId xmlns:a16="http://schemas.microsoft.com/office/drawing/2014/main" val="10005"/>
                  </a:ext>
                </a:extLst>
              </a:tr>
              <a:tr h="316523">
                <a:tc>
                  <a:txBody>
                    <a:bodyPr/>
                    <a:lstStyle/>
                    <a:p>
                      <a:pPr marL="0" marR="0" algn="l">
                        <a:lnSpc>
                          <a:spcPct val="107000"/>
                        </a:lnSpc>
                        <a:spcBef>
                          <a:spcPts val="0"/>
                        </a:spcBef>
                        <a:spcAft>
                          <a:spcPts val="0"/>
                        </a:spcAft>
                      </a:pPr>
                      <a:r>
                        <a:rPr lang="en-US" sz="1000" dirty="0">
                          <a:effectLst/>
                          <a:latin typeface="+mn-lt"/>
                        </a:rPr>
                        <a:t>Open (Tenn.)</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6.0%</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0.4%</a:t>
                      </a:r>
                      <a:endParaRPr lang="en-US" sz="1000" b="0" i="0" u="none" strike="noStrike" dirty="0">
                        <a:solidFill>
                          <a:srgbClr val="000000"/>
                        </a:solidFill>
                        <a:effectLst/>
                        <a:latin typeface="+mn-lt"/>
                      </a:endParaRPr>
                    </a:p>
                  </a:txBody>
                  <a:tcPr anchor="ctr"/>
                </a:tc>
                <a:tc>
                  <a:txBody>
                    <a:bodyPr/>
                    <a:lstStyle/>
                    <a:p>
                      <a:pPr algn="r" fontAlgn="b"/>
                      <a:r>
                        <a:rPr lang="en-US" sz="1000" u="none" strike="noStrike" dirty="0">
                          <a:solidFill>
                            <a:schemeClr val="tx1"/>
                          </a:solidFill>
                          <a:effectLst/>
                          <a:latin typeface="+mn-lt"/>
                        </a:rPr>
                        <a:t> N/A</a:t>
                      </a:r>
                      <a:endParaRPr lang="en-US" sz="1000" b="0" i="0" u="none" strike="noStrike" dirty="0">
                        <a:solidFill>
                          <a:schemeClr val="tx1"/>
                        </a:solidFill>
                        <a:effectLst/>
                        <a:latin typeface="+mn-lt"/>
                        <a:cs typeface="Arial" panose="020B0604020202020204" pitchFamily="34" charset="0"/>
                      </a:endParaRPr>
                    </a:p>
                  </a:txBody>
                  <a:tcPr anchor="ctr"/>
                </a:tc>
                <a:extLst>
                  <a:ext uri="{0D108BD9-81ED-4DB2-BD59-A6C34878D82A}">
                    <a16:rowId xmlns:a16="http://schemas.microsoft.com/office/drawing/2014/main" val="10006"/>
                  </a:ext>
                </a:extLst>
              </a:tr>
              <a:tr h="316523">
                <a:tc>
                  <a:txBody>
                    <a:bodyPr/>
                    <a:lstStyle/>
                    <a:p>
                      <a:pPr marL="0" marR="0" algn="l">
                        <a:lnSpc>
                          <a:spcPct val="107000"/>
                        </a:lnSpc>
                        <a:spcBef>
                          <a:spcPts val="0"/>
                        </a:spcBef>
                        <a:spcAft>
                          <a:spcPts val="0"/>
                        </a:spcAft>
                      </a:pPr>
                      <a:r>
                        <a:rPr lang="en-US" sz="1000" dirty="0">
                          <a:effectLst/>
                          <a:latin typeface="+mn-lt"/>
                        </a:rPr>
                        <a:t>John Cornyn (Texas)</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9.0%</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15.8%</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12,008,298</a:t>
                      </a:r>
                    </a:p>
                  </a:txBody>
                  <a:tcPr marL="9525" marR="9525" marT="9525" marB="0" anchor="ctr"/>
                </a:tc>
                <a:extLst>
                  <a:ext uri="{0D108BD9-81ED-4DB2-BD59-A6C34878D82A}">
                    <a16:rowId xmlns:a16="http://schemas.microsoft.com/office/drawing/2014/main" val="10011"/>
                  </a:ext>
                </a:extLst>
              </a:tr>
              <a:tr h="316523">
                <a:tc>
                  <a:txBody>
                    <a:bodyPr/>
                    <a:lstStyle/>
                    <a:p>
                      <a:pPr marL="0" marR="0" algn="l">
                        <a:lnSpc>
                          <a:spcPct val="107000"/>
                        </a:lnSpc>
                        <a:spcBef>
                          <a:spcPts val="0"/>
                        </a:spcBef>
                        <a:spcAft>
                          <a:spcPts val="0"/>
                        </a:spcAft>
                      </a:pPr>
                      <a:r>
                        <a:rPr lang="en-US" sz="1000" dirty="0">
                          <a:effectLst/>
                          <a:latin typeface="+mn-lt"/>
                        </a:rPr>
                        <a:t>Shelley Moore Capito (W.Va.)</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42.2%</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26.8%</a:t>
                      </a:r>
                      <a:endParaRPr lang="en-US" sz="1000" b="0" i="0" u="none" strike="noStrike" dirty="0">
                        <a:solidFill>
                          <a:srgbClr val="000000"/>
                        </a:solidFill>
                        <a:effectLst/>
                        <a:latin typeface="+mn-lt"/>
                      </a:endParaRPr>
                    </a:p>
                  </a:txBody>
                  <a:tcPr anchor="ctr"/>
                </a:tc>
                <a:tc>
                  <a:txBody>
                    <a:bodyPr/>
                    <a:lstStyle/>
                    <a:p>
                      <a:pPr algn="r" fontAlgn="b"/>
                      <a:r>
                        <a:rPr lang="en-US" sz="1000" b="0" i="0" u="none" strike="noStrike" dirty="0">
                          <a:solidFill>
                            <a:schemeClr val="tx1"/>
                          </a:solidFill>
                          <a:effectLst/>
                          <a:latin typeface="+mn-lt"/>
                        </a:rPr>
                        <a:t> $2,646,150</a:t>
                      </a:r>
                    </a:p>
                  </a:txBody>
                  <a:tcPr marL="9525" marR="9525" marT="9525" marB="0" anchor="ctr"/>
                </a:tc>
                <a:extLst>
                  <a:ext uri="{0D108BD9-81ED-4DB2-BD59-A6C34878D82A}">
                    <a16:rowId xmlns:a16="http://schemas.microsoft.com/office/drawing/2014/main" val="10007"/>
                  </a:ext>
                </a:extLst>
              </a:tr>
              <a:tr h="316523">
                <a:tc>
                  <a:txBody>
                    <a:bodyPr/>
                    <a:lstStyle/>
                    <a:p>
                      <a:pPr marL="0" marR="0" algn="l">
                        <a:lnSpc>
                          <a:spcPct val="107000"/>
                        </a:lnSpc>
                        <a:spcBef>
                          <a:spcPts val="0"/>
                        </a:spcBef>
                        <a:spcAft>
                          <a:spcPts val="0"/>
                        </a:spcAft>
                      </a:pPr>
                      <a:r>
                        <a:rPr lang="en-US" sz="1000" dirty="0">
                          <a:effectLst/>
                          <a:latin typeface="+mn-lt"/>
                        </a:rPr>
                        <a:t>Open (Wyo.)</a:t>
                      </a:r>
                      <a:endParaRPr lang="en-US" sz="1000" dirty="0">
                        <a:solidFill>
                          <a:schemeClr val="tx1"/>
                        </a:solidFill>
                        <a:effectLst/>
                        <a:latin typeface="+mn-lt"/>
                        <a:ea typeface="Calibri" panose="020F0502020204030204" pitchFamily="34" charset="0"/>
                        <a:cs typeface="Times New Roman" panose="02020603050405020304" pitchFamily="18" charset="0"/>
                      </a:endParaRPr>
                    </a:p>
                  </a:txBody>
                  <a:tcPr anchor="ctr"/>
                </a:tc>
                <a:tc>
                  <a:txBody>
                    <a:bodyPr/>
                    <a:lstStyle/>
                    <a:p>
                      <a:pPr algn="ctr" fontAlgn="b"/>
                      <a:r>
                        <a:rPr lang="en-US" sz="1000" u="none" strike="noStrike" dirty="0">
                          <a:solidFill>
                            <a:srgbClr val="D22332"/>
                          </a:solidFill>
                          <a:effectLst/>
                          <a:latin typeface="+mn-lt"/>
                        </a:rPr>
                        <a:t>Trump</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46.3%</a:t>
                      </a:r>
                      <a:endParaRPr lang="en-US" sz="1000" b="0" i="0" u="none" strike="noStrike" dirty="0">
                        <a:solidFill>
                          <a:srgbClr val="000000"/>
                        </a:solidFill>
                        <a:effectLst/>
                        <a:latin typeface="+mn-lt"/>
                      </a:endParaRPr>
                    </a:p>
                  </a:txBody>
                  <a:tcPr anchor="ctr"/>
                </a:tc>
                <a:tc>
                  <a:txBody>
                    <a:bodyPr/>
                    <a:lstStyle/>
                    <a:p>
                      <a:pPr algn="ctr" fontAlgn="b"/>
                      <a:r>
                        <a:rPr lang="en-US" sz="1000" u="none" strike="noStrike" dirty="0">
                          <a:solidFill>
                            <a:srgbClr val="D22332"/>
                          </a:solidFill>
                          <a:effectLst/>
                          <a:latin typeface="+mn-lt"/>
                        </a:rPr>
                        <a:t>Romney</a:t>
                      </a:r>
                      <a:endParaRPr lang="en-US" sz="1000" b="0" i="0" u="none" strike="noStrike" dirty="0">
                        <a:solidFill>
                          <a:srgbClr val="D22332"/>
                        </a:solidFill>
                        <a:effectLst/>
                        <a:latin typeface="+mn-lt"/>
                      </a:endParaRPr>
                    </a:p>
                  </a:txBody>
                  <a:tcPr anchor="ctr"/>
                </a:tc>
                <a:tc>
                  <a:txBody>
                    <a:bodyPr/>
                    <a:lstStyle/>
                    <a:p>
                      <a:pPr algn="r" fontAlgn="b"/>
                      <a:r>
                        <a:rPr lang="en-US" sz="1000" u="none" strike="noStrike" dirty="0">
                          <a:effectLst/>
                          <a:latin typeface="+mn-lt"/>
                        </a:rPr>
                        <a:t>40.8%</a:t>
                      </a:r>
                      <a:endParaRPr lang="en-US" sz="1000" b="0" i="0" u="none" strike="noStrike" dirty="0">
                        <a:solidFill>
                          <a:srgbClr val="000000"/>
                        </a:solidFill>
                        <a:effectLst/>
                        <a:latin typeface="+mn-lt"/>
                      </a:endParaRPr>
                    </a:p>
                  </a:txBody>
                  <a:tcPr anchor="ctr"/>
                </a:tc>
                <a:tc>
                  <a:txBody>
                    <a:bodyPr/>
                    <a:lstStyle/>
                    <a:p>
                      <a:pPr algn="r" fontAlgn="b"/>
                      <a:r>
                        <a:rPr lang="en-US" sz="1000" u="none" strike="noStrike" dirty="0">
                          <a:solidFill>
                            <a:schemeClr val="tx1"/>
                          </a:solidFill>
                          <a:effectLst/>
                          <a:latin typeface="+mn-lt"/>
                        </a:rPr>
                        <a:t>N/A</a:t>
                      </a:r>
                      <a:endParaRPr lang="en-US" sz="1000" b="0" i="0" u="none" strike="noStrike" dirty="0">
                        <a:solidFill>
                          <a:schemeClr val="tx1"/>
                        </a:solidFill>
                        <a:effectLst/>
                        <a:latin typeface="+mn-lt"/>
                        <a:cs typeface="Arial" panose="020B0604020202020204" pitchFamily="34" charset="0"/>
                      </a:endParaRPr>
                    </a:p>
                  </a:txBody>
                  <a:tcPr anchor="ctr"/>
                </a:tc>
                <a:extLst>
                  <a:ext uri="{0D108BD9-81ED-4DB2-BD59-A6C34878D82A}">
                    <a16:rowId xmlns:a16="http://schemas.microsoft.com/office/drawing/2014/main" val="10008"/>
                  </a:ext>
                </a:extLst>
              </a:tr>
            </a:tbl>
          </a:graphicData>
        </a:graphic>
      </p:graphicFrame>
      <p:sp>
        <p:nvSpPr>
          <p:cNvPr id="7" name="TextBox 6"/>
          <p:cNvSpPr txBox="1"/>
          <p:nvPr/>
        </p:nvSpPr>
        <p:spPr>
          <a:xfrm>
            <a:off x="457200" y="5943600"/>
            <a:ext cx="8119872" cy="457200"/>
          </a:xfrm>
          <a:prstGeom prst="rect">
            <a:avLst/>
          </a:prstGeom>
          <a:noFill/>
        </p:spPr>
        <p:txBody>
          <a:bodyPr wrap="square" lIns="0" tIns="45720" rIns="0" bIns="45720" rtlCol="0">
            <a:noAutofit/>
          </a:bodyPr>
          <a:lstStyle/>
          <a:p>
            <a:pPr>
              <a:buClr>
                <a:srgbClr val="FFFFFF"/>
              </a:buClr>
            </a:pPr>
            <a:r>
              <a:rPr lang="en-US" sz="1000" dirty="0">
                <a:solidFill>
                  <a:srgbClr val="000000"/>
                </a:solidFill>
                <a:latin typeface="Arial" pitchFamily="34" charset="0"/>
                <a:cs typeface="Arial" pitchFamily="34" charset="0"/>
              </a:rPr>
              <a:t>Source: Bloomberg Government; Federal Election Commission</a:t>
            </a:r>
          </a:p>
          <a:p>
            <a:pPr>
              <a:buClr>
                <a:srgbClr val="FFFFFF"/>
              </a:buClr>
            </a:pPr>
            <a:r>
              <a:rPr lang="en-US" sz="1000" dirty="0"/>
              <a:t>Notes: Lamar Alexander (R-Tenn.), Mike Enzi (R-Wyo.) are retiring; Cornyn, Tillis cash-on-hand totals current to Feb. 12, Hyde-Smith to Feb. 19</a:t>
            </a:r>
            <a:endParaRPr lang="en-US" sz="1000" dirty="0">
              <a:solidFill>
                <a:srgbClr val="000000"/>
              </a:solidFill>
              <a:latin typeface="Arial" pitchFamily="34" charset="0"/>
              <a:cs typeface="Arial" pitchFamily="34" charset="0"/>
            </a:endParaRPr>
          </a:p>
        </p:txBody>
      </p:sp>
    </p:spTree>
    <p:extLst>
      <p:ext uri="{BB962C8B-B14F-4D97-AF65-F5344CB8AC3E}">
        <p14:creationId xmlns:p14="http://schemas.microsoft.com/office/powerpoint/2010/main" val="36783518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RMXvENydEy0uxQY3WqxG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Gsr2UzKk0u12Q7O0U0YCA"/>
</p:tagLst>
</file>

<file path=ppt/theme/theme1.xml><?xml version="1.0" encoding="utf-8"?>
<a:theme xmlns:a="http://schemas.openxmlformats.org/drawingml/2006/main" name="2018 Analyst template - new branding">
  <a:themeElements>
    <a:clrScheme name="BGOV charts 1">
      <a:dk1>
        <a:sysClr val="windowText" lastClr="000000"/>
      </a:dk1>
      <a:lt1>
        <a:sysClr val="window" lastClr="FFFFFF"/>
      </a:lt1>
      <a:dk2>
        <a:srgbClr val="5A5A5A"/>
      </a:dk2>
      <a:lt2>
        <a:srgbClr val="BEBEBE"/>
      </a:lt2>
      <a:accent1>
        <a:srgbClr val="00B4E1"/>
      </a:accent1>
      <a:accent2>
        <a:srgbClr val="505050"/>
      </a:accent2>
      <a:accent3>
        <a:srgbClr val="9BCD55"/>
      </a:accent3>
      <a:accent4>
        <a:srgbClr val="824BA0"/>
      </a:accent4>
      <a:accent5>
        <a:srgbClr val="FFDC64"/>
      </a:accent5>
      <a:accent6>
        <a:srgbClr val="EB6923"/>
      </a:accent6>
      <a:hlink>
        <a:srgbClr val="0098BC"/>
      </a:hlink>
      <a:folHlink>
        <a:srgbClr val="384AB9"/>
      </a:folHlink>
    </a:clrScheme>
    <a:fontScheme name="BGo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lumMod val="50000"/>
            <a:lumOff val="50000"/>
          </a:schemeClr>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600" b="1"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lumMod val="50000"/>
              <a:lumOff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45720" rIns="0" bIns="45720" rtlCol="0">
        <a:noAutofit/>
      </a:bodyPr>
      <a:lstStyle>
        <a:defPPr>
          <a:buClr>
            <a:srgbClr val="FFFFFF"/>
          </a:buClr>
          <a:defRPr sz="1400" dirty="0">
            <a:solidFill>
              <a:srgbClr val="000000"/>
            </a:solidFill>
            <a:latin typeface="Arial" pitchFamily="34" charset="0"/>
            <a:cs typeface="Arial" pitchFamily="34" charset="0"/>
          </a:defRPr>
        </a:defPPr>
      </a:lstStyle>
    </a:txDef>
  </a:objectDefaults>
  <a:extraClrSchemeLst/>
  <a:extLst>
    <a:ext uri="{05A4C25C-085E-4340-85A3-A5531E510DB2}">
      <thm15:themeFamily xmlns:thm15="http://schemas.microsoft.com/office/thememl/2012/main" name="2019 Analyst template.potm [Read-Only]" id="{0936083F-0D1F-4741-B1E1-D8084589D887}" vid="{16B374A7-D3F9-4E0C-BC8E-DA7C1DE8B0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5270</Words>
  <Application>Microsoft Office PowerPoint</Application>
  <PresentationFormat>On-screen Show (4:3)</PresentationFormat>
  <Paragraphs>1041</Paragraphs>
  <Slides>32</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32</vt:i4>
      </vt:variant>
    </vt:vector>
  </HeadingPairs>
  <TitlesOfParts>
    <vt:vector size="36" baseType="lpstr">
      <vt:lpstr>Arial</vt:lpstr>
      <vt:lpstr>Avenir Next P for BBG Demi</vt:lpstr>
      <vt:lpstr>Calibri</vt:lpstr>
      <vt:lpstr>2018 Analyst template - new branding</vt:lpstr>
      <vt:lpstr>BGOV OnPoint:  2020 Election Outlook</vt:lpstr>
      <vt:lpstr>Big Picture on 2020 Senate Races</vt:lpstr>
      <vt:lpstr>States With Senate Races in 2020</vt:lpstr>
      <vt:lpstr>Senate Balance of Power</vt:lpstr>
      <vt:lpstr>Super Tuesday and the Senate </vt:lpstr>
      <vt:lpstr>Senate Races To Watch</vt:lpstr>
      <vt:lpstr>Senate 2020 Forecast</vt:lpstr>
      <vt:lpstr>2020 Republican-Held Senate Seats (1 of 2)</vt:lpstr>
      <vt:lpstr>2020 Republican-Held Senate Seats (2 of 2)</vt:lpstr>
      <vt:lpstr>2020 Democratic-Held Senate Seats</vt:lpstr>
      <vt:lpstr>Senate Women in the Balance</vt:lpstr>
      <vt:lpstr>Big Picture on 2020 House Races</vt:lpstr>
      <vt:lpstr>Congressional Comings &amp; Goings</vt:lpstr>
      <vt:lpstr>Super Tuesday and the House</vt:lpstr>
      <vt:lpstr>More House Races to Watch</vt:lpstr>
      <vt:lpstr>GOP Aims to Defeat Trump-District Democrats</vt:lpstr>
      <vt:lpstr>Democrats Aim to Protect Their Freshmen</vt:lpstr>
      <vt:lpstr>Dems Seek Additional Suburban GOP Seats</vt:lpstr>
      <vt:lpstr>House Races: Cook Ratings</vt:lpstr>
      <vt:lpstr>Women in the House</vt:lpstr>
      <vt:lpstr>Party Fundraising</vt:lpstr>
      <vt:lpstr>Congressional Primaries</vt:lpstr>
      <vt:lpstr>Bonus Look Ahead: House Reapportionment</vt:lpstr>
      <vt:lpstr>Biden Has Taken Commanding Lead in Delegates</vt:lpstr>
      <vt:lpstr>Where Biden, Sanders Stand on Nomination Path</vt:lpstr>
      <vt:lpstr>How the Delegates Were Allocated in Each State</vt:lpstr>
      <vt:lpstr>Major Dates on Presidential Calendar</vt:lpstr>
      <vt:lpstr>Electoral College Math Matters Most</vt:lpstr>
      <vt:lpstr>Governors’ 2020 Races</vt:lpstr>
      <vt:lpstr>Governors’ Races: 2020</vt:lpstr>
      <vt:lpstr>Listen to Our New Podcast</vt:lpstr>
      <vt:lpstr>About Bloomberg Government</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8-02-20T19:13:49Z</dcterms:created>
  <dcterms:modified xsi:type="dcterms:W3CDTF">2020-06-24T01:52: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1761333</vt:lpwstr>
  </property>
  <property fmtid="{D5CDD505-2E9C-101B-9397-08002B2CF9AE}" name="NXPowerLiteSettings" pid="3">
    <vt:lpwstr>C7000400038000</vt:lpwstr>
  </property>
  <property fmtid="{D5CDD505-2E9C-101B-9397-08002B2CF9AE}" name="NXPowerLiteVersion" pid="4">
    <vt:lpwstr>S9.0.1</vt:lpwstr>
  </property>
</Properties>
</file>